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9.xml" ContentType="application/vnd.openxmlformats-officedocument.theme+xml"/>
  <Override PartName="/ppt/tags/tag10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0.xml" ContentType="application/vnd.openxmlformats-officedocument.theme+xml"/>
  <Override PartName="/ppt/tags/tag11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slideLayouts/slideLayout133.xml" ContentType="application/vnd.openxmlformats-officedocument.presentationml.slideLayout+xml"/>
  <Override PartName="/ppt/theme/theme12.xml" ContentType="application/vnd.openxmlformats-officedocument.theme+xml"/>
  <Override PartName="/ppt/tags/tag13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8" r:id="rId2"/>
    <p:sldMasterId id="2147483732" r:id="rId3"/>
    <p:sldMasterId id="2147483756" r:id="rId4"/>
    <p:sldMasterId id="2147483768" r:id="rId5"/>
    <p:sldMasterId id="2147483780" r:id="rId6"/>
    <p:sldMasterId id="2147483792" r:id="rId7"/>
    <p:sldMasterId id="2147483744" r:id="rId8"/>
    <p:sldMasterId id="2147483806" r:id="rId9"/>
    <p:sldMasterId id="2147483827" r:id="rId10"/>
    <p:sldMasterId id="2147483853" r:id="rId11"/>
    <p:sldMasterId id="2147483873" r:id="rId12"/>
    <p:sldMasterId id="2147483876" r:id="rId13"/>
  </p:sldMasterIdLst>
  <p:sldIdLst>
    <p:sldId id="319" r:id="rId14"/>
    <p:sldId id="300" r:id="rId15"/>
    <p:sldId id="367" r:id="rId16"/>
    <p:sldId id="370" r:id="rId17"/>
    <p:sldId id="301" r:id="rId18"/>
    <p:sldId id="371" r:id="rId19"/>
    <p:sldId id="327" r:id="rId20"/>
    <p:sldId id="366" r:id="rId21"/>
    <p:sldId id="363" r:id="rId22"/>
    <p:sldId id="342" r:id="rId23"/>
    <p:sldId id="264" r:id="rId24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B419637-13DF-49F2-B3FC-9C0A45F1CA64}">
          <p14:sldIdLst>
            <p14:sldId id="319"/>
            <p14:sldId id="300"/>
            <p14:sldId id="367"/>
            <p14:sldId id="370"/>
            <p14:sldId id="301"/>
            <p14:sldId id="371"/>
            <p14:sldId id="327"/>
            <p14:sldId id="366"/>
            <p14:sldId id="363"/>
            <p14:sldId id="342"/>
            <p14:sldId id="26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736"/>
    <a:srgbClr val="E29310"/>
    <a:srgbClr val="F7F7F7"/>
    <a:srgbClr val="FBF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92953285827395E-2"/>
          <c:y val="1.6855753646677473E-2"/>
          <c:w val="0.97941409342834518"/>
          <c:h val="0.966288492706645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14.721637246899414</c:v>
                </c:pt>
                <c:pt idx="1">
                  <c:v>29.539501478664974</c:v>
                </c:pt>
                <c:pt idx="2">
                  <c:v>16.311399443929563</c:v>
                </c:pt>
                <c:pt idx="3">
                  <c:v>20.8641830218983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DF-4396-BA6E-F6C5DBBFC2A2}"/>
            </c:ext>
          </c:extLst>
        </c:ser>
        <c:ser>
          <c:idx val="1"/>
          <c:order val="1"/>
          <c:spPr>
            <a:solidFill>
              <a:srgbClr val="14A609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1.9522699098867418</c:v>
                </c:pt>
                <c:pt idx="1">
                  <c:v>8.6100549218419928</c:v>
                </c:pt>
                <c:pt idx="2">
                  <c:v>8.4800741427247477</c:v>
                </c:pt>
                <c:pt idx="3">
                  <c:v>13.0645982685000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DF-4396-BA6E-F6C5DBBFC2A2}"/>
            </c:ext>
          </c:extLst>
        </c:ser>
        <c:ser>
          <c:idx val="2"/>
          <c:order val="2"/>
          <c:spPr>
            <a:solidFill>
              <a:srgbClr val="DC5E0A"/>
            </a:solidFill>
            <a:ln>
              <a:noFill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0.2614368898750663</c:v>
                </c:pt>
                <c:pt idx="1">
                  <c:v>0</c:v>
                </c:pt>
                <c:pt idx="2">
                  <c:v>1.6218721037998152</c:v>
                </c:pt>
                <c:pt idx="3">
                  <c:v>7.834841540330095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DF-4396-BA6E-F6C5DBBFC2A2}"/>
            </c:ext>
          </c:extLst>
        </c:ser>
        <c:ser>
          <c:idx val="3"/>
          <c:order val="3"/>
          <c:spPr>
            <a:solidFill>
              <a:srgbClr val="FC4E71"/>
            </a:solidFill>
            <a:ln>
              <a:noFill/>
            </a:ln>
          </c:spPr>
          <c:invertIfNegative val="0"/>
          <c:val>
            <c:numRef>
              <c:f>Sheet1!$A$4:$D$4</c:f>
              <c:numCache>
                <c:formatCode>General</c:formatCode>
                <c:ptCount val="4"/>
                <c:pt idx="0">
                  <c:v>0.19422695916948007</c:v>
                </c:pt>
                <c:pt idx="1">
                  <c:v>8.449514152936155E-2</c:v>
                </c:pt>
                <c:pt idx="2">
                  <c:v>1.6682113067655213</c:v>
                </c:pt>
                <c:pt idx="3">
                  <c:v>0.552356328593256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BDF-4396-BA6E-F6C5DBBFC2A2}"/>
            </c:ext>
          </c:extLst>
        </c:ser>
        <c:ser>
          <c:idx val="4"/>
          <c:order val="4"/>
          <c:spPr>
            <a:solidFill>
              <a:srgbClr val="F32905"/>
            </a:solidFill>
            <a:ln>
              <a:noFill/>
            </a:ln>
          </c:spPr>
          <c:invertIfNegative val="0"/>
          <c:val>
            <c:numRef>
              <c:f>Sheet1!$A$5:$D$5</c:f>
              <c:numCache>
                <c:formatCode>General</c:formatCode>
                <c:ptCount val="4"/>
                <c:pt idx="0">
                  <c:v>1.4935540156801874E-3</c:v>
                </c:pt>
                <c:pt idx="1">
                  <c:v>1.689902830587231E-2</c:v>
                </c:pt>
                <c:pt idx="2">
                  <c:v>0</c:v>
                </c:pt>
                <c:pt idx="3">
                  <c:v>7.44309946331345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BDF-4396-BA6E-F6C5DBBFC2A2}"/>
            </c:ext>
          </c:extLst>
        </c:ser>
        <c:ser>
          <c:idx val="5"/>
          <c:order val="5"/>
          <c:spPr>
            <a:solidFill>
              <a:srgbClr val="23099D"/>
            </a:solidFill>
            <a:ln>
              <a:noFill/>
            </a:ln>
          </c:spPr>
          <c:invertIfNegative val="0"/>
          <c:val>
            <c:numRef>
              <c:f>Sheet1!$A$6:$D$6</c:f>
              <c:numCache>
                <c:formatCode>General</c:formatCode>
                <c:ptCount val="4"/>
                <c:pt idx="0">
                  <c:v>3.1130860657254678</c:v>
                </c:pt>
                <c:pt idx="1">
                  <c:v>0.43937473595268006</c:v>
                </c:pt>
                <c:pt idx="2">
                  <c:v>23.77201112140871</c:v>
                </c:pt>
                <c:pt idx="3">
                  <c:v>1.7941787127355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BDF-4396-BA6E-F6C5DBBFC2A2}"/>
            </c:ext>
          </c:extLst>
        </c:ser>
        <c:ser>
          <c:idx val="6"/>
          <c:order val="6"/>
          <c:spPr>
            <a:solidFill>
              <a:srgbClr val="1ADAEA"/>
            </a:solidFill>
            <a:ln>
              <a:noFill/>
            </a:ln>
          </c:spPr>
          <c:invertIfNegative val="0"/>
          <c:val>
            <c:numRef>
              <c:f>Sheet1!$A$7:$D$7</c:f>
              <c:numCache>
                <c:formatCode>General</c:formatCode>
                <c:ptCount val="4"/>
                <c:pt idx="0">
                  <c:v>18.88300342023869</c:v>
                </c:pt>
                <c:pt idx="1">
                  <c:v>15.335868187579216</c:v>
                </c:pt>
                <c:pt idx="2">
                  <c:v>21.594068582020387</c:v>
                </c:pt>
                <c:pt idx="3">
                  <c:v>15.7166921299016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BDF-4396-BA6E-F6C5DBBFC2A2}"/>
            </c:ext>
          </c:extLst>
        </c:ser>
        <c:ser>
          <c:idx val="7"/>
          <c:order val="7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8:$D$8</c:f>
              <c:numCache>
                <c:formatCode>General</c:formatCode>
                <c:ptCount val="4"/>
                <c:pt idx="0">
                  <c:v>60.872845954189444</c:v>
                </c:pt>
                <c:pt idx="1">
                  <c:v>45.973806506125904</c:v>
                </c:pt>
                <c:pt idx="2">
                  <c:v>26.552363299351256</c:v>
                </c:pt>
                <c:pt idx="3">
                  <c:v>47.855212128334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BDF-4396-BA6E-F6C5DBBFC2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09895071"/>
        <c:axId val="1"/>
      </c:barChart>
      <c:catAx>
        <c:axId val="709895071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098950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A049BF-BD0F-4EAE-95FE-05A0BDFB0362}" type="doc">
      <dgm:prSet loTypeId="urn:microsoft.com/office/officeart/2005/8/layout/hProcess6" loCatId="process" qsTypeId="urn:microsoft.com/office/officeart/2005/8/quickstyle/3d9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E07B39C-0B9E-4F4F-9686-4B44ECBE733F}">
      <dgm:prSet phldrT="[Text]"/>
      <dgm:spPr/>
      <dgm:t>
        <a:bodyPr/>
        <a:lstStyle/>
        <a:p>
          <a:r>
            <a:rPr lang="en-US" dirty="0"/>
            <a:t>Sept’20</a:t>
          </a:r>
        </a:p>
      </dgm:t>
    </dgm:pt>
    <dgm:pt modelId="{F4957C3A-3F12-46FF-AFBA-BD310E500DAE}" type="parTrans" cxnId="{8E7168A5-3E58-431C-BF6E-23E4FE968E6F}">
      <dgm:prSet/>
      <dgm:spPr/>
      <dgm:t>
        <a:bodyPr/>
        <a:lstStyle/>
        <a:p>
          <a:endParaRPr lang="en-US"/>
        </a:p>
      </dgm:t>
    </dgm:pt>
    <dgm:pt modelId="{8225EF9B-181B-4547-A0E0-BCF9B6A28526}" type="sibTrans" cxnId="{8E7168A5-3E58-431C-BF6E-23E4FE968E6F}">
      <dgm:prSet/>
      <dgm:spPr/>
      <dgm:t>
        <a:bodyPr/>
        <a:lstStyle/>
        <a:p>
          <a:endParaRPr lang="en-US"/>
        </a:p>
      </dgm:t>
    </dgm:pt>
    <dgm:pt modelId="{304CDF59-83D8-4444-961C-8A8EBA5730EC}">
      <dgm:prSet phldrT="[Text]"/>
      <dgm:spPr/>
      <dgm:t>
        <a:bodyPr/>
        <a:lstStyle/>
        <a:p>
          <a:r>
            <a:rPr lang="en-US" dirty="0"/>
            <a:t>PTPR</a:t>
          </a:r>
        </a:p>
      </dgm:t>
    </dgm:pt>
    <dgm:pt modelId="{72C683F7-7F2C-49E3-8699-1B207D146FF6}" type="parTrans" cxnId="{0626BF8F-08BB-4C35-95DC-41F29D5BCA78}">
      <dgm:prSet/>
      <dgm:spPr/>
      <dgm:t>
        <a:bodyPr/>
        <a:lstStyle/>
        <a:p>
          <a:endParaRPr lang="en-US"/>
        </a:p>
      </dgm:t>
    </dgm:pt>
    <dgm:pt modelId="{1C1F0020-72FF-42D2-B1B4-91D570C3DAB1}" type="sibTrans" cxnId="{0626BF8F-08BB-4C35-95DC-41F29D5BCA78}">
      <dgm:prSet/>
      <dgm:spPr/>
      <dgm:t>
        <a:bodyPr/>
        <a:lstStyle/>
        <a:p>
          <a:endParaRPr lang="en-US"/>
        </a:p>
      </dgm:t>
    </dgm:pt>
    <dgm:pt modelId="{43E0ABD1-A14A-4E06-9378-E13D3A4F03BD}">
      <dgm:prSet phldrT="[Text]"/>
      <dgm:spPr/>
      <dgm:t>
        <a:bodyPr/>
        <a:lstStyle/>
        <a:p>
          <a:r>
            <a:rPr lang="en-US" dirty="0"/>
            <a:t>Oct’20</a:t>
          </a:r>
        </a:p>
      </dgm:t>
    </dgm:pt>
    <dgm:pt modelId="{BA636933-1936-408C-B861-55CDBC6ADF39}" type="parTrans" cxnId="{265BEA1E-D997-44A6-9000-C64E7E3BD95F}">
      <dgm:prSet/>
      <dgm:spPr/>
      <dgm:t>
        <a:bodyPr/>
        <a:lstStyle/>
        <a:p>
          <a:endParaRPr lang="en-US"/>
        </a:p>
      </dgm:t>
    </dgm:pt>
    <dgm:pt modelId="{261C24B5-2FF1-4D93-AF83-14ED1E04205E}" type="sibTrans" cxnId="{265BEA1E-D997-44A6-9000-C64E7E3BD95F}">
      <dgm:prSet/>
      <dgm:spPr/>
      <dgm:t>
        <a:bodyPr/>
        <a:lstStyle/>
        <a:p>
          <a:endParaRPr lang="en-US"/>
        </a:p>
      </dgm:t>
    </dgm:pt>
    <dgm:pt modelId="{C4EB4DFC-D9AD-4306-8C60-23F9B9A46E05}">
      <dgm:prSet phldrT="[Text]"/>
      <dgm:spPr/>
      <dgm:t>
        <a:bodyPr/>
        <a:lstStyle/>
        <a:p>
          <a:r>
            <a:rPr lang="en-US" dirty="0"/>
            <a:t>Pertamina</a:t>
          </a:r>
        </a:p>
        <a:p>
          <a:r>
            <a:rPr lang="en-US" dirty="0"/>
            <a:t>Persero</a:t>
          </a:r>
        </a:p>
      </dgm:t>
    </dgm:pt>
    <dgm:pt modelId="{90367B2C-C6F0-404E-A2B1-0FD2586B81A2}" type="parTrans" cxnId="{179DD7FF-E81A-4CCD-BD35-4E2502A7B954}">
      <dgm:prSet/>
      <dgm:spPr/>
      <dgm:t>
        <a:bodyPr/>
        <a:lstStyle/>
        <a:p>
          <a:endParaRPr lang="en-US"/>
        </a:p>
      </dgm:t>
    </dgm:pt>
    <dgm:pt modelId="{176354C3-412A-4BF3-AB12-8CAFA1EB3E17}" type="sibTrans" cxnId="{179DD7FF-E81A-4CCD-BD35-4E2502A7B954}">
      <dgm:prSet/>
      <dgm:spPr/>
      <dgm:t>
        <a:bodyPr/>
        <a:lstStyle/>
        <a:p>
          <a:endParaRPr lang="en-US"/>
        </a:p>
      </dgm:t>
    </dgm:pt>
    <dgm:pt modelId="{3AC79E5A-E4D2-4CD2-B381-FC238B0DED27}">
      <dgm:prSet phldrT="[Text]"/>
      <dgm:spPr/>
      <dgm:t>
        <a:bodyPr/>
        <a:lstStyle/>
        <a:p>
          <a:r>
            <a:rPr lang="en-US" dirty="0"/>
            <a:t>Dec’20</a:t>
          </a:r>
        </a:p>
      </dgm:t>
    </dgm:pt>
    <dgm:pt modelId="{63AFF916-FDE1-42C2-88C8-9A9962029A1B}" type="parTrans" cxnId="{FC3241D9-1645-43FC-951E-0E92ABD10D4D}">
      <dgm:prSet/>
      <dgm:spPr/>
      <dgm:t>
        <a:bodyPr/>
        <a:lstStyle/>
        <a:p>
          <a:endParaRPr lang="en-US"/>
        </a:p>
      </dgm:t>
    </dgm:pt>
    <dgm:pt modelId="{D5605871-BE47-447C-AF66-5DB6871B6938}" type="sibTrans" cxnId="{FC3241D9-1645-43FC-951E-0E92ABD10D4D}">
      <dgm:prSet/>
      <dgm:spPr/>
      <dgm:t>
        <a:bodyPr/>
        <a:lstStyle/>
        <a:p>
          <a:endParaRPr lang="en-US"/>
        </a:p>
      </dgm:t>
    </dgm:pt>
    <dgm:pt modelId="{138463E4-C487-4F4E-B652-A0E700BB5E40}">
      <dgm:prSet phldrT="[Text]"/>
      <dgm:spPr/>
      <dgm:t>
        <a:bodyPr/>
        <a:lstStyle/>
        <a:p>
          <a:r>
            <a:rPr lang="en-US" dirty="0"/>
            <a:t>PHI</a:t>
          </a:r>
        </a:p>
      </dgm:t>
    </dgm:pt>
    <dgm:pt modelId="{F370CF54-7250-4E0C-868E-4AA483597BCB}" type="parTrans" cxnId="{0B9FD1DD-9D65-402E-A439-50E83C5F2C31}">
      <dgm:prSet/>
      <dgm:spPr/>
      <dgm:t>
        <a:bodyPr/>
        <a:lstStyle/>
        <a:p>
          <a:endParaRPr lang="en-US"/>
        </a:p>
      </dgm:t>
    </dgm:pt>
    <dgm:pt modelId="{C359B90C-27B8-4680-A54C-6A1B293C4963}" type="sibTrans" cxnId="{0B9FD1DD-9D65-402E-A439-50E83C5F2C31}">
      <dgm:prSet/>
      <dgm:spPr/>
      <dgm:t>
        <a:bodyPr/>
        <a:lstStyle/>
        <a:p>
          <a:endParaRPr lang="en-US"/>
        </a:p>
      </dgm:t>
    </dgm:pt>
    <dgm:pt modelId="{7026D8C5-1FF4-49EB-8CB4-89EF19AFECF0}" type="pres">
      <dgm:prSet presAssocID="{9DA049BF-BD0F-4EAE-95FE-05A0BDFB0362}" presName="theList" presStyleCnt="0">
        <dgm:presLayoutVars>
          <dgm:dir/>
          <dgm:animLvl val="lvl"/>
          <dgm:resizeHandles val="exact"/>
        </dgm:presLayoutVars>
      </dgm:prSet>
      <dgm:spPr/>
    </dgm:pt>
    <dgm:pt modelId="{408A4107-96E6-4F2D-9891-30C65737E33D}" type="pres">
      <dgm:prSet presAssocID="{EE07B39C-0B9E-4F4F-9686-4B44ECBE733F}" presName="compNode" presStyleCnt="0"/>
      <dgm:spPr/>
    </dgm:pt>
    <dgm:pt modelId="{2260AA61-3750-4191-996B-EC60FC88A988}" type="pres">
      <dgm:prSet presAssocID="{EE07B39C-0B9E-4F4F-9686-4B44ECBE733F}" presName="noGeometry" presStyleCnt="0"/>
      <dgm:spPr/>
    </dgm:pt>
    <dgm:pt modelId="{6E92D028-4FE7-44B4-8654-64A32E5A468B}" type="pres">
      <dgm:prSet presAssocID="{EE07B39C-0B9E-4F4F-9686-4B44ECBE733F}" presName="childTextVisible" presStyleLbl="bgAccFollowNode1" presStyleIdx="0" presStyleCnt="3">
        <dgm:presLayoutVars>
          <dgm:bulletEnabled val="1"/>
        </dgm:presLayoutVars>
      </dgm:prSet>
      <dgm:spPr/>
    </dgm:pt>
    <dgm:pt modelId="{65652922-DEF1-4AAF-9E13-F80D8BF757FD}" type="pres">
      <dgm:prSet presAssocID="{EE07B39C-0B9E-4F4F-9686-4B44ECBE733F}" presName="childTextHidden" presStyleLbl="bgAccFollowNode1" presStyleIdx="0" presStyleCnt="3"/>
      <dgm:spPr/>
    </dgm:pt>
    <dgm:pt modelId="{DC403B7A-44F2-4418-B5AB-5B813C884EF3}" type="pres">
      <dgm:prSet presAssocID="{EE07B39C-0B9E-4F4F-9686-4B44ECBE733F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E5F3367C-561C-4BFF-B4F6-9F915C4B7E91}" type="pres">
      <dgm:prSet presAssocID="{EE07B39C-0B9E-4F4F-9686-4B44ECBE733F}" presName="aSpace" presStyleCnt="0"/>
      <dgm:spPr/>
    </dgm:pt>
    <dgm:pt modelId="{13FEB378-CEB3-401C-A623-B724B3672C44}" type="pres">
      <dgm:prSet presAssocID="{43E0ABD1-A14A-4E06-9378-E13D3A4F03BD}" presName="compNode" presStyleCnt="0"/>
      <dgm:spPr/>
    </dgm:pt>
    <dgm:pt modelId="{0DF59F3D-A46E-43FA-BD79-B79B3A91F08A}" type="pres">
      <dgm:prSet presAssocID="{43E0ABD1-A14A-4E06-9378-E13D3A4F03BD}" presName="noGeometry" presStyleCnt="0"/>
      <dgm:spPr/>
    </dgm:pt>
    <dgm:pt modelId="{6C100991-341A-4855-BE6A-25833911A868}" type="pres">
      <dgm:prSet presAssocID="{43E0ABD1-A14A-4E06-9378-E13D3A4F03BD}" presName="childTextVisible" presStyleLbl="bgAccFollowNode1" presStyleIdx="1" presStyleCnt="3">
        <dgm:presLayoutVars>
          <dgm:bulletEnabled val="1"/>
        </dgm:presLayoutVars>
      </dgm:prSet>
      <dgm:spPr/>
    </dgm:pt>
    <dgm:pt modelId="{02CCB95A-C7A7-4802-A552-D59CB5934C44}" type="pres">
      <dgm:prSet presAssocID="{43E0ABD1-A14A-4E06-9378-E13D3A4F03BD}" presName="childTextHidden" presStyleLbl="bgAccFollowNode1" presStyleIdx="1" presStyleCnt="3"/>
      <dgm:spPr/>
    </dgm:pt>
    <dgm:pt modelId="{BB628673-097B-4A92-8FAD-5AD7B1947C7D}" type="pres">
      <dgm:prSet presAssocID="{43E0ABD1-A14A-4E06-9378-E13D3A4F03BD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8752E983-7BDC-4865-9D11-B0740601F49E}" type="pres">
      <dgm:prSet presAssocID="{43E0ABD1-A14A-4E06-9378-E13D3A4F03BD}" presName="aSpace" presStyleCnt="0"/>
      <dgm:spPr/>
    </dgm:pt>
    <dgm:pt modelId="{AFACA2D7-3834-45C6-AF8F-9F9AE0FE0DA1}" type="pres">
      <dgm:prSet presAssocID="{3AC79E5A-E4D2-4CD2-B381-FC238B0DED27}" presName="compNode" presStyleCnt="0"/>
      <dgm:spPr/>
    </dgm:pt>
    <dgm:pt modelId="{7A8D9CF1-73B1-4B9C-B47C-9030C5C1BDEC}" type="pres">
      <dgm:prSet presAssocID="{3AC79E5A-E4D2-4CD2-B381-FC238B0DED27}" presName="noGeometry" presStyleCnt="0"/>
      <dgm:spPr/>
    </dgm:pt>
    <dgm:pt modelId="{E60EBB02-EE03-47AD-80CA-FA33E1EB4E64}" type="pres">
      <dgm:prSet presAssocID="{3AC79E5A-E4D2-4CD2-B381-FC238B0DED27}" presName="childTextVisible" presStyleLbl="bgAccFollowNode1" presStyleIdx="2" presStyleCnt="3">
        <dgm:presLayoutVars>
          <dgm:bulletEnabled val="1"/>
        </dgm:presLayoutVars>
      </dgm:prSet>
      <dgm:spPr/>
    </dgm:pt>
    <dgm:pt modelId="{D4E49EE0-473D-4811-A242-7937F92F58B6}" type="pres">
      <dgm:prSet presAssocID="{3AC79E5A-E4D2-4CD2-B381-FC238B0DED27}" presName="childTextHidden" presStyleLbl="bgAccFollowNode1" presStyleIdx="2" presStyleCnt="3"/>
      <dgm:spPr/>
    </dgm:pt>
    <dgm:pt modelId="{4E0993F0-7F2B-425D-B00A-2962B8B0D360}" type="pres">
      <dgm:prSet presAssocID="{3AC79E5A-E4D2-4CD2-B381-FC238B0DED27}" presName="parentText" presStyleLbl="node1" presStyleIdx="2" presStyleCnt="3">
        <dgm:presLayoutVars>
          <dgm:chMax val="1"/>
          <dgm:bulletEnabled val="1"/>
        </dgm:presLayoutVars>
      </dgm:prSet>
      <dgm:spPr/>
    </dgm:pt>
  </dgm:ptLst>
  <dgm:cxnLst>
    <dgm:cxn modelId="{F522AC02-47AA-4766-8964-63DFD88344A1}" type="presOf" srcId="{C4EB4DFC-D9AD-4306-8C60-23F9B9A46E05}" destId="{6C100991-341A-4855-BE6A-25833911A868}" srcOrd="0" destOrd="0" presId="urn:microsoft.com/office/officeart/2005/8/layout/hProcess6"/>
    <dgm:cxn modelId="{5F398603-099B-4667-B513-96E5FC18CE2E}" type="presOf" srcId="{EE07B39C-0B9E-4F4F-9686-4B44ECBE733F}" destId="{DC403B7A-44F2-4418-B5AB-5B813C884EF3}" srcOrd="0" destOrd="0" presId="urn:microsoft.com/office/officeart/2005/8/layout/hProcess6"/>
    <dgm:cxn modelId="{4540730F-6386-4BF9-BEED-B9090CEC11E9}" type="presOf" srcId="{43E0ABD1-A14A-4E06-9378-E13D3A4F03BD}" destId="{BB628673-097B-4A92-8FAD-5AD7B1947C7D}" srcOrd="0" destOrd="0" presId="urn:microsoft.com/office/officeart/2005/8/layout/hProcess6"/>
    <dgm:cxn modelId="{7D7BD00F-4873-403A-AC41-E1278165CC03}" type="presOf" srcId="{138463E4-C487-4F4E-B652-A0E700BB5E40}" destId="{D4E49EE0-473D-4811-A242-7937F92F58B6}" srcOrd="1" destOrd="0" presId="urn:microsoft.com/office/officeart/2005/8/layout/hProcess6"/>
    <dgm:cxn modelId="{265BEA1E-D997-44A6-9000-C64E7E3BD95F}" srcId="{9DA049BF-BD0F-4EAE-95FE-05A0BDFB0362}" destId="{43E0ABD1-A14A-4E06-9378-E13D3A4F03BD}" srcOrd="1" destOrd="0" parTransId="{BA636933-1936-408C-B861-55CDBC6ADF39}" sibTransId="{261C24B5-2FF1-4D93-AF83-14ED1E04205E}"/>
    <dgm:cxn modelId="{1325CD4F-F0E1-4610-9DE6-45730020577B}" type="presOf" srcId="{C4EB4DFC-D9AD-4306-8C60-23F9B9A46E05}" destId="{02CCB95A-C7A7-4802-A552-D59CB5934C44}" srcOrd="1" destOrd="0" presId="urn:microsoft.com/office/officeart/2005/8/layout/hProcess6"/>
    <dgm:cxn modelId="{5D2A9C7F-5E97-4C30-813C-4C4F36348F25}" type="presOf" srcId="{138463E4-C487-4F4E-B652-A0E700BB5E40}" destId="{E60EBB02-EE03-47AD-80CA-FA33E1EB4E64}" srcOrd="0" destOrd="0" presId="urn:microsoft.com/office/officeart/2005/8/layout/hProcess6"/>
    <dgm:cxn modelId="{1A5B1283-395C-422F-AA97-98C9BBAB8334}" type="presOf" srcId="{3AC79E5A-E4D2-4CD2-B381-FC238B0DED27}" destId="{4E0993F0-7F2B-425D-B00A-2962B8B0D360}" srcOrd="0" destOrd="0" presId="urn:microsoft.com/office/officeart/2005/8/layout/hProcess6"/>
    <dgm:cxn modelId="{35A4E184-15A4-4B1B-9CD2-77399D78142E}" type="presOf" srcId="{9DA049BF-BD0F-4EAE-95FE-05A0BDFB0362}" destId="{7026D8C5-1FF4-49EB-8CB4-89EF19AFECF0}" srcOrd="0" destOrd="0" presId="urn:microsoft.com/office/officeart/2005/8/layout/hProcess6"/>
    <dgm:cxn modelId="{0626BF8F-08BB-4C35-95DC-41F29D5BCA78}" srcId="{EE07B39C-0B9E-4F4F-9686-4B44ECBE733F}" destId="{304CDF59-83D8-4444-961C-8A8EBA5730EC}" srcOrd="0" destOrd="0" parTransId="{72C683F7-7F2C-49E3-8699-1B207D146FF6}" sibTransId="{1C1F0020-72FF-42D2-B1B4-91D570C3DAB1}"/>
    <dgm:cxn modelId="{8E7168A5-3E58-431C-BF6E-23E4FE968E6F}" srcId="{9DA049BF-BD0F-4EAE-95FE-05A0BDFB0362}" destId="{EE07B39C-0B9E-4F4F-9686-4B44ECBE733F}" srcOrd="0" destOrd="0" parTransId="{F4957C3A-3F12-46FF-AFBA-BD310E500DAE}" sibTransId="{8225EF9B-181B-4547-A0E0-BCF9B6A28526}"/>
    <dgm:cxn modelId="{BE8440B4-65D5-45C4-9C13-6BA968A7A2E8}" type="presOf" srcId="{304CDF59-83D8-4444-961C-8A8EBA5730EC}" destId="{6E92D028-4FE7-44B4-8654-64A32E5A468B}" srcOrd="0" destOrd="0" presId="urn:microsoft.com/office/officeart/2005/8/layout/hProcess6"/>
    <dgm:cxn modelId="{9000DDC1-8B0A-4400-92C5-6D8445109DAF}" type="presOf" srcId="{304CDF59-83D8-4444-961C-8A8EBA5730EC}" destId="{65652922-DEF1-4AAF-9E13-F80D8BF757FD}" srcOrd="1" destOrd="0" presId="urn:microsoft.com/office/officeart/2005/8/layout/hProcess6"/>
    <dgm:cxn modelId="{FC3241D9-1645-43FC-951E-0E92ABD10D4D}" srcId="{9DA049BF-BD0F-4EAE-95FE-05A0BDFB0362}" destId="{3AC79E5A-E4D2-4CD2-B381-FC238B0DED27}" srcOrd="2" destOrd="0" parTransId="{63AFF916-FDE1-42C2-88C8-9A9962029A1B}" sibTransId="{D5605871-BE47-447C-AF66-5DB6871B6938}"/>
    <dgm:cxn modelId="{0B9FD1DD-9D65-402E-A439-50E83C5F2C31}" srcId="{3AC79E5A-E4D2-4CD2-B381-FC238B0DED27}" destId="{138463E4-C487-4F4E-B652-A0E700BB5E40}" srcOrd="0" destOrd="0" parTransId="{F370CF54-7250-4E0C-868E-4AA483597BCB}" sibTransId="{C359B90C-27B8-4680-A54C-6A1B293C4963}"/>
    <dgm:cxn modelId="{179DD7FF-E81A-4CCD-BD35-4E2502A7B954}" srcId="{43E0ABD1-A14A-4E06-9378-E13D3A4F03BD}" destId="{C4EB4DFC-D9AD-4306-8C60-23F9B9A46E05}" srcOrd="0" destOrd="0" parTransId="{90367B2C-C6F0-404E-A2B1-0FD2586B81A2}" sibTransId="{176354C3-412A-4BF3-AB12-8CAFA1EB3E17}"/>
    <dgm:cxn modelId="{B3496CCB-B004-412F-97A3-A38E6AC2A95C}" type="presParOf" srcId="{7026D8C5-1FF4-49EB-8CB4-89EF19AFECF0}" destId="{408A4107-96E6-4F2D-9891-30C65737E33D}" srcOrd="0" destOrd="0" presId="urn:microsoft.com/office/officeart/2005/8/layout/hProcess6"/>
    <dgm:cxn modelId="{3547D6C7-43AF-4EEA-ACF5-BD6BCF0E8E58}" type="presParOf" srcId="{408A4107-96E6-4F2D-9891-30C65737E33D}" destId="{2260AA61-3750-4191-996B-EC60FC88A988}" srcOrd="0" destOrd="0" presId="urn:microsoft.com/office/officeart/2005/8/layout/hProcess6"/>
    <dgm:cxn modelId="{62D0F606-05CD-4055-8365-6CE0A0F6875D}" type="presParOf" srcId="{408A4107-96E6-4F2D-9891-30C65737E33D}" destId="{6E92D028-4FE7-44B4-8654-64A32E5A468B}" srcOrd="1" destOrd="0" presId="urn:microsoft.com/office/officeart/2005/8/layout/hProcess6"/>
    <dgm:cxn modelId="{A0680887-7D53-4007-90A8-E519894FB3D4}" type="presParOf" srcId="{408A4107-96E6-4F2D-9891-30C65737E33D}" destId="{65652922-DEF1-4AAF-9E13-F80D8BF757FD}" srcOrd="2" destOrd="0" presId="urn:microsoft.com/office/officeart/2005/8/layout/hProcess6"/>
    <dgm:cxn modelId="{3FB604A3-008D-4E0E-B77F-1D1CE7D102A9}" type="presParOf" srcId="{408A4107-96E6-4F2D-9891-30C65737E33D}" destId="{DC403B7A-44F2-4418-B5AB-5B813C884EF3}" srcOrd="3" destOrd="0" presId="urn:microsoft.com/office/officeart/2005/8/layout/hProcess6"/>
    <dgm:cxn modelId="{A591514A-4E7B-48CA-8A61-1374FC97820D}" type="presParOf" srcId="{7026D8C5-1FF4-49EB-8CB4-89EF19AFECF0}" destId="{E5F3367C-561C-4BFF-B4F6-9F915C4B7E91}" srcOrd="1" destOrd="0" presId="urn:microsoft.com/office/officeart/2005/8/layout/hProcess6"/>
    <dgm:cxn modelId="{C36B71A5-D01E-4EC0-B3FF-72CA6D15CA04}" type="presParOf" srcId="{7026D8C5-1FF4-49EB-8CB4-89EF19AFECF0}" destId="{13FEB378-CEB3-401C-A623-B724B3672C44}" srcOrd="2" destOrd="0" presId="urn:microsoft.com/office/officeart/2005/8/layout/hProcess6"/>
    <dgm:cxn modelId="{A46E29B0-9F3E-4C01-99B5-3F71919E359F}" type="presParOf" srcId="{13FEB378-CEB3-401C-A623-B724B3672C44}" destId="{0DF59F3D-A46E-43FA-BD79-B79B3A91F08A}" srcOrd="0" destOrd="0" presId="urn:microsoft.com/office/officeart/2005/8/layout/hProcess6"/>
    <dgm:cxn modelId="{50EBFA85-CC2F-4BA7-8084-D0124D9514C3}" type="presParOf" srcId="{13FEB378-CEB3-401C-A623-B724B3672C44}" destId="{6C100991-341A-4855-BE6A-25833911A868}" srcOrd="1" destOrd="0" presId="urn:microsoft.com/office/officeart/2005/8/layout/hProcess6"/>
    <dgm:cxn modelId="{3C60C888-A481-4DE1-BDCD-75BC4938A483}" type="presParOf" srcId="{13FEB378-CEB3-401C-A623-B724B3672C44}" destId="{02CCB95A-C7A7-4802-A552-D59CB5934C44}" srcOrd="2" destOrd="0" presId="urn:microsoft.com/office/officeart/2005/8/layout/hProcess6"/>
    <dgm:cxn modelId="{2A2CE015-9E33-4AE1-888E-89856DE71F4E}" type="presParOf" srcId="{13FEB378-CEB3-401C-A623-B724B3672C44}" destId="{BB628673-097B-4A92-8FAD-5AD7B1947C7D}" srcOrd="3" destOrd="0" presId="urn:microsoft.com/office/officeart/2005/8/layout/hProcess6"/>
    <dgm:cxn modelId="{C8022E58-EF3F-4FC5-A60E-4CE414562040}" type="presParOf" srcId="{7026D8C5-1FF4-49EB-8CB4-89EF19AFECF0}" destId="{8752E983-7BDC-4865-9D11-B0740601F49E}" srcOrd="3" destOrd="0" presId="urn:microsoft.com/office/officeart/2005/8/layout/hProcess6"/>
    <dgm:cxn modelId="{CC9F1932-9E2A-46D5-80F2-72DA528EC040}" type="presParOf" srcId="{7026D8C5-1FF4-49EB-8CB4-89EF19AFECF0}" destId="{AFACA2D7-3834-45C6-AF8F-9F9AE0FE0DA1}" srcOrd="4" destOrd="0" presId="urn:microsoft.com/office/officeart/2005/8/layout/hProcess6"/>
    <dgm:cxn modelId="{FB620B2C-9EF3-4D12-A6C3-5D30F2C93C1F}" type="presParOf" srcId="{AFACA2D7-3834-45C6-AF8F-9F9AE0FE0DA1}" destId="{7A8D9CF1-73B1-4B9C-B47C-9030C5C1BDEC}" srcOrd="0" destOrd="0" presId="urn:microsoft.com/office/officeart/2005/8/layout/hProcess6"/>
    <dgm:cxn modelId="{287EA868-F7A5-4ECD-A7DB-939F7700447F}" type="presParOf" srcId="{AFACA2D7-3834-45C6-AF8F-9F9AE0FE0DA1}" destId="{E60EBB02-EE03-47AD-80CA-FA33E1EB4E64}" srcOrd="1" destOrd="0" presId="urn:microsoft.com/office/officeart/2005/8/layout/hProcess6"/>
    <dgm:cxn modelId="{68DB545B-B04D-4CA8-BCF8-BB88754ED79A}" type="presParOf" srcId="{AFACA2D7-3834-45C6-AF8F-9F9AE0FE0DA1}" destId="{D4E49EE0-473D-4811-A242-7937F92F58B6}" srcOrd="2" destOrd="0" presId="urn:microsoft.com/office/officeart/2005/8/layout/hProcess6"/>
    <dgm:cxn modelId="{6A95E18D-724B-45A8-8620-3922E8C933DF}" type="presParOf" srcId="{AFACA2D7-3834-45C6-AF8F-9F9AE0FE0DA1}" destId="{4E0993F0-7F2B-425D-B00A-2962B8B0D360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DA049BF-BD0F-4EAE-95FE-05A0BDFB0362}" type="doc">
      <dgm:prSet loTypeId="urn:microsoft.com/office/officeart/2005/8/layout/hProcess6" loCatId="process" qsTypeId="urn:microsoft.com/office/officeart/2005/8/quickstyle/3d9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E07B39C-0B9E-4F4F-9686-4B44ECBE733F}">
      <dgm:prSet phldrT="[Text]"/>
      <dgm:spPr/>
      <dgm:t>
        <a:bodyPr/>
        <a:lstStyle/>
        <a:p>
          <a:r>
            <a:rPr lang="en-US" dirty="0"/>
            <a:t>Feb’21</a:t>
          </a:r>
        </a:p>
      </dgm:t>
    </dgm:pt>
    <dgm:pt modelId="{F4957C3A-3F12-46FF-AFBA-BD310E500DAE}" type="parTrans" cxnId="{8E7168A5-3E58-431C-BF6E-23E4FE968E6F}">
      <dgm:prSet/>
      <dgm:spPr/>
      <dgm:t>
        <a:bodyPr/>
        <a:lstStyle/>
        <a:p>
          <a:endParaRPr lang="en-US"/>
        </a:p>
      </dgm:t>
    </dgm:pt>
    <dgm:pt modelId="{8225EF9B-181B-4547-A0E0-BCF9B6A28526}" type="sibTrans" cxnId="{8E7168A5-3E58-431C-BF6E-23E4FE968E6F}">
      <dgm:prSet/>
      <dgm:spPr/>
      <dgm:t>
        <a:bodyPr/>
        <a:lstStyle/>
        <a:p>
          <a:endParaRPr lang="en-US"/>
        </a:p>
      </dgm:t>
    </dgm:pt>
    <dgm:pt modelId="{304CDF59-83D8-4444-961C-8A8EBA5730EC}">
      <dgm:prSet phldrT="[Text]"/>
      <dgm:spPr/>
      <dgm:t>
        <a:bodyPr/>
        <a:lstStyle/>
        <a:p>
          <a:r>
            <a:rPr lang="en-US" dirty="0"/>
            <a:t>PTPN</a:t>
          </a:r>
        </a:p>
      </dgm:t>
    </dgm:pt>
    <dgm:pt modelId="{72C683F7-7F2C-49E3-8699-1B207D146FF6}" type="parTrans" cxnId="{0626BF8F-08BB-4C35-95DC-41F29D5BCA78}">
      <dgm:prSet/>
      <dgm:spPr/>
      <dgm:t>
        <a:bodyPr/>
        <a:lstStyle/>
        <a:p>
          <a:endParaRPr lang="en-US"/>
        </a:p>
      </dgm:t>
    </dgm:pt>
    <dgm:pt modelId="{1C1F0020-72FF-42D2-B1B4-91D570C3DAB1}" type="sibTrans" cxnId="{0626BF8F-08BB-4C35-95DC-41F29D5BCA78}">
      <dgm:prSet/>
      <dgm:spPr/>
      <dgm:t>
        <a:bodyPr/>
        <a:lstStyle/>
        <a:p>
          <a:endParaRPr lang="en-US"/>
        </a:p>
      </dgm:t>
    </dgm:pt>
    <dgm:pt modelId="{43E0ABD1-A14A-4E06-9378-E13D3A4F03BD}">
      <dgm:prSet phldrT="[Text]"/>
      <dgm:spPr/>
      <dgm:t>
        <a:bodyPr/>
        <a:lstStyle/>
        <a:p>
          <a:r>
            <a:rPr lang="en-US" dirty="0"/>
            <a:t>Soon</a:t>
          </a:r>
        </a:p>
      </dgm:t>
    </dgm:pt>
    <dgm:pt modelId="{BA636933-1936-408C-B861-55CDBC6ADF39}" type="parTrans" cxnId="{265BEA1E-D997-44A6-9000-C64E7E3BD95F}">
      <dgm:prSet/>
      <dgm:spPr/>
      <dgm:t>
        <a:bodyPr/>
        <a:lstStyle/>
        <a:p>
          <a:endParaRPr lang="en-US"/>
        </a:p>
      </dgm:t>
    </dgm:pt>
    <dgm:pt modelId="{261C24B5-2FF1-4D93-AF83-14ED1E04205E}" type="sibTrans" cxnId="{265BEA1E-D997-44A6-9000-C64E7E3BD95F}">
      <dgm:prSet/>
      <dgm:spPr/>
      <dgm:t>
        <a:bodyPr/>
        <a:lstStyle/>
        <a:p>
          <a:endParaRPr lang="en-US"/>
        </a:p>
      </dgm:t>
    </dgm:pt>
    <dgm:pt modelId="{C4EB4DFC-D9AD-4306-8C60-23F9B9A46E05}">
      <dgm:prSet phldrT="[Text]"/>
      <dgm:spPr/>
      <dgm:t>
        <a:bodyPr/>
        <a:lstStyle/>
        <a:p>
          <a:r>
            <a:rPr lang="en-US" dirty="0"/>
            <a:t>HSH</a:t>
          </a:r>
        </a:p>
      </dgm:t>
    </dgm:pt>
    <dgm:pt modelId="{90367B2C-C6F0-404E-A2B1-0FD2586B81A2}" type="parTrans" cxnId="{179DD7FF-E81A-4CCD-BD35-4E2502A7B954}">
      <dgm:prSet/>
      <dgm:spPr/>
      <dgm:t>
        <a:bodyPr/>
        <a:lstStyle/>
        <a:p>
          <a:endParaRPr lang="en-US"/>
        </a:p>
      </dgm:t>
    </dgm:pt>
    <dgm:pt modelId="{176354C3-412A-4BF3-AB12-8CAFA1EB3E17}" type="sibTrans" cxnId="{179DD7FF-E81A-4CCD-BD35-4E2502A7B954}">
      <dgm:prSet/>
      <dgm:spPr/>
      <dgm:t>
        <a:bodyPr/>
        <a:lstStyle/>
        <a:p>
          <a:endParaRPr lang="en-US"/>
        </a:p>
      </dgm:t>
    </dgm:pt>
    <dgm:pt modelId="{7026D8C5-1FF4-49EB-8CB4-89EF19AFECF0}" type="pres">
      <dgm:prSet presAssocID="{9DA049BF-BD0F-4EAE-95FE-05A0BDFB0362}" presName="theList" presStyleCnt="0">
        <dgm:presLayoutVars>
          <dgm:dir/>
          <dgm:animLvl val="lvl"/>
          <dgm:resizeHandles val="exact"/>
        </dgm:presLayoutVars>
      </dgm:prSet>
      <dgm:spPr/>
    </dgm:pt>
    <dgm:pt modelId="{408A4107-96E6-4F2D-9891-30C65737E33D}" type="pres">
      <dgm:prSet presAssocID="{EE07B39C-0B9E-4F4F-9686-4B44ECBE733F}" presName="compNode" presStyleCnt="0"/>
      <dgm:spPr/>
    </dgm:pt>
    <dgm:pt modelId="{2260AA61-3750-4191-996B-EC60FC88A988}" type="pres">
      <dgm:prSet presAssocID="{EE07B39C-0B9E-4F4F-9686-4B44ECBE733F}" presName="noGeometry" presStyleCnt="0"/>
      <dgm:spPr/>
    </dgm:pt>
    <dgm:pt modelId="{6E92D028-4FE7-44B4-8654-64A32E5A468B}" type="pres">
      <dgm:prSet presAssocID="{EE07B39C-0B9E-4F4F-9686-4B44ECBE733F}" presName="childTextVisible" presStyleLbl="bgAccFollowNode1" presStyleIdx="0" presStyleCnt="2">
        <dgm:presLayoutVars>
          <dgm:bulletEnabled val="1"/>
        </dgm:presLayoutVars>
      </dgm:prSet>
      <dgm:spPr/>
    </dgm:pt>
    <dgm:pt modelId="{65652922-DEF1-4AAF-9E13-F80D8BF757FD}" type="pres">
      <dgm:prSet presAssocID="{EE07B39C-0B9E-4F4F-9686-4B44ECBE733F}" presName="childTextHidden" presStyleLbl="bgAccFollowNode1" presStyleIdx="0" presStyleCnt="2"/>
      <dgm:spPr/>
    </dgm:pt>
    <dgm:pt modelId="{DC403B7A-44F2-4418-B5AB-5B813C884EF3}" type="pres">
      <dgm:prSet presAssocID="{EE07B39C-0B9E-4F4F-9686-4B44ECBE733F}" presName="parentText" presStyleLbl="node1" presStyleIdx="0" presStyleCnt="2">
        <dgm:presLayoutVars>
          <dgm:chMax val="1"/>
          <dgm:bulletEnabled val="1"/>
        </dgm:presLayoutVars>
      </dgm:prSet>
      <dgm:spPr/>
    </dgm:pt>
    <dgm:pt modelId="{E5F3367C-561C-4BFF-B4F6-9F915C4B7E91}" type="pres">
      <dgm:prSet presAssocID="{EE07B39C-0B9E-4F4F-9686-4B44ECBE733F}" presName="aSpace" presStyleCnt="0"/>
      <dgm:spPr/>
    </dgm:pt>
    <dgm:pt modelId="{13FEB378-CEB3-401C-A623-B724B3672C44}" type="pres">
      <dgm:prSet presAssocID="{43E0ABD1-A14A-4E06-9378-E13D3A4F03BD}" presName="compNode" presStyleCnt="0"/>
      <dgm:spPr/>
    </dgm:pt>
    <dgm:pt modelId="{0DF59F3D-A46E-43FA-BD79-B79B3A91F08A}" type="pres">
      <dgm:prSet presAssocID="{43E0ABD1-A14A-4E06-9378-E13D3A4F03BD}" presName="noGeometry" presStyleCnt="0"/>
      <dgm:spPr/>
    </dgm:pt>
    <dgm:pt modelId="{6C100991-341A-4855-BE6A-25833911A868}" type="pres">
      <dgm:prSet presAssocID="{43E0ABD1-A14A-4E06-9378-E13D3A4F03BD}" presName="childTextVisible" presStyleLbl="bgAccFollowNode1" presStyleIdx="1" presStyleCnt="2">
        <dgm:presLayoutVars>
          <dgm:bulletEnabled val="1"/>
        </dgm:presLayoutVars>
      </dgm:prSet>
      <dgm:spPr/>
    </dgm:pt>
    <dgm:pt modelId="{02CCB95A-C7A7-4802-A552-D59CB5934C44}" type="pres">
      <dgm:prSet presAssocID="{43E0ABD1-A14A-4E06-9378-E13D3A4F03BD}" presName="childTextHidden" presStyleLbl="bgAccFollowNode1" presStyleIdx="1" presStyleCnt="2"/>
      <dgm:spPr/>
    </dgm:pt>
    <dgm:pt modelId="{BB628673-097B-4A92-8FAD-5AD7B1947C7D}" type="pres">
      <dgm:prSet presAssocID="{43E0ABD1-A14A-4E06-9378-E13D3A4F03BD}" presName="parentText" presStyleLbl="node1" presStyleIdx="1" presStyleCnt="2">
        <dgm:presLayoutVars>
          <dgm:chMax val="1"/>
          <dgm:bulletEnabled val="1"/>
        </dgm:presLayoutVars>
      </dgm:prSet>
      <dgm:spPr/>
    </dgm:pt>
  </dgm:ptLst>
  <dgm:cxnLst>
    <dgm:cxn modelId="{F522AC02-47AA-4766-8964-63DFD88344A1}" type="presOf" srcId="{C4EB4DFC-D9AD-4306-8C60-23F9B9A46E05}" destId="{6C100991-341A-4855-BE6A-25833911A868}" srcOrd="0" destOrd="0" presId="urn:microsoft.com/office/officeart/2005/8/layout/hProcess6"/>
    <dgm:cxn modelId="{5F398603-099B-4667-B513-96E5FC18CE2E}" type="presOf" srcId="{EE07B39C-0B9E-4F4F-9686-4B44ECBE733F}" destId="{DC403B7A-44F2-4418-B5AB-5B813C884EF3}" srcOrd="0" destOrd="0" presId="urn:microsoft.com/office/officeart/2005/8/layout/hProcess6"/>
    <dgm:cxn modelId="{4540730F-6386-4BF9-BEED-B9090CEC11E9}" type="presOf" srcId="{43E0ABD1-A14A-4E06-9378-E13D3A4F03BD}" destId="{BB628673-097B-4A92-8FAD-5AD7B1947C7D}" srcOrd="0" destOrd="0" presId="urn:microsoft.com/office/officeart/2005/8/layout/hProcess6"/>
    <dgm:cxn modelId="{265BEA1E-D997-44A6-9000-C64E7E3BD95F}" srcId="{9DA049BF-BD0F-4EAE-95FE-05A0BDFB0362}" destId="{43E0ABD1-A14A-4E06-9378-E13D3A4F03BD}" srcOrd="1" destOrd="0" parTransId="{BA636933-1936-408C-B861-55CDBC6ADF39}" sibTransId="{261C24B5-2FF1-4D93-AF83-14ED1E04205E}"/>
    <dgm:cxn modelId="{1325CD4F-F0E1-4610-9DE6-45730020577B}" type="presOf" srcId="{C4EB4DFC-D9AD-4306-8C60-23F9B9A46E05}" destId="{02CCB95A-C7A7-4802-A552-D59CB5934C44}" srcOrd="1" destOrd="0" presId="urn:microsoft.com/office/officeart/2005/8/layout/hProcess6"/>
    <dgm:cxn modelId="{35A4E184-15A4-4B1B-9CD2-77399D78142E}" type="presOf" srcId="{9DA049BF-BD0F-4EAE-95FE-05A0BDFB0362}" destId="{7026D8C5-1FF4-49EB-8CB4-89EF19AFECF0}" srcOrd="0" destOrd="0" presId="urn:microsoft.com/office/officeart/2005/8/layout/hProcess6"/>
    <dgm:cxn modelId="{0626BF8F-08BB-4C35-95DC-41F29D5BCA78}" srcId="{EE07B39C-0B9E-4F4F-9686-4B44ECBE733F}" destId="{304CDF59-83D8-4444-961C-8A8EBA5730EC}" srcOrd="0" destOrd="0" parTransId="{72C683F7-7F2C-49E3-8699-1B207D146FF6}" sibTransId="{1C1F0020-72FF-42D2-B1B4-91D570C3DAB1}"/>
    <dgm:cxn modelId="{8E7168A5-3E58-431C-BF6E-23E4FE968E6F}" srcId="{9DA049BF-BD0F-4EAE-95FE-05A0BDFB0362}" destId="{EE07B39C-0B9E-4F4F-9686-4B44ECBE733F}" srcOrd="0" destOrd="0" parTransId="{F4957C3A-3F12-46FF-AFBA-BD310E500DAE}" sibTransId="{8225EF9B-181B-4547-A0E0-BCF9B6A28526}"/>
    <dgm:cxn modelId="{BE8440B4-65D5-45C4-9C13-6BA968A7A2E8}" type="presOf" srcId="{304CDF59-83D8-4444-961C-8A8EBA5730EC}" destId="{6E92D028-4FE7-44B4-8654-64A32E5A468B}" srcOrd="0" destOrd="0" presId="urn:microsoft.com/office/officeart/2005/8/layout/hProcess6"/>
    <dgm:cxn modelId="{9000DDC1-8B0A-4400-92C5-6D8445109DAF}" type="presOf" srcId="{304CDF59-83D8-4444-961C-8A8EBA5730EC}" destId="{65652922-DEF1-4AAF-9E13-F80D8BF757FD}" srcOrd="1" destOrd="0" presId="urn:microsoft.com/office/officeart/2005/8/layout/hProcess6"/>
    <dgm:cxn modelId="{179DD7FF-E81A-4CCD-BD35-4E2502A7B954}" srcId="{43E0ABD1-A14A-4E06-9378-E13D3A4F03BD}" destId="{C4EB4DFC-D9AD-4306-8C60-23F9B9A46E05}" srcOrd="0" destOrd="0" parTransId="{90367B2C-C6F0-404E-A2B1-0FD2586B81A2}" sibTransId="{176354C3-412A-4BF3-AB12-8CAFA1EB3E17}"/>
    <dgm:cxn modelId="{B3496CCB-B004-412F-97A3-A38E6AC2A95C}" type="presParOf" srcId="{7026D8C5-1FF4-49EB-8CB4-89EF19AFECF0}" destId="{408A4107-96E6-4F2D-9891-30C65737E33D}" srcOrd="0" destOrd="0" presId="urn:microsoft.com/office/officeart/2005/8/layout/hProcess6"/>
    <dgm:cxn modelId="{3547D6C7-43AF-4EEA-ACF5-BD6BCF0E8E58}" type="presParOf" srcId="{408A4107-96E6-4F2D-9891-30C65737E33D}" destId="{2260AA61-3750-4191-996B-EC60FC88A988}" srcOrd="0" destOrd="0" presId="urn:microsoft.com/office/officeart/2005/8/layout/hProcess6"/>
    <dgm:cxn modelId="{62D0F606-05CD-4055-8365-6CE0A0F6875D}" type="presParOf" srcId="{408A4107-96E6-4F2D-9891-30C65737E33D}" destId="{6E92D028-4FE7-44B4-8654-64A32E5A468B}" srcOrd="1" destOrd="0" presId="urn:microsoft.com/office/officeart/2005/8/layout/hProcess6"/>
    <dgm:cxn modelId="{A0680887-7D53-4007-90A8-E519894FB3D4}" type="presParOf" srcId="{408A4107-96E6-4F2D-9891-30C65737E33D}" destId="{65652922-DEF1-4AAF-9E13-F80D8BF757FD}" srcOrd="2" destOrd="0" presId="urn:microsoft.com/office/officeart/2005/8/layout/hProcess6"/>
    <dgm:cxn modelId="{3FB604A3-008D-4E0E-B77F-1D1CE7D102A9}" type="presParOf" srcId="{408A4107-96E6-4F2D-9891-30C65737E33D}" destId="{DC403B7A-44F2-4418-B5AB-5B813C884EF3}" srcOrd="3" destOrd="0" presId="urn:microsoft.com/office/officeart/2005/8/layout/hProcess6"/>
    <dgm:cxn modelId="{A591514A-4E7B-48CA-8A61-1374FC97820D}" type="presParOf" srcId="{7026D8C5-1FF4-49EB-8CB4-89EF19AFECF0}" destId="{E5F3367C-561C-4BFF-B4F6-9F915C4B7E91}" srcOrd="1" destOrd="0" presId="urn:microsoft.com/office/officeart/2005/8/layout/hProcess6"/>
    <dgm:cxn modelId="{C36B71A5-D01E-4EC0-B3FF-72CA6D15CA04}" type="presParOf" srcId="{7026D8C5-1FF4-49EB-8CB4-89EF19AFECF0}" destId="{13FEB378-CEB3-401C-A623-B724B3672C44}" srcOrd="2" destOrd="0" presId="urn:microsoft.com/office/officeart/2005/8/layout/hProcess6"/>
    <dgm:cxn modelId="{A46E29B0-9F3E-4C01-99B5-3F71919E359F}" type="presParOf" srcId="{13FEB378-CEB3-401C-A623-B724B3672C44}" destId="{0DF59F3D-A46E-43FA-BD79-B79B3A91F08A}" srcOrd="0" destOrd="0" presId="urn:microsoft.com/office/officeart/2005/8/layout/hProcess6"/>
    <dgm:cxn modelId="{50EBFA85-CC2F-4BA7-8084-D0124D9514C3}" type="presParOf" srcId="{13FEB378-CEB3-401C-A623-B724B3672C44}" destId="{6C100991-341A-4855-BE6A-25833911A868}" srcOrd="1" destOrd="0" presId="urn:microsoft.com/office/officeart/2005/8/layout/hProcess6"/>
    <dgm:cxn modelId="{3C60C888-A481-4DE1-BDCD-75BC4938A483}" type="presParOf" srcId="{13FEB378-CEB3-401C-A623-B724B3672C44}" destId="{02CCB95A-C7A7-4802-A552-D59CB5934C44}" srcOrd="2" destOrd="0" presId="urn:microsoft.com/office/officeart/2005/8/layout/hProcess6"/>
    <dgm:cxn modelId="{2A2CE015-9E33-4AE1-888E-89856DE71F4E}" type="presParOf" srcId="{13FEB378-CEB3-401C-A623-B724B3672C44}" destId="{BB628673-097B-4A92-8FAD-5AD7B1947C7D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92D028-4FE7-44B4-8654-64A32E5A468B}">
      <dsp:nvSpPr>
        <dsp:cNvPr id="0" name=""/>
        <dsp:cNvSpPr/>
      </dsp:nvSpPr>
      <dsp:spPr>
        <a:xfrm>
          <a:off x="485054" y="1525178"/>
          <a:ext cx="1925631" cy="1683244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p3d z="-227350" prstMaterial="matte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19050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PTPR</a:t>
          </a:r>
        </a:p>
      </dsp:txBody>
      <dsp:txXfrm>
        <a:off x="966462" y="1777665"/>
        <a:ext cx="938745" cy="1178270"/>
      </dsp:txXfrm>
    </dsp:sp>
    <dsp:sp modelId="{DC403B7A-44F2-4418-B5AB-5B813C884EF3}">
      <dsp:nvSpPr>
        <dsp:cNvPr id="0" name=""/>
        <dsp:cNvSpPr/>
      </dsp:nvSpPr>
      <dsp:spPr>
        <a:xfrm>
          <a:off x="3647" y="1885393"/>
          <a:ext cx="962815" cy="96281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  <a:sp3d extrusionH="28000" prstMaterial="matte"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ept’20</a:t>
          </a:r>
        </a:p>
      </dsp:txBody>
      <dsp:txXfrm>
        <a:off x="144648" y="2026394"/>
        <a:ext cx="680813" cy="680813"/>
      </dsp:txXfrm>
    </dsp:sp>
    <dsp:sp modelId="{6C100991-341A-4855-BE6A-25833911A868}">
      <dsp:nvSpPr>
        <dsp:cNvPr id="0" name=""/>
        <dsp:cNvSpPr/>
      </dsp:nvSpPr>
      <dsp:spPr>
        <a:xfrm>
          <a:off x="3012446" y="1525178"/>
          <a:ext cx="1925631" cy="1683244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p3d z="-227350" prstMaterial="matte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19050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Pertamina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Persero</a:t>
          </a:r>
        </a:p>
      </dsp:txBody>
      <dsp:txXfrm>
        <a:off x="3493854" y="1777665"/>
        <a:ext cx="938745" cy="1178270"/>
      </dsp:txXfrm>
    </dsp:sp>
    <dsp:sp modelId="{BB628673-097B-4A92-8FAD-5AD7B1947C7D}">
      <dsp:nvSpPr>
        <dsp:cNvPr id="0" name=""/>
        <dsp:cNvSpPr/>
      </dsp:nvSpPr>
      <dsp:spPr>
        <a:xfrm>
          <a:off x="2531038" y="1885393"/>
          <a:ext cx="962815" cy="96281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  <a:sp3d extrusionH="28000" prstMaterial="matte"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Oct’20</a:t>
          </a:r>
        </a:p>
      </dsp:txBody>
      <dsp:txXfrm>
        <a:off x="2672039" y="2026394"/>
        <a:ext cx="680813" cy="680813"/>
      </dsp:txXfrm>
    </dsp:sp>
    <dsp:sp modelId="{E60EBB02-EE03-47AD-80CA-FA33E1EB4E64}">
      <dsp:nvSpPr>
        <dsp:cNvPr id="0" name=""/>
        <dsp:cNvSpPr/>
      </dsp:nvSpPr>
      <dsp:spPr>
        <a:xfrm>
          <a:off x="5539838" y="1525178"/>
          <a:ext cx="1925631" cy="1683244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p3d z="-227350" prstMaterial="matte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19050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PHI</a:t>
          </a:r>
        </a:p>
      </dsp:txBody>
      <dsp:txXfrm>
        <a:off x="6021246" y="1777665"/>
        <a:ext cx="938745" cy="1178270"/>
      </dsp:txXfrm>
    </dsp:sp>
    <dsp:sp modelId="{4E0993F0-7F2B-425D-B00A-2962B8B0D360}">
      <dsp:nvSpPr>
        <dsp:cNvPr id="0" name=""/>
        <dsp:cNvSpPr/>
      </dsp:nvSpPr>
      <dsp:spPr>
        <a:xfrm>
          <a:off x="5058430" y="1885393"/>
          <a:ext cx="962815" cy="96281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  <a:sp3d extrusionH="28000" prstMaterial="matte"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Dec’20</a:t>
          </a:r>
        </a:p>
      </dsp:txBody>
      <dsp:txXfrm>
        <a:off x="5199431" y="2026394"/>
        <a:ext cx="680813" cy="68081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92D028-4FE7-44B4-8654-64A32E5A468B}">
      <dsp:nvSpPr>
        <dsp:cNvPr id="0" name=""/>
        <dsp:cNvSpPr/>
      </dsp:nvSpPr>
      <dsp:spPr>
        <a:xfrm>
          <a:off x="474155" y="818541"/>
          <a:ext cx="1896384" cy="1657678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p3d z="-227350" prstMaterial="matte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15240" rIns="3048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TPN</a:t>
          </a:r>
        </a:p>
      </dsp:txBody>
      <dsp:txXfrm>
        <a:off x="948251" y="1067193"/>
        <a:ext cx="924487" cy="1160374"/>
      </dsp:txXfrm>
    </dsp:sp>
    <dsp:sp modelId="{DC403B7A-44F2-4418-B5AB-5B813C884EF3}">
      <dsp:nvSpPr>
        <dsp:cNvPr id="0" name=""/>
        <dsp:cNvSpPr/>
      </dsp:nvSpPr>
      <dsp:spPr>
        <a:xfrm>
          <a:off x="59" y="1173284"/>
          <a:ext cx="948192" cy="94819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  <a:sp3d extrusionH="28000" prstMaterial="matte"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Feb’21</a:t>
          </a:r>
        </a:p>
      </dsp:txBody>
      <dsp:txXfrm>
        <a:off x="138919" y="1312144"/>
        <a:ext cx="670472" cy="670472"/>
      </dsp:txXfrm>
    </dsp:sp>
    <dsp:sp modelId="{6C100991-341A-4855-BE6A-25833911A868}">
      <dsp:nvSpPr>
        <dsp:cNvPr id="0" name=""/>
        <dsp:cNvSpPr/>
      </dsp:nvSpPr>
      <dsp:spPr>
        <a:xfrm>
          <a:off x="2963159" y="818541"/>
          <a:ext cx="1896384" cy="1657678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p3d z="-227350" prstMaterial="matte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15240" rIns="3048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HSH</a:t>
          </a:r>
        </a:p>
      </dsp:txBody>
      <dsp:txXfrm>
        <a:off x="3437255" y="1067193"/>
        <a:ext cx="924487" cy="1160374"/>
      </dsp:txXfrm>
    </dsp:sp>
    <dsp:sp modelId="{BB628673-097B-4A92-8FAD-5AD7B1947C7D}">
      <dsp:nvSpPr>
        <dsp:cNvPr id="0" name=""/>
        <dsp:cNvSpPr/>
      </dsp:nvSpPr>
      <dsp:spPr>
        <a:xfrm>
          <a:off x="2489063" y="1173284"/>
          <a:ext cx="948192" cy="94819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  <a:sp3d extrusionH="28000" prstMaterial="matte"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oon</a:t>
          </a:r>
        </a:p>
      </dsp:txBody>
      <dsp:txXfrm>
        <a:off x="2627923" y="1312144"/>
        <a:ext cx="670472" cy="6704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3.xml"/><Relationship Id="rId4" Type="http://schemas.microsoft.com/office/2007/relationships/hdphoto" Target="../media/hdphoto1.wdp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59767" y="1733858"/>
            <a:ext cx="5616606" cy="2387600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9767" y="4368854"/>
            <a:ext cx="5616605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28017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090B2-0048-45A8-A736-3EBE379DFA5C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F9CD-A97E-400E-A063-4DCA89081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71656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id="{A45798D9-CAFF-4DD7-AB24-0A8493ACDD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88520" y="1830618"/>
            <a:ext cx="2716706" cy="43227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AB90EF0-CEED-4A53-B844-4EE65FBA6C64}"/>
              </a:ext>
            </a:extLst>
          </p:cNvPr>
          <p:cNvGrpSpPr/>
          <p:nvPr userDrawn="1"/>
        </p:nvGrpSpPr>
        <p:grpSpPr>
          <a:xfrm>
            <a:off x="-1" y="-121539"/>
            <a:ext cx="12192001" cy="1608851"/>
            <a:chOff x="-1" y="-121539"/>
            <a:chExt cx="12192001" cy="1608851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60EB6D2-B879-496E-A5EF-575D5374257B}"/>
                </a:ext>
              </a:extLst>
            </p:cNvPr>
            <p:cNvSpPr/>
            <p:nvPr userDrawn="1"/>
          </p:nvSpPr>
          <p:spPr>
            <a:xfrm>
              <a:off x="0" y="1"/>
              <a:ext cx="12192000" cy="140017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CF66667A-BCF7-4F22-A620-8007DEC2906A}"/>
                </a:ext>
              </a:extLst>
            </p:cNvPr>
            <p:cNvSpPr/>
            <p:nvPr userDrawn="1"/>
          </p:nvSpPr>
          <p:spPr>
            <a:xfrm>
              <a:off x="-1" y="-121539"/>
              <a:ext cx="12192000" cy="1608851"/>
            </a:xfrm>
            <a:custGeom>
              <a:avLst/>
              <a:gdLst>
                <a:gd name="connsiteX0" fmla="*/ 8760317 w 12192000"/>
                <a:gd name="connsiteY0" fmla="*/ 780798 h 1608850"/>
                <a:gd name="connsiteX1" fmla="*/ 8760317 w 12192000"/>
                <a:gd name="connsiteY1" fmla="*/ 785159 h 1608850"/>
                <a:gd name="connsiteX2" fmla="*/ 8761882 w 12192000"/>
                <a:gd name="connsiteY2" fmla="*/ 787771 h 1608850"/>
                <a:gd name="connsiteX3" fmla="*/ 8762996 w 12192000"/>
                <a:gd name="connsiteY3" fmla="*/ 787771 h 1608850"/>
                <a:gd name="connsiteX4" fmla="*/ 8762996 w 12192000"/>
                <a:gd name="connsiteY4" fmla="*/ 786900 h 1608850"/>
                <a:gd name="connsiteX5" fmla="*/ 8762996 w 12192000"/>
                <a:gd name="connsiteY5" fmla="*/ 780798 h 1608850"/>
                <a:gd name="connsiteX6" fmla="*/ 8761881 w 12192000"/>
                <a:gd name="connsiteY6" fmla="*/ 780798 h 1608850"/>
                <a:gd name="connsiteX7" fmla="*/ 8758924 w 12192000"/>
                <a:gd name="connsiteY7" fmla="*/ 762200 h 1608850"/>
                <a:gd name="connsiteX8" fmla="*/ 8759734 w 12192000"/>
                <a:gd name="connsiteY8" fmla="*/ 771499 h 1608850"/>
                <a:gd name="connsiteX9" fmla="*/ 8762996 w 12192000"/>
                <a:gd name="connsiteY9" fmla="*/ 771499 h 1608850"/>
                <a:gd name="connsiteX10" fmla="*/ 8762996 w 12192000"/>
                <a:gd name="connsiteY10" fmla="*/ 770337 h 1608850"/>
                <a:gd name="connsiteX11" fmla="*/ 8762996 w 12192000"/>
                <a:gd name="connsiteY11" fmla="*/ 762200 h 1608850"/>
                <a:gd name="connsiteX12" fmla="*/ 8761881 w 12192000"/>
                <a:gd name="connsiteY12" fmla="*/ 762200 h 1608850"/>
                <a:gd name="connsiteX13" fmla="*/ 8755951 w 12192000"/>
                <a:gd name="connsiteY13" fmla="*/ 745928 h 1608850"/>
                <a:gd name="connsiteX14" fmla="*/ 8756137 w 12192000"/>
                <a:gd name="connsiteY14" fmla="*/ 746512 h 1608850"/>
                <a:gd name="connsiteX15" fmla="*/ 8758088 w 12192000"/>
                <a:gd name="connsiteY15" fmla="*/ 752614 h 1608850"/>
                <a:gd name="connsiteX16" fmla="*/ 8758113 w 12192000"/>
                <a:gd name="connsiteY16" fmla="*/ 752902 h 1608850"/>
                <a:gd name="connsiteX17" fmla="*/ 8762996 w 12192000"/>
                <a:gd name="connsiteY17" fmla="*/ 752902 h 1608850"/>
                <a:gd name="connsiteX18" fmla="*/ 8762996 w 12192000"/>
                <a:gd name="connsiteY18" fmla="*/ 752030 h 1608850"/>
                <a:gd name="connsiteX19" fmla="*/ 8762996 w 12192000"/>
                <a:gd name="connsiteY19" fmla="*/ 745928 h 1608850"/>
                <a:gd name="connsiteX20" fmla="*/ 8761881 w 12192000"/>
                <a:gd name="connsiteY20" fmla="*/ 745928 h 1608850"/>
                <a:gd name="connsiteX21" fmla="*/ 8907881 w 12192000"/>
                <a:gd name="connsiteY21" fmla="*/ 718032 h 1608850"/>
                <a:gd name="connsiteX22" fmla="*/ 8907881 w 12192000"/>
                <a:gd name="connsiteY22" fmla="*/ 719194 h 1608850"/>
                <a:gd name="connsiteX23" fmla="*/ 8907881 w 12192000"/>
                <a:gd name="connsiteY23" fmla="*/ 727331 h 1608850"/>
                <a:gd name="connsiteX24" fmla="*/ 8908543 w 12192000"/>
                <a:gd name="connsiteY24" fmla="*/ 727331 h 1608850"/>
                <a:gd name="connsiteX25" fmla="*/ 8908543 w 12192000"/>
                <a:gd name="connsiteY25" fmla="*/ 718032 h 1608850"/>
                <a:gd name="connsiteX26" fmla="*/ 1099585 w 12192000"/>
                <a:gd name="connsiteY26" fmla="*/ 0 h 1608850"/>
                <a:gd name="connsiteX27" fmla="*/ 1101611 w 12192000"/>
                <a:gd name="connsiteY27" fmla="*/ 246443 h 1608850"/>
                <a:gd name="connsiteX28" fmla="*/ 1140117 w 12192000"/>
                <a:gd name="connsiteY28" fmla="*/ 326429 h 1608850"/>
                <a:gd name="connsiteX29" fmla="*/ 1142145 w 12192000"/>
                <a:gd name="connsiteY29" fmla="*/ 326429 h 1608850"/>
                <a:gd name="connsiteX30" fmla="*/ 1156331 w 12192000"/>
                <a:gd name="connsiteY30" fmla="*/ 326429 h 1608850"/>
                <a:gd name="connsiteX31" fmla="*/ 1156331 w 12192000"/>
                <a:gd name="connsiteY31" fmla="*/ 350208 h 1608850"/>
                <a:gd name="connsiteX32" fmla="*/ 1156839 w 12192000"/>
                <a:gd name="connsiteY32" fmla="*/ 351019 h 1608850"/>
                <a:gd name="connsiteX33" fmla="*/ 1160385 w 12192000"/>
                <a:gd name="connsiteY33" fmla="*/ 356694 h 1608850"/>
                <a:gd name="connsiteX34" fmla="*/ 1160385 w 12192000"/>
                <a:gd name="connsiteY34" fmla="*/ 471268 h 1608850"/>
                <a:gd name="connsiteX35" fmla="*/ 1162664 w 12192000"/>
                <a:gd name="connsiteY35" fmla="*/ 471268 h 1608850"/>
                <a:gd name="connsiteX36" fmla="*/ 1178625 w 12192000"/>
                <a:gd name="connsiteY36" fmla="*/ 471268 h 1608850"/>
                <a:gd name="connsiteX37" fmla="*/ 1178625 w 12192000"/>
                <a:gd name="connsiteY37" fmla="*/ 611783 h 1608850"/>
                <a:gd name="connsiteX38" fmla="*/ 1180145 w 12192000"/>
                <a:gd name="connsiteY38" fmla="*/ 611513 h 1608850"/>
                <a:gd name="connsiteX39" fmla="*/ 1190785 w 12192000"/>
                <a:gd name="connsiteY39" fmla="*/ 609622 h 1608850"/>
                <a:gd name="connsiteX40" fmla="*/ 1188759 w 12192000"/>
                <a:gd name="connsiteY40" fmla="*/ 698254 h 1608850"/>
                <a:gd name="connsiteX41" fmla="*/ 1190279 w 12192000"/>
                <a:gd name="connsiteY41" fmla="*/ 698525 h 1608850"/>
                <a:gd name="connsiteX42" fmla="*/ 1200919 w 12192000"/>
                <a:gd name="connsiteY42" fmla="*/ 700416 h 1608850"/>
                <a:gd name="connsiteX43" fmla="*/ 1201171 w 12192000"/>
                <a:gd name="connsiteY43" fmla="*/ 701227 h 1608850"/>
                <a:gd name="connsiteX44" fmla="*/ 1202945 w 12192000"/>
                <a:gd name="connsiteY44" fmla="*/ 706902 h 1608850"/>
                <a:gd name="connsiteX45" fmla="*/ 1203705 w 12192000"/>
                <a:gd name="connsiteY45" fmla="*/ 704470 h 1608850"/>
                <a:gd name="connsiteX46" fmla="*/ 1209025 w 12192000"/>
                <a:gd name="connsiteY46" fmla="*/ 687446 h 1608850"/>
                <a:gd name="connsiteX47" fmla="*/ 1210799 w 12192000"/>
                <a:gd name="connsiteY47" fmla="*/ 687446 h 1608850"/>
                <a:gd name="connsiteX48" fmla="*/ 1223212 w 12192000"/>
                <a:gd name="connsiteY48" fmla="*/ 687446 h 1608850"/>
                <a:gd name="connsiteX49" fmla="*/ 1223212 w 12192000"/>
                <a:gd name="connsiteY49" fmla="*/ 719872 h 1608850"/>
                <a:gd name="connsiteX50" fmla="*/ 1224225 w 12192000"/>
                <a:gd name="connsiteY50" fmla="*/ 720413 h 1608850"/>
                <a:gd name="connsiteX51" fmla="*/ 1231319 w 12192000"/>
                <a:gd name="connsiteY51" fmla="*/ 724196 h 1608850"/>
                <a:gd name="connsiteX52" fmla="*/ 1231319 w 12192000"/>
                <a:gd name="connsiteY52" fmla="*/ 725547 h 1608850"/>
                <a:gd name="connsiteX53" fmla="*/ 1231319 w 12192000"/>
                <a:gd name="connsiteY53" fmla="*/ 735005 h 1608850"/>
                <a:gd name="connsiteX54" fmla="*/ 1275907 w 12192000"/>
                <a:gd name="connsiteY54" fmla="*/ 735005 h 1608850"/>
                <a:gd name="connsiteX55" fmla="*/ 1275907 w 12192000"/>
                <a:gd name="connsiteY55" fmla="*/ 736086 h 1608850"/>
                <a:gd name="connsiteX56" fmla="*/ 1275907 w 12192000"/>
                <a:gd name="connsiteY56" fmla="*/ 743652 h 1608850"/>
                <a:gd name="connsiteX57" fmla="*/ 1277933 w 12192000"/>
                <a:gd name="connsiteY57" fmla="*/ 743652 h 1608850"/>
                <a:gd name="connsiteX58" fmla="*/ 1292119 w 12192000"/>
                <a:gd name="connsiteY58" fmla="*/ 743652 h 1608850"/>
                <a:gd name="connsiteX59" fmla="*/ 1292119 w 12192000"/>
                <a:gd name="connsiteY59" fmla="*/ 713387 h 1608850"/>
                <a:gd name="connsiteX60" fmla="*/ 1336706 w 12192000"/>
                <a:gd name="connsiteY60" fmla="*/ 713387 h 1608850"/>
                <a:gd name="connsiteX61" fmla="*/ 1336706 w 12192000"/>
                <a:gd name="connsiteY61" fmla="*/ 712036 h 1608850"/>
                <a:gd name="connsiteX62" fmla="*/ 1336706 w 12192000"/>
                <a:gd name="connsiteY62" fmla="*/ 702578 h 1608850"/>
                <a:gd name="connsiteX63" fmla="*/ 1337721 w 12192000"/>
                <a:gd name="connsiteY63" fmla="*/ 702578 h 1608850"/>
                <a:gd name="connsiteX64" fmla="*/ 1344813 w 12192000"/>
                <a:gd name="connsiteY64" fmla="*/ 702578 h 1608850"/>
                <a:gd name="connsiteX65" fmla="*/ 1344813 w 12192000"/>
                <a:gd name="connsiteY65" fmla="*/ 700687 h 1608850"/>
                <a:gd name="connsiteX66" fmla="*/ 1344813 w 12192000"/>
                <a:gd name="connsiteY66" fmla="*/ 687446 h 1608850"/>
                <a:gd name="connsiteX67" fmla="*/ 1345573 w 12192000"/>
                <a:gd name="connsiteY67" fmla="*/ 687446 h 1608850"/>
                <a:gd name="connsiteX68" fmla="*/ 1350893 w 12192000"/>
                <a:gd name="connsiteY68" fmla="*/ 687446 h 1608850"/>
                <a:gd name="connsiteX69" fmla="*/ 1350893 w 12192000"/>
                <a:gd name="connsiteY69" fmla="*/ 686365 h 1608850"/>
                <a:gd name="connsiteX70" fmla="*/ 1350893 w 12192000"/>
                <a:gd name="connsiteY70" fmla="*/ 678798 h 1608850"/>
                <a:gd name="connsiteX71" fmla="*/ 1352921 w 12192000"/>
                <a:gd name="connsiteY71" fmla="*/ 678798 h 1608850"/>
                <a:gd name="connsiteX72" fmla="*/ 1367107 w 12192000"/>
                <a:gd name="connsiteY72" fmla="*/ 678798 h 1608850"/>
                <a:gd name="connsiteX73" fmla="*/ 1367107 w 12192000"/>
                <a:gd name="connsiteY73" fmla="*/ 679879 h 1608850"/>
                <a:gd name="connsiteX74" fmla="*/ 1367107 w 12192000"/>
                <a:gd name="connsiteY74" fmla="*/ 687446 h 1608850"/>
                <a:gd name="connsiteX75" fmla="*/ 1389401 w 12192000"/>
                <a:gd name="connsiteY75" fmla="*/ 687446 h 1608850"/>
                <a:gd name="connsiteX76" fmla="*/ 1389401 w 12192000"/>
                <a:gd name="connsiteY76" fmla="*/ 685554 h 1608850"/>
                <a:gd name="connsiteX77" fmla="*/ 1389401 w 12192000"/>
                <a:gd name="connsiteY77" fmla="*/ 672313 h 1608850"/>
                <a:gd name="connsiteX78" fmla="*/ 1391174 w 12192000"/>
                <a:gd name="connsiteY78" fmla="*/ 672313 h 1608850"/>
                <a:gd name="connsiteX79" fmla="*/ 1403587 w 12192000"/>
                <a:gd name="connsiteY79" fmla="*/ 672313 h 1608850"/>
                <a:gd name="connsiteX80" fmla="*/ 1403587 w 12192000"/>
                <a:gd name="connsiteY80" fmla="*/ 696093 h 1608850"/>
                <a:gd name="connsiteX81" fmla="*/ 1404601 w 12192000"/>
                <a:gd name="connsiteY81" fmla="*/ 696093 h 1608850"/>
                <a:gd name="connsiteX82" fmla="*/ 1411695 w 12192000"/>
                <a:gd name="connsiteY82" fmla="*/ 696093 h 1608850"/>
                <a:gd name="connsiteX83" fmla="*/ 1411695 w 12192000"/>
                <a:gd name="connsiteY83" fmla="*/ 695012 h 1608850"/>
                <a:gd name="connsiteX84" fmla="*/ 1411695 w 12192000"/>
                <a:gd name="connsiteY84" fmla="*/ 687446 h 1608850"/>
                <a:gd name="connsiteX85" fmla="*/ 1413467 w 12192000"/>
                <a:gd name="connsiteY85" fmla="*/ 687446 h 1608850"/>
                <a:gd name="connsiteX86" fmla="*/ 1425881 w 12192000"/>
                <a:gd name="connsiteY86" fmla="*/ 687446 h 1608850"/>
                <a:gd name="connsiteX87" fmla="*/ 1425881 w 12192000"/>
                <a:gd name="connsiteY87" fmla="*/ 713387 h 1608850"/>
                <a:gd name="connsiteX88" fmla="*/ 1427909 w 12192000"/>
                <a:gd name="connsiteY88" fmla="*/ 713387 h 1608850"/>
                <a:gd name="connsiteX89" fmla="*/ 1442095 w 12192000"/>
                <a:gd name="connsiteY89" fmla="*/ 713387 h 1608850"/>
                <a:gd name="connsiteX90" fmla="*/ 1442095 w 12192000"/>
                <a:gd name="connsiteY90" fmla="*/ 715008 h 1608850"/>
                <a:gd name="connsiteX91" fmla="*/ 1442095 w 12192000"/>
                <a:gd name="connsiteY91" fmla="*/ 726358 h 1608850"/>
                <a:gd name="connsiteX92" fmla="*/ 1442855 w 12192000"/>
                <a:gd name="connsiteY92" fmla="*/ 726358 h 1608850"/>
                <a:gd name="connsiteX93" fmla="*/ 1448175 w 12192000"/>
                <a:gd name="connsiteY93" fmla="*/ 726358 h 1608850"/>
                <a:gd name="connsiteX94" fmla="*/ 1448175 w 12192000"/>
                <a:gd name="connsiteY94" fmla="*/ 725547 h 1608850"/>
                <a:gd name="connsiteX95" fmla="*/ 1448175 w 12192000"/>
                <a:gd name="connsiteY95" fmla="*/ 719872 h 1608850"/>
                <a:gd name="connsiteX96" fmla="*/ 1478575 w 12192000"/>
                <a:gd name="connsiteY96" fmla="*/ 719872 h 1608850"/>
                <a:gd name="connsiteX97" fmla="*/ 1478575 w 12192000"/>
                <a:gd name="connsiteY97" fmla="*/ 743652 h 1608850"/>
                <a:gd name="connsiteX98" fmla="*/ 1479589 w 12192000"/>
                <a:gd name="connsiteY98" fmla="*/ 743652 h 1608850"/>
                <a:gd name="connsiteX99" fmla="*/ 1486683 w 12192000"/>
                <a:gd name="connsiteY99" fmla="*/ 743652 h 1608850"/>
                <a:gd name="connsiteX100" fmla="*/ 1486683 w 12192000"/>
                <a:gd name="connsiteY100" fmla="*/ 744733 h 1608850"/>
                <a:gd name="connsiteX101" fmla="*/ 1486683 w 12192000"/>
                <a:gd name="connsiteY101" fmla="*/ 752299 h 1608850"/>
                <a:gd name="connsiteX102" fmla="*/ 1487443 w 12192000"/>
                <a:gd name="connsiteY102" fmla="*/ 752299 h 1608850"/>
                <a:gd name="connsiteX103" fmla="*/ 1492763 w 12192000"/>
                <a:gd name="connsiteY103" fmla="*/ 752299 h 1608850"/>
                <a:gd name="connsiteX104" fmla="*/ 1492763 w 12192000"/>
                <a:gd name="connsiteY104" fmla="*/ 750137 h 1608850"/>
                <a:gd name="connsiteX105" fmla="*/ 1492763 w 12192000"/>
                <a:gd name="connsiteY105" fmla="*/ 735005 h 1608850"/>
                <a:gd name="connsiteX106" fmla="*/ 1493775 w 12192000"/>
                <a:gd name="connsiteY106" fmla="*/ 735005 h 1608850"/>
                <a:gd name="connsiteX107" fmla="*/ 1500869 w 12192000"/>
                <a:gd name="connsiteY107" fmla="*/ 735005 h 1608850"/>
                <a:gd name="connsiteX108" fmla="*/ 1500869 w 12192000"/>
                <a:gd name="connsiteY108" fmla="*/ 736086 h 1608850"/>
                <a:gd name="connsiteX109" fmla="*/ 1500869 w 12192000"/>
                <a:gd name="connsiteY109" fmla="*/ 743652 h 1608850"/>
                <a:gd name="connsiteX110" fmla="*/ 1506189 w 12192000"/>
                <a:gd name="connsiteY110" fmla="*/ 741659 h 1608850"/>
                <a:gd name="connsiteX111" fmla="*/ 1506949 w 12192000"/>
                <a:gd name="connsiteY111" fmla="*/ 740679 h 1608850"/>
                <a:gd name="connsiteX112" fmla="*/ 1506949 w 12192000"/>
                <a:gd name="connsiteY112" fmla="*/ 735005 h 1608850"/>
                <a:gd name="connsiteX113" fmla="*/ 1545457 w 12192000"/>
                <a:gd name="connsiteY113" fmla="*/ 735005 h 1608850"/>
                <a:gd name="connsiteX114" fmla="*/ 1545457 w 12192000"/>
                <a:gd name="connsiteY114" fmla="*/ 758784 h 1608850"/>
                <a:gd name="connsiteX115" fmla="*/ 1547483 w 12192000"/>
                <a:gd name="connsiteY115" fmla="*/ 758784 h 1608850"/>
                <a:gd name="connsiteX116" fmla="*/ 1561669 w 12192000"/>
                <a:gd name="connsiteY116" fmla="*/ 758784 h 1608850"/>
                <a:gd name="connsiteX117" fmla="*/ 1561669 w 12192000"/>
                <a:gd name="connsiteY117" fmla="*/ 759865 h 1608850"/>
                <a:gd name="connsiteX118" fmla="*/ 1561669 w 12192000"/>
                <a:gd name="connsiteY118" fmla="*/ 767431 h 1608850"/>
                <a:gd name="connsiteX119" fmla="*/ 1563443 w 12192000"/>
                <a:gd name="connsiteY119" fmla="*/ 767431 h 1608850"/>
                <a:gd name="connsiteX120" fmla="*/ 1575857 w 12192000"/>
                <a:gd name="connsiteY120" fmla="*/ 767431 h 1608850"/>
                <a:gd name="connsiteX121" fmla="*/ 1575857 w 12192000"/>
                <a:gd name="connsiteY121" fmla="*/ 743652 h 1608850"/>
                <a:gd name="connsiteX122" fmla="*/ 1576869 w 12192000"/>
                <a:gd name="connsiteY122" fmla="*/ 743652 h 1608850"/>
                <a:gd name="connsiteX123" fmla="*/ 1583963 w 12192000"/>
                <a:gd name="connsiteY123" fmla="*/ 743652 h 1608850"/>
                <a:gd name="connsiteX124" fmla="*/ 1583963 w 12192000"/>
                <a:gd name="connsiteY124" fmla="*/ 711225 h 1608850"/>
                <a:gd name="connsiteX125" fmla="*/ 1584977 w 12192000"/>
                <a:gd name="connsiteY125" fmla="*/ 711225 h 1608850"/>
                <a:gd name="connsiteX126" fmla="*/ 1592071 w 12192000"/>
                <a:gd name="connsiteY126" fmla="*/ 711225 h 1608850"/>
                <a:gd name="connsiteX127" fmla="*/ 1592071 w 12192000"/>
                <a:gd name="connsiteY127" fmla="*/ 709334 h 1608850"/>
                <a:gd name="connsiteX128" fmla="*/ 1592071 w 12192000"/>
                <a:gd name="connsiteY128" fmla="*/ 696093 h 1608850"/>
                <a:gd name="connsiteX129" fmla="*/ 1590803 w 12192000"/>
                <a:gd name="connsiteY129" fmla="*/ 694471 h 1608850"/>
                <a:gd name="connsiteX130" fmla="*/ 1596123 w 12192000"/>
                <a:gd name="connsiteY130" fmla="*/ 683122 h 1608850"/>
                <a:gd name="connsiteX131" fmla="*/ 1604231 w 12192000"/>
                <a:gd name="connsiteY131" fmla="*/ 711225 h 1608850"/>
                <a:gd name="connsiteX132" fmla="*/ 1604991 w 12192000"/>
                <a:gd name="connsiteY132" fmla="*/ 711225 h 1608850"/>
                <a:gd name="connsiteX133" fmla="*/ 1610311 w 12192000"/>
                <a:gd name="connsiteY133" fmla="*/ 711225 h 1608850"/>
                <a:gd name="connsiteX134" fmla="*/ 1610311 w 12192000"/>
                <a:gd name="connsiteY134" fmla="*/ 605298 h 1608850"/>
                <a:gd name="connsiteX135" fmla="*/ 1611831 w 12192000"/>
                <a:gd name="connsiteY135" fmla="*/ 605298 h 1608850"/>
                <a:gd name="connsiteX136" fmla="*/ 1622471 w 12192000"/>
                <a:gd name="connsiteY136" fmla="*/ 605298 h 1608850"/>
                <a:gd name="connsiteX137" fmla="*/ 1622471 w 12192000"/>
                <a:gd name="connsiteY137" fmla="*/ 557739 h 1608850"/>
                <a:gd name="connsiteX138" fmla="*/ 1648817 w 12192000"/>
                <a:gd name="connsiteY138" fmla="*/ 557739 h 1608850"/>
                <a:gd name="connsiteX139" fmla="*/ 1648817 w 12192000"/>
                <a:gd name="connsiteY139" fmla="*/ 536121 h 1608850"/>
                <a:gd name="connsiteX140" fmla="*/ 1683271 w 12192000"/>
                <a:gd name="connsiteY140" fmla="*/ 536121 h 1608850"/>
                <a:gd name="connsiteX141" fmla="*/ 1683271 w 12192000"/>
                <a:gd name="connsiteY141" fmla="*/ 538553 h 1608850"/>
                <a:gd name="connsiteX142" fmla="*/ 1683271 w 12192000"/>
                <a:gd name="connsiteY142" fmla="*/ 555577 h 1608850"/>
                <a:gd name="connsiteX143" fmla="*/ 1685551 w 12192000"/>
                <a:gd name="connsiteY143" fmla="*/ 555577 h 1608850"/>
                <a:gd name="connsiteX144" fmla="*/ 1701511 w 12192000"/>
                <a:gd name="connsiteY144" fmla="*/ 555577 h 1608850"/>
                <a:gd name="connsiteX145" fmla="*/ 1701511 w 12192000"/>
                <a:gd name="connsiteY145" fmla="*/ 603136 h 1608850"/>
                <a:gd name="connsiteX146" fmla="*/ 1702525 w 12192000"/>
                <a:gd name="connsiteY146" fmla="*/ 603136 h 1608850"/>
                <a:gd name="connsiteX147" fmla="*/ 1709619 w 12192000"/>
                <a:gd name="connsiteY147" fmla="*/ 603136 h 1608850"/>
                <a:gd name="connsiteX148" fmla="*/ 1723805 w 12192000"/>
                <a:gd name="connsiteY148" fmla="*/ 607460 h 1608850"/>
                <a:gd name="connsiteX149" fmla="*/ 1723805 w 12192000"/>
                <a:gd name="connsiteY149" fmla="*/ 646372 h 1608850"/>
                <a:gd name="connsiteX150" fmla="*/ 1724819 w 12192000"/>
                <a:gd name="connsiteY150" fmla="*/ 646372 h 1608850"/>
                <a:gd name="connsiteX151" fmla="*/ 1731911 w 12192000"/>
                <a:gd name="connsiteY151" fmla="*/ 646372 h 1608850"/>
                <a:gd name="connsiteX152" fmla="*/ 1731911 w 12192000"/>
                <a:gd name="connsiteY152" fmla="*/ 647993 h 1608850"/>
                <a:gd name="connsiteX153" fmla="*/ 1731911 w 12192000"/>
                <a:gd name="connsiteY153" fmla="*/ 659342 h 1608850"/>
                <a:gd name="connsiteX154" fmla="*/ 1733939 w 12192000"/>
                <a:gd name="connsiteY154" fmla="*/ 659342 h 1608850"/>
                <a:gd name="connsiteX155" fmla="*/ 1748125 w 12192000"/>
                <a:gd name="connsiteY155" fmla="*/ 659342 h 1608850"/>
                <a:gd name="connsiteX156" fmla="*/ 1754205 w 12192000"/>
                <a:gd name="connsiteY156" fmla="*/ 665828 h 1608850"/>
                <a:gd name="connsiteX157" fmla="*/ 1754205 w 12192000"/>
                <a:gd name="connsiteY157" fmla="*/ 687446 h 1608850"/>
                <a:gd name="connsiteX158" fmla="*/ 1756485 w 12192000"/>
                <a:gd name="connsiteY158" fmla="*/ 687446 h 1608850"/>
                <a:gd name="connsiteX159" fmla="*/ 1772445 w 12192000"/>
                <a:gd name="connsiteY159" fmla="*/ 687446 h 1608850"/>
                <a:gd name="connsiteX160" fmla="*/ 1772445 w 12192000"/>
                <a:gd name="connsiteY160" fmla="*/ 688526 h 1608850"/>
                <a:gd name="connsiteX161" fmla="*/ 1772445 w 12192000"/>
                <a:gd name="connsiteY161" fmla="*/ 696093 h 1608850"/>
                <a:gd name="connsiteX162" fmla="*/ 1773713 w 12192000"/>
                <a:gd name="connsiteY162" fmla="*/ 696093 h 1608850"/>
                <a:gd name="connsiteX163" fmla="*/ 1782579 w 12192000"/>
                <a:gd name="connsiteY163" fmla="*/ 696093 h 1608850"/>
                <a:gd name="connsiteX164" fmla="*/ 1782579 w 12192000"/>
                <a:gd name="connsiteY164" fmla="*/ 698254 h 1608850"/>
                <a:gd name="connsiteX165" fmla="*/ 1782579 w 12192000"/>
                <a:gd name="connsiteY165" fmla="*/ 713387 h 1608850"/>
                <a:gd name="connsiteX166" fmla="*/ 1786633 w 12192000"/>
                <a:gd name="connsiteY166" fmla="*/ 711495 h 1608850"/>
                <a:gd name="connsiteX167" fmla="*/ 1786633 w 12192000"/>
                <a:gd name="connsiteY167" fmla="*/ 698254 h 1608850"/>
                <a:gd name="connsiteX168" fmla="*/ 1787645 w 12192000"/>
                <a:gd name="connsiteY168" fmla="*/ 698254 h 1608850"/>
                <a:gd name="connsiteX169" fmla="*/ 1794739 w 12192000"/>
                <a:gd name="connsiteY169" fmla="*/ 698254 h 1608850"/>
                <a:gd name="connsiteX170" fmla="*/ 1794739 w 12192000"/>
                <a:gd name="connsiteY170" fmla="*/ 699876 h 1608850"/>
                <a:gd name="connsiteX171" fmla="*/ 1794739 w 12192000"/>
                <a:gd name="connsiteY171" fmla="*/ 711225 h 1608850"/>
                <a:gd name="connsiteX172" fmla="*/ 1795499 w 12192000"/>
                <a:gd name="connsiteY172" fmla="*/ 711225 h 1608850"/>
                <a:gd name="connsiteX173" fmla="*/ 1800819 w 12192000"/>
                <a:gd name="connsiteY173" fmla="*/ 711225 h 1608850"/>
                <a:gd name="connsiteX174" fmla="*/ 1849459 w 12192000"/>
                <a:gd name="connsiteY174" fmla="*/ 706902 h 1608850"/>
                <a:gd name="connsiteX175" fmla="*/ 1849459 w 12192000"/>
                <a:gd name="connsiteY175" fmla="*/ 708253 h 1608850"/>
                <a:gd name="connsiteX176" fmla="*/ 1849459 w 12192000"/>
                <a:gd name="connsiteY176" fmla="*/ 717710 h 1608850"/>
                <a:gd name="connsiteX177" fmla="*/ 1850219 w 12192000"/>
                <a:gd name="connsiteY177" fmla="*/ 717710 h 1608850"/>
                <a:gd name="connsiteX178" fmla="*/ 1855541 w 12192000"/>
                <a:gd name="connsiteY178" fmla="*/ 717710 h 1608850"/>
                <a:gd name="connsiteX179" fmla="*/ 1855541 w 12192000"/>
                <a:gd name="connsiteY179" fmla="*/ 719872 h 1608850"/>
                <a:gd name="connsiteX180" fmla="*/ 1855541 w 12192000"/>
                <a:gd name="connsiteY180" fmla="*/ 735005 h 1608850"/>
                <a:gd name="connsiteX181" fmla="*/ 1857567 w 12192000"/>
                <a:gd name="connsiteY181" fmla="*/ 733654 h 1608850"/>
                <a:gd name="connsiteX182" fmla="*/ 1871753 w 12192000"/>
                <a:gd name="connsiteY182" fmla="*/ 724196 h 1608850"/>
                <a:gd name="connsiteX183" fmla="*/ 1877833 w 12192000"/>
                <a:gd name="connsiteY183" fmla="*/ 683122 h 1608850"/>
                <a:gd name="connsiteX184" fmla="*/ 1878593 w 12192000"/>
                <a:gd name="connsiteY184" fmla="*/ 682852 h 1608850"/>
                <a:gd name="connsiteX185" fmla="*/ 1883913 w 12192000"/>
                <a:gd name="connsiteY185" fmla="*/ 680960 h 1608850"/>
                <a:gd name="connsiteX186" fmla="*/ 1885941 w 12192000"/>
                <a:gd name="connsiteY186" fmla="*/ 611783 h 1608850"/>
                <a:gd name="connsiteX187" fmla="*/ 1887967 w 12192000"/>
                <a:gd name="connsiteY187" fmla="*/ 680960 h 1608850"/>
                <a:gd name="connsiteX188" fmla="*/ 1888727 w 12192000"/>
                <a:gd name="connsiteY188" fmla="*/ 681230 h 1608850"/>
                <a:gd name="connsiteX189" fmla="*/ 1894047 w 12192000"/>
                <a:gd name="connsiteY189" fmla="*/ 683122 h 1608850"/>
                <a:gd name="connsiteX190" fmla="*/ 1894047 w 12192000"/>
                <a:gd name="connsiteY190" fmla="*/ 596651 h 1608850"/>
                <a:gd name="connsiteX191" fmla="*/ 1898101 w 12192000"/>
                <a:gd name="connsiteY191" fmla="*/ 564224 h 1608850"/>
                <a:gd name="connsiteX192" fmla="*/ 1936607 w 12192000"/>
                <a:gd name="connsiteY192" fmla="*/ 564224 h 1608850"/>
                <a:gd name="connsiteX193" fmla="*/ 1936607 w 12192000"/>
                <a:gd name="connsiteY193" fmla="*/ 596651 h 1608850"/>
                <a:gd name="connsiteX194" fmla="*/ 1937367 w 12192000"/>
                <a:gd name="connsiteY194" fmla="*/ 596651 h 1608850"/>
                <a:gd name="connsiteX195" fmla="*/ 1942687 w 12192000"/>
                <a:gd name="connsiteY195" fmla="*/ 596651 h 1608850"/>
                <a:gd name="connsiteX196" fmla="*/ 1942687 w 12192000"/>
                <a:gd name="connsiteY196" fmla="*/ 514503 h 1608850"/>
                <a:gd name="connsiteX197" fmla="*/ 1944461 w 12192000"/>
                <a:gd name="connsiteY197" fmla="*/ 514503 h 1608850"/>
                <a:gd name="connsiteX198" fmla="*/ 1956875 w 12192000"/>
                <a:gd name="connsiteY198" fmla="*/ 514503 h 1608850"/>
                <a:gd name="connsiteX199" fmla="*/ 1956875 w 12192000"/>
                <a:gd name="connsiteY199" fmla="*/ 512612 h 1608850"/>
                <a:gd name="connsiteX200" fmla="*/ 1956875 w 12192000"/>
                <a:gd name="connsiteY200" fmla="*/ 499371 h 1608850"/>
                <a:gd name="connsiteX201" fmla="*/ 1979169 w 12192000"/>
                <a:gd name="connsiteY201" fmla="*/ 499371 h 1608850"/>
                <a:gd name="connsiteX202" fmla="*/ 1979169 w 12192000"/>
                <a:gd name="connsiteY202" fmla="*/ 498290 h 1608850"/>
                <a:gd name="connsiteX203" fmla="*/ 1979169 w 12192000"/>
                <a:gd name="connsiteY203" fmla="*/ 490724 h 1608850"/>
                <a:gd name="connsiteX204" fmla="*/ 1980941 w 12192000"/>
                <a:gd name="connsiteY204" fmla="*/ 490724 h 1608850"/>
                <a:gd name="connsiteX205" fmla="*/ 1993355 w 12192000"/>
                <a:gd name="connsiteY205" fmla="*/ 490724 h 1608850"/>
                <a:gd name="connsiteX206" fmla="*/ 1993355 w 12192000"/>
                <a:gd name="connsiteY206" fmla="*/ 491805 h 1608850"/>
                <a:gd name="connsiteX207" fmla="*/ 1993355 w 12192000"/>
                <a:gd name="connsiteY207" fmla="*/ 499371 h 1608850"/>
                <a:gd name="connsiteX208" fmla="*/ 1994115 w 12192000"/>
                <a:gd name="connsiteY208" fmla="*/ 499371 h 1608850"/>
                <a:gd name="connsiteX209" fmla="*/ 1999435 w 12192000"/>
                <a:gd name="connsiteY209" fmla="*/ 499371 h 1608850"/>
                <a:gd name="connsiteX210" fmla="*/ 2009569 w 12192000"/>
                <a:gd name="connsiteY210" fmla="*/ 495047 h 1608850"/>
                <a:gd name="connsiteX211" fmla="*/ 2013621 w 12192000"/>
                <a:gd name="connsiteY211" fmla="*/ 498290 h 1608850"/>
                <a:gd name="connsiteX212" fmla="*/ 2013621 w 12192000"/>
                <a:gd name="connsiteY212" fmla="*/ 490724 h 1608850"/>
                <a:gd name="connsiteX213" fmla="*/ 2015901 w 12192000"/>
                <a:gd name="connsiteY213" fmla="*/ 490724 h 1608850"/>
                <a:gd name="connsiteX214" fmla="*/ 2031863 w 12192000"/>
                <a:gd name="connsiteY214" fmla="*/ 490724 h 1608850"/>
                <a:gd name="connsiteX215" fmla="*/ 2031863 w 12192000"/>
                <a:gd name="connsiteY215" fmla="*/ 491805 h 1608850"/>
                <a:gd name="connsiteX216" fmla="*/ 2031863 w 12192000"/>
                <a:gd name="connsiteY216" fmla="*/ 499371 h 1608850"/>
                <a:gd name="connsiteX217" fmla="*/ 2062263 w 12192000"/>
                <a:gd name="connsiteY217" fmla="*/ 499371 h 1608850"/>
                <a:gd name="connsiteX218" fmla="*/ 2062263 w 12192000"/>
                <a:gd name="connsiteY218" fmla="*/ 500992 h 1608850"/>
                <a:gd name="connsiteX219" fmla="*/ 2062263 w 12192000"/>
                <a:gd name="connsiteY219" fmla="*/ 512342 h 1608850"/>
                <a:gd name="connsiteX220" fmla="*/ 2088609 w 12192000"/>
                <a:gd name="connsiteY220" fmla="*/ 512342 h 1608850"/>
                <a:gd name="connsiteX221" fmla="*/ 2088609 w 12192000"/>
                <a:gd name="connsiteY221" fmla="*/ 542606 h 1608850"/>
                <a:gd name="connsiteX222" fmla="*/ 2089369 w 12192000"/>
                <a:gd name="connsiteY222" fmla="*/ 542606 h 1608850"/>
                <a:gd name="connsiteX223" fmla="*/ 2094689 w 12192000"/>
                <a:gd name="connsiteY223" fmla="*/ 542606 h 1608850"/>
                <a:gd name="connsiteX224" fmla="*/ 2094689 w 12192000"/>
                <a:gd name="connsiteY224" fmla="*/ 543687 h 1608850"/>
                <a:gd name="connsiteX225" fmla="*/ 2094689 w 12192000"/>
                <a:gd name="connsiteY225" fmla="*/ 551254 h 1608850"/>
                <a:gd name="connsiteX226" fmla="*/ 2098743 w 12192000"/>
                <a:gd name="connsiteY226" fmla="*/ 581518 h 1608850"/>
                <a:gd name="connsiteX227" fmla="*/ 2099503 w 12192000"/>
                <a:gd name="connsiteY227" fmla="*/ 581518 h 1608850"/>
                <a:gd name="connsiteX228" fmla="*/ 2104823 w 12192000"/>
                <a:gd name="connsiteY228" fmla="*/ 581518 h 1608850"/>
                <a:gd name="connsiteX229" fmla="*/ 2104823 w 12192000"/>
                <a:gd name="connsiteY229" fmla="*/ 582329 h 1608850"/>
                <a:gd name="connsiteX230" fmla="*/ 2104823 w 12192000"/>
                <a:gd name="connsiteY230" fmla="*/ 588004 h 1608850"/>
                <a:gd name="connsiteX231" fmla="*/ 2105837 w 12192000"/>
                <a:gd name="connsiteY231" fmla="*/ 588004 h 1608850"/>
                <a:gd name="connsiteX232" fmla="*/ 2112929 w 12192000"/>
                <a:gd name="connsiteY232" fmla="*/ 588004 h 1608850"/>
                <a:gd name="connsiteX233" fmla="*/ 2112929 w 12192000"/>
                <a:gd name="connsiteY233" fmla="*/ 618269 h 1608850"/>
                <a:gd name="connsiteX234" fmla="*/ 2114957 w 12192000"/>
                <a:gd name="connsiteY234" fmla="*/ 618269 h 1608850"/>
                <a:gd name="connsiteX235" fmla="*/ 2129143 w 12192000"/>
                <a:gd name="connsiteY235" fmla="*/ 618269 h 1608850"/>
                <a:gd name="connsiteX236" fmla="*/ 2129143 w 12192000"/>
                <a:gd name="connsiteY236" fmla="*/ 642048 h 1608850"/>
                <a:gd name="connsiteX237" fmla="*/ 2131171 w 12192000"/>
                <a:gd name="connsiteY237" fmla="*/ 643669 h 1608850"/>
                <a:gd name="connsiteX238" fmla="*/ 2131171 w 12192000"/>
                <a:gd name="connsiteY238" fmla="*/ 655019 h 1608850"/>
                <a:gd name="connsiteX239" fmla="*/ 2131931 w 12192000"/>
                <a:gd name="connsiteY239" fmla="*/ 655019 h 1608850"/>
                <a:gd name="connsiteX240" fmla="*/ 2137251 w 12192000"/>
                <a:gd name="connsiteY240" fmla="*/ 655019 h 1608850"/>
                <a:gd name="connsiteX241" fmla="*/ 2137251 w 12192000"/>
                <a:gd name="connsiteY241" fmla="*/ 678798 h 1608850"/>
                <a:gd name="connsiteX242" fmla="*/ 2138517 w 12192000"/>
                <a:gd name="connsiteY242" fmla="*/ 678798 h 1608850"/>
                <a:gd name="connsiteX243" fmla="*/ 2147383 w 12192000"/>
                <a:gd name="connsiteY243" fmla="*/ 678798 h 1608850"/>
                <a:gd name="connsiteX244" fmla="*/ 2149411 w 12192000"/>
                <a:gd name="connsiteY244" fmla="*/ 682852 h 1608850"/>
                <a:gd name="connsiteX245" fmla="*/ 2149411 w 12192000"/>
                <a:gd name="connsiteY245" fmla="*/ 696093 h 1608850"/>
                <a:gd name="connsiteX246" fmla="*/ 2150931 w 12192000"/>
                <a:gd name="connsiteY246" fmla="*/ 694201 h 1608850"/>
                <a:gd name="connsiteX247" fmla="*/ 2161571 w 12192000"/>
                <a:gd name="connsiteY247" fmla="*/ 680960 h 1608850"/>
                <a:gd name="connsiteX248" fmla="*/ 2189945 w 12192000"/>
                <a:gd name="connsiteY248" fmla="*/ 680960 h 1608850"/>
                <a:gd name="connsiteX249" fmla="*/ 2189945 w 12192000"/>
                <a:gd name="connsiteY249" fmla="*/ 767431 h 1608850"/>
                <a:gd name="connsiteX250" fmla="*/ 2190705 w 12192000"/>
                <a:gd name="connsiteY250" fmla="*/ 767431 h 1608850"/>
                <a:gd name="connsiteX251" fmla="*/ 2196025 w 12192000"/>
                <a:gd name="connsiteY251" fmla="*/ 767431 h 1608850"/>
                <a:gd name="connsiteX252" fmla="*/ 2196785 w 12192000"/>
                <a:gd name="connsiteY252" fmla="*/ 766080 h 1608850"/>
                <a:gd name="connsiteX253" fmla="*/ 2202105 w 12192000"/>
                <a:gd name="connsiteY253" fmla="*/ 756622 h 1608850"/>
                <a:gd name="connsiteX254" fmla="*/ 2202105 w 12192000"/>
                <a:gd name="connsiteY254" fmla="*/ 758514 h 1608850"/>
                <a:gd name="connsiteX255" fmla="*/ 2202105 w 12192000"/>
                <a:gd name="connsiteY255" fmla="*/ 771755 h 1608850"/>
                <a:gd name="connsiteX256" fmla="*/ 2206157 w 12192000"/>
                <a:gd name="connsiteY256" fmla="*/ 726358 h 1608850"/>
                <a:gd name="connsiteX257" fmla="*/ 2206917 w 12192000"/>
                <a:gd name="connsiteY257" fmla="*/ 726358 h 1608850"/>
                <a:gd name="connsiteX258" fmla="*/ 2212237 w 12192000"/>
                <a:gd name="connsiteY258" fmla="*/ 726358 h 1608850"/>
                <a:gd name="connsiteX259" fmla="*/ 2212237 w 12192000"/>
                <a:gd name="connsiteY259" fmla="*/ 661504 h 1608850"/>
                <a:gd name="connsiteX260" fmla="*/ 2213251 w 12192000"/>
                <a:gd name="connsiteY260" fmla="*/ 661504 h 1608850"/>
                <a:gd name="connsiteX261" fmla="*/ 2220345 w 12192000"/>
                <a:gd name="connsiteY261" fmla="*/ 661504 h 1608850"/>
                <a:gd name="connsiteX262" fmla="*/ 2232505 w 12192000"/>
                <a:gd name="connsiteY262" fmla="*/ 618269 h 1608850"/>
                <a:gd name="connsiteX263" fmla="*/ 2233771 w 12192000"/>
                <a:gd name="connsiteY263" fmla="*/ 618269 h 1608850"/>
                <a:gd name="connsiteX264" fmla="*/ 2242639 w 12192000"/>
                <a:gd name="connsiteY264" fmla="*/ 618269 h 1608850"/>
                <a:gd name="connsiteX265" fmla="*/ 2252771 w 12192000"/>
                <a:gd name="connsiteY265" fmla="*/ 661504 h 1608850"/>
                <a:gd name="connsiteX266" fmla="*/ 2253785 w 12192000"/>
                <a:gd name="connsiteY266" fmla="*/ 661504 h 1608850"/>
                <a:gd name="connsiteX267" fmla="*/ 2260879 w 12192000"/>
                <a:gd name="connsiteY267" fmla="*/ 661504 h 1608850"/>
                <a:gd name="connsiteX268" fmla="*/ 2260879 w 12192000"/>
                <a:gd name="connsiteY268" fmla="*/ 700416 h 1608850"/>
                <a:gd name="connsiteX269" fmla="*/ 2262651 w 12192000"/>
                <a:gd name="connsiteY269" fmla="*/ 700416 h 1608850"/>
                <a:gd name="connsiteX270" fmla="*/ 2275065 w 12192000"/>
                <a:gd name="connsiteY270" fmla="*/ 700416 h 1608850"/>
                <a:gd name="connsiteX271" fmla="*/ 2275065 w 12192000"/>
                <a:gd name="connsiteY271" fmla="*/ 702578 h 1608850"/>
                <a:gd name="connsiteX272" fmla="*/ 2275065 w 12192000"/>
                <a:gd name="connsiteY272" fmla="*/ 717710 h 1608850"/>
                <a:gd name="connsiteX273" fmla="*/ 2279119 w 12192000"/>
                <a:gd name="connsiteY273" fmla="*/ 715549 h 1608850"/>
                <a:gd name="connsiteX274" fmla="*/ 2279119 w 12192000"/>
                <a:gd name="connsiteY274" fmla="*/ 700416 h 1608850"/>
                <a:gd name="connsiteX275" fmla="*/ 2280639 w 12192000"/>
                <a:gd name="connsiteY275" fmla="*/ 700416 h 1608850"/>
                <a:gd name="connsiteX276" fmla="*/ 2291279 w 12192000"/>
                <a:gd name="connsiteY276" fmla="*/ 700416 h 1608850"/>
                <a:gd name="connsiteX277" fmla="*/ 2291279 w 12192000"/>
                <a:gd name="connsiteY277" fmla="*/ 702037 h 1608850"/>
                <a:gd name="connsiteX278" fmla="*/ 2291279 w 12192000"/>
                <a:gd name="connsiteY278" fmla="*/ 713387 h 1608850"/>
                <a:gd name="connsiteX279" fmla="*/ 2321680 w 12192000"/>
                <a:gd name="connsiteY279" fmla="*/ 713387 h 1608850"/>
                <a:gd name="connsiteX280" fmla="*/ 2321680 w 12192000"/>
                <a:gd name="connsiteY280" fmla="*/ 676637 h 1608850"/>
                <a:gd name="connsiteX281" fmla="*/ 2322945 w 12192000"/>
                <a:gd name="connsiteY281" fmla="*/ 676637 h 1608850"/>
                <a:gd name="connsiteX282" fmla="*/ 2331813 w 12192000"/>
                <a:gd name="connsiteY282" fmla="*/ 676637 h 1608850"/>
                <a:gd name="connsiteX283" fmla="*/ 2331813 w 12192000"/>
                <a:gd name="connsiteY283" fmla="*/ 698254 h 1608850"/>
                <a:gd name="connsiteX284" fmla="*/ 2333840 w 12192000"/>
                <a:gd name="connsiteY284" fmla="*/ 665828 h 1608850"/>
                <a:gd name="connsiteX285" fmla="*/ 2356133 w 12192000"/>
                <a:gd name="connsiteY285" fmla="*/ 665828 h 1608850"/>
                <a:gd name="connsiteX286" fmla="*/ 2356133 w 12192000"/>
                <a:gd name="connsiteY286" fmla="*/ 664206 h 1608850"/>
                <a:gd name="connsiteX287" fmla="*/ 2356133 w 12192000"/>
                <a:gd name="connsiteY287" fmla="*/ 652857 h 1608850"/>
                <a:gd name="connsiteX288" fmla="*/ 2356893 w 12192000"/>
                <a:gd name="connsiteY288" fmla="*/ 652857 h 1608850"/>
                <a:gd name="connsiteX289" fmla="*/ 2362213 w 12192000"/>
                <a:gd name="connsiteY289" fmla="*/ 652857 h 1608850"/>
                <a:gd name="connsiteX290" fmla="*/ 2362213 w 12192000"/>
                <a:gd name="connsiteY290" fmla="*/ 650966 h 1608850"/>
                <a:gd name="connsiteX291" fmla="*/ 2362213 w 12192000"/>
                <a:gd name="connsiteY291" fmla="*/ 637725 h 1608850"/>
                <a:gd name="connsiteX292" fmla="*/ 2366267 w 12192000"/>
                <a:gd name="connsiteY292" fmla="*/ 644210 h 1608850"/>
                <a:gd name="connsiteX293" fmla="*/ 2368547 w 12192000"/>
                <a:gd name="connsiteY293" fmla="*/ 644210 h 1608850"/>
                <a:gd name="connsiteX294" fmla="*/ 2384507 w 12192000"/>
                <a:gd name="connsiteY294" fmla="*/ 644210 h 1608850"/>
                <a:gd name="connsiteX295" fmla="*/ 2384507 w 12192000"/>
                <a:gd name="connsiteY295" fmla="*/ 643399 h 1608850"/>
                <a:gd name="connsiteX296" fmla="*/ 2384507 w 12192000"/>
                <a:gd name="connsiteY296" fmla="*/ 637725 h 1608850"/>
                <a:gd name="connsiteX297" fmla="*/ 2385267 w 12192000"/>
                <a:gd name="connsiteY297" fmla="*/ 637725 h 1608850"/>
                <a:gd name="connsiteX298" fmla="*/ 2390587 w 12192000"/>
                <a:gd name="connsiteY298" fmla="*/ 637725 h 1608850"/>
                <a:gd name="connsiteX299" fmla="*/ 2390587 w 12192000"/>
                <a:gd name="connsiteY299" fmla="*/ 639076 h 1608850"/>
                <a:gd name="connsiteX300" fmla="*/ 2390587 w 12192000"/>
                <a:gd name="connsiteY300" fmla="*/ 648534 h 1608850"/>
                <a:gd name="connsiteX301" fmla="*/ 2429093 w 12192000"/>
                <a:gd name="connsiteY301" fmla="*/ 648534 h 1608850"/>
                <a:gd name="connsiteX302" fmla="*/ 2429093 w 12192000"/>
                <a:gd name="connsiteY302" fmla="*/ 786887 h 1608850"/>
                <a:gd name="connsiteX303" fmla="*/ 2430613 w 12192000"/>
                <a:gd name="connsiteY303" fmla="*/ 786887 h 1608850"/>
                <a:gd name="connsiteX304" fmla="*/ 2441254 w 12192000"/>
                <a:gd name="connsiteY304" fmla="*/ 786887 h 1608850"/>
                <a:gd name="connsiteX305" fmla="*/ 2441254 w 12192000"/>
                <a:gd name="connsiteY305" fmla="*/ 773917 h 1608850"/>
                <a:gd name="connsiteX306" fmla="*/ 2445307 w 12192000"/>
                <a:gd name="connsiteY306" fmla="*/ 773917 h 1608850"/>
                <a:gd name="connsiteX307" fmla="*/ 2445307 w 12192000"/>
                <a:gd name="connsiteY307" fmla="*/ 786887 h 1608850"/>
                <a:gd name="connsiteX308" fmla="*/ 2475707 w 12192000"/>
                <a:gd name="connsiteY308" fmla="*/ 786887 h 1608850"/>
                <a:gd name="connsiteX309" fmla="*/ 2475707 w 12192000"/>
                <a:gd name="connsiteY309" fmla="*/ 756622 h 1608850"/>
                <a:gd name="connsiteX310" fmla="*/ 2487867 w 12192000"/>
                <a:gd name="connsiteY310" fmla="*/ 756622 h 1608850"/>
                <a:gd name="connsiteX311" fmla="*/ 2500027 w 12192000"/>
                <a:gd name="connsiteY311" fmla="*/ 754461 h 1608850"/>
                <a:gd name="connsiteX312" fmla="*/ 2504082 w 12192000"/>
                <a:gd name="connsiteY312" fmla="*/ 756622 h 1608850"/>
                <a:gd name="connsiteX313" fmla="*/ 2514215 w 12192000"/>
                <a:gd name="connsiteY313" fmla="*/ 756622 h 1608850"/>
                <a:gd name="connsiteX314" fmla="*/ 2514215 w 12192000"/>
                <a:gd name="connsiteY314" fmla="*/ 786887 h 1608850"/>
                <a:gd name="connsiteX315" fmla="*/ 2522321 w 12192000"/>
                <a:gd name="connsiteY315" fmla="*/ 786887 h 1608850"/>
                <a:gd name="connsiteX316" fmla="*/ 2522321 w 12192000"/>
                <a:gd name="connsiteY316" fmla="*/ 804182 h 1608850"/>
                <a:gd name="connsiteX317" fmla="*/ 2531658 w 12192000"/>
                <a:gd name="connsiteY317" fmla="*/ 805087 h 1608850"/>
                <a:gd name="connsiteX318" fmla="*/ 2544615 w 12192000"/>
                <a:gd name="connsiteY318" fmla="*/ 805087 h 1608850"/>
                <a:gd name="connsiteX319" fmla="*/ 2544615 w 12192000"/>
                <a:gd name="connsiteY319" fmla="*/ 789049 h 1608850"/>
                <a:gd name="connsiteX320" fmla="*/ 2612571 w 12192000"/>
                <a:gd name="connsiteY320" fmla="*/ 789049 h 1608850"/>
                <a:gd name="connsiteX321" fmla="*/ 2612571 w 12192000"/>
                <a:gd name="connsiteY321" fmla="*/ 703796 h 1608850"/>
                <a:gd name="connsiteX322" fmla="*/ 2684579 w 12192000"/>
                <a:gd name="connsiteY322" fmla="*/ 703796 h 1608850"/>
                <a:gd name="connsiteX323" fmla="*/ 2684579 w 12192000"/>
                <a:gd name="connsiteY323" fmla="*/ 782564 h 1608850"/>
                <a:gd name="connsiteX324" fmla="*/ 2686483 w 12192000"/>
                <a:gd name="connsiteY324" fmla="*/ 782564 h 1608850"/>
                <a:gd name="connsiteX325" fmla="*/ 2687725 w 12192000"/>
                <a:gd name="connsiteY325" fmla="*/ 805087 h 1608850"/>
                <a:gd name="connsiteX326" fmla="*/ 2697401 w 12192000"/>
                <a:gd name="connsiteY326" fmla="*/ 805087 h 1608850"/>
                <a:gd name="connsiteX327" fmla="*/ 2698643 w 12192000"/>
                <a:gd name="connsiteY327" fmla="*/ 782564 h 1608850"/>
                <a:gd name="connsiteX328" fmla="*/ 2704723 w 12192000"/>
                <a:gd name="connsiteY328" fmla="*/ 782564 h 1608850"/>
                <a:gd name="connsiteX329" fmla="*/ 2705965 w 12192000"/>
                <a:gd name="connsiteY329" fmla="*/ 805087 h 1608850"/>
                <a:gd name="connsiteX330" fmla="*/ 2756588 w 12192000"/>
                <a:gd name="connsiteY330" fmla="*/ 805087 h 1608850"/>
                <a:gd name="connsiteX331" fmla="*/ 2756588 w 12192000"/>
                <a:gd name="connsiteY331" fmla="*/ 642059 h 1608850"/>
                <a:gd name="connsiteX332" fmla="*/ 2953915 w 12192000"/>
                <a:gd name="connsiteY332" fmla="*/ 642059 h 1608850"/>
                <a:gd name="connsiteX333" fmla="*/ 2953915 w 12192000"/>
                <a:gd name="connsiteY333" fmla="*/ 805087 h 1608850"/>
                <a:gd name="connsiteX334" fmla="*/ 2972611 w 12192000"/>
                <a:gd name="connsiteY334" fmla="*/ 805087 h 1608850"/>
                <a:gd name="connsiteX335" fmla="*/ 2972611 w 12192000"/>
                <a:gd name="connsiteY335" fmla="*/ 722394 h 1608850"/>
                <a:gd name="connsiteX336" fmla="*/ 3067731 w 12192000"/>
                <a:gd name="connsiteY336" fmla="*/ 722394 h 1608850"/>
                <a:gd name="connsiteX337" fmla="*/ 3079662 w 12192000"/>
                <a:gd name="connsiteY337" fmla="*/ 404253 h 1608850"/>
                <a:gd name="connsiteX338" fmla="*/ 3067502 w 12192000"/>
                <a:gd name="connsiteY338" fmla="*/ 382635 h 1608850"/>
                <a:gd name="connsiteX339" fmla="*/ 3061422 w 12192000"/>
                <a:gd name="connsiteY339" fmla="*/ 378311 h 1608850"/>
                <a:gd name="connsiteX340" fmla="*/ 3069529 w 12192000"/>
                <a:gd name="connsiteY340" fmla="*/ 354532 h 1608850"/>
                <a:gd name="connsiteX341" fmla="*/ 3069529 w 12192000"/>
                <a:gd name="connsiteY341" fmla="*/ 337238 h 1608850"/>
                <a:gd name="connsiteX342" fmla="*/ 3083715 w 12192000"/>
                <a:gd name="connsiteY342" fmla="*/ 337238 h 1608850"/>
                <a:gd name="connsiteX343" fmla="*/ 3083715 w 12192000"/>
                <a:gd name="connsiteY343" fmla="*/ 315620 h 1608850"/>
                <a:gd name="connsiteX344" fmla="*/ 3085742 w 12192000"/>
                <a:gd name="connsiteY344" fmla="*/ 311296 h 1608850"/>
                <a:gd name="connsiteX345" fmla="*/ 3085742 w 12192000"/>
                <a:gd name="connsiteY345" fmla="*/ 233472 h 1608850"/>
                <a:gd name="connsiteX346" fmla="*/ 3083715 w 12192000"/>
                <a:gd name="connsiteY346" fmla="*/ 226987 h 1608850"/>
                <a:gd name="connsiteX347" fmla="*/ 3089795 w 12192000"/>
                <a:gd name="connsiteY347" fmla="*/ 220501 h 1608850"/>
                <a:gd name="connsiteX348" fmla="*/ 3089795 w 12192000"/>
                <a:gd name="connsiteY348" fmla="*/ 162133 h 1608850"/>
                <a:gd name="connsiteX349" fmla="*/ 3091822 w 12192000"/>
                <a:gd name="connsiteY349" fmla="*/ 157810 h 1608850"/>
                <a:gd name="connsiteX350" fmla="*/ 3091822 w 12192000"/>
                <a:gd name="connsiteY350" fmla="*/ 101604 h 1608850"/>
                <a:gd name="connsiteX351" fmla="*/ 3093849 w 12192000"/>
                <a:gd name="connsiteY351" fmla="*/ 82148 h 1608850"/>
                <a:gd name="connsiteX352" fmla="*/ 3097902 w 12192000"/>
                <a:gd name="connsiteY352" fmla="*/ 99442 h 1608850"/>
                <a:gd name="connsiteX353" fmla="*/ 3099929 w 12192000"/>
                <a:gd name="connsiteY353" fmla="*/ 157810 h 1608850"/>
                <a:gd name="connsiteX354" fmla="*/ 3101955 w 12192000"/>
                <a:gd name="connsiteY354" fmla="*/ 220501 h 1608850"/>
                <a:gd name="connsiteX355" fmla="*/ 3108035 w 12192000"/>
                <a:gd name="connsiteY355" fmla="*/ 226987 h 1608850"/>
                <a:gd name="connsiteX356" fmla="*/ 3106009 w 12192000"/>
                <a:gd name="connsiteY356" fmla="*/ 233472 h 1608850"/>
                <a:gd name="connsiteX357" fmla="*/ 3106009 w 12192000"/>
                <a:gd name="connsiteY357" fmla="*/ 311296 h 1608850"/>
                <a:gd name="connsiteX358" fmla="*/ 3108035 w 12192000"/>
                <a:gd name="connsiteY358" fmla="*/ 315620 h 1608850"/>
                <a:gd name="connsiteX359" fmla="*/ 3108035 w 12192000"/>
                <a:gd name="connsiteY359" fmla="*/ 337238 h 1608850"/>
                <a:gd name="connsiteX360" fmla="*/ 3122222 w 12192000"/>
                <a:gd name="connsiteY360" fmla="*/ 337238 h 1608850"/>
                <a:gd name="connsiteX361" fmla="*/ 3122222 w 12192000"/>
                <a:gd name="connsiteY361" fmla="*/ 354532 h 1608850"/>
                <a:gd name="connsiteX362" fmla="*/ 3130330 w 12192000"/>
                <a:gd name="connsiteY362" fmla="*/ 378311 h 1608850"/>
                <a:gd name="connsiteX363" fmla="*/ 3124250 w 12192000"/>
                <a:gd name="connsiteY363" fmla="*/ 382635 h 1608850"/>
                <a:gd name="connsiteX364" fmla="*/ 3112089 w 12192000"/>
                <a:gd name="connsiteY364" fmla="*/ 404253 h 1608850"/>
                <a:gd name="connsiteX365" fmla="*/ 3120195 w 12192000"/>
                <a:gd name="connsiteY365" fmla="*/ 657181 h 1608850"/>
                <a:gd name="connsiteX366" fmla="*/ 3185050 w 12192000"/>
                <a:gd name="connsiteY366" fmla="*/ 657181 h 1608850"/>
                <a:gd name="connsiteX367" fmla="*/ 3185050 w 12192000"/>
                <a:gd name="connsiteY367" fmla="*/ 732843 h 1608850"/>
                <a:gd name="connsiteX368" fmla="*/ 3193157 w 12192000"/>
                <a:gd name="connsiteY368" fmla="*/ 732843 h 1608850"/>
                <a:gd name="connsiteX369" fmla="*/ 3195183 w 12192000"/>
                <a:gd name="connsiteY369" fmla="*/ 726358 h 1608850"/>
                <a:gd name="connsiteX370" fmla="*/ 3201263 w 12192000"/>
                <a:gd name="connsiteY370" fmla="*/ 726358 h 1608850"/>
                <a:gd name="connsiteX371" fmla="*/ 3203291 w 12192000"/>
                <a:gd name="connsiteY371" fmla="*/ 735005 h 1608850"/>
                <a:gd name="connsiteX372" fmla="*/ 3215451 w 12192000"/>
                <a:gd name="connsiteY372" fmla="*/ 735005 h 1608850"/>
                <a:gd name="connsiteX373" fmla="*/ 3215451 w 12192000"/>
                <a:gd name="connsiteY373" fmla="*/ 728519 h 1608850"/>
                <a:gd name="connsiteX374" fmla="*/ 3237744 w 12192000"/>
                <a:gd name="connsiteY374" fmla="*/ 728519 h 1608850"/>
                <a:gd name="connsiteX375" fmla="*/ 3237744 w 12192000"/>
                <a:gd name="connsiteY375" fmla="*/ 735005 h 1608850"/>
                <a:gd name="connsiteX376" fmla="*/ 3258011 w 12192000"/>
                <a:gd name="connsiteY376" fmla="*/ 735005 h 1608850"/>
                <a:gd name="connsiteX377" fmla="*/ 3258011 w 12192000"/>
                <a:gd name="connsiteY377" fmla="*/ 780402 h 1608850"/>
                <a:gd name="connsiteX378" fmla="*/ 3272198 w 12192000"/>
                <a:gd name="connsiteY378" fmla="*/ 780402 h 1608850"/>
                <a:gd name="connsiteX379" fmla="*/ 3272198 w 12192000"/>
                <a:gd name="connsiteY379" fmla="*/ 767431 h 1608850"/>
                <a:gd name="connsiteX380" fmla="*/ 3288412 w 12192000"/>
                <a:gd name="connsiteY380" fmla="*/ 767431 h 1608850"/>
                <a:gd name="connsiteX381" fmla="*/ 3288412 w 12192000"/>
                <a:gd name="connsiteY381" fmla="*/ 588004 h 1608850"/>
                <a:gd name="connsiteX382" fmla="*/ 3294492 w 12192000"/>
                <a:gd name="connsiteY382" fmla="*/ 581518 h 1608850"/>
                <a:gd name="connsiteX383" fmla="*/ 3367453 w 12192000"/>
                <a:gd name="connsiteY383" fmla="*/ 581518 h 1608850"/>
                <a:gd name="connsiteX384" fmla="*/ 3367453 w 12192000"/>
                <a:gd name="connsiteY384" fmla="*/ 590166 h 1608850"/>
                <a:gd name="connsiteX385" fmla="*/ 3377586 w 12192000"/>
                <a:gd name="connsiteY385" fmla="*/ 590166 h 1608850"/>
                <a:gd name="connsiteX386" fmla="*/ 3377586 w 12192000"/>
                <a:gd name="connsiteY386" fmla="*/ 704740 h 1608850"/>
                <a:gd name="connsiteX387" fmla="*/ 3399879 w 12192000"/>
                <a:gd name="connsiteY387" fmla="*/ 704740 h 1608850"/>
                <a:gd name="connsiteX388" fmla="*/ 3399879 w 12192000"/>
                <a:gd name="connsiteY388" fmla="*/ 637725 h 1608850"/>
                <a:gd name="connsiteX389" fmla="*/ 3426227 w 12192000"/>
                <a:gd name="connsiteY389" fmla="*/ 637725 h 1608850"/>
                <a:gd name="connsiteX390" fmla="*/ 3430279 w 12192000"/>
                <a:gd name="connsiteY390" fmla="*/ 633401 h 1608850"/>
                <a:gd name="connsiteX391" fmla="*/ 3438387 w 12192000"/>
                <a:gd name="connsiteY391" fmla="*/ 633401 h 1608850"/>
                <a:gd name="connsiteX392" fmla="*/ 3442439 w 12192000"/>
                <a:gd name="connsiteY392" fmla="*/ 637725 h 1608850"/>
                <a:gd name="connsiteX393" fmla="*/ 3464734 w 12192000"/>
                <a:gd name="connsiteY393" fmla="*/ 637725 h 1608850"/>
                <a:gd name="connsiteX394" fmla="*/ 3464734 w 12192000"/>
                <a:gd name="connsiteY394" fmla="*/ 520989 h 1608850"/>
                <a:gd name="connsiteX395" fmla="*/ 3521481 w 12192000"/>
                <a:gd name="connsiteY395" fmla="*/ 510180 h 1608850"/>
                <a:gd name="connsiteX396" fmla="*/ 3521481 w 12192000"/>
                <a:gd name="connsiteY396" fmla="*/ 511261 h 1608850"/>
                <a:gd name="connsiteX397" fmla="*/ 3521481 w 12192000"/>
                <a:gd name="connsiteY397" fmla="*/ 518827 h 1608850"/>
                <a:gd name="connsiteX398" fmla="*/ 3547828 w 12192000"/>
                <a:gd name="connsiteY398" fmla="*/ 518827 h 1608850"/>
                <a:gd name="connsiteX399" fmla="*/ 3547828 w 12192000"/>
                <a:gd name="connsiteY399" fmla="*/ 773917 h 1608850"/>
                <a:gd name="connsiteX400" fmla="*/ 3570122 w 12192000"/>
                <a:gd name="connsiteY400" fmla="*/ 773917 h 1608850"/>
                <a:gd name="connsiteX401" fmla="*/ 3570122 w 12192000"/>
                <a:gd name="connsiteY401" fmla="*/ 769593 h 1608850"/>
                <a:gd name="connsiteX402" fmla="*/ 3582282 w 12192000"/>
                <a:gd name="connsiteY402" fmla="*/ 769593 h 1608850"/>
                <a:gd name="connsiteX403" fmla="*/ 3582282 w 12192000"/>
                <a:gd name="connsiteY403" fmla="*/ 773917 h 1608850"/>
                <a:gd name="connsiteX404" fmla="*/ 3606602 w 12192000"/>
                <a:gd name="connsiteY404" fmla="*/ 773917 h 1608850"/>
                <a:gd name="connsiteX405" fmla="*/ 3606602 w 12192000"/>
                <a:gd name="connsiteY405" fmla="*/ 760946 h 1608850"/>
                <a:gd name="connsiteX406" fmla="*/ 3634975 w 12192000"/>
                <a:gd name="connsiteY406" fmla="*/ 760946 h 1608850"/>
                <a:gd name="connsiteX407" fmla="*/ 3647135 w 12192000"/>
                <a:gd name="connsiteY407" fmla="*/ 756622 h 1608850"/>
                <a:gd name="connsiteX408" fmla="*/ 3667403 w 12192000"/>
                <a:gd name="connsiteY408" fmla="*/ 760946 h 1608850"/>
                <a:gd name="connsiteX409" fmla="*/ 3667403 w 12192000"/>
                <a:gd name="connsiteY409" fmla="*/ 743652 h 1608850"/>
                <a:gd name="connsiteX410" fmla="*/ 3675510 w 12192000"/>
                <a:gd name="connsiteY410" fmla="*/ 743652 h 1608850"/>
                <a:gd name="connsiteX411" fmla="*/ 3675510 w 12192000"/>
                <a:gd name="connsiteY411" fmla="*/ 730681 h 1608850"/>
                <a:gd name="connsiteX412" fmla="*/ 3732257 w 12192000"/>
                <a:gd name="connsiteY412" fmla="*/ 730681 h 1608850"/>
                <a:gd name="connsiteX413" fmla="*/ 3732257 w 12192000"/>
                <a:gd name="connsiteY413" fmla="*/ 700416 h 1608850"/>
                <a:gd name="connsiteX414" fmla="*/ 3750497 w 12192000"/>
                <a:gd name="connsiteY414" fmla="*/ 700416 h 1608850"/>
                <a:gd name="connsiteX415" fmla="*/ 3750497 w 12192000"/>
                <a:gd name="connsiteY415" fmla="*/ 693931 h 1608850"/>
                <a:gd name="connsiteX416" fmla="*/ 3762657 w 12192000"/>
                <a:gd name="connsiteY416" fmla="*/ 693931 h 1608850"/>
                <a:gd name="connsiteX417" fmla="*/ 3762657 w 12192000"/>
                <a:gd name="connsiteY417" fmla="*/ 700416 h 1608850"/>
                <a:gd name="connsiteX418" fmla="*/ 3778870 w 12192000"/>
                <a:gd name="connsiteY418" fmla="*/ 700416 h 1608850"/>
                <a:gd name="connsiteX419" fmla="*/ 3778870 w 12192000"/>
                <a:gd name="connsiteY419" fmla="*/ 750137 h 1608850"/>
                <a:gd name="connsiteX420" fmla="*/ 3789470 w 12192000"/>
                <a:gd name="connsiteY420" fmla="*/ 750137 h 1608850"/>
                <a:gd name="connsiteX421" fmla="*/ 3789470 w 12192000"/>
                <a:gd name="connsiteY421" fmla="*/ 586174 h 1608850"/>
                <a:gd name="connsiteX422" fmla="*/ 3791390 w 12192000"/>
                <a:gd name="connsiteY422" fmla="*/ 586174 h 1608850"/>
                <a:gd name="connsiteX423" fmla="*/ 3791390 w 12192000"/>
                <a:gd name="connsiteY423" fmla="*/ 723865 h 1608850"/>
                <a:gd name="connsiteX424" fmla="*/ 3791390 w 12192000"/>
                <a:gd name="connsiteY424" fmla="*/ 750137 h 1608850"/>
                <a:gd name="connsiteX425" fmla="*/ 3806350 w 12192000"/>
                <a:gd name="connsiteY425" fmla="*/ 750137 h 1608850"/>
                <a:gd name="connsiteX426" fmla="*/ 3806350 w 12192000"/>
                <a:gd name="connsiteY426" fmla="*/ 742023 h 1608850"/>
                <a:gd name="connsiteX427" fmla="*/ 3811298 w 12192000"/>
                <a:gd name="connsiteY427" fmla="*/ 742023 h 1608850"/>
                <a:gd name="connsiteX428" fmla="*/ 3811298 w 12192000"/>
                <a:gd name="connsiteY428" fmla="*/ 724196 h 1608850"/>
                <a:gd name="connsiteX429" fmla="*/ 3849805 w 12192000"/>
                <a:gd name="connsiteY429" fmla="*/ 724196 h 1608850"/>
                <a:gd name="connsiteX430" fmla="*/ 3849805 w 12192000"/>
                <a:gd name="connsiteY430" fmla="*/ 693931 h 1608850"/>
                <a:gd name="connsiteX431" fmla="*/ 3888823 w 12192000"/>
                <a:gd name="connsiteY431" fmla="*/ 693931 h 1608850"/>
                <a:gd name="connsiteX432" fmla="*/ 3888823 w 12192000"/>
                <a:gd name="connsiteY432" fmla="*/ 690579 h 1608850"/>
                <a:gd name="connsiteX433" fmla="*/ 3887708 w 12192000"/>
                <a:gd name="connsiteY433" fmla="*/ 690579 h 1608850"/>
                <a:gd name="connsiteX434" fmla="*/ 3879906 w 12192000"/>
                <a:gd name="connsiteY434" fmla="*/ 690579 h 1608850"/>
                <a:gd name="connsiteX435" fmla="*/ 3879906 w 12192000"/>
                <a:gd name="connsiteY435" fmla="*/ 689443 h 1608850"/>
                <a:gd name="connsiteX436" fmla="*/ 3879906 w 12192000"/>
                <a:gd name="connsiteY436" fmla="*/ 681500 h 1608850"/>
                <a:gd name="connsiteX437" fmla="*/ 3881022 w 12192000"/>
                <a:gd name="connsiteY437" fmla="*/ 681500 h 1608850"/>
                <a:gd name="connsiteX438" fmla="*/ 3888823 w 12192000"/>
                <a:gd name="connsiteY438" fmla="*/ 681500 h 1608850"/>
                <a:gd name="connsiteX439" fmla="*/ 3888823 w 12192000"/>
                <a:gd name="connsiteY439" fmla="*/ 679986 h 1608850"/>
                <a:gd name="connsiteX440" fmla="*/ 3888823 w 12192000"/>
                <a:gd name="connsiteY440" fmla="*/ 669395 h 1608850"/>
                <a:gd name="connsiteX441" fmla="*/ 3887708 w 12192000"/>
                <a:gd name="connsiteY441" fmla="*/ 669395 h 1608850"/>
                <a:gd name="connsiteX442" fmla="*/ 3879906 w 12192000"/>
                <a:gd name="connsiteY442" fmla="*/ 669395 h 1608850"/>
                <a:gd name="connsiteX443" fmla="*/ 3879906 w 12192000"/>
                <a:gd name="connsiteY443" fmla="*/ 667882 h 1608850"/>
                <a:gd name="connsiteX444" fmla="*/ 3879906 w 12192000"/>
                <a:gd name="connsiteY444" fmla="*/ 657290 h 1608850"/>
                <a:gd name="connsiteX445" fmla="*/ 3881022 w 12192000"/>
                <a:gd name="connsiteY445" fmla="*/ 657290 h 1608850"/>
                <a:gd name="connsiteX446" fmla="*/ 3888823 w 12192000"/>
                <a:gd name="connsiteY446" fmla="*/ 657290 h 1608850"/>
                <a:gd name="connsiteX447" fmla="*/ 3888823 w 12192000"/>
                <a:gd name="connsiteY447" fmla="*/ 656156 h 1608850"/>
                <a:gd name="connsiteX448" fmla="*/ 3888823 w 12192000"/>
                <a:gd name="connsiteY448" fmla="*/ 648212 h 1608850"/>
                <a:gd name="connsiteX449" fmla="*/ 3887708 w 12192000"/>
                <a:gd name="connsiteY449" fmla="*/ 648212 h 1608850"/>
                <a:gd name="connsiteX450" fmla="*/ 3879906 w 12192000"/>
                <a:gd name="connsiteY450" fmla="*/ 648212 h 1608850"/>
                <a:gd name="connsiteX451" fmla="*/ 3879906 w 12192000"/>
                <a:gd name="connsiteY451" fmla="*/ 646698 h 1608850"/>
                <a:gd name="connsiteX452" fmla="*/ 3879906 w 12192000"/>
                <a:gd name="connsiteY452" fmla="*/ 636107 h 1608850"/>
                <a:gd name="connsiteX453" fmla="*/ 3881022 w 12192000"/>
                <a:gd name="connsiteY453" fmla="*/ 636107 h 1608850"/>
                <a:gd name="connsiteX454" fmla="*/ 3888823 w 12192000"/>
                <a:gd name="connsiteY454" fmla="*/ 636107 h 1608850"/>
                <a:gd name="connsiteX455" fmla="*/ 3888823 w 12192000"/>
                <a:gd name="connsiteY455" fmla="*/ 634594 h 1608850"/>
                <a:gd name="connsiteX456" fmla="*/ 3888823 w 12192000"/>
                <a:gd name="connsiteY456" fmla="*/ 624002 h 1608850"/>
                <a:gd name="connsiteX457" fmla="*/ 3887708 w 12192000"/>
                <a:gd name="connsiteY457" fmla="*/ 624002 h 1608850"/>
                <a:gd name="connsiteX458" fmla="*/ 3879906 w 12192000"/>
                <a:gd name="connsiteY458" fmla="*/ 624002 h 1608850"/>
                <a:gd name="connsiteX459" fmla="*/ 3879906 w 12192000"/>
                <a:gd name="connsiteY459" fmla="*/ 622489 h 1608850"/>
                <a:gd name="connsiteX460" fmla="*/ 3879906 w 12192000"/>
                <a:gd name="connsiteY460" fmla="*/ 611898 h 1608850"/>
                <a:gd name="connsiteX461" fmla="*/ 3881022 w 12192000"/>
                <a:gd name="connsiteY461" fmla="*/ 611898 h 1608850"/>
                <a:gd name="connsiteX462" fmla="*/ 3888823 w 12192000"/>
                <a:gd name="connsiteY462" fmla="*/ 611898 h 1608850"/>
                <a:gd name="connsiteX463" fmla="*/ 3888823 w 12192000"/>
                <a:gd name="connsiteY463" fmla="*/ 610763 h 1608850"/>
                <a:gd name="connsiteX464" fmla="*/ 3888823 w 12192000"/>
                <a:gd name="connsiteY464" fmla="*/ 602819 h 1608850"/>
                <a:gd name="connsiteX465" fmla="*/ 3887708 w 12192000"/>
                <a:gd name="connsiteY465" fmla="*/ 602819 h 1608850"/>
                <a:gd name="connsiteX466" fmla="*/ 3879906 w 12192000"/>
                <a:gd name="connsiteY466" fmla="*/ 602819 h 1608850"/>
                <a:gd name="connsiteX467" fmla="*/ 3879906 w 12192000"/>
                <a:gd name="connsiteY467" fmla="*/ 601307 h 1608850"/>
                <a:gd name="connsiteX468" fmla="*/ 3879906 w 12192000"/>
                <a:gd name="connsiteY468" fmla="*/ 590714 h 1608850"/>
                <a:gd name="connsiteX469" fmla="*/ 3881022 w 12192000"/>
                <a:gd name="connsiteY469" fmla="*/ 590714 h 1608850"/>
                <a:gd name="connsiteX470" fmla="*/ 3888823 w 12192000"/>
                <a:gd name="connsiteY470" fmla="*/ 590714 h 1608850"/>
                <a:gd name="connsiteX471" fmla="*/ 3888823 w 12192000"/>
                <a:gd name="connsiteY471" fmla="*/ 589202 h 1608850"/>
                <a:gd name="connsiteX472" fmla="*/ 3888823 w 12192000"/>
                <a:gd name="connsiteY472" fmla="*/ 578610 h 1608850"/>
                <a:gd name="connsiteX473" fmla="*/ 3887708 w 12192000"/>
                <a:gd name="connsiteY473" fmla="*/ 578610 h 1608850"/>
                <a:gd name="connsiteX474" fmla="*/ 3879906 w 12192000"/>
                <a:gd name="connsiteY474" fmla="*/ 578610 h 1608850"/>
                <a:gd name="connsiteX475" fmla="*/ 3879906 w 12192000"/>
                <a:gd name="connsiteY475" fmla="*/ 577096 h 1608850"/>
                <a:gd name="connsiteX476" fmla="*/ 3879906 w 12192000"/>
                <a:gd name="connsiteY476" fmla="*/ 566505 h 1608850"/>
                <a:gd name="connsiteX477" fmla="*/ 3881022 w 12192000"/>
                <a:gd name="connsiteY477" fmla="*/ 566505 h 1608850"/>
                <a:gd name="connsiteX478" fmla="*/ 3888823 w 12192000"/>
                <a:gd name="connsiteY478" fmla="*/ 566505 h 1608850"/>
                <a:gd name="connsiteX479" fmla="*/ 3888823 w 12192000"/>
                <a:gd name="connsiteY479" fmla="*/ 565370 h 1608850"/>
                <a:gd name="connsiteX480" fmla="*/ 3888823 w 12192000"/>
                <a:gd name="connsiteY480" fmla="*/ 557427 h 1608850"/>
                <a:gd name="connsiteX481" fmla="*/ 3887708 w 12192000"/>
                <a:gd name="connsiteY481" fmla="*/ 557427 h 1608850"/>
                <a:gd name="connsiteX482" fmla="*/ 3879906 w 12192000"/>
                <a:gd name="connsiteY482" fmla="*/ 557427 h 1608850"/>
                <a:gd name="connsiteX483" fmla="*/ 3879906 w 12192000"/>
                <a:gd name="connsiteY483" fmla="*/ 555914 h 1608850"/>
                <a:gd name="connsiteX484" fmla="*/ 3879906 w 12192000"/>
                <a:gd name="connsiteY484" fmla="*/ 545322 h 1608850"/>
                <a:gd name="connsiteX485" fmla="*/ 3881022 w 12192000"/>
                <a:gd name="connsiteY485" fmla="*/ 545322 h 1608850"/>
                <a:gd name="connsiteX486" fmla="*/ 3888823 w 12192000"/>
                <a:gd name="connsiteY486" fmla="*/ 545322 h 1608850"/>
                <a:gd name="connsiteX487" fmla="*/ 3887708 w 12192000"/>
                <a:gd name="connsiteY487" fmla="*/ 543053 h 1608850"/>
                <a:gd name="connsiteX488" fmla="*/ 3879906 w 12192000"/>
                <a:gd name="connsiteY488" fmla="*/ 527166 h 1608850"/>
                <a:gd name="connsiteX489" fmla="*/ 3879906 w 12192000"/>
                <a:gd name="connsiteY489" fmla="*/ 478746 h 1608850"/>
                <a:gd name="connsiteX490" fmla="*/ 4029251 w 12192000"/>
                <a:gd name="connsiteY490" fmla="*/ 478746 h 1608850"/>
                <a:gd name="connsiteX491" fmla="*/ 4042623 w 12192000"/>
                <a:gd name="connsiteY491" fmla="*/ 505982 h 1608850"/>
                <a:gd name="connsiteX492" fmla="*/ 4042623 w 12192000"/>
                <a:gd name="connsiteY492" fmla="*/ 566505 h 1608850"/>
                <a:gd name="connsiteX493" fmla="*/ 4041510 w 12192000"/>
                <a:gd name="connsiteY493" fmla="*/ 566505 h 1608850"/>
                <a:gd name="connsiteX494" fmla="*/ 4033708 w 12192000"/>
                <a:gd name="connsiteY494" fmla="*/ 566505 h 1608850"/>
                <a:gd name="connsiteX495" fmla="*/ 4033708 w 12192000"/>
                <a:gd name="connsiteY495" fmla="*/ 568018 h 1608850"/>
                <a:gd name="connsiteX496" fmla="*/ 4033708 w 12192000"/>
                <a:gd name="connsiteY496" fmla="*/ 578610 h 1608850"/>
                <a:gd name="connsiteX497" fmla="*/ 4034823 w 12192000"/>
                <a:gd name="connsiteY497" fmla="*/ 578610 h 1608850"/>
                <a:gd name="connsiteX498" fmla="*/ 4042623 w 12192000"/>
                <a:gd name="connsiteY498" fmla="*/ 578610 h 1608850"/>
                <a:gd name="connsiteX499" fmla="*/ 4042623 w 12192000"/>
                <a:gd name="connsiteY499" fmla="*/ 580123 h 1608850"/>
                <a:gd name="connsiteX500" fmla="*/ 4042623 w 12192000"/>
                <a:gd name="connsiteY500" fmla="*/ 590714 h 1608850"/>
                <a:gd name="connsiteX501" fmla="*/ 4041510 w 12192000"/>
                <a:gd name="connsiteY501" fmla="*/ 590714 h 1608850"/>
                <a:gd name="connsiteX502" fmla="*/ 4033708 w 12192000"/>
                <a:gd name="connsiteY502" fmla="*/ 590714 h 1608850"/>
                <a:gd name="connsiteX503" fmla="*/ 4033708 w 12192000"/>
                <a:gd name="connsiteY503" fmla="*/ 592227 h 1608850"/>
                <a:gd name="connsiteX504" fmla="*/ 4033708 w 12192000"/>
                <a:gd name="connsiteY504" fmla="*/ 602819 h 1608850"/>
                <a:gd name="connsiteX505" fmla="*/ 4034823 w 12192000"/>
                <a:gd name="connsiteY505" fmla="*/ 602819 h 1608850"/>
                <a:gd name="connsiteX506" fmla="*/ 4042623 w 12192000"/>
                <a:gd name="connsiteY506" fmla="*/ 602819 h 1608850"/>
                <a:gd name="connsiteX507" fmla="*/ 4042623 w 12192000"/>
                <a:gd name="connsiteY507" fmla="*/ 603955 h 1608850"/>
                <a:gd name="connsiteX508" fmla="*/ 4042623 w 12192000"/>
                <a:gd name="connsiteY508" fmla="*/ 611898 h 1608850"/>
                <a:gd name="connsiteX509" fmla="*/ 4041510 w 12192000"/>
                <a:gd name="connsiteY509" fmla="*/ 611898 h 1608850"/>
                <a:gd name="connsiteX510" fmla="*/ 4033708 w 12192000"/>
                <a:gd name="connsiteY510" fmla="*/ 611898 h 1608850"/>
                <a:gd name="connsiteX511" fmla="*/ 4033708 w 12192000"/>
                <a:gd name="connsiteY511" fmla="*/ 613411 h 1608850"/>
                <a:gd name="connsiteX512" fmla="*/ 4033708 w 12192000"/>
                <a:gd name="connsiteY512" fmla="*/ 624002 h 1608850"/>
                <a:gd name="connsiteX513" fmla="*/ 4034823 w 12192000"/>
                <a:gd name="connsiteY513" fmla="*/ 624002 h 1608850"/>
                <a:gd name="connsiteX514" fmla="*/ 4042623 w 12192000"/>
                <a:gd name="connsiteY514" fmla="*/ 624002 h 1608850"/>
                <a:gd name="connsiteX515" fmla="*/ 4042623 w 12192000"/>
                <a:gd name="connsiteY515" fmla="*/ 625516 h 1608850"/>
                <a:gd name="connsiteX516" fmla="*/ 4042623 w 12192000"/>
                <a:gd name="connsiteY516" fmla="*/ 636107 h 1608850"/>
                <a:gd name="connsiteX517" fmla="*/ 4041510 w 12192000"/>
                <a:gd name="connsiteY517" fmla="*/ 636107 h 1608850"/>
                <a:gd name="connsiteX518" fmla="*/ 4033708 w 12192000"/>
                <a:gd name="connsiteY518" fmla="*/ 636107 h 1608850"/>
                <a:gd name="connsiteX519" fmla="*/ 4033708 w 12192000"/>
                <a:gd name="connsiteY519" fmla="*/ 637620 h 1608850"/>
                <a:gd name="connsiteX520" fmla="*/ 4033708 w 12192000"/>
                <a:gd name="connsiteY520" fmla="*/ 648212 h 1608850"/>
                <a:gd name="connsiteX521" fmla="*/ 4034823 w 12192000"/>
                <a:gd name="connsiteY521" fmla="*/ 648212 h 1608850"/>
                <a:gd name="connsiteX522" fmla="*/ 4042623 w 12192000"/>
                <a:gd name="connsiteY522" fmla="*/ 648212 h 1608850"/>
                <a:gd name="connsiteX523" fmla="*/ 4042623 w 12192000"/>
                <a:gd name="connsiteY523" fmla="*/ 649346 h 1608850"/>
                <a:gd name="connsiteX524" fmla="*/ 4042623 w 12192000"/>
                <a:gd name="connsiteY524" fmla="*/ 657290 h 1608850"/>
                <a:gd name="connsiteX525" fmla="*/ 4041510 w 12192000"/>
                <a:gd name="connsiteY525" fmla="*/ 657290 h 1608850"/>
                <a:gd name="connsiteX526" fmla="*/ 4033708 w 12192000"/>
                <a:gd name="connsiteY526" fmla="*/ 657290 h 1608850"/>
                <a:gd name="connsiteX527" fmla="*/ 4033708 w 12192000"/>
                <a:gd name="connsiteY527" fmla="*/ 658804 h 1608850"/>
                <a:gd name="connsiteX528" fmla="*/ 4033708 w 12192000"/>
                <a:gd name="connsiteY528" fmla="*/ 669395 h 1608850"/>
                <a:gd name="connsiteX529" fmla="*/ 4034823 w 12192000"/>
                <a:gd name="connsiteY529" fmla="*/ 669395 h 1608850"/>
                <a:gd name="connsiteX530" fmla="*/ 4042623 w 12192000"/>
                <a:gd name="connsiteY530" fmla="*/ 669395 h 1608850"/>
                <a:gd name="connsiteX531" fmla="*/ 4042623 w 12192000"/>
                <a:gd name="connsiteY531" fmla="*/ 670908 h 1608850"/>
                <a:gd name="connsiteX532" fmla="*/ 4042623 w 12192000"/>
                <a:gd name="connsiteY532" fmla="*/ 681500 h 1608850"/>
                <a:gd name="connsiteX533" fmla="*/ 4041510 w 12192000"/>
                <a:gd name="connsiteY533" fmla="*/ 681500 h 1608850"/>
                <a:gd name="connsiteX534" fmla="*/ 4033708 w 12192000"/>
                <a:gd name="connsiteY534" fmla="*/ 681500 h 1608850"/>
                <a:gd name="connsiteX535" fmla="*/ 4033708 w 12192000"/>
                <a:gd name="connsiteY535" fmla="*/ 682634 h 1608850"/>
                <a:gd name="connsiteX536" fmla="*/ 4033708 w 12192000"/>
                <a:gd name="connsiteY536" fmla="*/ 690579 h 1608850"/>
                <a:gd name="connsiteX537" fmla="*/ 4034823 w 12192000"/>
                <a:gd name="connsiteY537" fmla="*/ 690579 h 1608850"/>
                <a:gd name="connsiteX538" fmla="*/ 4042623 w 12192000"/>
                <a:gd name="connsiteY538" fmla="*/ 690579 h 1608850"/>
                <a:gd name="connsiteX539" fmla="*/ 4042623 w 12192000"/>
                <a:gd name="connsiteY539" fmla="*/ 692091 h 1608850"/>
                <a:gd name="connsiteX540" fmla="*/ 4042623 w 12192000"/>
                <a:gd name="connsiteY540" fmla="*/ 702682 h 1608850"/>
                <a:gd name="connsiteX541" fmla="*/ 4041510 w 12192000"/>
                <a:gd name="connsiteY541" fmla="*/ 702682 h 1608850"/>
                <a:gd name="connsiteX542" fmla="*/ 4033708 w 12192000"/>
                <a:gd name="connsiteY542" fmla="*/ 702682 h 1608850"/>
                <a:gd name="connsiteX543" fmla="*/ 4033708 w 12192000"/>
                <a:gd name="connsiteY543" fmla="*/ 704195 h 1608850"/>
                <a:gd name="connsiteX544" fmla="*/ 4033708 w 12192000"/>
                <a:gd name="connsiteY544" fmla="*/ 714788 h 1608850"/>
                <a:gd name="connsiteX545" fmla="*/ 4034823 w 12192000"/>
                <a:gd name="connsiteY545" fmla="*/ 714788 h 1608850"/>
                <a:gd name="connsiteX546" fmla="*/ 4042623 w 12192000"/>
                <a:gd name="connsiteY546" fmla="*/ 714788 h 1608850"/>
                <a:gd name="connsiteX547" fmla="*/ 4042623 w 12192000"/>
                <a:gd name="connsiteY547" fmla="*/ 716300 h 1608850"/>
                <a:gd name="connsiteX548" fmla="*/ 4042623 w 12192000"/>
                <a:gd name="connsiteY548" fmla="*/ 726892 h 1608850"/>
                <a:gd name="connsiteX549" fmla="*/ 4041510 w 12192000"/>
                <a:gd name="connsiteY549" fmla="*/ 726892 h 1608850"/>
                <a:gd name="connsiteX550" fmla="*/ 4033708 w 12192000"/>
                <a:gd name="connsiteY550" fmla="*/ 726892 h 1608850"/>
                <a:gd name="connsiteX551" fmla="*/ 4033708 w 12192000"/>
                <a:gd name="connsiteY551" fmla="*/ 728027 h 1608850"/>
                <a:gd name="connsiteX552" fmla="*/ 4033708 w 12192000"/>
                <a:gd name="connsiteY552" fmla="*/ 735970 h 1608850"/>
                <a:gd name="connsiteX553" fmla="*/ 4034823 w 12192000"/>
                <a:gd name="connsiteY553" fmla="*/ 735970 h 1608850"/>
                <a:gd name="connsiteX554" fmla="*/ 4042623 w 12192000"/>
                <a:gd name="connsiteY554" fmla="*/ 735970 h 1608850"/>
                <a:gd name="connsiteX555" fmla="*/ 4042623 w 12192000"/>
                <a:gd name="connsiteY555" fmla="*/ 737484 h 1608850"/>
                <a:gd name="connsiteX556" fmla="*/ 4042623 w 12192000"/>
                <a:gd name="connsiteY556" fmla="*/ 748075 h 1608850"/>
                <a:gd name="connsiteX557" fmla="*/ 4041510 w 12192000"/>
                <a:gd name="connsiteY557" fmla="*/ 748075 h 1608850"/>
                <a:gd name="connsiteX558" fmla="*/ 4033708 w 12192000"/>
                <a:gd name="connsiteY558" fmla="*/ 748075 h 1608850"/>
                <a:gd name="connsiteX559" fmla="*/ 4033708 w 12192000"/>
                <a:gd name="connsiteY559" fmla="*/ 749588 h 1608850"/>
                <a:gd name="connsiteX560" fmla="*/ 4033708 w 12192000"/>
                <a:gd name="connsiteY560" fmla="*/ 760181 h 1608850"/>
                <a:gd name="connsiteX561" fmla="*/ 4034823 w 12192000"/>
                <a:gd name="connsiteY561" fmla="*/ 760181 h 1608850"/>
                <a:gd name="connsiteX562" fmla="*/ 4042623 w 12192000"/>
                <a:gd name="connsiteY562" fmla="*/ 760181 h 1608850"/>
                <a:gd name="connsiteX563" fmla="*/ 4042623 w 12192000"/>
                <a:gd name="connsiteY563" fmla="*/ 761314 h 1608850"/>
                <a:gd name="connsiteX564" fmla="*/ 4042623 w 12192000"/>
                <a:gd name="connsiteY564" fmla="*/ 769258 h 1608850"/>
                <a:gd name="connsiteX565" fmla="*/ 4041510 w 12192000"/>
                <a:gd name="connsiteY565" fmla="*/ 769258 h 1608850"/>
                <a:gd name="connsiteX566" fmla="*/ 4033708 w 12192000"/>
                <a:gd name="connsiteY566" fmla="*/ 769258 h 1608850"/>
                <a:gd name="connsiteX567" fmla="*/ 4033708 w 12192000"/>
                <a:gd name="connsiteY567" fmla="*/ 770772 h 1608850"/>
                <a:gd name="connsiteX568" fmla="*/ 4033708 w 12192000"/>
                <a:gd name="connsiteY568" fmla="*/ 781363 h 1608850"/>
                <a:gd name="connsiteX569" fmla="*/ 4034823 w 12192000"/>
                <a:gd name="connsiteY569" fmla="*/ 781363 h 1608850"/>
                <a:gd name="connsiteX570" fmla="*/ 4042623 w 12192000"/>
                <a:gd name="connsiteY570" fmla="*/ 781363 h 1608850"/>
                <a:gd name="connsiteX571" fmla="*/ 4042623 w 12192000"/>
                <a:gd name="connsiteY571" fmla="*/ 782876 h 1608850"/>
                <a:gd name="connsiteX572" fmla="*/ 4042623 w 12192000"/>
                <a:gd name="connsiteY572" fmla="*/ 793468 h 1608850"/>
                <a:gd name="connsiteX573" fmla="*/ 4041510 w 12192000"/>
                <a:gd name="connsiteY573" fmla="*/ 793468 h 1608850"/>
                <a:gd name="connsiteX574" fmla="*/ 4033708 w 12192000"/>
                <a:gd name="connsiteY574" fmla="*/ 793468 h 1608850"/>
                <a:gd name="connsiteX575" fmla="*/ 4033708 w 12192000"/>
                <a:gd name="connsiteY575" fmla="*/ 794981 h 1608850"/>
                <a:gd name="connsiteX576" fmla="*/ 4033708 w 12192000"/>
                <a:gd name="connsiteY576" fmla="*/ 805572 h 1608850"/>
                <a:gd name="connsiteX577" fmla="*/ 4034823 w 12192000"/>
                <a:gd name="connsiteY577" fmla="*/ 805572 h 1608850"/>
                <a:gd name="connsiteX578" fmla="*/ 4042623 w 12192000"/>
                <a:gd name="connsiteY578" fmla="*/ 805572 h 1608850"/>
                <a:gd name="connsiteX579" fmla="*/ 4042623 w 12192000"/>
                <a:gd name="connsiteY579" fmla="*/ 806707 h 1608850"/>
                <a:gd name="connsiteX580" fmla="*/ 4042623 w 12192000"/>
                <a:gd name="connsiteY580" fmla="*/ 814651 h 1608850"/>
                <a:gd name="connsiteX581" fmla="*/ 4041510 w 12192000"/>
                <a:gd name="connsiteY581" fmla="*/ 814651 h 1608850"/>
                <a:gd name="connsiteX582" fmla="*/ 4033708 w 12192000"/>
                <a:gd name="connsiteY582" fmla="*/ 814651 h 1608850"/>
                <a:gd name="connsiteX583" fmla="*/ 4033708 w 12192000"/>
                <a:gd name="connsiteY583" fmla="*/ 816163 h 1608850"/>
                <a:gd name="connsiteX584" fmla="*/ 4033708 w 12192000"/>
                <a:gd name="connsiteY584" fmla="*/ 826756 h 1608850"/>
                <a:gd name="connsiteX585" fmla="*/ 4058227 w 12192000"/>
                <a:gd name="connsiteY585" fmla="*/ 853992 h 1608850"/>
                <a:gd name="connsiteX586" fmla="*/ 4057113 w 12192000"/>
                <a:gd name="connsiteY586" fmla="*/ 860044 h 1608850"/>
                <a:gd name="connsiteX587" fmla="*/ 4049311 w 12192000"/>
                <a:gd name="connsiteY587" fmla="*/ 860044 h 1608850"/>
                <a:gd name="connsiteX588" fmla="*/ 4049311 w 12192000"/>
                <a:gd name="connsiteY588" fmla="*/ 893331 h 1608850"/>
                <a:gd name="connsiteX589" fmla="*/ 4050427 w 12192000"/>
                <a:gd name="connsiteY589" fmla="*/ 893331 h 1608850"/>
                <a:gd name="connsiteX590" fmla="*/ 4058227 w 12192000"/>
                <a:gd name="connsiteY590" fmla="*/ 893331 h 1608850"/>
                <a:gd name="connsiteX591" fmla="*/ 4058227 w 12192000"/>
                <a:gd name="connsiteY591" fmla="*/ 891440 h 1608850"/>
                <a:gd name="connsiteX592" fmla="*/ 4058227 w 12192000"/>
                <a:gd name="connsiteY592" fmla="*/ 878201 h 1608850"/>
                <a:gd name="connsiteX593" fmla="*/ 4059342 w 12192000"/>
                <a:gd name="connsiteY593" fmla="*/ 877444 h 1608850"/>
                <a:gd name="connsiteX594" fmla="*/ 4067142 w 12192000"/>
                <a:gd name="connsiteY594" fmla="*/ 872149 h 1608850"/>
                <a:gd name="connsiteX595" fmla="*/ 4069094 w 12192000"/>
                <a:gd name="connsiteY595" fmla="*/ 872149 h 1608850"/>
                <a:gd name="connsiteX596" fmla="*/ 4082747 w 12192000"/>
                <a:gd name="connsiteY596" fmla="*/ 872149 h 1608850"/>
                <a:gd name="connsiteX597" fmla="*/ 4082747 w 12192000"/>
                <a:gd name="connsiteY597" fmla="*/ 873661 h 1608850"/>
                <a:gd name="connsiteX598" fmla="*/ 4082747 w 12192000"/>
                <a:gd name="connsiteY598" fmla="*/ 884253 h 1608850"/>
                <a:gd name="connsiteX599" fmla="*/ 4084419 w 12192000"/>
                <a:gd name="connsiteY599" fmla="*/ 884253 h 1608850"/>
                <a:gd name="connsiteX600" fmla="*/ 4096121 w 12192000"/>
                <a:gd name="connsiteY600" fmla="*/ 884253 h 1608850"/>
                <a:gd name="connsiteX601" fmla="*/ 4097235 w 12192000"/>
                <a:gd name="connsiteY601" fmla="*/ 890305 h 1608850"/>
                <a:gd name="connsiteX602" fmla="*/ 4105038 w 12192000"/>
                <a:gd name="connsiteY602" fmla="*/ 890305 h 1608850"/>
                <a:gd name="connsiteX603" fmla="*/ 4129555 w 12192000"/>
                <a:gd name="connsiteY603" fmla="*/ 932671 h 1608850"/>
                <a:gd name="connsiteX604" fmla="*/ 4129555 w 12192000"/>
                <a:gd name="connsiteY604" fmla="*/ 951821 h 1608850"/>
                <a:gd name="connsiteX605" fmla="*/ 4129555 w 12192000"/>
                <a:gd name="connsiteY605" fmla="*/ 970823 h 1608850"/>
                <a:gd name="connsiteX606" fmla="*/ 4138472 w 12192000"/>
                <a:gd name="connsiteY606" fmla="*/ 970823 h 1608850"/>
                <a:gd name="connsiteX607" fmla="*/ 4138472 w 12192000"/>
                <a:gd name="connsiteY607" fmla="*/ 956881 h 1608850"/>
                <a:gd name="connsiteX608" fmla="*/ 4139308 w 12192000"/>
                <a:gd name="connsiteY608" fmla="*/ 956881 h 1608850"/>
                <a:gd name="connsiteX609" fmla="*/ 4145159 w 12192000"/>
                <a:gd name="connsiteY609" fmla="*/ 956881 h 1608850"/>
                <a:gd name="connsiteX610" fmla="*/ 4145159 w 12192000"/>
                <a:gd name="connsiteY610" fmla="*/ 958394 h 1608850"/>
                <a:gd name="connsiteX611" fmla="*/ 4145159 w 12192000"/>
                <a:gd name="connsiteY611" fmla="*/ 968985 h 1608850"/>
                <a:gd name="connsiteX612" fmla="*/ 4154075 w 12192000"/>
                <a:gd name="connsiteY612" fmla="*/ 905436 h 1608850"/>
                <a:gd name="connsiteX613" fmla="*/ 4191968 w 12192000"/>
                <a:gd name="connsiteY613" fmla="*/ 905436 h 1608850"/>
                <a:gd name="connsiteX614" fmla="*/ 4191968 w 12192000"/>
                <a:gd name="connsiteY614" fmla="*/ 808599 h 1608850"/>
                <a:gd name="connsiteX615" fmla="*/ 4227631 w 12192000"/>
                <a:gd name="connsiteY615" fmla="*/ 808599 h 1608850"/>
                <a:gd name="connsiteX616" fmla="*/ 4227631 w 12192000"/>
                <a:gd name="connsiteY616" fmla="*/ 807464 h 1608850"/>
                <a:gd name="connsiteX617" fmla="*/ 4227631 w 12192000"/>
                <a:gd name="connsiteY617" fmla="*/ 799520 h 1608850"/>
                <a:gd name="connsiteX618" fmla="*/ 4249922 w 12192000"/>
                <a:gd name="connsiteY618" fmla="*/ 799520 h 1608850"/>
                <a:gd name="connsiteX619" fmla="*/ 4249922 w 12192000"/>
                <a:gd name="connsiteY619" fmla="*/ 748075 h 1608850"/>
                <a:gd name="connsiteX620" fmla="*/ 4245463 w 12192000"/>
                <a:gd name="connsiteY620" fmla="*/ 745805 h 1608850"/>
                <a:gd name="connsiteX621" fmla="*/ 4245463 w 12192000"/>
                <a:gd name="connsiteY621" fmla="*/ 729918 h 1608850"/>
                <a:gd name="connsiteX622" fmla="*/ 4249922 w 12192000"/>
                <a:gd name="connsiteY622" fmla="*/ 732945 h 1608850"/>
                <a:gd name="connsiteX623" fmla="*/ 4254381 w 12192000"/>
                <a:gd name="connsiteY623" fmla="*/ 702682 h 1608850"/>
                <a:gd name="connsiteX624" fmla="*/ 4258839 w 12192000"/>
                <a:gd name="connsiteY624" fmla="*/ 732945 h 1608850"/>
                <a:gd name="connsiteX625" fmla="*/ 4261346 w 12192000"/>
                <a:gd name="connsiteY625" fmla="*/ 728783 h 1608850"/>
                <a:gd name="connsiteX626" fmla="*/ 4263297 w 12192000"/>
                <a:gd name="connsiteY626" fmla="*/ 720840 h 1608850"/>
                <a:gd name="connsiteX627" fmla="*/ 4263853 w 12192000"/>
                <a:gd name="connsiteY627" fmla="*/ 719327 h 1608850"/>
                <a:gd name="connsiteX628" fmla="*/ 4267754 w 12192000"/>
                <a:gd name="connsiteY628" fmla="*/ 708734 h 1608850"/>
                <a:gd name="connsiteX629" fmla="*/ 4268311 w 12192000"/>
                <a:gd name="connsiteY629" fmla="*/ 707222 h 1608850"/>
                <a:gd name="connsiteX630" fmla="*/ 4272213 w 12192000"/>
                <a:gd name="connsiteY630" fmla="*/ 696631 h 1608850"/>
                <a:gd name="connsiteX631" fmla="*/ 4273605 w 12192000"/>
                <a:gd name="connsiteY631" fmla="*/ 695495 h 1608850"/>
                <a:gd name="connsiteX632" fmla="*/ 4283357 w 12192000"/>
                <a:gd name="connsiteY632" fmla="*/ 687552 h 1608850"/>
                <a:gd name="connsiteX633" fmla="*/ 4285030 w 12192000"/>
                <a:gd name="connsiteY633" fmla="*/ 686039 h 1608850"/>
                <a:gd name="connsiteX634" fmla="*/ 4296732 w 12192000"/>
                <a:gd name="connsiteY634" fmla="*/ 675447 h 1608850"/>
                <a:gd name="connsiteX635" fmla="*/ 4297568 w 12192000"/>
                <a:gd name="connsiteY635" fmla="*/ 673934 h 1608850"/>
                <a:gd name="connsiteX636" fmla="*/ 4303418 w 12192000"/>
                <a:gd name="connsiteY636" fmla="*/ 663343 h 1608850"/>
                <a:gd name="connsiteX637" fmla="*/ 4303976 w 12192000"/>
                <a:gd name="connsiteY637" fmla="*/ 660695 h 1608850"/>
                <a:gd name="connsiteX638" fmla="*/ 4307877 w 12192000"/>
                <a:gd name="connsiteY638" fmla="*/ 642159 h 1608850"/>
                <a:gd name="connsiteX639" fmla="*/ 4308435 w 12192000"/>
                <a:gd name="connsiteY639" fmla="*/ 644807 h 1608850"/>
                <a:gd name="connsiteX640" fmla="*/ 4312335 w 12192000"/>
                <a:gd name="connsiteY640" fmla="*/ 663343 h 1608850"/>
                <a:gd name="connsiteX641" fmla="*/ 4312893 w 12192000"/>
                <a:gd name="connsiteY641" fmla="*/ 664477 h 1608850"/>
                <a:gd name="connsiteX642" fmla="*/ 4316793 w 12192000"/>
                <a:gd name="connsiteY642" fmla="*/ 672421 h 1608850"/>
                <a:gd name="connsiteX643" fmla="*/ 4318186 w 12192000"/>
                <a:gd name="connsiteY643" fmla="*/ 673934 h 1608850"/>
                <a:gd name="connsiteX644" fmla="*/ 4327938 w 12192000"/>
                <a:gd name="connsiteY644" fmla="*/ 684525 h 1608850"/>
                <a:gd name="connsiteX645" fmla="*/ 4329054 w 12192000"/>
                <a:gd name="connsiteY645" fmla="*/ 686039 h 1608850"/>
                <a:gd name="connsiteX646" fmla="*/ 4336853 w 12192000"/>
                <a:gd name="connsiteY646" fmla="*/ 696631 h 1608850"/>
                <a:gd name="connsiteX647" fmla="*/ 4337969 w 12192000"/>
                <a:gd name="connsiteY647" fmla="*/ 698143 h 1608850"/>
                <a:gd name="connsiteX648" fmla="*/ 4345771 w 12192000"/>
                <a:gd name="connsiteY648" fmla="*/ 708734 h 1608850"/>
                <a:gd name="connsiteX649" fmla="*/ 4346049 w 12192000"/>
                <a:gd name="connsiteY649" fmla="*/ 710248 h 1608850"/>
                <a:gd name="connsiteX650" fmla="*/ 4347998 w 12192000"/>
                <a:gd name="connsiteY650" fmla="*/ 720840 h 1608850"/>
                <a:gd name="connsiteX651" fmla="*/ 4348277 w 12192000"/>
                <a:gd name="connsiteY651" fmla="*/ 722352 h 1608850"/>
                <a:gd name="connsiteX652" fmla="*/ 4350228 w 12192000"/>
                <a:gd name="connsiteY652" fmla="*/ 732945 h 1608850"/>
                <a:gd name="connsiteX653" fmla="*/ 4356914 w 12192000"/>
                <a:gd name="connsiteY653" fmla="*/ 702682 h 1608850"/>
                <a:gd name="connsiteX654" fmla="*/ 4361373 w 12192000"/>
                <a:gd name="connsiteY654" fmla="*/ 732945 h 1608850"/>
                <a:gd name="connsiteX655" fmla="*/ 4365830 w 12192000"/>
                <a:gd name="connsiteY655" fmla="*/ 735214 h 1608850"/>
                <a:gd name="connsiteX656" fmla="*/ 4365830 w 12192000"/>
                <a:gd name="connsiteY656" fmla="*/ 751102 h 1608850"/>
                <a:gd name="connsiteX657" fmla="*/ 4361373 w 12192000"/>
                <a:gd name="connsiteY657" fmla="*/ 793468 h 1608850"/>
                <a:gd name="connsiteX658" fmla="*/ 4362489 w 12192000"/>
                <a:gd name="connsiteY658" fmla="*/ 793468 h 1608850"/>
                <a:gd name="connsiteX659" fmla="*/ 4370289 w 12192000"/>
                <a:gd name="connsiteY659" fmla="*/ 793468 h 1608850"/>
                <a:gd name="connsiteX660" fmla="*/ 4371126 w 12192000"/>
                <a:gd name="connsiteY660" fmla="*/ 799520 h 1608850"/>
                <a:gd name="connsiteX661" fmla="*/ 4376976 w 12192000"/>
                <a:gd name="connsiteY661" fmla="*/ 799520 h 1608850"/>
                <a:gd name="connsiteX662" fmla="*/ 4376976 w 12192000"/>
                <a:gd name="connsiteY662" fmla="*/ 798007 h 1608850"/>
                <a:gd name="connsiteX663" fmla="*/ 4376976 w 12192000"/>
                <a:gd name="connsiteY663" fmla="*/ 787415 h 1608850"/>
                <a:gd name="connsiteX664" fmla="*/ 4379206 w 12192000"/>
                <a:gd name="connsiteY664" fmla="*/ 787415 h 1608850"/>
                <a:gd name="connsiteX665" fmla="*/ 4394808 w 12192000"/>
                <a:gd name="connsiteY665" fmla="*/ 787415 h 1608850"/>
                <a:gd name="connsiteX666" fmla="*/ 4394808 w 12192000"/>
                <a:gd name="connsiteY666" fmla="*/ 784767 h 1608850"/>
                <a:gd name="connsiteX667" fmla="*/ 4394808 w 12192000"/>
                <a:gd name="connsiteY667" fmla="*/ 766232 h 1608850"/>
                <a:gd name="connsiteX668" fmla="*/ 4432702 w 12192000"/>
                <a:gd name="connsiteY668" fmla="*/ 766232 h 1608850"/>
                <a:gd name="connsiteX669" fmla="*/ 4432702 w 12192000"/>
                <a:gd name="connsiteY669" fmla="*/ 768124 h 1608850"/>
                <a:gd name="connsiteX670" fmla="*/ 4432702 w 12192000"/>
                <a:gd name="connsiteY670" fmla="*/ 781363 h 1608850"/>
                <a:gd name="connsiteX671" fmla="*/ 4452762 w 12192000"/>
                <a:gd name="connsiteY671" fmla="*/ 781363 h 1608850"/>
                <a:gd name="connsiteX672" fmla="*/ 4452762 w 12192000"/>
                <a:gd name="connsiteY672" fmla="*/ 784390 h 1608850"/>
                <a:gd name="connsiteX673" fmla="*/ 4452762 w 12192000"/>
                <a:gd name="connsiteY673" fmla="*/ 805572 h 1608850"/>
                <a:gd name="connsiteX674" fmla="*/ 4448306 w 12192000"/>
                <a:gd name="connsiteY674" fmla="*/ 806707 h 1608850"/>
                <a:gd name="connsiteX675" fmla="*/ 4448306 w 12192000"/>
                <a:gd name="connsiteY675" fmla="*/ 814651 h 1608850"/>
                <a:gd name="connsiteX676" fmla="*/ 4452762 w 12192000"/>
                <a:gd name="connsiteY676" fmla="*/ 816921 h 1608850"/>
                <a:gd name="connsiteX677" fmla="*/ 4452762 w 12192000"/>
                <a:gd name="connsiteY677" fmla="*/ 832808 h 1608850"/>
                <a:gd name="connsiteX678" fmla="*/ 4448306 w 12192000"/>
                <a:gd name="connsiteY678" fmla="*/ 838860 h 1608850"/>
                <a:gd name="connsiteX679" fmla="*/ 4448306 w 12192000"/>
                <a:gd name="connsiteY679" fmla="*/ 911488 h 1608850"/>
                <a:gd name="connsiteX680" fmla="*/ 4450255 w 12192000"/>
                <a:gd name="connsiteY680" fmla="*/ 911488 h 1608850"/>
                <a:gd name="connsiteX681" fmla="*/ 4463908 w 12192000"/>
                <a:gd name="connsiteY681" fmla="*/ 911488 h 1608850"/>
                <a:gd name="connsiteX682" fmla="*/ 4465579 w 12192000"/>
                <a:gd name="connsiteY682" fmla="*/ 917540 h 1608850"/>
                <a:gd name="connsiteX683" fmla="*/ 4477282 w 12192000"/>
                <a:gd name="connsiteY683" fmla="*/ 917540 h 1608850"/>
                <a:gd name="connsiteX684" fmla="*/ 4477282 w 12192000"/>
                <a:gd name="connsiteY684" fmla="*/ 920188 h 1608850"/>
                <a:gd name="connsiteX685" fmla="*/ 4477282 w 12192000"/>
                <a:gd name="connsiteY685" fmla="*/ 938724 h 1608850"/>
                <a:gd name="connsiteX686" fmla="*/ 4478955 w 12192000"/>
                <a:gd name="connsiteY686" fmla="*/ 938724 h 1608850"/>
                <a:gd name="connsiteX687" fmla="*/ 4490656 w 12192000"/>
                <a:gd name="connsiteY687" fmla="*/ 938724 h 1608850"/>
                <a:gd name="connsiteX688" fmla="*/ 4490656 w 12192000"/>
                <a:gd name="connsiteY688" fmla="*/ 936076 h 1608850"/>
                <a:gd name="connsiteX689" fmla="*/ 4490656 w 12192000"/>
                <a:gd name="connsiteY689" fmla="*/ 917540 h 1608850"/>
                <a:gd name="connsiteX690" fmla="*/ 4492605 w 12192000"/>
                <a:gd name="connsiteY690" fmla="*/ 916028 h 1608850"/>
                <a:gd name="connsiteX691" fmla="*/ 4506258 w 12192000"/>
                <a:gd name="connsiteY691" fmla="*/ 905436 h 1608850"/>
                <a:gd name="connsiteX692" fmla="*/ 4506258 w 12192000"/>
                <a:gd name="connsiteY692" fmla="*/ 878201 h 1608850"/>
                <a:gd name="connsiteX693" fmla="*/ 4501802 w 12192000"/>
                <a:gd name="connsiteY693" fmla="*/ 847938 h 1608850"/>
                <a:gd name="connsiteX694" fmla="*/ 4502914 w 12192000"/>
                <a:gd name="connsiteY694" fmla="*/ 847938 h 1608850"/>
                <a:gd name="connsiteX695" fmla="*/ 4510717 w 12192000"/>
                <a:gd name="connsiteY695" fmla="*/ 847938 h 1608850"/>
                <a:gd name="connsiteX696" fmla="*/ 4530778 w 12192000"/>
                <a:gd name="connsiteY696" fmla="*/ 844913 h 1608850"/>
                <a:gd name="connsiteX697" fmla="*/ 4530778 w 12192000"/>
                <a:gd name="connsiteY697" fmla="*/ 843399 h 1608850"/>
                <a:gd name="connsiteX698" fmla="*/ 4530778 w 12192000"/>
                <a:gd name="connsiteY698" fmla="*/ 832808 h 1608850"/>
                <a:gd name="connsiteX699" fmla="*/ 4532451 w 12192000"/>
                <a:gd name="connsiteY699" fmla="*/ 832808 h 1608850"/>
                <a:gd name="connsiteX700" fmla="*/ 4544152 w 12192000"/>
                <a:gd name="connsiteY700" fmla="*/ 832808 h 1608850"/>
                <a:gd name="connsiteX701" fmla="*/ 4544152 w 12192000"/>
                <a:gd name="connsiteY701" fmla="*/ 681500 h 1608850"/>
                <a:gd name="connsiteX702" fmla="*/ 4545267 w 12192000"/>
                <a:gd name="connsiteY702" fmla="*/ 681500 h 1608850"/>
                <a:gd name="connsiteX703" fmla="*/ 4553068 w 12192000"/>
                <a:gd name="connsiteY703" fmla="*/ 681500 h 1608850"/>
                <a:gd name="connsiteX704" fmla="*/ 4553068 w 12192000"/>
                <a:gd name="connsiteY704" fmla="*/ 678473 h 1608850"/>
                <a:gd name="connsiteX705" fmla="*/ 4553068 w 12192000"/>
                <a:gd name="connsiteY705" fmla="*/ 657290 h 1608850"/>
                <a:gd name="connsiteX706" fmla="*/ 4555298 w 12192000"/>
                <a:gd name="connsiteY706" fmla="*/ 596766 h 1608850"/>
                <a:gd name="connsiteX707" fmla="*/ 4556412 w 12192000"/>
                <a:gd name="connsiteY707" fmla="*/ 596766 h 1608850"/>
                <a:gd name="connsiteX708" fmla="*/ 4564213 w 12192000"/>
                <a:gd name="connsiteY708" fmla="*/ 596766 h 1608850"/>
                <a:gd name="connsiteX709" fmla="*/ 4564213 w 12192000"/>
                <a:gd name="connsiteY709" fmla="*/ 598280 h 1608850"/>
                <a:gd name="connsiteX710" fmla="*/ 4564213 w 12192000"/>
                <a:gd name="connsiteY710" fmla="*/ 608871 h 1608850"/>
                <a:gd name="connsiteX711" fmla="*/ 4568671 w 12192000"/>
                <a:gd name="connsiteY711" fmla="*/ 605845 h 1608850"/>
                <a:gd name="connsiteX712" fmla="*/ 4568671 w 12192000"/>
                <a:gd name="connsiteY712" fmla="*/ 584662 h 1608850"/>
                <a:gd name="connsiteX713" fmla="*/ 4570065 w 12192000"/>
                <a:gd name="connsiteY713" fmla="*/ 583906 h 1608850"/>
                <a:gd name="connsiteX714" fmla="*/ 4579816 w 12192000"/>
                <a:gd name="connsiteY714" fmla="*/ 578610 h 1608850"/>
                <a:gd name="connsiteX715" fmla="*/ 4580930 w 12192000"/>
                <a:gd name="connsiteY715" fmla="*/ 579367 h 1608850"/>
                <a:gd name="connsiteX716" fmla="*/ 4588733 w 12192000"/>
                <a:gd name="connsiteY716" fmla="*/ 584662 h 1608850"/>
                <a:gd name="connsiteX717" fmla="*/ 4590404 w 12192000"/>
                <a:gd name="connsiteY717" fmla="*/ 584662 h 1608850"/>
                <a:gd name="connsiteX718" fmla="*/ 4602107 w 12192000"/>
                <a:gd name="connsiteY718" fmla="*/ 584662 h 1608850"/>
                <a:gd name="connsiteX719" fmla="*/ 4602107 w 12192000"/>
                <a:gd name="connsiteY719" fmla="*/ 545322 h 1608850"/>
                <a:gd name="connsiteX720" fmla="*/ 4603221 w 12192000"/>
                <a:gd name="connsiteY720" fmla="*/ 545322 h 1608850"/>
                <a:gd name="connsiteX721" fmla="*/ 4611021 w 12192000"/>
                <a:gd name="connsiteY721" fmla="*/ 545322 h 1608850"/>
                <a:gd name="connsiteX722" fmla="*/ 4612414 w 12192000"/>
                <a:gd name="connsiteY722" fmla="*/ 551375 h 1608850"/>
                <a:gd name="connsiteX723" fmla="*/ 4622169 w 12192000"/>
                <a:gd name="connsiteY723" fmla="*/ 551375 h 1608850"/>
                <a:gd name="connsiteX724" fmla="*/ 4623282 w 12192000"/>
                <a:gd name="connsiteY724" fmla="*/ 545322 h 1608850"/>
                <a:gd name="connsiteX725" fmla="*/ 4631084 w 12192000"/>
                <a:gd name="connsiteY725" fmla="*/ 545322 h 1608850"/>
                <a:gd name="connsiteX726" fmla="*/ 4631084 w 12192000"/>
                <a:gd name="connsiteY726" fmla="*/ 590714 h 1608850"/>
                <a:gd name="connsiteX727" fmla="*/ 4632477 w 12192000"/>
                <a:gd name="connsiteY727" fmla="*/ 592227 h 1608850"/>
                <a:gd name="connsiteX728" fmla="*/ 4642230 w 12192000"/>
                <a:gd name="connsiteY728" fmla="*/ 602819 h 1608850"/>
                <a:gd name="connsiteX729" fmla="*/ 4664518 w 12192000"/>
                <a:gd name="connsiteY729" fmla="*/ 611898 h 1608850"/>
                <a:gd name="connsiteX730" fmla="*/ 4664518 w 12192000"/>
                <a:gd name="connsiteY730" fmla="*/ 610007 h 1608850"/>
                <a:gd name="connsiteX731" fmla="*/ 4664518 w 12192000"/>
                <a:gd name="connsiteY731" fmla="*/ 596766 h 1608850"/>
                <a:gd name="connsiteX732" fmla="*/ 4693496 w 12192000"/>
                <a:gd name="connsiteY732" fmla="*/ 584662 h 1608850"/>
                <a:gd name="connsiteX733" fmla="*/ 4693496 w 12192000"/>
                <a:gd name="connsiteY733" fmla="*/ 583150 h 1608850"/>
                <a:gd name="connsiteX734" fmla="*/ 4693496 w 12192000"/>
                <a:gd name="connsiteY734" fmla="*/ 572557 h 1608850"/>
                <a:gd name="connsiteX735" fmla="*/ 4694332 w 12192000"/>
                <a:gd name="connsiteY735" fmla="*/ 572557 h 1608850"/>
                <a:gd name="connsiteX736" fmla="*/ 4700182 w 12192000"/>
                <a:gd name="connsiteY736" fmla="*/ 572557 h 1608850"/>
                <a:gd name="connsiteX737" fmla="*/ 4700182 w 12192000"/>
                <a:gd name="connsiteY737" fmla="*/ 571423 h 1608850"/>
                <a:gd name="connsiteX738" fmla="*/ 4700182 w 12192000"/>
                <a:gd name="connsiteY738" fmla="*/ 563479 h 1608850"/>
                <a:gd name="connsiteX739" fmla="*/ 4702412 w 12192000"/>
                <a:gd name="connsiteY739" fmla="*/ 563479 h 1608850"/>
                <a:gd name="connsiteX740" fmla="*/ 4718014 w 12192000"/>
                <a:gd name="connsiteY740" fmla="*/ 563479 h 1608850"/>
                <a:gd name="connsiteX741" fmla="*/ 4718014 w 12192000"/>
                <a:gd name="connsiteY741" fmla="*/ 564614 h 1608850"/>
                <a:gd name="connsiteX742" fmla="*/ 4718014 w 12192000"/>
                <a:gd name="connsiteY742" fmla="*/ 572557 h 1608850"/>
                <a:gd name="connsiteX743" fmla="*/ 4719686 w 12192000"/>
                <a:gd name="connsiteY743" fmla="*/ 572557 h 1608850"/>
                <a:gd name="connsiteX744" fmla="*/ 4731390 w 12192000"/>
                <a:gd name="connsiteY744" fmla="*/ 572557 h 1608850"/>
                <a:gd name="connsiteX745" fmla="*/ 4731390 w 12192000"/>
                <a:gd name="connsiteY745" fmla="*/ 574828 h 1608850"/>
                <a:gd name="connsiteX746" fmla="*/ 4731390 w 12192000"/>
                <a:gd name="connsiteY746" fmla="*/ 590714 h 1608850"/>
                <a:gd name="connsiteX747" fmla="*/ 4755908 w 12192000"/>
                <a:gd name="connsiteY747" fmla="*/ 590714 h 1608850"/>
                <a:gd name="connsiteX748" fmla="*/ 4755908 w 12192000"/>
                <a:gd name="connsiteY748" fmla="*/ 589202 h 1608850"/>
                <a:gd name="connsiteX749" fmla="*/ 4755908 w 12192000"/>
                <a:gd name="connsiteY749" fmla="*/ 578610 h 1608850"/>
                <a:gd name="connsiteX750" fmla="*/ 4757302 w 12192000"/>
                <a:gd name="connsiteY750" fmla="*/ 578610 h 1608850"/>
                <a:gd name="connsiteX751" fmla="*/ 4767053 w 12192000"/>
                <a:gd name="connsiteY751" fmla="*/ 578610 h 1608850"/>
                <a:gd name="connsiteX752" fmla="*/ 4767053 w 12192000"/>
                <a:gd name="connsiteY752" fmla="*/ 577096 h 1608850"/>
                <a:gd name="connsiteX753" fmla="*/ 4767053 w 12192000"/>
                <a:gd name="connsiteY753" fmla="*/ 566505 h 1608850"/>
                <a:gd name="connsiteX754" fmla="*/ 4768725 w 12192000"/>
                <a:gd name="connsiteY754" fmla="*/ 566505 h 1608850"/>
                <a:gd name="connsiteX755" fmla="*/ 4780426 w 12192000"/>
                <a:gd name="connsiteY755" fmla="*/ 566505 h 1608850"/>
                <a:gd name="connsiteX756" fmla="*/ 4780426 w 12192000"/>
                <a:gd name="connsiteY756" fmla="*/ 568018 h 1608850"/>
                <a:gd name="connsiteX757" fmla="*/ 4780426 w 12192000"/>
                <a:gd name="connsiteY757" fmla="*/ 578610 h 1608850"/>
                <a:gd name="connsiteX758" fmla="*/ 4784886 w 12192000"/>
                <a:gd name="connsiteY758" fmla="*/ 505982 h 1608850"/>
                <a:gd name="connsiteX759" fmla="*/ 4885191 w 12192000"/>
                <a:gd name="connsiteY759" fmla="*/ 505982 h 1608850"/>
                <a:gd name="connsiteX760" fmla="*/ 4885191 w 12192000"/>
                <a:gd name="connsiteY760" fmla="*/ 602819 h 1608850"/>
                <a:gd name="connsiteX761" fmla="*/ 4887420 w 12192000"/>
                <a:gd name="connsiteY761" fmla="*/ 602819 h 1608850"/>
                <a:gd name="connsiteX762" fmla="*/ 4903022 w 12192000"/>
                <a:gd name="connsiteY762" fmla="*/ 602819 h 1608850"/>
                <a:gd name="connsiteX763" fmla="*/ 4903022 w 12192000"/>
                <a:gd name="connsiteY763" fmla="*/ 493877 h 1608850"/>
                <a:gd name="connsiteX764" fmla="*/ 4925313 w 12192000"/>
                <a:gd name="connsiteY764" fmla="*/ 478746 h 1608850"/>
                <a:gd name="connsiteX765" fmla="*/ 4954291 w 12192000"/>
                <a:gd name="connsiteY765" fmla="*/ 478746 h 1608850"/>
                <a:gd name="connsiteX766" fmla="*/ 4956242 w 12192000"/>
                <a:gd name="connsiteY766" fmla="*/ 476477 h 1608850"/>
                <a:gd name="connsiteX767" fmla="*/ 4969893 w 12192000"/>
                <a:gd name="connsiteY767" fmla="*/ 460589 h 1608850"/>
                <a:gd name="connsiteX768" fmla="*/ 5007787 w 12192000"/>
                <a:gd name="connsiteY768" fmla="*/ 460589 h 1608850"/>
                <a:gd name="connsiteX769" fmla="*/ 5007787 w 12192000"/>
                <a:gd name="connsiteY769" fmla="*/ 462859 h 1608850"/>
                <a:gd name="connsiteX770" fmla="*/ 5007787 w 12192000"/>
                <a:gd name="connsiteY770" fmla="*/ 478746 h 1608850"/>
                <a:gd name="connsiteX771" fmla="*/ 5045681 w 12192000"/>
                <a:gd name="connsiteY771" fmla="*/ 478746 h 1608850"/>
                <a:gd name="connsiteX772" fmla="*/ 5045681 w 12192000"/>
                <a:gd name="connsiteY772" fmla="*/ 596766 h 1608850"/>
                <a:gd name="connsiteX773" fmla="*/ 5047073 w 12192000"/>
                <a:gd name="connsiteY773" fmla="*/ 596766 h 1608850"/>
                <a:gd name="connsiteX774" fmla="*/ 5056825 w 12192000"/>
                <a:gd name="connsiteY774" fmla="*/ 596766 h 1608850"/>
                <a:gd name="connsiteX775" fmla="*/ 5056825 w 12192000"/>
                <a:gd name="connsiteY775" fmla="*/ 769258 h 1608850"/>
                <a:gd name="connsiteX776" fmla="*/ 5059053 w 12192000"/>
                <a:gd name="connsiteY776" fmla="*/ 769258 h 1608850"/>
                <a:gd name="connsiteX777" fmla="*/ 5074657 w 12192000"/>
                <a:gd name="connsiteY777" fmla="*/ 769258 h 1608850"/>
                <a:gd name="connsiteX778" fmla="*/ 5074657 w 12192000"/>
                <a:gd name="connsiteY778" fmla="*/ 657290 h 1608850"/>
                <a:gd name="connsiteX779" fmla="*/ 5075493 w 12192000"/>
                <a:gd name="connsiteY779" fmla="*/ 656533 h 1608850"/>
                <a:gd name="connsiteX780" fmla="*/ 5081344 w 12192000"/>
                <a:gd name="connsiteY780" fmla="*/ 651238 h 1608850"/>
                <a:gd name="connsiteX781" fmla="*/ 5085802 w 12192000"/>
                <a:gd name="connsiteY781" fmla="*/ 652750 h 1608850"/>
                <a:gd name="connsiteX782" fmla="*/ 5085802 w 12192000"/>
                <a:gd name="connsiteY782" fmla="*/ 663343 h 1608850"/>
                <a:gd name="connsiteX783" fmla="*/ 5088030 w 12192000"/>
                <a:gd name="connsiteY783" fmla="*/ 661829 h 1608850"/>
                <a:gd name="connsiteX784" fmla="*/ 5103634 w 12192000"/>
                <a:gd name="connsiteY784" fmla="*/ 651238 h 1608850"/>
                <a:gd name="connsiteX785" fmla="*/ 5105585 w 12192000"/>
                <a:gd name="connsiteY785" fmla="*/ 651238 h 1608850"/>
                <a:gd name="connsiteX786" fmla="*/ 5119237 w 12192000"/>
                <a:gd name="connsiteY786" fmla="*/ 651238 h 1608850"/>
                <a:gd name="connsiteX787" fmla="*/ 5119237 w 12192000"/>
                <a:gd name="connsiteY787" fmla="*/ 857017 h 1608850"/>
                <a:gd name="connsiteX788" fmla="*/ 5150444 w 12192000"/>
                <a:gd name="connsiteY788" fmla="*/ 863070 h 1608850"/>
                <a:gd name="connsiteX789" fmla="*/ 5150444 w 12192000"/>
                <a:gd name="connsiteY789" fmla="*/ 853992 h 1608850"/>
                <a:gd name="connsiteX790" fmla="*/ 5183878 w 12192000"/>
                <a:gd name="connsiteY790" fmla="*/ 853992 h 1608850"/>
                <a:gd name="connsiteX791" fmla="*/ 5183878 w 12192000"/>
                <a:gd name="connsiteY791" fmla="*/ 814651 h 1608850"/>
                <a:gd name="connsiteX792" fmla="*/ 5192794 w 12192000"/>
                <a:gd name="connsiteY792" fmla="*/ 814651 h 1608850"/>
                <a:gd name="connsiteX793" fmla="*/ 5192794 w 12192000"/>
                <a:gd name="connsiteY793" fmla="*/ 763206 h 1608850"/>
                <a:gd name="connsiteX794" fmla="*/ 5199482 w 12192000"/>
                <a:gd name="connsiteY794" fmla="*/ 763206 h 1608850"/>
                <a:gd name="connsiteX795" fmla="*/ 5199482 w 12192000"/>
                <a:gd name="connsiteY795" fmla="*/ 711761 h 1608850"/>
                <a:gd name="connsiteX796" fmla="*/ 5215086 w 12192000"/>
                <a:gd name="connsiteY796" fmla="*/ 711761 h 1608850"/>
                <a:gd name="connsiteX797" fmla="*/ 5264122 w 12192000"/>
                <a:gd name="connsiteY797" fmla="*/ 684525 h 1608850"/>
                <a:gd name="connsiteX798" fmla="*/ 5266352 w 12192000"/>
                <a:gd name="connsiteY798" fmla="*/ 657290 h 1608850"/>
                <a:gd name="connsiteX799" fmla="*/ 5270810 w 12192000"/>
                <a:gd name="connsiteY799" fmla="*/ 684525 h 1608850"/>
                <a:gd name="connsiteX800" fmla="*/ 5322078 w 12192000"/>
                <a:gd name="connsiteY800" fmla="*/ 720840 h 1608850"/>
                <a:gd name="connsiteX801" fmla="*/ 5322078 w 12192000"/>
                <a:gd name="connsiteY801" fmla="*/ 714788 h 1608850"/>
                <a:gd name="connsiteX802" fmla="*/ 5335452 w 12192000"/>
                <a:gd name="connsiteY802" fmla="*/ 714788 h 1608850"/>
                <a:gd name="connsiteX803" fmla="*/ 5335452 w 12192000"/>
                <a:gd name="connsiteY803" fmla="*/ 763206 h 1608850"/>
                <a:gd name="connsiteX804" fmla="*/ 5342138 w 12192000"/>
                <a:gd name="connsiteY804" fmla="*/ 763206 h 1608850"/>
                <a:gd name="connsiteX805" fmla="*/ 5342138 w 12192000"/>
                <a:gd name="connsiteY805" fmla="*/ 801467 h 1608850"/>
                <a:gd name="connsiteX806" fmla="*/ 5377917 w 12192000"/>
                <a:gd name="connsiteY806" fmla="*/ 790806 h 1608850"/>
                <a:gd name="connsiteX807" fmla="*/ 5478973 w 12192000"/>
                <a:gd name="connsiteY807" fmla="*/ 790806 h 1608850"/>
                <a:gd name="connsiteX808" fmla="*/ 5478973 w 12192000"/>
                <a:gd name="connsiteY808" fmla="*/ 596233 h 1608850"/>
                <a:gd name="connsiteX809" fmla="*/ 5507479 w 12192000"/>
                <a:gd name="connsiteY809" fmla="*/ 582720 h 1608850"/>
                <a:gd name="connsiteX810" fmla="*/ 5631857 w 12192000"/>
                <a:gd name="connsiteY810" fmla="*/ 561101 h 1608850"/>
                <a:gd name="connsiteX811" fmla="*/ 5675909 w 12192000"/>
                <a:gd name="connsiteY811" fmla="*/ 574613 h 1608850"/>
                <a:gd name="connsiteX812" fmla="*/ 5683682 w 12192000"/>
                <a:gd name="connsiteY812" fmla="*/ 582720 h 1608850"/>
                <a:gd name="connsiteX813" fmla="*/ 5683682 w 12192000"/>
                <a:gd name="connsiteY813" fmla="*/ 833084 h 1608850"/>
                <a:gd name="connsiteX814" fmla="*/ 5701821 w 12192000"/>
                <a:gd name="connsiteY814" fmla="*/ 873985 h 1608850"/>
                <a:gd name="connsiteX815" fmla="*/ 5701821 w 12192000"/>
                <a:gd name="connsiteY815" fmla="*/ 798914 h 1608850"/>
                <a:gd name="connsiteX816" fmla="*/ 5717369 w 12192000"/>
                <a:gd name="connsiteY816" fmla="*/ 798914 h 1608850"/>
                <a:gd name="connsiteX817" fmla="*/ 5717369 w 12192000"/>
                <a:gd name="connsiteY817" fmla="*/ 785402 h 1608850"/>
                <a:gd name="connsiteX818" fmla="*/ 5732917 w 12192000"/>
                <a:gd name="connsiteY818" fmla="*/ 777295 h 1608850"/>
                <a:gd name="connsiteX819" fmla="*/ 5745871 w 12192000"/>
                <a:gd name="connsiteY819" fmla="*/ 777295 h 1608850"/>
                <a:gd name="connsiteX820" fmla="*/ 5745871 w 12192000"/>
                <a:gd name="connsiteY820" fmla="*/ 763783 h 1608850"/>
                <a:gd name="connsiteX821" fmla="*/ 5756236 w 12192000"/>
                <a:gd name="connsiteY821" fmla="*/ 755675 h 1608850"/>
                <a:gd name="connsiteX822" fmla="*/ 5782151 w 12192000"/>
                <a:gd name="connsiteY822" fmla="*/ 755675 h 1608850"/>
                <a:gd name="connsiteX823" fmla="*/ 5782151 w 12192000"/>
                <a:gd name="connsiteY823" fmla="*/ 798914 h 1608850"/>
                <a:gd name="connsiteX824" fmla="*/ 5836566 w 12192000"/>
                <a:gd name="connsiteY824" fmla="*/ 798914 h 1608850"/>
                <a:gd name="connsiteX825" fmla="*/ 5836566 w 12192000"/>
                <a:gd name="connsiteY825" fmla="*/ 950250 h 1608850"/>
                <a:gd name="connsiteX826" fmla="*/ 5857295 w 12192000"/>
                <a:gd name="connsiteY826" fmla="*/ 950250 h 1608850"/>
                <a:gd name="connsiteX827" fmla="*/ 5878025 w 12192000"/>
                <a:gd name="connsiteY827" fmla="*/ 942143 h 1608850"/>
                <a:gd name="connsiteX828" fmla="*/ 5878025 w 12192000"/>
                <a:gd name="connsiteY828" fmla="*/ 931332 h 1608850"/>
                <a:gd name="connsiteX829" fmla="*/ 5870253 w 12192000"/>
                <a:gd name="connsiteY829" fmla="*/ 928630 h 1608850"/>
                <a:gd name="connsiteX830" fmla="*/ 5870253 w 12192000"/>
                <a:gd name="connsiteY830" fmla="*/ 920522 h 1608850"/>
                <a:gd name="connsiteX831" fmla="*/ 5878025 w 12192000"/>
                <a:gd name="connsiteY831" fmla="*/ 915118 h 1608850"/>
                <a:gd name="connsiteX832" fmla="*/ 5878025 w 12192000"/>
                <a:gd name="connsiteY832" fmla="*/ 855665 h 1608850"/>
                <a:gd name="connsiteX833" fmla="*/ 5870253 w 12192000"/>
                <a:gd name="connsiteY833" fmla="*/ 852962 h 1608850"/>
                <a:gd name="connsiteX834" fmla="*/ 5870253 w 12192000"/>
                <a:gd name="connsiteY834" fmla="*/ 844855 h 1608850"/>
                <a:gd name="connsiteX835" fmla="*/ 5878025 w 12192000"/>
                <a:gd name="connsiteY835" fmla="*/ 839450 h 1608850"/>
                <a:gd name="connsiteX836" fmla="*/ 5883208 w 12192000"/>
                <a:gd name="connsiteY836" fmla="*/ 834046 h 1608850"/>
                <a:gd name="connsiteX837" fmla="*/ 5883208 w 12192000"/>
                <a:gd name="connsiteY837" fmla="*/ 823236 h 1608850"/>
                <a:gd name="connsiteX838" fmla="*/ 5878025 w 12192000"/>
                <a:gd name="connsiteY838" fmla="*/ 823236 h 1608850"/>
                <a:gd name="connsiteX839" fmla="*/ 5878025 w 12192000"/>
                <a:gd name="connsiteY839" fmla="*/ 815128 h 1608850"/>
                <a:gd name="connsiteX840" fmla="*/ 5885800 w 12192000"/>
                <a:gd name="connsiteY840" fmla="*/ 809724 h 1608850"/>
                <a:gd name="connsiteX841" fmla="*/ 5927259 w 12192000"/>
                <a:gd name="connsiteY841" fmla="*/ 734056 h 1608850"/>
                <a:gd name="connsiteX842" fmla="*/ 5922077 w 12192000"/>
                <a:gd name="connsiteY842" fmla="*/ 731353 h 1608850"/>
                <a:gd name="connsiteX843" fmla="*/ 5922077 w 12192000"/>
                <a:gd name="connsiteY843" fmla="*/ 723246 h 1608850"/>
                <a:gd name="connsiteX844" fmla="*/ 5929850 w 12192000"/>
                <a:gd name="connsiteY844" fmla="*/ 720543 h 1608850"/>
                <a:gd name="connsiteX845" fmla="*/ 5929850 w 12192000"/>
                <a:gd name="connsiteY845" fmla="*/ 709734 h 1608850"/>
                <a:gd name="connsiteX846" fmla="*/ 5935033 w 12192000"/>
                <a:gd name="connsiteY846" fmla="*/ 709734 h 1608850"/>
                <a:gd name="connsiteX847" fmla="*/ 5935033 w 12192000"/>
                <a:gd name="connsiteY847" fmla="*/ 685412 h 1608850"/>
                <a:gd name="connsiteX848" fmla="*/ 5929850 w 12192000"/>
                <a:gd name="connsiteY848" fmla="*/ 685412 h 1608850"/>
                <a:gd name="connsiteX849" fmla="*/ 5929850 w 12192000"/>
                <a:gd name="connsiteY849" fmla="*/ 680008 h 1608850"/>
                <a:gd name="connsiteX850" fmla="*/ 5935033 w 12192000"/>
                <a:gd name="connsiteY850" fmla="*/ 677305 h 1608850"/>
                <a:gd name="connsiteX851" fmla="*/ 5947989 w 12192000"/>
                <a:gd name="connsiteY851" fmla="*/ 658388 h 1608850"/>
                <a:gd name="connsiteX852" fmla="*/ 5950579 w 12192000"/>
                <a:gd name="connsiteY852" fmla="*/ 647579 h 1608850"/>
                <a:gd name="connsiteX853" fmla="*/ 5950579 w 12192000"/>
                <a:gd name="connsiteY853" fmla="*/ 617852 h 1608850"/>
                <a:gd name="connsiteX854" fmla="*/ 5950904 w 12192000"/>
                <a:gd name="connsiteY854" fmla="*/ 616838 h 1608850"/>
                <a:gd name="connsiteX855" fmla="*/ 5953171 w 12192000"/>
                <a:gd name="connsiteY855" fmla="*/ 609745 h 1608850"/>
                <a:gd name="connsiteX856" fmla="*/ 5953495 w 12192000"/>
                <a:gd name="connsiteY856" fmla="*/ 610759 h 1608850"/>
                <a:gd name="connsiteX857" fmla="*/ 5955763 w 12192000"/>
                <a:gd name="connsiteY857" fmla="*/ 617852 h 1608850"/>
                <a:gd name="connsiteX858" fmla="*/ 5958354 w 12192000"/>
                <a:gd name="connsiteY858" fmla="*/ 647579 h 1608850"/>
                <a:gd name="connsiteX859" fmla="*/ 5958354 w 12192000"/>
                <a:gd name="connsiteY859" fmla="*/ 655686 h 1608850"/>
                <a:gd name="connsiteX860" fmla="*/ 5971311 w 12192000"/>
                <a:gd name="connsiteY860" fmla="*/ 677305 h 1608850"/>
                <a:gd name="connsiteX861" fmla="*/ 5976494 w 12192000"/>
                <a:gd name="connsiteY861" fmla="*/ 680008 h 1608850"/>
                <a:gd name="connsiteX862" fmla="*/ 5976494 w 12192000"/>
                <a:gd name="connsiteY862" fmla="*/ 685412 h 1608850"/>
                <a:gd name="connsiteX863" fmla="*/ 5973903 w 12192000"/>
                <a:gd name="connsiteY863" fmla="*/ 709734 h 1608850"/>
                <a:gd name="connsiteX864" fmla="*/ 5979084 w 12192000"/>
                <a:gd name="connsiteY864" fmla="*/ 720543 h 1608850"/>
                <a:gd name="connsiteX865" fmla="*/ 5984268 w 12192000"/>
                <a:gd name="connsiteY865" fmla="*/ 723246 h 1608850"/>
                <a:gd name="connsiteX866" fmla="*/ 5984268 w 12192000"/>
                <a:gd name="connsiteY866" fmla="*/ 731353 h 1608850"/>
                <a:gd name="connsiteX867" fmla="*/ 5979084 w 12192000"/>
                <a:gd name="connsiteY867" fmla="*/ 734056 h 1608850"/>
                <a:gd name="connsiteX868" fmla="*/ 5999269 w 12192000"/>
                <a:gd name="connsiteY868" fmla="*/ 755105 h 1608850"/>
                <a:gd name="connsiteX869" fmla="*/ 5999269 w 12192000"/>
                <a:gd name="connsiteY869" fmla="*/ 627662 h 1608850"/>
                <a:gd name="connsiteX870" fmla="*/ 5999299 w 12192000"/>
                <a:gd name="connsiteY870" fmla="*/ 627662 h 1608850"/>
                <a:gd name="connsiteX871" fmla="*/ 6037948 w 12192000"/>
                <a:gd name="connsiteY871" fmla="*/ 627662 h 1608850"/>
                <a:gd name="connsiteX872" fmla="*/ 6037948 w 12192000"/>
                <a:gd name="connsiteY872" fmla="*/ 626311 h 1608850"/>
                <a:gd name="connsiteX873" fmla="*/ 6037948 w 12192000"/>
                <a:gd name="connsiteY873" fmla="*/ 616853 h 1608850"/>
                <a:gd name="connsiteX874" fmla="*/ 6038962 w 12192000"/>
                <a:gd name="connsiteY874" fmla="*/ 616853 h 1608850"/>
                <a:gd name="connsiteX875" fmla="*/ 6046055 w 12192000"/>
                <a:gd name="connsiteY875" fmla="*/ 616853 h 1608850"/>
                <a:gd name="connsiteX876" fmla="*/ 6046055 w 12192000"/>
                <a:gd name="connsiteY876" fmla="*/ 614962 h 1608850"/>
                <a:gd name="connsiteX877" fmla="*/ 6046055 w 12192000"/>
                <a:gd name="connsiteY877" fmla="*/ 601721 h 1608850"/>
                <a:gd name="connsiteX878" fmla="*/ 6046815 w 12192000"/>
                <a:gd name="connsiteY878" fmla="*/ 601721 h 1608850"/>
                <a:gd name="connsiteX879" fmla="*/ 6052135 w 12192000"/>
                <a:gd name="connsiteY879" fmla="*/ 601721 h 1608850"/>
                <a:gd name="connsiteX880" fmla="*/ 6052135 w 12192000"/>
                <a:gd name="connsiteY880" fmla="*/ 600640 h 1608850"/>
                <a:gd name="connsiteX881" fmla="*/ 6052135 w 12192000"/>
                <a:gd name="connsiteY881" fmla="*/ 593073 h 1608850"/>
                <a:gd name="connsiteX882" fmla="*/ 6054163 w 12192000"/>
                <a:gd name="connsiteY882" fmla="*/ 593073 h 1608850"/>
                <a:gd name="connsiteX883" fmla="*/ 6068350 w 12192000"/>
                <a:gd name="connsiteY883" fmla="*/ 593073 h 1608850"/>
                <a:gd name="connsiteX884" fmla="*/ 6068350 w 12192000"/>
                <a:gd name="connsiteY884" fmla="*/ 594154 h 1608850"/>
                <a:gd name="connsiteX885" fmla="*/ 6068350 w 12192000"/>
                <a:gd name="connsiteY885" fmla="*/ 601721 h 1608850"/>
                <a:gd name="connsiteX886" fmla="*/ 6090642 w 12192000"/>
                <a:gd name="connsiteY886" fmla="*/ 601721 h 1608850"/>
                <a:gd name="connsiteX887" fmla="*/ 6090642 w 12192000"/>
                <a:gd name="connsiteY887" fmla="*/ 599829 h 1608850"/>
                <a:gd name="connsiteX888" fmla="*/ 6090642 w 12192000"/>
                <a:gd name="connsiteY888" fmla="*/ 586588 h 1608850"/>
                <a:gd name="connsiteX889" fmla="*/ 6092416 w 12192000"/>
                <a:gd name="connsiteY889" fmla="*/ 586588 h 1608850"/>
                <a:gd name="connsiteX890" fmla="*/ 6104829 w 12192000"/>
                <a:gd name="connsiteY890" fmla="*/ 586588 h 1608850"/>
                <a:gd name="connsiteX891" fmla="*/ 6104829 w 12192000"/>
                <a:gd name="connsiteY891" fmla="*/ 610368 h 1608850"/>
                <a:gd name="connsiteX892" fmla="*/ 6105843 w 12192000"/>
                <a:gd name="connsiteY892" fmla="*/ 610368 h 1608850"/>
                <a:gd name="connsiteX893" fmla="*/ 6112936 w 12192000"/>
                <a:gd name="connsiteY893" fmla="*/ 610368 h 1608850"/>
                <a:gd name="connsiteX894" fmla="*/ 6112936 w 12192000"/>
                <a:gd name="connsiteY894" fmla="*/ 609287 h 1608850"/>
                <a:gd name="connsiteX895" fmla="*/ 6112936 w 12192000"/>
                <a:gd name="connsiteY895" fmla="*/ 601721 h 1608850"/>
                <a:gd name="connsiteX896" fmla="*/ 6114709 w 12192000"/>
                <a:gd name="connsiteY896" fmla="*/ 601721 h 1608850"/>
                <a:gd name="connsiteX897" fmla="*/ 6127123 w 12192000"/>
                <a:gd name="connsiteY897" fmla="*/ 601721 h 1608850"/>
                <a:gd name="connsiteX898" fmla="*/ 6127123 w 12192000"/>
                <a:gd name="connsiteY898" fmla="*/ 627662 h 1608850"/>
                <a:gd name="connsiteX899" fmla="*/ 6129150 w 12192000"/>
                <a:gd name="connsiteY899" fmla="*/ 627662 h 1608850"/>
                <a:gd name="connsiteX900" fmla="*/ 6143336 w 12192000"/>
                <a:gd name="connsiteY900" fmla="*/ 627662 h 1608850"/>
                <a:gd name="connsiteX901" fmla="*/ 6143336 w 12192000"/>
                <a:gd name="connsiteY901" fmla="*/ 629283 h 1608850"/>
                <a:gd name="connsiteX902" fmla="*/ 6143336 w 12192000"/>
                <a:gd name="connsiteY902" fmla="*/ 640633 h 1608850"/>
                <a:gd name="connsiteX903" fmla="*/ 6144096 w 12192000"/>
                <a:gd name="connsiteY903" fmla="*/ 640633 h 1608850"/>
                <a:gd name="connsiteX904" fmla="*/ 6149417 w 12192000"/>
                <a:gd name="connsiteY904" fmla="*/ 640633 h 1608850"/>
                <a:gd name="connsiteX905" fmla="*/ 6149417 w 12192000"/>
                <a:gd name="connsiteY905" fmla="*/ 639822 h 1608850"/>
                <a:gd name="connsiteX906" fmla="*/ 6149417 w 12192000"/>
                <a:gd name="connsiteY906" fmla="*/ 634147 h 1608850"/>
                <a:gd name="connsiteX907" fmla="*/ 6179817 w 12192000"/>
                <a:gd name="connsiteY907" fmla="*/ 634147 h 1608850"/>
                <a:gd name="connsiteX908" fmla="*/ 6179817 w 12192000"/>
                <a:gd name="connsiteY908" fmla="*/ 657927 h 1608850"/>
                <a:gd name="connsiteX909" fmla="*/ 6180830 w 12192000"/>
                <a:gd name="connsiteY909" fmla="*/ 657927 h 1608850"/>
                <a:gd name="connsiteX910" fmla="*/ 6187924 w 12192000"/>
                <a:gd name="connsiteY910" fmla="*/ 657927 h 1608850"/>
                <a:gd name="connsiteX911" fmla="*/ 6187924 w 12192000"/>
                <a:gd name="connsiteY911" fmla="*/ 659008 h 1608850"/>
                <a:gd name="connsiteX912" fmla="*/ 6187924 w 12192000"/>
                <a:gd name="connsiteY912" fmla="*/ 666574 h 1608850"/>
                <a:gd name="connsiteX913" fmla="*/ 6188684 w 12192000"/>
                <a:gd name="connsiteY913" fmla="*/ 666574 h 1608850"/>
                <a:gd name="connsiteX914" fmla="*/ 6194004 w 12192000"/>
                <a:gd name="connsiteY914" fmla="*/ 666574 h 1608850"/>
                <a:gd name="connsiteX915" fmla="*/ 6194004 w 12192000"/>
                <a:gd name="connsiteY915" fmla="*/ 664412 h 1608850"/>
                <a:gd name="connsiteX916" fmla="*/ 6194004 w 12192000"/>
                <a:gd name="connsiteY916" fmla="*/ 649280 h 1608850"/>
                <a:gd name="connsiteX917" fmla="*/ 6195017 w 12192000"/>
                <a:gd name="connsiteY917" fmla="*/ 649280 h 1608850"/>
                <a:gd name="connsiteX918" fmla="*/ 6202111 w 12192000"/>
                <a:gd name="connsiteY918" fmla="*/ 649280 h 1608850"/>
                <a:gd name="connsiteX919" fmla="*/ 6202111 w 12192000"/>
                <a:gd name="connsiteY919" fmla="*/ 650361 h 1608850"/>
                <a:gd name="connsiteX920" fmla="*/ 6202111 w 12192000"/>
                <a:gd name="connsiteY920" fmla="*/ 657927 h 1608850"/>
                <a:gd name="connsiteX921" fmla="*/ 6207431 w 12192000"/>
                <a:gd name="connsiteY921" fmla="*/ 655934 h 1608850"/>
                <a:gd name="connsiteX922" fmla="*/ 6208191 w 12192000"/>
                <a:gd name="connsiteY922" fmla="*/ 654954 h 1608850"/>
                <a:gd name="connsiteX923" fmla="*/ 6208191 w 12192000"/>
                <a:gd name="connsiteY923" fmla="*/ 649280 h 1608850"/>
                <a:gd name="connsiteX924" fmla="*/ 6246698 w 12192000"/>
                <a:gd name="connsiteY924" fmla="*/ 649280 h 1608850"/>
                <a:gd name="connsiteX925" fmla="*/ 6246698 w 12192000"/>
                <a:gd name="connsiteY925" fmla="*/ 673059 h 1608850"/>
                <a:gd name="connsiteX926" fmla="*/ 6248724 w 12192000"/>
                <a:gd name="connsiteY926" fmla="*/ 673059 h 1608850"/>
                <a:gd name="connsiteX927" fmla="*/ 6262911 w 12192000"/>
                <a:gd name="connsiteY927" fmla="*/ 673059 h 1608850"/>
                <a:gd name="connsiteX928" fmla="*/ 6262911 w 12192000"/>
                <a:gd name="connsiteY928" fmla="*/ 674140 h 1608850"/>
                <a:gd name="connsiteX929" fmla="*/ 6262911 w 12192000"/>
                <a:gd name="connsiteY929" fmla="*/ 681706 h 1608850"/>
                <a:gd name="connsiteX930" fmla="*/ 6264685 w 12192000"/>
                <a:gd name="connsiteY930" fmla="*/ 681706 h 1608850"/>
                <a:gd name="connsiteX931" fmla="*/ 6277098 w 12192000"/>
                <a:gd name="connsiteY931" fmla="*/ 681706 h 1608850"/>
                <a:gd name="connsiteX932" fmla="*/ 6277098 w 12192000"/>
                <a:gd name="connsiteY932" fmla="*/ 657927 h 1608850"/>
                <a:gd name="connsiteX933" fmla="*/ 6278111 w 12192000"/>
                <a:gd name="connsiteY933" fmla="*/ 657927 h 1608850"/>
                <a:gd name="connsiteX934" fmla="*/ 6285205 w 12192000"/>
                <a:gd name="connsiteY934" fmla="*/ 657927 h 1608850"/>
                <a:gd name="connsiteX935" fmla="*/ 6285205 w 12192000"/>
                <a:gd name="connsiteY935" fmla="*/ 625500 h 1608850"/>
                <a:gd name="connsiteX936" fmla="*/ 6286218 w 12192000"/>
                <a:gd name="connsiteY936" fmla="*/ 625500 h 1608850"/>
                <a:gd name="connsiteX937" fmla="*/ 6293312 w 12192000"/>
                <a:gd name="connsiteY937" fmla="*/ 625500 h 1608850"/>
                <a:gd name="connsiteX938" fmla="*/ 6293312 w 12192000"/>
                <a:gd name="connsiteY938" fmla="*/ 623609 h 1608850"/>
                <a:gd name="connsiteX939" fmla="*/ 6293312 w 12192000"/>
                <a:gd name="connsiteY939" fmla="*/ 610368 h 1608850"/>
                <a:gd name="connsiteX940" fmla="*/ 6292045 w 12192000"/>
                <a:gd name="connsiteY940" fmla="*/ 608746 h 1608850"/>
                <a:gd name="connsiteX941" fmla="*/ 6297365 w 12192000"/>
                <a:gd name="connsiteY941" fmla="*/ 597397 h 1608850"/>
                <a:gd name="connsiteX942" fmla="*/ 6305472 w 12192000"/>
                <a:gd name="connsiteY942" fmla="*/ 625500 h 1608850"/>
                <a:gd name="connsiteX943" fmla="*/ 6306232 w 12192000"/>
                <a:gd name="connsiteY943" fmla="*/ 625500 h 1608850"/>
                <a:gd name="connsiteX944" fmla="*/ 6311552 w 12192000"/>
                <a:gd name="connsiteY944" fmla="*/ 625500 h 1608850"/>
                <a:gd name="connsiteX945" fmla="*/ 6311552 w 12192000"/>
                <a:gd name="connsiteY945" fmla="*/ 519573 h 1608850"/>
                <a:gd name="connsiteX946" fmla="*/ 6313072 w 12192000"/>
                <a:gd name="connsiteY946" fmla="*/ 519573 h 1608850"/>
                <a:gd name="connsiteX947" fmla="*/ 6323712 w 12192000"/>
                <a:gd name="connsiteY947" fmla="*/ 519573 h 1608850"/>
                <a:gd name="connsiteX948" fmla="*/ 6323712 w 12192000"/>
                <a:gd name="connsiteY948" fmla="*/ 472014 h 1608850"/>
                <a:gd name="connsiteX949" fmla="*/ 6350059 w 12192000"/>
                <a:gd name="connsiteY949" fmla="*/ 472014 h 1608850"/>
                <a:gd name="connsiteX950" fmla="*/ 6350059 w 12192000"/>
                <a:gd name="connsiteY950" fmla="*/ 450396 h 1608850"/>
                <a:gd name="connsiteX951" fmla="*/ 6384513 w 12192000"/>
                <a:gd name="connsiteY951" fmla="*/ 450396 h 1608850"/>
                <a:gd name="connsiteX952" fmla="*/ 6384513 w 12192000"/>
                <a:gd name="connsiteY952" fmla="*/ 452828 h 1608850"/>
                <a:gd name="connsiteX953" fmla="*/ 6384513 w 12192000"/>
                <a:gd name="connsiteY953" fmla="*/ 469852 h 1608850"/>
                <a:gd name="connsiteX954" fmla="*/ 6386793 w 12192000"/>
                <a:gd name="connsiteY954" fmla="*/ 469852 h 1608850"/>
                <a:gd name="connsiteX955" fmla="*/ 6402753 w 12192000"/>
                <a:gd name="connsiteY955" fmla="*/ 469852 h 1608850"/>
                <a:gd name="connsiteX956" fmla="*/ 6402753 w 12192000"/>
                <a:gd name="connsiteY956" fmla="*/ 517411 h 1608850"/>
                <a:gd name="connsiteX957" fmla="*/ 6403766 w 12192000"/>
                <a:gd name="connsiteY957" fmla="*/ 517411 h 1608850"/>
                <a:gd name="connsiteX958" fmla="*/ 6410860 w 12192000"/>
                <a:gd name="connsiteY958" fmla="*/ 517411 h 1608850"/>
                <a:gd name="connsiteX959" fmla="*/ 6425047 w 12192000"/>
                <a:gd name="connsiteY959" fmla="*/ 521735 h 1608850"/>
                <a:gd name="connsiteX960" fmla="*/ 6425047 w 12192000"/>
                <a:gd name="connsiteY960" fmla="*/ 560647 h 1608850"/>
                <a:gd name="connsiteX961" fmla="*/ 6426060 w 12192000"/>
                <a:gd name="connsiteY961" fmla="*/ 560647 h 1608850"/>
                <a:gd name="connsiteX962" fmla="*/ 6433153 w 12192000"/>
                <a:gd name="connsiteY962" fmla="*/ 560647 h 1608850"/>
                <a:gd name="connsiteX963" fmla="*/ 6433153 w 12192000"/>
                <a:gd name="connsiteY963" fmla="*/ 562268 h 1608850"/>
                <a:gd name="connsiteX964" fmla="*/ 6433153 w 12192000"/>
                <a:gd name="connsiteY964" fmla="*/ 573617 h 1608850"/>
                <a:gd name="connsiteX965" fmla="*/ 6435180 w 12192000"/>
                <a:gd name="connsiteY965" fmla="*/ 573617 h 1608850"/>
                <a:gd name="connsiteX966" fmla="*/ 6449367 w 12192000"/>
                <a:gd name="connsiteY966" fmla="*/ 573617 h 1608850"/>
                <a:gd name="connsiteX967" fmla="*/ 6455447 w 12192000"/>
                <a:gd name="connsiteY967" fmla="*/ 580103 h 1608850"/>
                <a:gd name="connsiteX968" fmla="*/ 6455447 w 12192000"/>
                <a:gd name="connsiteY968" fmla="*/ 601721 h 1608850"/>
                <a:gd name="connsiteX969" fmla="*/ 6457727 w 12192000"/>
                <a:gd name="connsiteY969" fmla="*/ 601721 h 1608850"/>
                <a:gd name="connsiteX970" fmla="*/ 6473687 w 12192000"/>
                <a:gd name="connsiteY970" fmla="*/ 601721 h 1608850"/>
                <a:gd name="connsiteX971" fmla="*/ 6473687 w 12192000"/>
                <a:gd name="connsiteY971" fmla="*/ 602801 h 1608850"/>
                <a:gd name="connsiteX972" fmla="*/ 6473687 w 12192000"/>
                <a:gd name="connsiteY972" fmla="*/ 610368 h 1608850"/>
                <a:gd name="connsiteX973" fmla="*/ 6474954 w 12192000"/>
                <a:gd name="connsiteY973" fmla="*/ 610368 h 1608850"/>
                <a:gd name="connsiteX974" fmla="*/ 6483821 w 12192000"/>
                <a:gd name="connsiteY974" fmla="*/ 610368 h 1608850"/>
                <a:gd name="connsiteX975" fmla="*/ 6483821 w 12192000"/>
                <a:gd name="connsiteY975" fmla="*/ 612529 h 1608850"/>
                <a:gd name="connsiteX976" fmla="*/ 6483821 w 12192000"/>
                <a:gd name="connsiteY976" fmla="*/ 627662 h 1608850"/>
                <a:gd name="connsiteX977" fmla="*/ 6487874 w 12192000"/>
                <a:gd name="connsiteY977" fmla="*/ 625770 h 1608850"/>
                <a:gd name="connsiteX978" fmla="*/ 6487874 w 12192000"/>
                <a:gd name="connsiteY978" fmla="*/ 612529 h 1608850"/>
                <a:gd name="connsiteX979" fmla="*/ 6488887 w 12192000"/>
                <a:gd name="connsiteY979" fmla="*/ 612529 h 1608850"/>
                <a:gd name="connsiteX980" fmla="*/ 6495981 w 12192000"/>
                <a:gd name="connsiteY980" fmla="*/ 612529 h 1608850"/>
                <a:gd name="connsiteX981" fmla="*/ 6495981 w 12192000"/>
                <a:gd name="connsiteY981" fmla="*/ 614151 h 1608850"/>
                <a:gd name="connsiteX982" fmla="*/ 6495981 w 12192000"/>
                <a:gd name="connsiteY982" fmla="*/ 625500 h 1608850"/>
                <a:gd name="connsiteX983" fmla="*/ 6496741 w 12192000"/>
                <a:gd name="connsiteY983" fmla="*/ 625500 h 1608850"/>
                <a:gd name="connsiteX984" fmla="*/ 6502061 w 12192000"/>
                <a:gd name="connsiteY984" fmla="*/ 625500 h 1608850"/>
                <a:gd name="connsiteX985" fmla="*/ 6550701 w 12192000"/>
                <a:gd name="connsiteY985" fmla="*/ 621177 h 1608850"/>
                <a:gd name="connsiteX986" fmla="*/ 6550701 w 12192000"/>
                <a:gd name="connsiteY986" fmla="*/ 622528 h 1608850"/>
                <a:gd name="connsiteX987" fmla="*/ 6550701 w 12192000"/>
                <a:gd name="connsiteY987" fmla="*/ 631985 h 1608850"/>
                <a:gd name="connsiteX988" fmla="*/ 6551461 w 12192000"/>
                <a:gd name="connsiteY988" fmla="*/ 631985 h 1608850"/>
                <a:gd name="connsiteX989" fmla="*/ 6556782 w 12192000"/>
                <a:gd name="connsiteY989" fmla="*/ 631985 h 1608850"/>
                <a:gd name="connsiteX990" fmla="*/ 6556782 w 12192000"/>
                <a:gd name="connsiteY990" fmla="*/ 634147 h 1608850"/>
                <a:gd name="connsiteX991" fmla="*/ 6556782 w 12192000"/>
                <a:gd name="connsiteY991" fmla="*/ 649280 h 1608850"/>
                <a:gd name="connsiteX992" fmla="*/ 6558808 w 12192000"/>
                <a:gd name="connsiteY992" fmla="*/ 647929 h 1608850"/>
                <a:gd name="connsiteX993" fmla="*/ 6572995 w 12192000"/>
                <a:gd name="connsiteY993" fmla="*/ 638471 h 1608850"/>
                <a:gd name="connsiteX994" fmla="*/ 6579075 w 12192000"/>
                <a:gd name="connsiteY994" fmla="*/ 597397 h 1608850"/>
                <a:gd name="connsiteX995" fmla="*/ 6579835 w 12192000"/>
                <a:gd name="connsiteY995" fmla="*/ 597127 h 1608850"/>
                <a:gd name="connsiteX996" fmla="*/ 6585155 w 12192000"/>
                <a:gd name="connsiteY996" fmla="*/ 595235 h 1608850"/>
                <a:gd name="connsiteX997" fmla="*/ 6587182 w 12192000"/>
                <a:gd name="connsiteY997" fmla="*/ 526058 h 1608850"/>
                <a:gd name="connsiteX998" fmla="*/ 6589209 w 12192000"/>
                <a:gd name="connsiteY998" fmla="*/ 595235 h 1608850"/>
                <a:gd name="connsiteX999" fmla="*/ 6589969 w 12192000"/>
                <a:gd name="connsiteY999" fmla="*/ 595505 h 1608850"/>
                <a:gd name="connsiteX1000" fmla="*/ 6595289 w 12192000"/>
                <a:gd name="connsiteY1000" fmla="*/ 597397 h 1608850"/>
                <a:gd name="connsiteX1001" fmla="*/ 6595289 w 12192000"/>
                <a:gd name="connsiteY1001" fmla="*/ 510926 h 1608850"/>
                <a:gd name="connsiteX1002" fmla="*/ 6599342 w 12192000"/>
                <a:gd name="connsiteY1002" fmla="*/ 478499 h 1608850"/>
                <a:gd name="connsiteX1003" fmla="*/ 6637849 w 12192000"/>
                <a:gd name="connsiteY1003" fmla="*/ 478499 h 1608850"/>
                <a:gd name="connsiteX1004" fmla="*/ 6637849 w 12192000"/>
                <a:gd name="connsiteY1004" fmla="*/ 510926 h 1608850"/>
                <a:gd name="connsiteX1005" fmla="*/ 6638609 w 12192000"/>
                <a:gd name="connsiteY1005" fmla="*/ 510926 h 1608850"/>
                <a:gd name="connsiteX1006" fmla="*/ 6643929 w 12192000"/>
                <a:gd name="connsiteY1006" fmla="*/ 510926 h 1608850"/>
                <a:gd name="connsiteX1007" fmla="*/ 6643929 w 12192000"/>
                <a:gd name="connsiteY1007" fmla="*/ 428778 h 1608850"/>
                <a:gd name="connsiteX1008" fmla="*/ 6645703 w 12192000"/>
                <a:gd name="connsiteY1008" fmla="*/ 428778 h 1608850"/>
                <a:gd name="connsiteX1009" fmla="*/ 6658116 w 12192000"/>
                <a:gd name="connsiteY1009" fmla="*/ 428778 h 1608850"/>
                <a:gd name="connsiteX1010" fmla="*/ 6658116 w 12192000"/>
                <a:gd name="connsiteY1010" fmla="*/ 426887 h 1608850"/>
                <a:gd name="connsiteX1011" fmla="*/ 6658116 w 12192000"/>
                <a:gd name="connsiteY1011" fmla="*/ 413646 h 1608850"/>
                <a:gd name="connsiteX1012" fmla="*/ 6680410 w 12192000"/>
                <a:gd name="connsiteY1012" fmla="*/ 413646 h 1608850"/>
                <a:gd name="connsiteX1013" fmla="*/ 6680410 w 12192000"/>
                <a:gd name="connsiteY1013" fmla="*/ 412565 h 1608850"/>
                <a:gd name="connsiteX1014" fmla="*/ 6680410 w 12192000"/>
                <a:gd name="connsiteY1014" fmla="*/ 404999 h 1608850"/>
                <a:gd name="connsiteX1015" fmla="*/ 6682183 w 12192000"/>
                <a:gd name="connsiteY1015" fmla="*/ 404999 h 1608850"/>
                <a:gd name="connsiteX1016" fmla="*/ 6694597 w 12192000"/>
                <a:gd name="connsiteY1016" fmla="*/ 404999 h 1608850"/>
                <a:gd name="connsiteX1017" fmla="*/ 6694597 w 12192000"/>
                <a:gd name="connsiteY1017" fmla="*/ 406080 h 1608850"/>
                <a:gd name="connsiteX1018" fmla="*/ 6694597 w 12192000"/>
                <a:gd name="connsiteY1018" fmla="*/ 413646 h 1608850"/>
                <a:gd name="connsiteX1019" fmla="*/ 6695357 w 12192000"/>
                <a:gd name="connsiteY1019" fmla="*/ 413646 h 1608850"/>
                <a:gd name="connsiteX1020" fmla="*/ 6700677 w 12192000"/>
                <a:gd name="connsiteY1020" fmla="*/ 413646 h 1608850"/>
                <a:gd name="connsiteX1021" fmla="*/ 6710810 w 12192000"/>
                <a:gd name="connsiteY1021" fmla="*/ 409322 h 1608850"/>
                <a:gd name="connsiteX1022" fmla="*/ 6714863 w 12192000"/>
                <a:gd name="connsiteY1022" fmla="*/ 412565 h 1608850"/>
                <a:gd name="connsiteX1023" fmla="*/ 6714863 w 12192000"/>
                <a:gd name="connsiteY1023" fmla="*/ 404999 h 1608850"/>
                <a:gd name="connsiteX1024" fmla="*/ 6717143 w 12192000"/>
                <a:gd name="connsiteY1024" fmla="*/ 404999 h 1608850"/>
                <a:gd name="connsiteX1025" fmla="*/ 6733104 w 12192000"/>
                <a:gd name="connsiteY1025" fmla="*/ 404999 h 1608850"/>
                <a:gd name="connsiteX1026" fmla="*/ 6733104 w 12192000"/>
                <a:gd name="connsiteY1026" fmla="*/ 406080 h 1608850"/>
                <a:gd name="connsiteX1027" fmla="*/ 6733104 w 12192000"/>
                <a:gd name="connsiteY1027" fmla="*/ 413646 h 1608850"/>
                <a:gd name="connsiteX1028" fmla="*/ 6763504 w 12192000"/>
                <a:gd name="connsiteY1028" fmla="*/ 413646 h 1608850"/>
                <a:gd name="connsiteX1029" fmla="*/ 6763504 w 12192000"/>
                <a:gd name="connsiteY1029" fmla="*/ 415267 h 1608850"/>
                <a:gd name="connsiteX1030" fmla="*/ 6763504 w 12192000"/>
                <a:gd name="connsiteY1030" fmla="*/ 426617 h 1608850"/>
                <a:gd name="connsiteX1031" fmla="*/ 6789851 w 12192000"/>
                <a:gd name="connsiteY1031" fmla="*/ 426617 h 1608850"/>
                <a:gd name="connsiteX1032" fmla="*/ 6789851 w 12192000"/>
                <a:gd name="connsiteY1032" fmla="*/ 456881 h 1608850"/>
                <a:gd name="connsiteX1033" fmla="*/ 6790611 w 12192000"/>
                <a:gd name="connsiteY1033" fmla="*/ 456881 h 1608850"/>
                <a:gd name="connsiteX1034" fmla="*/ 6795931 w 12192000"/>
                <a:gd name="connsiteY1034" fmla="*/ 456881 h 1608850"/>
                <a:gd name="connsiteX1035" fmla="*/ 6795931 w 12192000"/>
                <a:gd name="connsiteY1035" fmla="*/ 457962 h 1608850"/>
                <a:gd name="connsiteX1036" fmla="*/ 6795931 w 12192000"/>
                <a:gd name="connsiteY1036" fmla="*/ 465529 h 1608850"/>
                <a:gd name="connsiteX1037" fmla="*/ 6799985 w 12192000"/>
                <a:gd name="connsiteY1037" fmla="*/ 495793 h 1608850"/>
                <a:gd name="connsiteX1038" fmla="*/ 6800745 w 12192000"/>
                <a:gd name="connsiteY1038" fmla="*/ 495793 h 1608850"/>
                <a:gd name="connsiteX1039" fmla="*/ 6806065 w 12192000"/>
                <a:gd name="connsiteY1039" fmla="*/ 495793 h 1608850"/>
                <a:gd name="connsiteX1040" fmla="*/ 6806065 w 12192000"/>
                <a:gd name="connsiteY1040" fmla="*/ 496604 h 1608850"/>
                <a:gd name="connsiteX1041" fmla="*/ 6806065 w 12192000"/>
                <a:gd name="connsiteY1041" fmla="*/ 502279 h 1608850"/>
                <a:gd name="connsiteX1042" fmla="*/ 6807078 w 12192000"/>
                <a:gd name="connsiteY1042" fmla="*/ 502279 h 1608850"/>
                <a:gd name="connsiteX1043" fmla="*/ 6814171 w 12192000"/>
                <a:gd name="connsiteY1043" fmla="*/ 502279 h 1608850"/>
                <a:gd name="connsiteX1044" fmla="*/ 6814171 w 12192000"/>
                <a:gd name="connsiteY1044" fmla="*/ 532544 h 1608850"/>
                <a:gd name="connsiteX1045" fmla="*/ 6816198 w 12192000"/>
                <a:gd name="connsiteY1045" fmla="*/ 532544 h 1608850"/>
                <a:gd name="connsiteX1046" fmla="*/ 6830385 w 12192000"/>
                <a:gd name="connsiteY1046" fmla="*/ 532544 h 1608850"/>
                <a:gd name="connsiteX1047" fmla="*/ 6830385 w 12192000"/>
                <a:gd name="connsiteY1047" fmla="*/ 556323 h 1608850"/>
                <a:gd name="connsiteX1048" fmla="*/ 6832412 w 12192000"/>
                <a:gd name="connsiteY1048" fmla="*/ 557944 h 1608850"/>
                <a:gd name="connsiteX1049" fmla="*/ 6832412 w 12192000"/>
                <a:gd name="connsiteY1049" fmla="*/ 569294 h 1608850"/>
                <a:gd name="connsiteX1050" fmla="*/ 6833172 w 12192000"/>
                <a:gd name="connsiteY1050" fmla="*/ 569294 h 1608850"/>
                <a:gd name="connsiteX1051" fmla="*/ 6838492 w 12192000"/>
                <a:gd name="connsiteY1051" fmla="*/ 569294 h 1608850"/>
                <a:gd name="connsiteX1052" fmla="*/ 6838492 w 12192000"/>
                <a:gd name="connsiteY1052" fmla="*/ 593073 h 1608850"/>
                <a:gd name="connsiteX1053" fmla="*/ 6839758 w 12192000"/>
                <a:gd name="connsiteY1053" fmla="*/ 593073 h 1608850"/>
                <a:gd name="connsiteX1054" fmla="*/ 6848625 w 12192000"/>
                <a:gd name="connsiteY1054" fmla="*/ 593073 h 1608850"/>
                <a:gd name="connsiteX1055" fmla="*/ 6850652 w 12192000"/>
                <a:gd name="connsiteY1055" fmla="*/ 597127 h 1608850"/>
                <a:gd name="connsiteX1056" fmla="*/ 6850652 w 12192000"/>
                <a:gd name="connsiteY1056" fmla="*/ 610368 h 1608850"/>
                <a:gd name="connsiteX1057" fmla="*/ 6852172 w 12192000"/>
                <a:gd name="connsiteY1057" fmla="*/ 608476 h 1608850"/>
                <a:gd name="connsiteX1058" fmla="*/ 6862812 w 12192000"/>
                <a:gd name="connsiteY1058" fmla="*/ 595235 h 1608850"/>
                <a:gd name="connsiteX1059" fmla="*/ 6891186 w 12192000"/>
                <a:gd name="connsiteY1059" fmla="*/ 595235 h 1608850"/>
                <a:gd name="connsiteX1060" fmla="*/ 6891186 w 12192000"/>
                <a:gd name="connsiteY1060" fmla="*/ 681706 h 1608850"/>
                <a:gd name="connsiteX1061" fmla="*/ 6891946 w 12192000"/>
                <a:gd name="connsiteY1061" fmla="*/ 681706 h 1608850"/>
                <a:gd name="connsiteX1062" fmla="*/ 6897266 w 12192000"/>
                <a:gd name="connsiteY1062" fmla="*/ 681706 h 1608850"/>
                <a:gd name="connsiteX1063" fmla="*/ 6898026 w 12192000"/>
                <a:gd name="connsiteY1063" fmla="*/ 680355 h 1608850"/>
                <a:gd name="connsiteX1064" fmla="*/ 6903346 w 12192000"/>
                <a:gd name="connsiteY1064" fmla="*/ 670897 h 1608850"/>
                <a:gd name="connsiteX1065" fmla="*/ 6903346 w 12192000"/>
                <a:gd name="connsiteY1065" fmla="*/ 672789 h 1608850"/>
                <a:gd name="connsiteX1066" fmla="*/ 6903346 w 12192000"/>
                <a:gd name="connsiteY1066" fmla="*/ 686030 h 1608850"/>
                <a:gd name="connsiteX1067" fmla="*/ 6907399 w 12192000"/>
                <a:gd name="connsiteY1067" fmla="*/ 640633 h 1608850"/>
                <a:gd name="connsiteX1068" fmla="*/ 6908159 w 12192000"/>
                <a:gd name="connsiteY1068" fmla="*/ 640633 h 1608850"/>
                <a:gd name="connsiteX1069" fmla="*/ 6913479 w 12192000"/>
                <a:gd name="connsiteY1069" fmla="*/ 640633 h 1608850"/>
                <a:gd name="connsiteX1070" fmla="*/ 6913479 w 12192000"/>
                <a:gd name="connsiteY1070" fmla="*/ 575779 h 1608850"/>
                <a:gd name="connsiteX1071" fmla="*/ 6914493 w 12192000"/>
                <a:gd name="connsiteY1071" fmla="*/ 575779 h 1608850"/>
                <a:gd name="connsiteX1072" fmla="*/ 6921586 w 12192000"/>
                <a:gd name="connsiteY1072" fmla="*/ 575779 h 1608850"/>
                <a:gd name="connsiteX1073" fmla="*/ 6933746 w 12192000"/>
                <a:gd name="connsiteY1073" fmla="*/ 532544 h 1608850"/>
                <a:gd name="connsiteX1074" fmla="*/ 6935013 w 12192000"/>
                <a:gd name="connsiteY1074" fmla="*/ 532544 h 1608850"/>
                <a:gd name="connsiteX1075" fmla="*/ 6943880 w 12192000"/>
                <a:gd name="connsiteY1075" fmla="*/ 532544 h 1608850"/>
                <a:gd name="connsiteX1076" fmla="*/ 6954013 w 12192000"/>
                <a:gd name="connsiteY1076" fmla="*/ 575779 h 1608850"/>
                <a:gd name="connsiteX1077" fmla="*/ 6955026 w 12192000"/>
                <a:gd name="connsiteY1077" fmla="*/ 575779 h 1608850"/>
                <a:gd name="connsiteX1078" fmla="*/ 6962120 w 12192000"/>
                <a:gd name="connsiteY1078" fmla="*/ 575779 h 1608850"/>
                <a:gd name="connsiteX1079" fmla="*/ 6962120 w 12192000"/>
                <a:gd name="connsiteY1079" fmla="*/ 614691 h 1608850"/>
                <a:gd name="connsiteX1080" fmla="*/ 6963893 w 12192000"/>
                <a:gd name="connsiteY1080" fmla="*/ 614691 h 1608850"/>
                <a:gd name="connsiteX1081" fmla="*/ 6976307 w 12192000"/>
                <a:gd name="connsiteY1081" fmla="*/ 614691 h 1608850"/>
                <a:gd name="connsiteX1082" fmla="*/ 6976307 w 12192000"/>
                <a:gd name="connsiteY1082" fmla="*/ 616853 h 1608850"/>
                <a:gd name="connsiteX1083" fmla="*/ 6976307 w 12192000"/>
                <a:gd name="connsiteY1083" fmla="*/ 631985 h 1608850"/>
                <a:gd name="connsiteX1084" fmla="*/ 6980360 w 12192000"/>
                <a:gd name="connsiteY1084" fmla="*/ 629824 h 1608850"/>
                <a:gd name="connsiteX1085" fmla="*/ 6980360 w 12192000"/>
                <a:gd name="connsiteY1085" fmla="*/ 614691 h 1608850"/>
                <a:gd name="connsiteX1086" fmla="*/ 6981880 w 12192000"/>
                <a:gd name="connsiteY1086" fmla="*/ 614691 h 1608850"/>
                <a:gd name="connsiteX1087" fmla="*/ 6992520 w 12192000"/>
                <a:gd name="connsiteY1087" fmla="*/ 614691 h 1608850"/>
                <a:gd name="connsiteX1088" fmla="*/ 6992520 w 12192000"/>
                <a:gd name="connsiteY1088" fmla="*/ 616312 h 1608850"/>
                <a:gd name="connsiteX1089" fmla="*/ 6992520 w 12192000"/>
                <a:gd name="connsiteY1089" fmla="*/ 627662 h 1608850"/>
                <a:gd name="connsiteX1090" fmla="*/ 7022921 w 12192000"/>
                <a:gd name="connsiteY1090" fmla="*/ 627662 h 1608850"/>
                <a:gd name="connsiteX1091" fmla="*/ 7022921 w 12192000"/>
                <a:gd name="connsiteY1091" fmla="*/ 590912 h 1608850"/>
                <a:gd name="connsiteX1092" fmla="*/ 7024187 w 12192000"/>
                <a:gd name="connsiteY1092" fmla="*/ 590912 h 1608850"/>
                <a:gd name="connsiteX1093" fmla="*/ 7033054 w 12192000"/>
                <a:gd name="connsiteY1093" fmla="*/ 590912 h 1608850"/>
                <a:gd name="connsiteX1094" fmla="*/ 7033054 w 12192000"/>
                <a:gd name="connsiteY1094" fmla="*/ 612529 h 1608850"/>
                <a:gd name="connsiteX1095" fmla="*/ 7035081 w 12192000"/>
                <a:gd name="connsiteY1095" fmla="*/ 580103 h 1608850"/>
                <a:gd name="connsiteX1096" fmla="*/ 7057374 w 12192000"/>
                <a:gd name="connsiteY1096" fmla="*/ 580103 h 1608850"/>
                <a:gd name="connsiteX1097" fmla="*/ 7057374 w 12192000"/>
                <a:gd name="connsiteY1097" fmla="*/ 578481 h 1608850"/>
                <a:gd name="connsiteX1098" fmla="*/ 7057374 w 12192000"/>
                <a:gd name="connsiteY1098" fmla="*/ 567132 h 1608850"/>
                <a:gd name="connsiteX1099" fmla="*/ 7058134 w 12192000"/>
                <a:gd name="connsiteY1099" fmla="*/ 567132 h 1608850"/>
                <a:gd name="connsiteX1100" fmla="*/ 7063454 w 12192000"/>
                <a:gd name="connsiteY1100" fmla="*/ 567132 h 1608850"/>
                <a:gd name="connsiteX1101" fmla="*/ 7063454 w 12192000"/>
                <a:gd name="connsiteY1101" fmla="*/ 565241 h 1608850"/>
                <a:gd name="connsiteX1102" fmla="*/ 7063454 w 12192000"/>
                <a:gd name="connsiteY1102" fmla="*/ 552000 h 1608850"/>
                <a:gd name="connsiteX1103" fmla="*/ 7067508 w 12192000"/>
                <a:gd name="connsiteY1103" fmla="*/ 558485 h 1608850"/>
                <a:gd name="connsiteX1104" fmla="*/ 7069788 w 12192000"/>
                <a:gd name="connsiteY1104" fmla="*/ 558485 h 1608850"/>
                <a:gd name="connsiteX1105" fmla="*/ 7085748 w 12192000"/>
                <a:gd name="connsiteY1105" fmla="*/ 558485 h 1608850"/>
                <a:gd name="connsiteX1106" fmla="*/ 7085748 w 12192000"/>
                <a:gd name="connsiteY1106" fmla="*/ 557674 h 1608850"/>
                <a:gd name="connsiteX1107" fmla="*/ 7085748 w 12192000"/>
                <a:gd name="connsiteY1107" fmla="*/ 552000 h 1608850"/>
                <a:gd name="connsiteX1108" fmla="*/ 7086508 w 12192000"/>
                <a:gd name="connsiteY1108" fmla="*/ 552000 h 1608850"/>
                <a:gd name="connsiteX1109" fmla="*/ 7091828 w 12192000"/>
                <a:gd name="connsiteY1109" fmla="*/ 552000 h 1608850"/>
                <a:gd name="connsiteX1110" fmla="*/ 7091828 w 12192000"/>
                <a:gd name="connsiteY1110" fmla="*/ 553351 h 1608850"/>
                <a:gd name="connsiteX1111" fmla="*/ 7091828 w 12192000"/>
                <a:gd name="connsiteY1111" fmla="*/ 562809 h 1608850"/>
                <a:gd name="connsiteX1112" fmla="*/ 7130335 w 12192000"/>
                <a:gd name="connsiteY1112" fmla="*/ 562809 h 1608850"/>
                <a:gd name="connsiteX1113" fmla="*/ 7130335 w 12192000"/>
                <a:gd name="connsiteY1113" fmla="*/ 701162 h 1608850"/>
                <a:gd name="connsiteX1114" fmla="*/ 7131855 w 12192000"/>
                <a:gd name="connsiteY1114" fmla="*/ 701162 h 1608850"/>
                <a:gd name="connsiteX1115" fmla="*/ 7142495 w 12192000"/>
                <a:gd name="connsiteY1115" fmla="*/ 701162 h 1608850"/>
                <a:gd name="connsiteX1116" fmla="*/ 7142495 w 12192000"/>
                <a:gd name="connsiteY1116" fmla="*/ 688192 h 1608850"/>
                <a:gd name="connsiteX1117" fmla="*/ 7146549 w 12192000"/>
                <a:gd name="connsiteY1117" fmla="*/ 688192 h 1608850"/>
                <a:gd name="connsiteX1118" fmla="*/ 7146549 w 12192000"/>
                <a:gd name="connsiteY1118" fmla="*/ 701162 h 1608850"/>
                <a:gd name="connsiteX1119" fmla="*/ 7176949 w 12192000"/>
                <a:gd name="connsiteY1119" fmla="*/ 701162 h 1608850"/>
                <a:gd name="connsiteX1120" fmla="*/ 7176949 w 12192000"/>
                <a:gd name="connsiteY1120" fmla="*/ 670897 h 1608850"/>
                <a:gd name="connsiteX1121" fmla="*/ 7189109 w 12192000"/>
                <a:gd name="connsiteY1121" fmla="*/ 670897 h 1608850"/>
                <a:gd name="connsiteX1122" fmla="*/ 7201269 w 12192000"/>
                <a:gd name="connsiteY1122" fmla="*/ 668736 h 1608850"/>
                <a:gd name="connsiteX1123" fmla="*/ 7205323 w 12192000"/>
                <a:gd name="connsiteY1123" fmla="*/ 670897 h 1608850"/>
                <a:gd name="connsiteX1124" fmla="*/ 7215456 w 12192000"/>
                <a:gd name="connsiteY1124" fmla="*/ 670897 h 1608850"/>
                <a:gd name="connsiteX1125" fmla="*/ 7215456 w 12192000"/>
                <a:gd name="connsiteY1125" fmla="*/ 701162 h 1608850"/>
                <a:gd name="connsiteX1126" fmla="*/ 7223563 w 12192000"/>
                <a:gd name="connsiteY1126" fmla="*/ 701162 h 1608850"/>
                <a:gd name="connsiteX1127" fmla="*/ 7223563 w 12192000"/>
                <a:gd name="connsiteY1127" fmla="*/ 718457 h 1608850"/>
                <a:gd name="connsiteX1128" fmla="*/ 7232899 w 12192000"/>
                <a:gd name="connsiteY1128" fmla="*/ 719362 h 1608850"/>
                <a:gd name="connsiteX1129" fmla="*/ 7245857 w 12192000"/>
                <a:gd name="connsiteY1129" fmla="*/ 719362 h 1608850"/>
                <a:gd name="connsiteX1130" fmla="*/ 7245857 w 12192000"/>
                <a:gd name="connsiteY1130" fmla="*/ 703324 h 1608850"/>
                <a:gd name="connsiteX1131" fmla="*/ 7313813 w 12192000"/>
                <a:gd name="connsiteY1131" fmla="*/ 703324 h 1608850"/>
                <a:gd name="connsiteX1132" fmla="*/ 7313813 w 12192000"/>
                <a:gd name="connsiteY1132" fmla="*/ 618071 h 1608850"/>
                <a:gd name="connsiteX1133" fmla="*/ 7385821 w 12192000"/>
                <a:gd name="connsiteY1133" fmla="*/ 618071 h 1608850"/>
                <a:gd name="connsiteX1134" fmla="*/ 7385821 w 12192000"/>
                <a:gd name="connsiteY1134" fmla="*/ 696839 h 1608850"/>
                <a:gd name="connsiteX1135" fmla="*/ 7387725 w 12192000"/>
                <a:gd name="connsiteY1135" fmla="*/ 696839 h 1608850"/>
                <a:gd name="connsiteX1136" fmla="*/ 7388967 w 12192000"/>
                <a:gd name="connsiteY1136" fmla="*/ 719362 h 1608850"/>
                <a:gd name="connsiteX1137" fmla="*/ 7398643 w 12192000"/>
                <a:gd name="connsiteY1137" fmla="*/ 719362 h 1608850"/>
                <a:gd name="connsiteX1138" fmla="*/ 7399885 w 12192000"/>
                <a:gd name="connsiteY1138" fmla="*/ 696839 h 1608850"/>
                <a:gd name="connsiteX1139" fmla="*/ 7405965 w 12192000"/>
                <a:gd name="connsiteY1139" fmla="*/ 696839 h 1608850"/>
                <a:gd name="connsiteX1140" fmla="*/ 7407207 w 12192000"/>
                <a:gd name="connsiteY1140" fmla="*/ 719362 h 1608850"/>
                <a:gd name="connsiteX1141" fmla="*/ 7457829 w 12192000"/>
                <a:gd name="connsiteY1141" fmla="*/ 719362 h 1608850"/>
                <a:gd name="connsiteX1142" fmla="*/ 7457829 w 12192000"/>
                <a:gd name="connsiteY1142" fmla="*/ 556334 h 1608850"/>
                <a:gd name="connsiteX1143" fmla="*/ 7655156 w 12192000"/>
                <a:gd name="connsiteY1143" fmla="*/ 556334 h 1608850"/>
                <a:gd name="connsiteX1144" fmla="*/ 7655156 w 12192000"/>
                <a:gd name="connsiteY1144" fmla="*/ 719362 h 1608850"/>
                <a:gd name="connsiteX1145" fmla="*/ 7673853 w 12192000"/>
                <a:gd name="connsiteY1145" fmla="*/ 719362 h 1608850"/>
                <a:gd name="connsiteX1146" fmla="*/ 7673853 w 12192000"/>
                <a:gd name="connsiteY1146" fmla="*/ 636669 h 1608850"/>
                <a:gd name="connsiteX1147" fmla="*/ 7768973 w 12192000"/>
                <a:gd name="connsiteY1147" fmla="*/ 636669 h 1608850"/>
                <a:gd name="connsiteX1148" fmla="*/ 7773382 w 12192000"/>
                <a:gd name="connsiteY1148" fmla="*/ 519115 h 1608850"/>
                <a:gd name="connsiteX1149" fmla="*/ 7819759 w 12192000"/>
                <a:gd name="connsiteY1149" fmla="*/ 519115 h 1608850"/>
                <a:gd name="connsiteX1150" fmla="*/ 7821437 w 12192000"/>
                <a:gd name="connsiteY1150" fmla="*/ 571456 h 1608850"/>
                <a:gd name="connsiteX1151" fmla="*/ 7886292 w 12192000"/>
                <a:gd name="connsiteY1151" fmla="*/ 571456 h 1608850"/>
                <a:gd name="connsiteX1152" fmla="*/ 7886292 w 12192000"/>
                <a:gd name="connsiteY1152" fmla="*/ 647118 h 1608850"/>
                <a:gd name="connsiteX1153" fmla="*/ 7894398 w 12192000"/>
                <a:gd name="connsiteY1153" fmla="*/ 647118 h 1608850"/>
                <a:gd name="connsiteX1154" fmla="*/ 7896425 w 12192000"/>
                <a:gd name="connsiteY1154" fmla="*/ 640633 h 1608850"/>
                <a:gd name="connsiteX1155" fmla="*/ 7902505 w 12192000"/>
                <a:gd name="connsiteY1155" fmla="*/ 640633 h 1608850"/>
                <a:gd name="connsiteX1156" fmla="*/ 7904533 w 12192000"/>
                <a:gd name="connsiteY1156" fmla="*/ 649280 h 1608850"/>
                <a:gd name="connsiteX1157" fmla="*/ 7916693 w 12192000"/>
                <a:gd name="connsiteY1157" fmla="*/ 649280 h 1608850"/>
                <a:gd name="connsiteX1158" fmla="*/ 7916693 w 12192000"/>
                <a:gd name="connsiteY1158" fmla="*/ 642794 h 1608850"/>
                <a:gd name="connsiteX1159" fmla="*/ 7938985 w 12192000"/>
                <a:gd name="connsiteY1159" fmla="*/ 642794 h 1608850"/>
                <a:gd name="connsiteX1160" fmla="*/ 7938985 w 12192000"/>
                <a:gd name="connsiteY1160" fmla="*/ 649280 h 1608850"/>
                <a:gd name="connsiteX1161" fmla="*/ 7959253 w 12192000"/>
                <a:gd name="connsiteY1161" fmla="*/ 649280 h 1608850"/>
                <a:gd name="connsiteX1162" fmla="*/ 7959253 w 12192000"/>
                <a:gd name="connsiteY1162" fmla="*/ 694677 h 1608850"/>
                <a:gd name="connsiteX1163" fmla="*/ 7973440 w 12192000"/>
                <a:gd name="connsiteY1163" fmla="*/ 694677 h 1608850"/>
                <a:gd name="connsiteX1164" fmla="*/ 7973440 w 12192000"/>
                <a:gd name="connsiteY1164" fmla="*/ 681706 h 1608850"/>
                <a:gd name="connsiteX1165" fmla="*/ 7989653 w 12192000"/>
                <a:gd name="connsiteY1165" fmla="*/ 681706 h 1608850"/>
                <a:gd name="connsiteX1166" fmla="*/ 7989653 w 12192000"/>
                <a:gd name="connsiteY1166" fmla="*/ 502279 h 1608850"/>
                <a:gd name="connsiteX1167" fmla="*/ 7995733 w 12192000"/>
                <a:gd name="connsiteY1167" fmla="*/ 495793 h 1608850"/>
                <a:gd name="connsiteX1168" fmla="*/ 8068694 w 12192000"/>
                <a:gd name="connsiteY1168" fmla="*/ 495793 h 1608850"/>
                <a:gd name="connsiteX1169" fmla="*/ 8068694 w 12192000"/>
                <a:gd name="connsiteY1169" fmla="*/ 504441 h 1608850"/>
                <a:gd name="connsiteX1170" fmla="*/ 8078828 w 12192000"/>
                <a:gd name="connsiteY1170" fmla="*/ 504441 h 1608850"/>
                <a:gd name="connsiteX1171" fmla="*/ 8078828 w 12192000"/>
                <a:gd name="connsiteY1171" fmla="*/ 619015 h 1608850"/>
                <a:gd name="connsiteX1172" fmla="*/ 8101121 w 12192000"/>
                <a:gd name="connsiteY1172" fmla="*/ 619015 h 1608850"/>
                <a:gd name="connsiteX1173" fmla="*/ 8101121 w 12192000"/>
                <a:gd name="connsiteY1173" fmla="*/ 552000 h 1608850"/>
                <a:gd name="connsiteX1174" fmla="*/ 8127469 w 12192000"/>
                <a:gd name="connsiteY1174" fmla="*/ 552000 h 1608850"/>
                <a:gd name="connsiteX1175" fmla="*/ 8131521 w 12192000"/>
                <a:gd name="connsiteY1175" fmla="*/ 547676 h 1608850"/>
                <a:gd name="connsiteX1176" fmla="*/ 8139629 w 12192000"/>
                <a:gd name="connsiteY1176" fmla="*/ 547676 h 1608850"/>
                <a:gd name="connsiteX1177" fmla="*/ 8143681 w 12192000"/>
                <a:gd name="connsiteY1177" fmla="*/ 552000 h 1608850"/>
                <a:gd name="connsiteX1178" fmla="*/ 8165976 w 12192000"/>
                <a:gd name="connsiteY1178" fmla="*/ 552000 h 1608850"/>
                <a:gd name="connsiteX1179" fmla="*/ 8165976 w 12192000"/>
                <a:gd name="connsiteY1179" fmla="*/ 435264 h 1608850"/>
                <a:gd name="connsiteX1180" fmla="*/ 8222722 w 12192000"/>
                <a:gd name="connsiteY1180" fmla="*/ 424455 h 1608850"/>
                <a:gd name="connsiteX1181" fmla="*/ 8222722 w 12192000"/>
                <a:gd name="connsiteY1181" fmla="*/ 425536 h 1608850"/>
                <a:gd name="connsiteX1182" fmla="*/ 8222722 w 12192000"/>
                <a:gd name="connsiteY1182" fmla="*/ 433102 h 1608850"/>
                <a:gd name="connsiteX1183" fmla="*/ 8249069 w 12192000"/>
                <a:gd name="connsiteY1183" fmla="*/ 433102 h 1608850"/>
                <a:gd name="connsiteX1184" fmla="*/ 8249069 w 12192000"/>
                <a:gd name="connsiteY1184" fmla="*/ 688192 h 1608850"/>
                <a:gd name="connsiteX1185" fmla="*/ 8271364 w 12192000"/>
                <a:gd name="connsiteY1185" fmla="*/ 688192 h 1608850"/>
                <a:gd name="connsiteX1186" fmla="*/ 8271364 w 12192000"/>
                <a:gd name="connsiteY1186" fmla="*/ 683868 h 1608850"/>
                <a:gd name="connsiteX1187" fmla="*/ 8283524 w 12192000"/>
                <a:gd name="connsiteY1187" fmla="*/ 683868 h 1608850"/>
                <a:gd name="connsiteX1188" fmla="*/ 8283524 w 12192000"/>
                <a:gd name="connsiteY1188" fmla="*/ 688192 h 1608850"/>
                <a:gd name="connsiteX1189" fmla="*/ 8307844 w 12192000"/>
                <a:gd name="connsiteY1189" fmla="*/ 688192 h 1608850"/>
                <a:gd name="connsiteX1190" fmla="*/ 8307844 w 12192000"/>
                <a:gd name="connsiteY1190" fmla="*/ 675221 h 1608850"/>
                <a:gd name="connsiteX1191" fmla="*/ 8336217 w 12192000"/>
                <a:gd name="connsiteY1191" fmla="*/ 675221 h 1608850"/>
                <a:gd name="connsiteX1192" fmla="*/ 8348377 w 12192000"/>
                <a:gd name="connsiteY1192" fmla="*/ 670897 h 1608850"/>
                <a:gd name="connsiteX1193" fmla="*/ 8368645 w 12192000"/>
                <a:gd name="connsiteY1193" fmla="*/ 675221 h 1608850"/>
                <a:gd name="connsiteX1194" fmla="*/ 8368645 w 12192000"/>
                <a:gd name="connsiteY1194" fmla="*/ 657927 h 1608850"/>
                <a:gd name="connsiteX1195" fmla="*/ 8376752 w 12192000"/>
                <a:gd name="connsiteY1195" fmla="*/ 657927 h 1608850"/>
                <a:gd name="connsiteX1196" fmla="*/ 8376752 w 12192000"/>
                <a:gd name="connsiteY1196" fmla="*/ 644956 h 1608850"/>
                <a:gd name="connsiteX1197" fmla="*/ 8433498 w 12192000"/>
                <a:gd name="connsiteY1197" fmla="*/ 644956 h 1608850"/>
                <a:gd name="connsiteX1198" fmla="*/ 8433498 w 12192000"/>
                <a:gd name="connsiteY1198" fmla="*/ 614691 h 1608850"/>
                <a:gd name="connsiteX1199" fmla="*/ 8451738 w 12192000"/>
                <a:gd name="connsiteY1199" fmla="*/ 614691 h 1608850"/>
                <a:gd name="connsiteX1200" fmla="*/ 8451738 w 12192000"/>
                <a:gd name="connsiteY1200" fmla="*/ 608206 h 1608850"/>
                <a:gd name="connsiteX1201" fmla="*/ 8463898 w 12192000"/>
                <a:gd name="connsiteY1201" fmla="*/ 608206 h 1608850"/>
                <a:gd name="connsiteX1202" fmla="*/ 8463898 w 12192000"/>
                <a:gd name="connsiteY1202" fmla="*/ 614691 h 1608850"/>
                <a:gd name="connsiteX1203" fmla="*/ 8480112 w 12192000"/>
                <a:gd name="connsiteY1203" fmla="*/ 614691 h 1608850"/>
                <a:gd name="connsiteX1204" fmla="*/ 8480112 w 12192000"/>
                <a:gd name="connsiteY1204" fmla="*/ 664412 h 1608850"/>
                <a:gd name="connsiteX1205" fmla="*/ 8512540 w 12192000"/>
                <a:gd name="connsiteY1205" fmla="*/ 664412 h 1608850"/>
                <a:gd name="connsiteX1206" fmla="*/ 8512540 w 12192000"/>
                <a:gd name="connsiteY1206" fmla="*/ 638471 h 1608850"/>
                <a:gd name="connsiteX1207" fmla="*/ 8551046 w 12192000"/>
                <a:gd name="connsiteY1207" fmla="*/ 638471 h 1608850"/>
                <a:gd name="connsiteX1208" fmla="*/ 8551046 w 12192000"/>
                <a:gd name="connsiteY1208" fmla="*/ 608206 h 1608850"/>
                <a:gd name="connsiteX1209" fmla="*/ 8599688 w 12192000"/>
                <a:gd name="connsiteY1209" fmla="*/ 608206 h 1608850"/>
                <a:gd name="connsiteX1210" fmla="*/ 8599688 w 12192000"/>
                <a:gd name="connsiteY1210" fmla="*/ 719362 h 1608850"/>
                <a:gd name="connsiteX1211" fmla="*/ 8599688 w 12192000"/>
                <a:gd name="connsiteY1211" fmla="*/ 733141 h 1608850"/>
                <a:gd name="connsiteX1212" fmla="*/ 8665562 w 12192000"/>
                <a:gd name="connsiteY1212" fmla="*/ 733141 h 1608850"/>
                <a:gd name="connsiteX1213" fmla="*/ 8665562 w 12192000"/>
                <a:gd name="connsiteY1213" fmla="*/ 838913 h 1608850"/>
                <a:gd name="connsiteX1214" fmla="*/ 8665562 w 12192000"/>
                <a:gd name="connsiteY1214" fmla="*/ 862160 h 1608850"/>
                <a:gd name="connsiteX1215" fmla="*/ 8680522 w 12192000"/>
                <a:gd name="connsiteY1215" fmla="*/ 862160 h 1608850"/>
                <a:gd name="connsiteX1216" fmla="*/ 8680522 w 12192000"/>
                <a:gd name="connsiteY1216" fmla="*/ 860998 h 1608850"/>
                <a:gd name="connsiteX1217" fmla="*/ 8680522 w 12192000"/>
                <a:gd name="connsiteY1217" fmla="*/ 852862 h 1608850"/>
                <a:gd name="connsiteX1218" fmla="*/ 8725102 w 12192000"/>
                <a:gd name="connsiteY1218" fmla="*/ 852862 h 1608850"/>
                <a:gd name="connsiteX1219" fmla="*/ 8725102 w 12192000"/>
                <a:gd name="connsiteY1219" fmla="*/ 855477 h 1608850"/>
                <a:gd name="connsiteX1220" fmla="*/ 8725102 w 12192000"/>
                <a:gd name="connsiteY1220" fmla="*/ 861131 h 1608850"/>
                <a:gd name="connsiteX1221" fmla="*/ 8733569 w 12192000"/>
                <a:gd name="connsiteY1221" fmla="*/ 852574 h 1608850"/>
                <a:gd name="connsiteX1222" fmla="*/ 8729111 w 12192000"/>
                <a:gd name="connsiteY1222" fmla="*/ 850249 h 1608850"/>
                <a:gd name="connsiteX1223" fmla="*/ 8729111 w 12192000"/>
                <a:gd name="connsiteY1223" fmla="*/ 843275 h 1608850"/>
                <a:gd name="connsiteX1224" fmla="*/ 8735797 w 12192000"/>
                <a:gd name="connsiteY1224" fmla="*/ 840950 h 1608850"/>
                <a:gd name="connsiteX1225" fmla="*/ 8735797 w 12192000"/>
                <a:gd name="connsiteY1225" fmla="*/ 831652 h 1608850"/>
                <a:gd name="connsiteX1226" fmla="*/ 8740256 w 12192000"/>
                <a:gd name="connsiteY1226" fmla="*/ 831652 h 1608850"/>
                <a:gd name="connsiteX1227" fmla="*/ 8740256 w 12192000"/>
                <a:gd name="connsiteY1227" fmla="*/ 810730 h 1608850"/>
                <a:gd name="connsiteX1228" fmla="*/ 8735797 w 12192000"/>
                <a:gd name="connsiteY1228" fmla="*/ 810730 h 1608850"/>
                <a:gd name="connsiteX1229" fmla="*/ 8735797 w 12192000"/>
                <a:gd name="connsiteY1229" fmla="*/ 806081 h 1608850"/>
                <a:gd name="connsiteX1230" fmla="*/ 8740256 w 12192000"/>
                <a:gd name="connsiteY1230" fmla="*/ 803756 h 1608850"/>
                <a:gd name="connsiteX1231" fmla="*/ 8751401 w 12192000"/>
                <a:gd name="connsiteY1231" fmla="*/ 787483 h 1608850"/>
                <a:gd name="connsiteX1232" fmla="*/ 8753629 w 12192000"/>
                <a:gd name="connsiteY1232" fmla="*/ 778185 h 1608850"/>
                <a:gd name="connsiteX1233" fmla="*/ 8753629 w 12192000"/>
                <a:gd name="connsiteY1233" fmla="*/ 752614 h 1608850"/>
                <a:gd name="connsiteX1234" fmla="*/ 8753909 w 12192000"/>
                <a:gd name="connsiteY1234" fmla="*/ 751742 h 1608850"/>
                <a:gd name="connsiteX1235" fmla="*/ 8755767 w 12192000"/>
                <a:gd name="connsiteY1235" fmla="*/ 745928 h 1608850"/>
                <a:gd name="connsiteX1236" fmla="*/ 8754080 w 12192000"/>
                <a:gd name="connsiteY1236" fmla="*/ 745928 h 1608850"/>
                <a:gd name="connsiteX1237" fmla="*/ 8754080 w 12192000"/>
                <a:gd name="connsiteY1237" fmla="*/ 744766 h 1608850"/>
                <a:gd name="connsiteX1238" fmla="*/ 8754080 w 12192000"/>
                <a:gd name="connsiteY1238" fmla="*/ 736629 h 1608850"/>
                <a:gd name="connsiteX1239" fmla="*/ 8755194 w 12192000"/>
                <a:gd name="connsiteY1239" fmla="*/ 736629 h 1608850"/>
                <a:gd name="connsiteX1240" fmla="*/ 8762996 w 12192000"/>
                <a:gd name="connsiteY1240" fmla="*/ 736629 h 1608850"/>
                <a:gd name="connsiteX1241" fmla="*/ 8762996 w 12192000"/>
                <a:gd name="connsiteY1241" fmla="*/ 735467 h 1608850"/>
                <a:gd name="connsiteX1242" fmla="*/ 8762996 w 12192000"/>
                <a:gd name="connsiteY1242" fmla="*/ 727331 h 1608850"/>
                <a:gd name="connsiteX1243" fmla="*/ 8761881 w 12192000"/>
                <a:gd name="connsiteY1243" fmla="*/ 727331 h 1608850"/>
                <a:gd name="connsiteX1244" fmla="*/ 8754080 w 12192000"/>
                <a:gd name="connsiteY1244" fmla="*/ 727331 h 1608850"/>
                <a:gd name="connsiteX1245" fmla="*/ 8754080 w 12192000"/>
                <a:gd name="connsiteY1245" fmla="*/ 726168 h 1608850"/>
                <a:gd name="connsiteX1246" fmla="*/ 8754080 w 12192000"/>
                <a:gd name="connsiteY1246" fmla="*/ 718032 h 1608850"/>
                <a:gd name="connsiteX1247" fmla="*/ 8755194 w 12192000"/>
                <a:gd name="connsiteY1247" fmla="*/ 718032 h 1608850"/>
                <a:gd name="connsiteX1248" fmla="*/ 8762996 w 12192000"/>
                <a:gd name="connsiteY1248" fmla="*/ 718032 h 1608850"/>
                <a:gd name="connsiteX1249" fmla="*/ 8762996 w 12192000"/>
                <a:gd name="connsiteY1249" fmla="*/ 717160 h 1608850"/>
                <a:gd name="connsiteX1250" fmla="*/ 8762996 w 12192000"/>
                <a:gd name="connsiteY1250" fmla="*/ 711058 h 1608850"/>
                <a:gd name="connsiteX1251" fmla="*/ 8761881 w 12192000"/>
                <a:gd name="connsiteY1251" fmla="*/ 711058 h 1608850"/>
                <a:gd name="connsiteX1252" fmla="*/ 8754080 w 12192000"/>
                <a:gd name="connsiteY1252" fmla="*/ 711058 h 1608850"/>
                <a:gd name="connsiteX1253" fmla="*/ 8754080 w 12192000"/>
                <a:gd name="connsiteY1253" fmla="*/ 709896 h 1608850"/>
                <a:gd name="connsiteX1254" fmla="*/ 8754080 w 12192000"/>
                <a:gd name="connsiteY1254" fmla="*/ 701759 h 1608850"/>
                <a:gd name="connsiteX1255" fmla="*/ 8755194 w 12192000"/>
                <a:gd name="connsiteY1255" fmla="*/ 701759 h 1608850"/>
                <a:gd name="connsiteX1256" fmla="*/ 8762996 w 12192000"/>
                <a:gd name="connsiteY1256" fmla="*/ 701759 h 1608850"/>
                <a:gd name="connsiteX1257" fmla="*/ 8761881 w 12192000"/>
                <a:gd name="connsiteY1257" fmla="*/ 700016 h 1608850"/>
                <a:gd name="connsiteX1258" fmla="*/ 8754080 w 12192000"/>
                <a:gd name="connsiteY1258" fmla="*/ 687812 h 1608850"/>
                <a:gd name="connsiteX1259" fmla="*/ 8754080 w 12192000"/>
                <a:gd name="connsiteY1259" fmla="*/ 650617 h 1608850"/>
                <a:gd name="connsiteX1260" fmla="*/ 8903424 w 12192000"/>
                <a:gd name="connsiteY1260" fmla="*/ 650617 h 1608850"/>
                <a:gd name="connsiteX1261" fmla="*/ 8905096 w 12192000"/>
                <a:gd name="connsiteY1261" fmla="*/ 653232 h 1608850"/>
                <a:gd name="connsiteX1262" fmla="*/ 8908543 w 12192000"/>
                <a:gd name="connsiteY1262" fmla="*/ 658626 h 1608850"/>
                <a:gd name="connsiteX1263" fmla="*/ 8908543 w 12192000"/>
                <a:gd name="connsiteY1263" fmla="*/ 647687 h 1608850"/>
                <a:gd name="connsiteX1264" fmla="*/ 8908543 w 12192000"/>
                <a:gd name="connsiteY1264" fmla="*/ 607460 h 1608850"/>
                <a:gd name="connsiteX1265" fmla="*/ 8910570 w 12192000"/>
                <a:gd name="connsiteY1265" fmla="*/ 607460 h 1608850"/>
                <a:gd name="connsiteX1266" fmla="*/ 8924757 w 12192000"/>
                <a:gd name="connsiteY1266" fmla="*/ 607460 h 1608850"/>
                <a:gd name="connsiteX1267" fmla="*/ 8924757 w 12192000"/>
                <a:gd name="connsiteY1267" fmla="*/ 515723 h 1608850"/>
                <a:gd name="connsiteX1268" fmla="*/ 8924757 w 12192000"/>
                <a:gd name="connsiteY1268" fmla="*/ 490724 h 1608850"/>
                <a:gd name="connsiteX1269" fmla="*/ 9078786 w 12192000"/>
                <a:gd name="connsiteY1269" fmla="*/ 490724 h 1608850"/>
                <a:gd name="connsiteX1270" fmla="*/ 9078786 w 12192000"/>
                <a:gd name="connsiteY1270" fmla="*/ 506306 h 1608850"/>
                <a:gd name="connsiteX1271" fmla="*/ 9078786 w 12192000"/>
                <a:gd name="connsiteY1271" fmla="*/ 611783 h 1608850"/>
                <a:gd name="connsiteX1272" fmla="*/ 9080306 w 12192000"/>
                <a:gd name="connsiteY1272" fmla="*/ 611513 h 1608850"/>
                <a:gd name="connsiteX1273" fmla="*/ 9090946 w 12192000"/>
                <a:gd name="connsiteY1273" fmla="*/ 609622 h 1608850"/>
                <a:gd name="connsiteX1274" fmla="*/ 9088919 w 12192000"/>
                <a:gd name="connsiteY1274" fmla="*/ 698254 h 1608850"/>
                <a:gd name="connsiteX1275" fmla="*/ 9090439 w 12192000"/>
                <a:gd name="connsiteY1275" fmla="*/ 698525 h 1608850"/>
                <a:gd name="connsiteX1276" fmla="*/ 9101079 w 12192000"/>
                <a:gd name="connsiteY1276" fmla="*/ 700416 h 1608850"/>
                <a:gd name="connsiteX1277" fmla="*/ 9101332 w 12192000"/>
                <a:gd name="connsiteY1277" fmla="*/ 701227 h 1608850"/>
                <a:gd name="connsiteX1278" fmla="*/ 9103106 w 12192000"/>
                <a:gd name="connsiteY1278" fmla="*/ 706902 h 1608850"/>
                <a:gd name="connsiteX1279" fmla="*/ 9103866 w 12192000"/>
                <a:gd name="connsiteY1279" fmla="*/ 704470 h 1608850"/>
                <a:gd name="connsiteX1280" fmla="*/ 9109186 w 12192000"/>
                <a:gd name="connsiteY1280" fmla="*/ 687446 h 1608850"/>
                <a:gd name="connsiteX1281" fmla="*/ 9110959 w 12192000"/>
                <a:gd name="connsiteY1281" fmla="*/ 687446 h 1608850"/>
                <a:gd name="connsiteX1282" fmla="*/ 9123373 w 12192000"/>
                <a:gd name="connsiteY1282" fmla="*/ 687446 h 1608850"/>
                <a:gd name="connsiteX1283" fmla="*/ 9123373 w 12192000"/>
                <a:gd name="connsiteY1283" fmla="*/ 719872 h 1608850"/>
                <a:gd name="connsiteX1284" fmla="*/ 9124386 w 12192000"/>
                <a:gd name="connsiteY1284" fmla="*/ 720413 h 1608850"/>
                <a:gd name="connsiteX1285" fmla="*/ 9131480 w 12192000"/>
                <a:gd name="connsiteY1285" fmla="*/ 724196 h 1608850"/>
                <a:gd name="connsiteX1286" fmla="*/ 9131480 w 12192000"/>
                <a:gd name="connsiteY1286" fmla="*/ 725547 h 1608850"/>
                <a:gd name="connsiteX1287" fmla="*/ 9131480 w 12192000"/>
                <a:gd name="connsiteY1287" fmla="*/ 735005 h 1608850"/>
                <a:gd name="connsiteX1288" fmla="*/ 9176067 w 12192000"/>
                <a:gd name="connsiteY1288" fmla="*/ 735005 h 1608850"/>
                <a:gd name="connsiteX1289" fmla="*/ 9176067 w 12192000"/>
                <a:gd name="connsiteY1289" fmla="*/ 736086 h 1608850"/>
                <a:gd name="connsiteX1290" fmla="*/ 9176067 w 12192000"/>
                <a:gd name="connsiteY1290" fmla="*/ 743652 h 1608850"/>
                <a:gd name="connsiteX1291" fmla="*/ 9178093 w 12192000"/>
                <a:gd name="connsiteY1291" fmla="*/ 743652 h 1608850"/>
                <a:gd name="connsiteX1292" fmla="*/ 9192280 w 12192000"/>
                <a:gd name="connsiteY1292" fmla="*/ 743652 h 1608850"/>
                <a:gd name="connsiteX1293" fmla="*/ 9192280 w 12192000"/>
                <a:gd name="connsiteY1293" fmla="*/ 713387 h 1608850"/>
                <a:gd name="connsiteX1294" fmla="*/ 9236867 w 12192000"/>
                <a:gd name="connsiteY1294" fmla="*/ 713387 h 1608850"/>
                <a:gd name="connsiteX1295" fmla="*/ 9236867 w 12192000"/>
                <a:gd name="connsiteY1295" fmla="*/ 712036 h 1608850"/>
                <a:gd name="connsiteX1296" fmla="*/ 9236867 w 12192000"/>
                <a:gd name="connsiteY1296" fmla="*/ 702578 h 1608850"/>
                <a:gd name="connsiteX1297" fmla="*/ 9237881 w 12192000"/>
                <a:gd name="connsiteY1297" fmla="*/ 702578 h 1608850"/>
                <a:gd name="connsiteX1298" fmla="*/ 9244974 w 12192000"/>
                <a:gd name="connsiteY1298" fmla="*/ 702578 h 1608850"/>
                <a:gd name="connsiteX1299" fmla="*/ 9244974 w 12192000"/>
                <a:gd name="connsiteY1299" fmla="*/ 700687 h 1608850"/>
                <a:gd name="connsiteX1300" fmla="*/ 9244974 w 12192000"/>
                <a:gd name="connsiteY1300" fmla="*/ 687446 h 1608850"/>
                <a:gd name="connsiteX1301" fmla="*/ 9245734 w 12192000"/>
                <a:gd name="connsiteY1301" fmla="*/ 687446 h 1608850"/>
                <a:gd name="connsiteX1302" fmla="*/ 9251054 w 12192000"/>
                <a:gd name="connsiteY1302" fmla="*/ 687446 h 1608850"/>
                <a:gd name="connsiteX1303" fmla="*/ 9251054 w 12192000"/>
                <a:gd name="connsiteY1303" fmla="*/ 686365 h 1608850"/>
                <a:gd name="connsiteX1304" fmla="*/ 9251054 w 12192000"/>
                <a:gd name="connsiteY1304" fmla="*/ 678798 h 1608850"/>
                <a:gd name="connsiteX1305" fmla="*/ 9253081 w 12192000"/>
                <a:gd name="connsiteY1305" fmla="*/ 678798 h 1608850"/>
                <a:gd name="connsiteX1306" fmla="*/ 9267268 w 12192000"/>
                <a:gd name="connsiteY1306" fmla="*/ 678798 h 1608850"/>
                <a:gd name="connsiteX1307" fmla="*/ 9267268 w 12192000"/>
                <a:gd name="connsiteY1307" fmla="*/ 679879 h 1608850"/>
                <a:gd name="connsiteX1308" fmla="*/ 9267268 w 12192000"/>
                <a:gd name="connsiteY1308" fmla="*/ 687446 h 1608850"/>
                <a:gd name="connsiteX1309" fmla="*/ 9289561 w 12192000"/>
                <a:gd name="connsiteY1309" fmla="*/ 687446 h 1608850"/>
                <a:gd name="connsiteX1310" fmla="*/ 9289561 w 12192000"/>
                <a:gd name="connsiteY1310" fmla="*/ 685554 h 1608850"/>
                <a:gd name="connsiteX1311" fmla="*/ 9289561 w 12192000"/>
                <a:gd name="connsiteY1311" fmla="*/ 672313 h 1608850"/>
                <a:gd name="connsiteX1312" fmla="*/ 9291335 w 12192000"/>
                <a:gd name="connsiteY1312" fmla="*/ 672313 h 1608850"/>
                <a:gd name="connsiteX1313" fmla="*/ 9303748 w 12192000"/>
                <a:gd name="connsiteY1313" fmla="*/ 672313 h 1608850"/>
                <a:gd name="connsiteX1314" fmla="*/ 9303748 w 12192000"/>
                <a:gd name="connsiteY1314" fmla="*/ 696093 h 1608850"/>
                <a:gd name="connsiteX1315" fmla="*/ 9304762 w 12192000"/>
                <a:gd name="connsiteY1315" fmla="*/ 696093 h 1608850"/>
                <a:gd name="connsiteX1316" fmla="*/ 9311855 w 12192000"/>
                <a:gd name="connsiteY1316" fmla="*/ 696093 h 1608850"/>
                <a:gd name="connsiteX1317" fmla="*/ 9311855 w 12192000"/>
                <a:gd name="connsiteY1317" fmla="*/ 695012 h 1608850"/>
                <a:gd name="connsiteX1318" fmla="*/ 9311855 w 12192000"/>
                <a:gd name="connsiteY1318" fmla="*/ 687446 h 1608850"/>
                <a:gd name="connsiteX1319" fmla="*/ 9313628 w 12192000"/>
                <a:gd name="connsiteY1319" fmla="*/ 687446 h 1608850"/>
                <a:gd name="connsiteX1320" fmla="*/ 9326042 w 12192000"/>
                <a:gd name="connsiteY1320" fmla="*/ 687446 h 1608850"/>
                <a:gd name="connsiteX1321" fmla="*/ 9326042 w 12192000"/>
                <a:gd name="connsiteY1321" fmla="*/ 713387 h 1608850"/>
                <a:gd name="connsiteX1322" fmla="*/ 9328069 w 12192000"/>
                <a:gd name="connsiteY1322" fmla="*/ 713387 h 1608850"/>
                <a:gd name="connsiteX1323" fmla="*/ 9342255 w 12192000"/>
                <a:gd name="connsiteY1323" fmla="*/ 713387 h 1608850"/>
                <a:gd name="connsiteX1324" fmla="*/ 9342255 w 12192000"/>
                <a:gd name="connsiteY1324" fmla="*/ 715008 h 1608850"/>
                <a:gd name="connsiteX1325" fmla="*/ 9342255 w 12192000"/>
                <a:gd name="connsiteY1325" fmla="*/ 726358 h 1608850"/>
                <a:gd name="connsiteX1326" fmla="*/ 9343015 w 12192000"/>
                <a:gd name="connsiteY1326" fmla="*/ 726358 h 1608850"/>
                <a:gd name="connsiteX1327" fmla="*/ 9348336 w 12192000"/>
                <a:gd name="connsiteY1327" fmla="*/ 726358 h 1608850"/>
                <a:gd name="connsiteX1328" fmla="*/ 9348336 w 12192000"/>
                <a:gd name="connsiteY1328" fmla="*/ 725547 h 1608850"/>
                <a:gd name="connsiteX1329" fmla="*/ 9348336 w 12192000"/>
                <a:gd name="connsiteY1329" fmla="*/ 719872 h 1608850"/>
                <a:gd name="connsiteX1330" fmla="*/ 9378736 w 12192000"/>
                <a:gd name="connsiteY1330" fmla="*/ 719872 h 1608850"/>
                <a:gd name="connsiteX1331" fmla="*/ 9378736 w 12192000"/>
                <a:gd name="connsiteY1331" fmla="*/ 743652 h 1608850"/>
                <a:gd name="connsiteX1332" fmla="*/ 9379749 w 12192000"/>
                <a:gd name="connsiteY1332" fmla="*/ 743652 h 1608850"/>
                <a:gd name="connsiteX1333" fmla="*/ 9386843 w 12192000"/>
                <a:gd name="connsiteY1333" fmla="*/ 743652 h 1608850"/>
                <a:gd name="connsiteX1334" fmla="*/ 9386843 w 12192000"/>
                <a:gd name="connsiteY1334" fmla="*/ 744733 h 1608850"/>
                <a:gd name="connsiteX1335" fmla="*/ 9386843 w 12192000"/>
                <a:gd name="connsiteY1335" fmla="*/ 752299 h 1608850"/>
                <a:gd name="connsiteX1336" fmla="*/ 9387603 w 12192000"/>
                <a:gd name="connsiteY1336" fmla="*/ 752299 h 1608850"/>
                <a:gd name="connsiteX1337" fmla="*/ 9392923 w 12192000"/>
                <a:gd name="connsiteY1337" fmla="*/ 752299 h 1608850"/>
                <a:gd name="connsiteX1338" fmla="*/ 9392923 w 12192000"/>
                <a:gd name="connsiteY1338" fmla="*/ 750137 h 1608850"/>
                <a:gd name="connsiteX1339" fmla="*/ 9392923 w 12192000"/>
                <a:gd name="connsiteY1339" fmla="*/ 735005 h 1608850"/>
                <a:gd name="connsiteX1340" fmla="*/ 9393936 w 12192000"/>
                <a:gd name="connsiteY1340" fmla="*/ 735005 h 1608850"/>
                <a:gd name="connsiteX1341" fmla="*/ 9401030 w 12192000"/>
                <a:gd name="connsiteY1341" fmla="*/ 735005 h 1608850"/>
                <a:gd name="connsiteX1342" fmla="*/ 9401030 w 12192000"/>
                <a:gd name="connsiteY1342" fmla="*/ 736086 h 1608850"/>
                <a:gd name="connsiteX1343" fmla="*/ 9401030 w 12192000"/>
                <a:gd name="connsiteY1343" fmla="*/ 743652 h 1608850"/>
                <a:gd name="connsiteX1344" fmla="*/ 9406350 w 12192000"/>
                <a:gd name="connsiteY1344" fmla="*/ 741659 h 1608850"/>
                <a:gd name="connsiteX1345" fmla="*/ 9407110 w 12192000"/>
                <a:gd name="connsiteY1345" fmla="*/ 740679 h 1608850"/>
                <a:gd name="connsiteX1346" fmla="*/ 9407110 w 12192000"/>
                <a:gd name="connsiteY1346" fmla="*/ 735005 h 1608850"/>
                <a:gd name="connsiteX1347" fmla="*/ 9445617 w 12192000"/>
                <a:gd name="connsiteY1347" fmla="*/ 735005 h 1608850"/>
                <a:gd name="connsiteX1348" fmla="*/ 9445617 w 12192000"/>
                <a:gd name="connsiteY1348" fmla="*/ 758784 h 1608850"/>
                <a:gd name="connsiteX1349" fmla="*/ 9447643 w 12192000"/>
                <a:gd name="connsiteY1349" fmla="*/ 758784 h 1608850"/>
                <a:gd name="connsiteX1350" fmla="*/ 9461830 w 12192000"/>
                <a:gd name="connsiteY1350" fmla="*/ 758784 h 1608850"/>
                <a:gd name="connsiteX1351" fmla="*/ 9461830 w 12192000"/>
                <a:gd name="connsiteY1351" fmla="*/ 759865 h 1608850"/>
                <a:gd name="connsiteX1352" fmla="*/ 9461830 w 12192000"/>
                <a:gd name="connsiteY1352" fmla="*/ 767431 h 1608850"/>
                <a:gd name="connsiteX1353" fmla="*/ 9463604 w 12192000"/>
                <a:gd name="connsiteY1353" fmla="*/ 767431 h 1608850"/>
                <a:gd name="connsiteX1354" fmla="*/ 9476017 w 12192000"/>
                <a:gd name="connsiteY1354" fmla="*/ 767431 h 1608850"/>
                <a:gd name="connsiteX1355" fmla="*/ 9476017 w 12192000"/>
                <a:gd name="connsiteY1355" fmla="*/ 743652 h 1608850"/>
                <a:gd name="connsiteX1356" fmla="*/ 9477030 w 12192000"/>
                <a:gd name="connsiteY1356" fmla="*/ 743652 h 1608850"/>
                <a:gd name="connsiteX1357" fmla="*/ 9484124 w 12192000"/>
                <a:gd name="connsiteY1357" fmla="*/ 743652 h 1608850"/>
                <a:gd name="connsiteX1358" fmla="*/ 9484124 w 12192000"/>
                <a:gd name="connsiteY1358" fmla="*/ 711225 h 1608850"/>
                <a:gd name="connsiteX1359" fmla="*/ 9485137 w 12192000"/>
                <a:gd name="connsiteY1359" fmla="*/ 711225 h 1608850"/>
                <a:gd name="connsiteX1360" fmla="*/ 9492231 w 12192000"/>
                <a:gd name="connsiteY1360" fmla="*/ 711225 h 1608850"/>
                <a:gd name="connsiteX1361" fmla="*/ 9492231 w 12192000"/>
                <a:gd name="connsiteY1361" fmla="*/ 709334 h 1608850"/>
                <a:gd name="connsiteX1362" fmla="*/ 9492231 w 12192000"/>
                <a:gd name="connsiteY1362" fmla="*/ 696093 h 1608850"/>
                <a:gd name="connsiteX1363" fmla="*/ 9490964 w 12192000"/>
                <a:gd name="connsiteY1363" fmla="*/ 694471 h 1608850"/>
                <a:gd name="connsiteX1364" fmla="*/ 9496284 w 12192000"/>
                <a:gd name="connsiteY1364" fmla="*/ 683122 h 1608850"/>
                <a:gd name="connsiteX1365" fmla="*/ 9504391 w 12192000"/>
                <a:gd name="connsiteY1365" fmla="*/ 711225 h 1608850"/>
                <a:gd name="connsiteX1366" fmla="*/ 9505151 w 12192000"/>
                <a:gd name="connsiteY1366" fmla="*/ 711225 h 1608850"/>
                <a:gd name="connsiteX1367" fmla="*/ 9510471 w 12192000"/>
                <a:gd name="connsiteY1367" fmla="*/ 711225 h 1608850"/>
                <a:gd name="connsiteX1368" fmla="*/ 9510471 w 12192000"/>
                <a:gd name="connsiteY1368" fmla="*/ 605298 h 1608850"/>
                <a:gd name="connsiteX1369" fmla="*/ 9511991 w 12192000"/>
                <a:gd name="connsiteY1369" fmla="*/ 605298 h 1608850"/>
                <a:gd name="connsiteX1370" fmla="*/ 9522631 w 12192000"/>
                <a:gd name="connsiteY1370" fmla="*/ 605298 h 1608850"/>
                <a:gd name="connsiteX1371" fmla="*/ 9522631 w 12192000"/>
                <a:gd name="connsiteY1371" fmla="*/ 557739 h 1608850"/>
                <a:gd name="connsiteX1372" fmla="*/ 9548978 w 12192000"/>
                <a:gd name="connsiteY1372" fmla="*/ 557739 h 1608850"/>
                <a:gd name="connsiteX1373" fmla="*/ 9548978 w 12192000"/>
                <a:gd name="connsiteY1373" fmla="*/ 536121 h 1608850"/>
                <a:gd name="connsiteX1374" fmla="*/ 9583432 w 12192000"/>
                <a:gd name="connsiteY1374" fmla="*/ 536121 h 1608850"/>
                <a:gd name="connsiteX1375" fmla="*/ 9583432 w 12192000"/>
                <a:gd name="connsiteY1375" fmla="*/ 538553 h 1608850"/>
                <a:gd name="connsiteX1376" fmla="*/ 9583432 w 12192000"/>
                <a:gd name="connsiteY1376" fmla="*/ 555577 h 1608850"/>
                <a:gd name="connsiteX1377" fmla="*/ 9585712 w 12192000"/>
                <a:gd name="connsiteY1377" fmla="*/ 555577 h 1608850"/>
                <a:gd name="connsiteX1378" fmla="*/ 9601672 w 12192000"/>
                <a:gd name="connsiteY1378" fmla="*/ 555577 h 1608850"/>
                <a:gd name="connsiteX1379" fmla="*/ 9601672 w 12192000"/>
                <a:gd name="connsiteY1379" fmla="*/ 603136 h 1608850"/>
                <a:gd name="connsiteX1380" fmla="*/ 9602685 w 12192000"/>
                <a:gd name="connsiteY1380" fmla="*/ 603136 h 1608850"/>
                <a:gd name="connsiteX1381" fmla="*/ 9609779 w 12192000"/>
                <a:gd name="connsiteY1381" fmla="*/ 603136 h 1608850"/>
                <a:gd name="connsiteX1382" fmla="*/ 9623966 w 12192000"/>
                <a:gd name="connsiteY1382" fmla="*/ 607460 h 1608850"/>
                <a:gd name="connsiteX1383" fmla="*/ 9623966 w 12192000"/>
                <a:gd name="connsiteY1383" fmla="*/ 646372 h 1608850"/>
                <a:gd name="connsiteX1384" fmla="*/ 9624979 w 12192000"/>
                <a:gd name="connsiteY1384" fmla="*/ 646372 h 1608850"/>
                <a:gd name="connsiteX1385" fmla="*/ 9632072 w 12192000"/>
                <a:gd name="connsiteY1385" fmla="*/ 646372 h 1608850"/>
                <a:gd name="connsiteX1386" fmla="*/ 9632072 w 12192000"/>
                <a:gd name="connsiteY1386" fmla="*/ 647993 h 1608850"/>
                <a:gd name="connsiteX1387" fmla="*/ 9632072 w 12192000"/>
                <a:gd name="connsiteY1387" fmla="*/ 659342 h 1608850"/>
                <a:gd name="connsiteX1388" fmla="*/ 9634099 w 12192000"/>
                <a:gd name="connsiteY1388" fmla="*/ 659342 h 1608850"/>
                <a:gd name="connsiteX1389" fmla="*/ 9648286 w 12192000"/>
                <a:gd name="connsiteY1389" fmla="*/ 659342 h 1608850"/>
                <a:gd name="connsiteX1390" fmla="*/ 9654366 w 12192000"/>
                <a:gd name="connsiteY1390" fmla="*/ 665828 h 1608850"/>
                <a:gd name="connsiteX1391" fmla="*/ 9654366 w 12192000"/>
                <a:gd name="connsiteY1391" fmla="*/ 687446 h 1608850"/>
                <a:gd name="connsiteX1392" fmla="*/ 9656646 w 12192000"/>
                <a:gd name="connsiteY1392" fmla="*/ 687446 h 1608850"/>
                <a:gd name="connsiteX1393" fmla="*/ 9672606 w 12192000"/>
                <a:gd name="connsiteY1393" fmla="*/ 687446 h 1608850"/>
                <a:gd name="connsiteX1394" fmla="*/ 9672606 w 12192000"/>
                <a:gd name="connsiteY1394" fmla="*/ 688526 h 1608850"/>
                <a:gd name="connsiteX1395" fmla="*/ 9672606 w 12192000"/>
                <a:gd name="connsiteY1395" fmla="*/ 696093 h 1608850"/>
                <a:gd name="connsiteX1396" fmla="*/ 9673873 w 12192000"/>
                <a:gd name="connsiteY1396" fmla="*/ 696093 h 1608850"/>
                <a:gd name="connsiteX1397" fmla="*/ 9682740 w 12192000"/>
                <a:gd name="connsiteY1397" fmla="*/ 696093 h 1608850"/>
                <a:gd name="connsiteX1398" fmla="*/ 9682740 w 12192000"/>
                <a:gd name="connsiteY1398" fmla="*/ 698254 h 1608850"/>
                <a:gd name="connsiteX1399" fmla="*/ 9682740 w 12192000"/>
                <a:gd name="connsiteY1399" fmla="*/ 713387 h 1608850"/>
                <a:gd name="connsiteX1400" fmla="*/ 9686793 w 12192000"/>
                <a:gd name="connsiteY1400" fmla="*/ 711495 h 1608850"/>
                <a:gd name="connsiteX1401" fmla="*/ 9686793 w 12192000"/>
                <a:gd name="connsiteY1401" fmla="*/ 698254 h 1608850"/>
                <a:gd name="connsiteX1402" fmla="*/ 9687806 w 12192000"/>
                <a:gd name="connsiteY1402" fmla="*/ 698254 h 1608850"/>
                <a:gd name="connsiteX1403" fmla="*/ 9694900 w 12192000"/>
                <a:gd name="connsiteY1403" fmla="*/ 698254 h 1608850"/>
                <a:gd name="connsiteX1404" fmla="*/ 9694900 w 12192000"/>
                <a:gd name="connsiteY1404" fmla="*/ 699876 h 1608850"/>
                <a:gd name="connsiteX1405" fmla="*/ 9694900 w 12192000"/>
                <a:gd name="connsiteY1405" fmla="*/ 711225 h 1608850"/>
                <a:gd name="connsiteX1406" fmla="*/ 9695660 w 12192000"/>
                <a:gd name="connsiteY1406" fmla="*/ 711225 h 1608850"/>
                <a:gd name="connsiteX1407" fmla="*/ 9700980 w 12192000"/>
                <a:gd name="connsiteY1407" fmla="*/ 711225 h 1608850"/>
                <a:gd name="connsiteX1408" fmla="*/ 9749620 w 12192000"/>
                <a:gd name="connsiteY1408" fmla="*/ 706902 h 1608850"/>
                <a:gd name="connsiteX1409" fmla="*/ 9749620 w 12192000"/>
                <a:gd name="connsiteY1409" fmla="*/ 708253 h 1608850"/>
                <a:gd name="connsiteX1410" fmla="*/ 9749620 w 12192000"/>
                <a:gd name="connsiteY1410" fmla="*/ 717710 h 1608850"/>
                <a:gd name="connsiteX1411" fmla="*/ 9750380 w 12192000"/>
                <a:gd name="connsiteY1411" fmla="*/ 717710 h 1608850"/>
                <a:gd name="connsiteX1412" fmla="*/ 9755702 w 12192000"/>
                <a:gd name="connsiteY1412" fmla="*/ 717710 h 1608850"/>
                <a:gd name="connsiteX1413" fmla="*/ 9755702 w 12192000"/>
                <a:gd name="connsiteY1413" fmla="*/ 719872 h 1608850"/>
                <a:gd name="connsiteX1414" fmla="*/ 9755702 w 12192000"/>
                <a:gd name="connsiteY1414" fmla="*/ 735005 h 1608850"/>
                <a:gd name="connsiteX1415" fmla="*/ 9757728 w 12192000"/>
                <a:gd name="connsiteY1415" fmla="*/ 733654 h 1608850"/>
                <a:gd name="connsiteX1416" fmla="*/ 9771914 w 12192000"/>
                <a:gd name="connsiteY1416" fmla="*/ 724196 h 1608850"/>
                <a:gd name="connsiteX1417" fmla="*/ 9777994 w 12192000"/>
                <a:gd name="connsiteY1417" fmla="*/ 683122 h 1608850"/>
                <a:gd name="connsiteX1418" fmla="*/ 9778754 w 12192000"/>
                <a:gd name="connsiteY1418" fmla="*/ 682852 h 1608850"/>
                <a:gd name="connsiteX1419" fmla="*/ 9784074 w 12192000"/>
                <a:gd name="connsiteY1419" fmla="*/ 680960 h 1608850"/>
                <a:gd name="connsiteX1420" fmla="*/ 9786102 w 12192000"/>
                <a:gd name="connsiteY1420" fmla="*/ 611783 h 1608850"/>
                <a:gd name="connsiteX1421" fmla="*/ 9788128 w 12192000"/>
                <a:gd name="connsiteY1421" fmla="*/ 680960 h 1608850"/>
                <a:gd name="connsiteX1422" fmla="*/ 9788888 w 12192000"/>
                <a:gd name="connsiteY1422" fmla="*/ 681230 h 1608850"/>
                <a:gd name="connsiteX1423" fmla="*/ 9794208 w 12192000"/>
                <a:gd name="connsiteY1423" fmla="*/ 683122 h 1608850"/>
                <a:gd name="connsiteX1424" fmla="*/ 9794208 w 12192000"/>
                <a:gd name="connsiteY1424" fmla="*/ 596651 h 1608850"/>
                <a:gd name="connsiteX1425" fmla="*/ 9798262 w 12192000"/>
                <a:gd name="connsiteY1425" fmla="*/ 564224 h 1608850"/>
                <a:gd name="connsiteX1426" fmla="*/ 9836768 w 12192000"/>
                <a:gd name="connsiteY1426" fmla="*/ 564224 h 1608850"/>
                <a:gd name="connsiteX1427" fmla="*/ 9836768 w 12192000"/>
                <a:gd name="connsiteY1427" fmla="*/ 596651 h 1608850"/>
                <a:gd name="connsiteX1428" fmla="*/ 9837528 w 12192000"/>
                <a:gd name="connsiteY1428" fmla="*/ 596651 h 1608850"/>
                <a:gd name="connsiteX1429" fmla="*/ 9842848 w 12192000"/>
                <a:gd name="connsiteY1429" fmla="*/ 596651 h 1608850"/>
                <a:gd name="connsiteX1430" fmla="*/ 9842848 w 12192000"/>
                <a:gd name="connsiteY1430" fmla="*/ 514503 h 1608850"/>
                <a:gd name="connsiteX1431" fmla="*/ 9844622 w 12192000"/>
                <a:gd name="connsiteY1431" fmla="*/ 514503 h 1608850"/>
                <a:gd name="connsiteX1432" fmla="*/ 9857036 w 12192000"/>
                <a:gd name="connsiteY1432" fmla="*/ 514503 h 1608850"/>
                <a:gd name="connsiteX1433" fmla="*/ 9857036 w 12192000"/>
                <a:gd name="connsiteY1433" fmla="*/ 512612 h 1608850"/>
                <a:gd name="connsiteX1434" fmla="*/ 9857036 w 12192000"/>
                <a:gd name="connsiteY1434" fmla="*/ 499371 h 1608850"/>
                <a:gd name="connsiteX1435" fmla="*/ 9879330 w 12192000"/>
                <a:gd name="connsiteY1435" fmla="*/ 499371 h 1608850"/>
                <a:gd name="connsiteX1436" fmla="*/ 9879330 w 12192000"/>
                <a:gd name="connsiteY1436" fmla="*/ 498290 h 1608850"/>
                <a:gd name="connsiteX1437" fmla="*/ 9879330 w 12192000"/>
                <a:gd name="connsiteY1437" fmla="*/ 490724 h 1608850"/>
                <a:gd name="connsiteX1438" fmla="*/ 9881102 w 12192000"/>
                <a:gd name="connsiteY1438" fmla="*/ 490724 h 1608850"/>
                <a:gd name="connsiteX1439" fmla="*/ 9893516 w 12192000"/>
                <a:gd name="connsiteY1439" fmla="*/ 490724 h 1608850"/>
                <a:gd name="connsiteX1440" fmla="*/ 9893516 w 12192000"/>
                <a:gd name="connsiteY1440" fmla="*/ 491805 h 1608850"/>
                <a:gd name="connsiteX1441" fmla="*/ 9893516 w 12192000"/>
                <a:gd name="connsiteY1441" fmla="*/ 499371 h 1608850"/>
                <a:gd name="connsiteX1442" fmla="*/ 9894276 w 12192000"/>
                <a:gd name="connsiteY1442" fmla="*/ 499371 h 1608850"/>
                <a:gd name="connsiteX1443" fmla="*/ 9899596 w 12192000"/>
                <a:gd name="connsiteY1443" fmla="*/ 499371 h 1608850"/>
                <a:gd name="connsiteX1444" fmla="*/ 9909730 w 12192000"/>
                <a:gd name="connsiteY1444" fmla="*/ 495047 h 1608850"/>
                <a:gd name="connsiteX1445" fmla="*/ 9913782 w 12192000"/>
                <a:gd name="connsiteY1445" fmla="*/ 498290 h 1608850"/>
                <a:gd name="connsiteX1446" fmla="*/ 9913782 w 12192000"/>
                <a:gd name="connsiteY1446" fmla="*/ 490724 h 1608850"/>
                <a:gd name="connsiteX1447" fmla="*/ 9916062 w 12192000"/>
                <a:gd name="connsiteY1447" fmla="*/ 490724 h 1608850"/>
                <a:gd name="connsiteX1448" fmla="*/ 9932024 w 12192000"/>
                <a:gd name="connsiteY1448" fmla="*/ 490724 h 1608850"/>
                <a:gd name="connsiteX1449" fmla="*/ 9932024 w 12192000"/>
                <a:gd name="connsiteY1449" fmla="*/ 491805 h 1608850"/>
                <a:gd name="connsiteX1450" fmla="*/ 9932024 w 12192000"/>
                <a:gd name="connsiteY1450" fmla="*/ 499371 h 1608850"/>
                <a:gd name="connsiteX1451" fmla="*/ 9962424 w 12192000"/>
                <a:gd name="connsiteY1451" fmla="*/ 499371 h 1608850"/>
                <a:gd name="connsiteX1452" fmla="*/ 9962424 w 12192000"/>
                <a:gd name="connsiteY1452" fmla="*/ 500992 h 1608850"/>
                <a:gd name="connsiteX1453" fmla="*/ 9962424 w 12192000"/>
                <a:gd name="connsiteY1453" fmla="*/ 512342 h 1608850"/>
                <a:gd name="connsiteX1454" fmla="*/ 9988770 w 12192000"/>
                <a:gd name="connsiteY1454" fmla="*/ 512342 h 1608850"/>
                <a:gd name="connsiteX1455" fmla="*/ 9988770 w 12192000"/>
                <a:gd name="connsiteY1455" fmla="*/ 542606 h 1608850"/>
                <a:gd name="connsiteX1456" fmla="*/ 9989530 w 12192000"/>
                <a:gd name="connsiteY1456" fmla="*/ 542606 h 1608850"/>
                <a:gd name="connsiteX1457" fmla="*/ 9994850 w 12192000"/>
                <a:gd name="connsiteY1457" fmla="*/ 542606 h 1608850"/>
                <a:gd name="connsiteX1458" fmla="*/ 9994850 w 12192000"/>
                <a:gd name="connsiteY1458" fmla="*/ 543687 h 1608850"/>
                <a:gd name="connsiteX1459" fmla="*/ 9994850 w 12192000"/>
                <a:gd name="connsiteY1459" fmla="*/ 551254 h 1608850"/>
                <a:gd name="connsiteX1460" fmla="*/ 9998904 w 12192000"/>
                <a:gd name="connsiteY1460" fmla="*/ 581518 h 1608850"/>
                <a:gd name="connsiteX1461" fmla="*/ 9999664 w 12192000"/>
                <a:gd name="connsiteY1461" fmla="*/ 581518 h 1608850"/>
                <a:gd name="connsiteX1462" fmla="*/ 10004984 w 12192000"/>
                <a:gd name="connsiteY1462" fmla="*/ 581518 h 1608850"/>
                <a:gd name="connsiteX1463" fmla="*/ 10004984 w 12192000"/>
                <a:gd name="connsiteY1463" fmla="*/ 582329 h 1608850"/>
                <a:gd name="connsiteX1464" fmla="*/ 10004984 w 12192000"/>
                <a:gd name="connsiteY1464" fmla="*/ 588004 h 1608850"/>
                <a:gd name="connsiteX1465" fmla="*/ 10005998 w 12192000"/>
                <a:gd name="connsiteY1465" fmla="*/ 588004 h 1608850"/>
                <a:gd name="connsiteX1466" fmla="*/ 10013090 w 12192000"/>
                <a:gd name="connsiteY1466" fmla="*/ 588004 h 1608850"/>
                <a:gd name="connsiteX1467" fmla="*/ 10013090 w 12192000"/>
                <a:gd name="connsiteY1467" fmla="*/ 618269 h 1608850"/>
                <a:gd name="connsiteX1468" fmla="*/ 10015118 w 12192000"/>
                <a:gd name="connsiteY1468" fmla="*/ 618269 h 1608850"/>
                <a:gd name="connsiteX1469" fmla="*/ 10029304 w 12192000"/>
                <a:gd name="connsiteY1469" fmla="*/ 618269 h 1608850"/>
                <a:gd name="connsiteX1470" fmla="*/ 10029304 w 12192000"/>
                <a:gd name="connsiteY1470" fmla="*/ 642048 h 1608850"/>
                <a:gd name="connsiteX1471" fmla="*/ 10031332 w 12192000"/>
                <a:gd name="connsiteY1471" fmla="*/ 643669 h 1608850"/>
                <a:gd name="connsiteX1472" fmla="*/ 10031332 w 12192000"/>
                <a:gd name="connsiteY1472" fmla="*/ 655019 h 1608850"/>
                <a:gd name="connsiteX1473" fmla="*/ 10032092 w 12192000"/>
                <a:gd name="connsiteY1473" fmla="*/ 655019 h 1608850"/>
                <a:gd name="connsiteX1474" fmla="*/ 10037412 w 12192000"/>
                <a:gd name="connsiteY1474" fmla="*/ 655019 h 1608850"/>
                <a:gd name="connsiteX1475" fmla="*/ 10037412 w 12192000"/>
                <a:gd name="connsiteY1475" fmla="*/ 678798 h 1608850"/>
                <a:gd name="connsiteX1476" fmla="*/ 10038678 w 12192000"/>
                <a:gd name="connsiteY1476" fmla="*/ 678798 h 1608850"/>
                <a:gd name="connsiteX1477" fmla="*/ 10047544 w 12192000"/>
                <a:gd name="connsiteY1477" fmla="*/ 678798 h 1608850"/>
                <a:gd name="connsiteX1478" fmla="*/ 10049572 w 12192000"/>
                <a:gd name="connsiteY1478" fmla="*/ 682852 h 1608850"/>
                <a:gd name="connsiteX1479" fmla="*/ 10049572 w 12192000"/>
                <a:gd name="connsiteY1479" fmla="*/ 696093 h 1608850"/>
                <a:gd name="connsiteX1480" fmla="*/ 10051092 w 12192000"/>
                <a:gd name="connsiteY1480" fmla="*/ 694201 h 1608850"/>
                <a:gd name="connsiteX1481" fmla="*/ 10061732 w 12192000"/>
                <a:gd name="connsiteY1481" fmla="*/ 680960 h 1608850"/>
                <a:gd name="connsiteX1482" fmla="*/ 10090106 w 12192000"/>
                <a:gd name="connsiteY1482" fmla="*/ 680960 h 1608850"/>
                <a:gd name="connsiteX1483" fmla="*/ 10090106 w 12192000"/>
                <a:gd name="connsiteY1483" fmla="*/ 767431 h 1608850"/>
                <a:gd name="connsiteX1484" fmla="*/ 10090866 w 12192000"/>
                <a:gd name="connsiteY1484" fmla="*/ 767431 h 1608850"/>
                <a:gd name="connsiteX1485" fmla="*/ 10096186 w 12192000"/>
                <a:gd name="connsiteY1485" fmla="*/ 767431 h 1608850"/>
                <a:gd name="connsiteX1486" fmla="*/ 10096946 w 12192000"/>
                <a:gd name="connsiteY1486" fmla="*/ 766080 h 1608850"/>
                <a:gd name="connsiteX1487" fmla="*/ 10102266 w 12192000"/>
                <a:gd name="connsiteY1487" fmla="*/ 756622 h 1608850"/>
                <a:gd name="connsiteX1488" fmla="*/ 10102266 w 12192000"/>
                <a:gd name="connsiteY1488" fmla="*/ 758514 h 1608850"/>
                <a:gd name="connsiteX1489" fmla="*/ 10102266 w 12192000"/>
                <a:gd name="connsiteY1489" fmla="*/ 771755 h 1608850"/>
                <a:gd name="connsiteX1490" fmla="*/ 10106318 w 12192000"/>
                <a:gd name="connsiteY1490" fmla="*/ 726358 h 1608850"/>
                <a:gd name="connsiteX1491" fmla="*/ 10107078 w 12192000"/>
                <a:gd name="connsiteY1491" fmla="*/ 726358 h 1608850"/>
                <a:gd name="connsiteX1492" fmla="*/ 10112398 w 12192000"/>
                <a:gd name="connsiteY1492" fmla="*/ 726358 h 1608850"/>
                <a:gd name="connsiteX1493" fmla="*/ 10112398 w 12192000"/>
                <a:gd name="connsiteY1493" fmla="*/ 661504 h 1608850"/>
                <a:gd name="connsiteX1494" fmla="*/ 10113412 w 12192000"/>
                <a:gd name="connsiteY1494" fmla="*/ 661504 h 1608850"/>
                <a:gd name="connsiteX1495" fmla="*/ 10120506 w 12192000"/>
                <a:gd name="connsiteY1495" fmla="*/ 661504 h 1608850"/>
                <a:gd name="connsiteX1496" fmla="*/ 10132666 w 12192000"/>
                <a:gd name="connsiteY1496" fmla="*/ 618269 h 1608850"/>
                <a:gd name="connsiteX1497" fmla="*/ 10133932 w 12192000"/>
                <a:gd name="connsiteY1497" fmla="*/ 618269 h 1608850"/>
                <a:gd name="connsiteX1498" fmla="*/ 10142800 w 12192000"/>
                <a:gd name="connsiteY1498" fmla="*/ 618269 h 1608850"/>
                <a:gd name="connsiteX1499" fmla="*/ 10152932 w 12192000"/>
                <a:gd name="connsiteY1499" fmla="*/ 661504 h 1608850"/>
                <a:gd name="connsiteX1500" fmla="*/ 10153946 w 12192000"/>
                <a:gd name="connsiteY1500" fmla="*/ 661504 h 1608850"/>
                <a:gd name="connsiteX1501" fmla="*/ 10161040 w 12192000"/>
                <a:gd name="connsiteY1501" fmla="*/ 661504 h 1608850"/>
                <a:gd name="connsiteX1502" fmla="*/ 10161040 w 12192000"/>
                <a:gd name="connsiteY1502" fmla="*/ 700416 h 1608850"/>
                <a:gd name="connsiteX1503" fmla="*/ 10162812 w 12192000"/>
                <a:gd name="connsiteY1503" fmla="*/ 700416 h 1608850"/>
                <a:gd name="connsiteX1504" fmla="*/ 10175226 w 12192000"/>
                <a:gd name="connsiteY1504" fmla="*/ 700416 h 1608850"/>
                <a:gd name="connsiteX1505" fmla="*/ 10175226 w 12192000"/>
                <a:gd name="connsiteY1505" fmla="*/ 702578 h 1608850"/>
                <a:gd name="connsiteX1506" fmla="*/ 10175226 w 12192000"/>
                <a:gd name="connsiteY1506" fmla="*/ 717710 h 1608850"/>
                <a:gd name="connsiteX1507" fmla="*/ 10179280 w 12192000"/>
                <a:gd name="connsiteY1507" fmla="*/ 715549 h 1608850"/>
                <a:gd name="connsiteX1508" fmla="*/ 10179280 w 12192000"/>
                <a:gd name="connsiteY1508" fmla="*/ 700416 h 1608850"/>
                <a:gd name="connsiteX1509" fmla="*/ 10180800 w 12192000"/>
                <a:gd name="connsiteY1509" fmla="*/ 700416 h 1608850"/>
                <a:gd name="connsiteX1510" fmla="*/ 10191440 w 12192000"/>
                <a:gd name="connsiteY1510" fmla="*/ 700416 h 1608850"/>
                <a:gd name="connsiteX1511" fmla="*/ 10191440 w 12192000"/>
                <a:gd name="connsiteY1511" fmla="*/ 702037 h 1608850"/>
                <a:gd name="connsiteX1512" fmla="*/ 10191440 w 12192000"/>
                <a:gd name="connsiteY1512" fmla="*/ 713387 h 1608850"/>
                <a:gd name="connsiteX1513" fmla="*/ 10221840 w 12192000"/>
                <a:gd name="connsiteY1513" fmla="*/ 713387 h 1608850"/>
                <a:gd name="connsiteX1514" fmla="*/ 10221840 w 12192000"/>
                <a:gd name="connsiteY1514" fmla="*/ 676637 h 1608850"/>
                <a:gd name="connsiteX1515" fmla="*/ 10223106 w 12192000"/>
                <a:gd name="connsiteY1515" fmla="*/ 676637 h 1608850"/>
                <a:gd name="connsiteX1516" fmla="*/ 10231974 w 12192000"/>
                <a:gd name="connsiteY1516" fmla="*/ 676637 h 1608850"/>
                <a:gd name="connsiteX1517" fmla="*/ 10231974 w 12192000"/>
                <a:gd name="connsiteY1517" fmla="*/ 698254 h 1608850"/>
                <a:gd name="connsiteX1518" fmla="*/ 10234000 w 12192000"/>
                <a:gd name="connsiteY1518" fmla="*/ 665828 h 1608850"/>
                <a:gd name="connsiteX1519" fmla="*/ 10256294 w 12192000"/>
                <a:gd name="connsiteY1519" fmla="*/ 665828 h 1608850"/>
                <a:gd name="connsiteX1520" fmla="*/ 10256294 w 12192000"/>
                <a:gd name="connsiteY1520" fmla="*/ 664206 h 1608850"/>
                <a:gd name="connsiteX1521" fmla="*/ 10256294 w 12192000"/>
                <a:gd name="connsiteY1521" fmla="*/ 652857 h 1608850"/>
                <a:gd name="connsiteX1522" fmla="*/ 10257054 w 12192000"/>
                <a:gd name="connsiteY1522" fmla="*/ 652857 h 1608850"/>
                <a:gd name="connsiteX1523" fmla="*/ 10262374 w 12192000"/>
                <a:gd name="connsiteY1523" fmla="*/ 652857 h 1608850"/>
                <a:gd name="connsiteX1524" fmla="*/ 10262374 w 12192000"/>
                <a:gd name="connsiteY1524" fmla="*/ 650966 h 1608850"/>
                <a:gd name="connsiteX1525" fmla="*/ 10262374 w 12192000"/>
                <a:gd name="connsiteY1525" fmla="*/ 637725 h 1608850"/>
                <a:gd name="connsiteX1526" fmla="*/ 10266428 w 12192000"/>
                <a:gd name="connsiteY1526" fmla="*/ 644210 h 1608850"/>
                <a:gd name="connsiteX1527" fmla="*/ 10268708 w 12192000"/>
                <a:gd name="connsiteY1527" fmla="*/ 644210 h 1608850"/>
                <a:gd name="connsiteX1528" fmla="*/ 10284668 w 12192000"/>
                <a:gd name="connsiteY1528" fmla="*/ 644210 h 1608850"/>
                <a:gd name="connsiteX1529" fmla="*/ 10284668 w 12192000"/>
                <a:gd name="connsiteY1529" fmla="*/ 643399 h 1608850"/>
                <a:gd name="connsiteX1530" fmla="*/ 10284668 w 12192000"/>
                <a:gd name="connsiteY1530" fmla="*/ 637725 h 1608850"/>
                <a:gd name="connsiteX1531" fmla="*/ 10285428 w 12192000"/>
                <a:gd name="connsiteY1531" fmla="*/ 637725 h 1608850"/>
                <a:gd name="connsiteX1532" fmla="*/ 10290748 w 12192000"/>
                <a:gd name="connsiteY1532" fmla="*/ 637725 h 1608850"/>
                <a:gd name="connsiteX1533" fmla="*/ 10290748 w 12192000"/>
                <a:gd name="connsiteY1533" fmla="*/ 639076 h 1608850"/>
                <a:gd name="connsiteX1534" fmla="*/ 10290748 w 12192000"/>
                <a:gd name="connsiteY1534" fmla="*/ 648534 h 1608850"/>
                <a:gd name="connsiteX1535" fmla="*/ 10329254 w 12192000"/>
                <a:gd name="connsiteY1535" fmla="*/ 648534 h 1608850"/>
                <a:gd name="connsiteX1536" fmla="*/ 10329254 w 12192000"/>
                <a:gd name="connsiteY1536" fmla="*/ 786887 h 1608850"/>
                <a:gd name="connsiteX1537" fmla="*/ 10330774 w 12192000"/>
                <a:gd name="connsiteY1537" fmla="*/ 786887 h 1608850"/>
                <a:gd name="connsiteX1538" fmla="*/ 10341414 w 12192000"/>
                <a:gd name="connsiteY1538" fmla="*/ 786887 h 1608850"/>
                <a:gd name="connsiteX1539" fmla="*/ 10341414 w 12192000"/>
                <a:gd name="connsiteY1539" fmla="*/ 773917 h 1608850"/>
                <a:gd name="connsiteX1540" fmla="*/ 10345468 w 12192000"/>
                <a:gd name="connsiteY1540" fmla="*/ 773917 h 1608850"/>
                <a:gd name="connsiteX1541" fmla="*/ 10345468 w 12192000"/>
                <a:gd name="connsiteY1541" fmla="*/ 786887 h 1608850"/>
                <a:gd name="connsiteX1542" fmla="*/ 10375868 w 12192000"/>
                <a:gd name="connsiteY1542" fmla="*/ 786887 h 1608850"/>
                <a:gd name="connsiteX1543" fmla="*/ 10375868 w 12192000"/>
                <a:gd name="connsiteY1543" fmla="*/ 756622 h 1608850"/>
                <a:gd name="connsiteX1544" fmla="*/ 10388028 w 12192000"/>
                <a:gd name="connsiteY1544" fmla="*/ 756622 h 1608850"/>
                <a:gd name="connsiteX1545" fmla="*/ 10400188 w 12192000"/>
                <a:gd name="connsiteY1545" fmla="*/ 754461 h 1608850"/>
                <a:gd name="connsiteX1546" fmla="*/ 10404242 w 12192000"/>
                <a:gd name="connsiteY1546" fmla="*/ 756622 h 1608850"/>
                <a:gd name="connsiteX1547" fmla="*/ 10414376 w 12192000"/>
                <a:gd name="connsiteY1547" fmla="*/ 756622 h 1608850"/>
                <a:gd name="connsiteX1548" fmla="*/ 10414376 w 12192000"/>
                <a:gd name="connsiteY1548" fmla="*/ 786887 h 1608850"/>
                <a:gd name="connsiteX1549" fmla="*/ 10422482 w 12192000"/>
                <a:gd name="connsiteY1549" fmla="*/ 786887 h 1608850"/>
                <a:gd name="connsiteX1550" fmla="*/ 10422482 w 12192000"/>
                <a:gd name="connsiteY1550" fmla="*/ 804182 h 1608850"/>
                <a:gd name="connsiteX1551" fmla="*/ 10431818 w 12192000"/>
                <a:gd name="connsiteY1551" fmla="*/ 805087 h 1608850"/>
                <a:gd name="connsiteX1552" fmla="*/ 10444776 w 12192000"/>
                <a:gd name="connsiteY1552" fmla="*/ 805087 h 1608850"/>
                <a:gd name="connsiteX1553" fmla="*/ 10444776 w 12192000"/>
                <a:gd name="connsiteY1553" fmla="*/ 789049 h 1608850"/>
                <a:gd name="connsiteX1554" fmla="*/ 10512732 w 12192000"/>
                <a:gd name="connsiteY1554" fmla="*/ 789049 h 1608850"/>
                <a:gd name="connsiteX1555" fmla="*/ 10512732 w 12192000"/>
                <a:gd name="connsiteY1555" fmla="*/ 703796 h 1608850"/>
                <a:gd name="connsiteX1556" fmla="*/ 10584740 w 12192000"/>
                <a:gd name="connsiteY1556" fmla="*/ 703796 h 1608850"/>
                <a:gd name="connsiteX1557" fmla="*/ 10584740 w 12192000"/>
                <a:gd name="connsiteY1557" fmla="*/ 782564 h 1608850"/>
                <a:gd name="connsiteX1558" fmla="*/ 10586644 w 12192000"/>
                <a:gd name="connsiteY1558" fmla="*/ 782564 h 1608850"/>
                <a:gd name="connsiteX1559" fmla="*/ 10587886 w 12192000"/>
                <a:gd name="connsiteY1559" fmla="*/ 805087 h 1608850"/>
                <a:gd name="connsiteX1560" fmla="*/ 10597562 w 12192000"/>
                <a:gd name="connsiteY1560" fmla="*/ 805087 h 1608850"/>
                <a:gd name="connsiteX1561" fmla="*/ 10598804 w 12192000"/>
                <a:gd name="connsiteY1561" fmla="*/ 782564 h 1608850"/>
                <a:gd name="connsiteX1562" fmla="*/ 10604884 w 12192000"/>
                <a:gd name="connsiteY1562" fmla="*/ 782564 h 1608850"/>
                <a:gd name="connsiteX1563" fmla="*/ 10606126 w 12192000"/>
                <a:gd name="connsiteY1563" fmla="*/ 805087 h 1608850"/>
                <a:gd name="connsiteX1564" fmla="*/ 10656748 w 12192000"/>
                <a:gd name="connsiteY1564" fmla="*/ 805087 h 1608850"/>
                <a:gd name="connsiteX1565" fmla="*/ 10656748 w 12192000"/>
                <a:gd name="connsiteY1565" fmla="*/ 642059 h 1608850"/>
                <a:gd name="connsiteX1566" fmla="*/ 10854076 w 12192000"/>
                <a:gd name="connsiteY1566" fmla="*/ 642059 h 1608850"/>
                <a:gd name="connsiteX1567" fmla="*/ 10854076 w 12192000"/>
                <a:gd name="connsiteY1567" fmla="*/ 805087 h 1608850"/>
                <a:gd name="connsiteX1568" fmla="*/ 10872772 w 12192000"/>
                <a:gd name="connsiteY1568" fmla="*/ 805087 h 1608850"/>
                <a:gd name="connsiteX1569" fmla="*/ 10872772 w 12192000"/>
                <a:gd name="connsiteY1569" fmla="*/ 722394 h 1608850"/>
                <a:gd name="connsiteX1570" fmla="*/ 10967892 w 12192000"/>
                <a:gd name="connsiteY1570" fmla="*/ 722394 h 1608850"/>
                <a:gd name="connsiteX1571" fmla="*/ 10979823 w 12192000"/>
                <a:gd name="connsiteY1571" fmla="*/ 404253 h 1608850"/>
                <a:gd name="connsiteX1572" fmla="*/ 10967663 w 12192000"/>
                <a:gd name="connsiteY1572" fmla="*/ 382635 h 1608850"/>
                <a:gd name="connsiteX1573" fmla="*/ 10961583 w 12192000"/>
                <a:gd name="connsiteY1573" fmla="*/ 378311 h 1608850"/>
                <a:gd name="connsiteX1574" fmla="*/ 10969690 w 12192000"/>
                <a:gd name="connsiteY1574" fmla="*/ 354532 h 1608850"/>
                <a:gd name="connsiteX1575" fmla="*/ 10969690 w 12192000"/>
                <a:gd name="connsiteY1575" fmla="*/ 337238 h 1608850"/>
                <a:gd name="connsiteX1576" fmla="*/ 10983876 w 12192000"/>
                <a:gd name="connsiteY1576" fmla="*/ 337238 h 1608850"/>
                <a:gd name="connsiteX1577" fmla="*/ 10983876 w 12192000"/>
                <a:gd name="connsiteY1577" fmla="*/ 315620 h 1608850"/>
                <a:gd name="connsiteX1578" fmla="*/ 10985903 w 12192000"/>
                <a:gd name="connsiteY1578" fmla="*/ 311296 h 1608850"/>
                <a:gd name="connsiteX1579" fmla="*/ 10985903 w 12192000"/>
                <a:gd name="connsiteY1579" fmla="*/ 233472 h 1608850"/>
                <a:gd name="connsiteX1580" fmla="*/ 10983876 w 12192000"/>
                <a:gd name="connsiteY1580" fmla="*/ 226987 h 1608850"/>
                <a:gd name="connsiteX1581" fmla="*/ 10989956 w 12192000"/>
                <a:gd name="connsiteY1581" fmla="*/ 220501 h 1608850"/>
                <a:gd name="connsiteX1582" fmla="*/ 10989956 w 12192000"/>
                <a:gd name="connsiteY1582" fmla="*/ 162133 h 1608850"/>
                <a:gd name="connsiteX1583" fmla="*/ 10991983 w 12192000"/>
                <a:gd name="connsiteY1583" fmla="*/ 157810 h 1608850"/>
                <a:gd name="connsiteX1584" fmla="*/ 10991983 w 12192000"/>
                <a:gd name="connsiteY1584" fmla="*/ 101604 h 1608850"/>
                <a:gd name="connsiteX1585" fmla="*/ 10994010 w 12192000"/>
                <a:gd name="connsiteY1585" fmla="*/ 82148 h 1608850"/>
                <a:gd name="connsiteX1586" fmla="*/ 10998063 w 12192000"/>
                <a:gd name="connsiteY1586" fmla="*/ 99442 h 1608850"/>
                <a:gd name="connsiteX1587" fmla="*/ 11000090 w 12192000"/>
                <a:gd name="connsiteY1587" fmla="*/ 157810 h 1608850"/>
                <a:gd name="connsiteX1588" fmla="*/ 11002116 w 12192000"/>
                <a:gd name="connsiteY1588" fmla="*/ 220501 h 1608850"/>
                <a:gd name="connsiteX1589" fmla="*/ 11008196 w 12192000"/>
                <a:gd name="connsiteY1589" fmla="*/ 226987 h 1608850"/>
                <a:gd name="connsiteX1590" fmla="*/ 11006170 w 12192000"/>
                <a:gd name="connsiteY1590" fmla="*/ 233472 h 1608850"/>
                <a:gd name="connsiteX1591" fmla="*/ 11006170 w 12192000"/>
                <a:gd name="connsiteY1591" fmla="*/ 311296 h 1608850"/>
                <a:gd name="connsiteX1592" fmla="*/ 11008196 w 12192000"/>
                <a:gd name="connsiteY1592" fmla="*/ 315620 h 1608850"/>
                <a:gd name="connsiteX1593" fmla="*/ 11008196 w 12192000"/>
                <a:gd name="connsiteY1593" fmla="*/ 337238 h 1608850"/>
                <a:gd name="connsiteX1594" fmla="*/ 11022383 w 12192000"/>
                <a:gd name="connsiteY1594" fmla="*/ 337238 h 1608850"/>
                <a:gd name="connsiteX1595" fmla="*/ 11022383 w 12192000"/>
                <a:gd name="connsiteY1595" fmla="*/ 354532 h 1608850"/>
                <a:gd name="connsiteX1596" fmla="*/ 11030491 w 12192000"/>
                <a:gd name="connsiteY1596" fmla="*/ 378311 h 1608850"/>
                <a:gd name="connsiteX1597" fmla="*/ 11024411 w 12192000"/>
                <a:gd name="connsiteY1597" fmla="*/ 382635 h 1608850"/>
                <a:gd name="connsiteX1598" fmla="*/ 11012250 w 12192000"/>
                <a:gd name="connsiteY1598" fmla="*/ 404253 h 1608850"/>
                <a:gd name="connsiteX1599" fmla="*/ 11020356 w 12192000"/>
                <a:gd name="connsiteY1599" fmla="*/ 657181 h 1608850"/>
                <a:gd name="connsiteX1600" fmla="*/ 11085211 w 12192000"/>
                <a:gd name="connsiteY1600" fmla="*/ 657181 h 1608850"/>
                <a:gd name="connsiteX1601" fmla="*/ 11085211 w 12192000"/>
                <a:gd name="connsiteY1601" fmla="*/ 732843 h 1608850"/>
                <a:gd name="connsiteX1602" fmla="*/ 11093318 w 12192000"/>
                <a:gd name="connsiteY1602" fmla="*/ 732843 h 1608850"/>
                <a:gd name="connsiteX1603" fmla="*/ 11095344 w 12192000"/>
                <a:gd name="connsiteY1603" fmla="*/ 726358 h 1608850"/>
                <a:gd name="connsiteX1604" fmla="*/ 11101424 w 12192000"/>
                <a:gd name="connsiteY1604" fmla="*/ 726358 h 1608850"/>
                <a:gd name="connsiteX1605" fmla="*/ 11103452 w 12192000"/>
                <a:gd name="connsiteY1605" fmla="*/ 735005 h 1608850"/>
                <a:gd name="connsiteX1606" fmla="*/ 11115612 w 12192000"/>
                <a:gd name="connsiteY1606" fmla="*/ 735005 h 1608850"/>
                <a:gd name="connsiteX1607" fmla="*/ 11115612 w 12192000"/>
                <a:gd name="connsiteY1607" fmla="*/ 728519 h 1608850"/>
                <a:gd name="connsiteX1608" fmla="*/ 11137904 w 12192000"/>
                <a:gd name="connsiteY1608" fmla="*/ 728519 h 1608850"/>
                <a:gd name="connsiteX1609" fmla="*/ 11137904 w 12192000"/>
                <a:gd name="connsiteY1609" fmla="*/ 735005 h 1608850"/>
                <a:gd name="connsiteX1610" fmla="*/ 11158172 w 12192000"/>
                <a:gd name="connsiteY1610" fmla="*/ 735005 h 1608850"/>
                <a:gd name="connsiteX1611" fmla="*/ 11158172 w 12192000"/>
                <a:gd name="connsiteY1611" fmla="*/ 780402 h 1608850"/>
                <a:gd name="connsiteX1612" fmla="*/ 11172359 w 12192000"/>
                <a:gd name="connsiteY1612" fmla="*/ 780402 h 1608850"/>
                <a:gd name="connsiteX1613" fmla="*/ 11172359 w 12192000"/>
                <a:gd name="connsiteY1613" fmla="*/ 767431 h 1608850"/>
                <a:gd name="connsiteX1614" fmla="*/ 11188572 w 12192000"/>
                <a:gd name="connsiteY1614" fmla="*/ 767431 h 1608850"/>
                <a:gd name="connsiteX1615" fmla="*/ 11188572 w 12192000"/>
                <a:gd name="connsiteY1615" fmla="*/ 588004 h 1608850"/>
                <a:gd name="connsiteX1616" fmla="*/ 11194652 w 12192000"/>
                <a:gd name="connsiteY1616" fmla="*/ 581518 h 1608850"/>
                <a:gd name="connsiteX1617" fmla="*/ 11267614 w 12192000"/>
                <a:gd name="connsiteY1617" fmla="*/ 581518 h 1608850"/>
                <a:gd name="connsiteX1618" fmla="*/ 11267614 w 12192000"/>
                <a:gd name="connsiteY1618" fmla="*/ 590166 h 1608850"/>
                <a:gd name="connsiteX1619" fmla="*/ 11277747 w 12192000"/>
                <a:gd name="connsiteY1619" fmla="*/ 590166 h 1608850"/>
                <a:gd name="connsiteX1620" fmla="*/ 11277747 w 12192000"/>
                <a:gd name="connsiteY1620" fmla="*/ 704740 h 1608850"/>
                <a:gd name="connsiteX1621" fmla="*/ 11300040 w 12192000"/>
                <a:gd name="connsiteY1621" fmla="*/ 704740 h 1608850"/>
                <a:gd name="connsiteX1622" fmla="*/ 11300040 w 12192000"/>
                <a:gd name="connsiteY1622" fmla="*/ 637725 h 1608850"/>
                <a:gd name="connsiteX1623" fmla="*/ 11326388 w 12192000"/>
                <a:gd name="connsiteY1623" fmla="*/ 637725 h 1608850"/>
                <a:gd name="connsiteX1624" fmla="*/ 11330440 w 12192000"/>
                <a:gd name="connsiteY1624" fmla="*/ 633401 h 1608850"/>
                <a:gd name="connsiteX1625" fmla="*/ 11338548 w 12192000"/>
                <a:gd name="connsiteY1625" fmla="*/ 633401 h 1608850"/>
                <a:gd name="connsiteX1626" fmla="*/ 11342600 w 12192000"/>
                <a:gd name="connsiteY1626" fmla="*/ 637725 h 1608850"/>
                <a:gd name="connsiteX1627" fmla="*/ 11364895 w 12192000"/>
                <a:gd name="connsiteY1627" fmla="*/ 637725 h 1608850"/>
                <a:gd name="connsiteX1628" fmla="*/ 11364895 w 12192000"/>
                <a:gd name="connsiteY1628" fmla="*/ 520989 h 1608850"/>
                <a:gd name="connsiteX1629" fmla="*/ 11421642 w 12192000"/>
                <a:gd name="connsiteY1629" fmla="*/ 510180 h 1608850"/>
                <a:gd name="connsiteX1630" fmla="*/ 11421642 w 12192000"/>
                <a:gd name="connsiteY1630" fmla="*/ 511261 h 1608850"/>
                <a:gd name="connsiteX1631" fmla="*/ 11421642 w 12192000"/>
                <a:gd name="connsiteY1631" fmla="*/ 518827 h 1608850"/>
                <a:gd name="connsiteX1632" fmla="*/ 11447988 w 12192000"/>
                <a:gd name="connsiteY1632" fmla="*/ 518827 h 1608850"/>
                <a:gd name="connsiteX1633" fmla="*/ 11447988 w 12192000"/>
                <a:gd name="connsiteY1633" fmla="*/ 773917 h 1608850"/>
                <a:gd name="connsiteX1634" fmla="*/ 11470283 w 12192000"/>
                <a:gd name="connsiteY1634" fmla="*/ 773917 h 1608850"/>
                <a:gd name="connsiteX1635" fmla="*/ 11470283 w 12192000"/>
                <a:gd name="connsiteY1635" fmla="*/ 769593 h 1608850"/>
                <a:gd name="connsiteX1636" fmla="*/ 11482443 w 12192000"/>
                <a:gd name="connsiteY1636" fmla="*/ 769593 h 1608850"/>
                <a:gd name="connsiteX1637" fmla="*/ 11482443 w 12192000"/>
                <a:gd name="connsiteY1637" fmla="*/ 773917 h 1608850"/>
                <a:gd name="connsiteX1638" fmla="*/ 11506763 w 12192000"/>
                <a:gd name="connsiteY1638" fmla="*/ 773917 h 1608850"/>
                <a:gd name="connsiteX1639" fmla="*/ 11506763 w 12192000"/>
                <a:gd name="connsiteY1639" fmla="*/ 760946 h 1608850"/>
                <a:gd name="connsiteX1640" fmla="*/ 11535136 w 12192000"/>
                <a:gd name="connsiteY1640" fmla="*/ 760946 h 1608850"/>
                <a:gd name="connsiteX1641" fmla="*/ 11547296 w 12192000"/>
                <a:gd name="connsiteY1641" fmla="*/ 756622 h 1608850"/>
                <a:gd name="connsiteX1642" fmla="*/ 11567564 w 12192000"/>
                <a:gd name="connsiteY1642" fmla="*/ 760946 h 1608850"/>
                <a:gd name="connsiteX1643" fmla="*/ 11567564 w 12192000"/>
                <a:gd name="connsiteY1643" fmla="*/ 743652 h 1608850"/>
                <a:gd name="connsiteX1644" fmla="*/ 11575671 w 12192000"/>
                <a:gd name="connsiteY1644" fmla="*/ 743652 h 1608850"/>
                <a:gd name="connsiteX1645" fmla="*/ 11575671 w 12192000"/>
                <a:gd name="connsiteY1645" fmla="*/ 730681 h 1608850"/>
                <a:gd name="connsiteX1646" fmla="*/ 11632418 w 12192000"/>
                <a:gd name="connsiteY1646" fmla="*/ 730681 h 1608850"/>
                <a:gd name="connsiteX1647" fmla="*/ 11632418 w 12192000"/>
                <a:gd name="connsiteY1647" fmla="*/ 700416 h 1608850"/>
                <a:gd name="connsiteX1648" fmla="*/ 11650658 w 12192000"/>
                <a:gd name="connsiteY1648" fmla="*/ 700416 h 1608850"/>
                <a:gd name="connsiteX1649" fmla="*/ 11650658 w 12192000"/>
                <a:gd name="connsiteY1649" fmla="*/ 693931 h 1608850"/>
                <a:gd name="connsiteX1650" fmla="*/ 11662818 w 12192000"/>
                <a:gd name="connsiteY1650" fmla="*/ 693931 h 1608850"/>
                <a:gd name="connsiteX1651" fmla="*/ 11662818 w 12192000"/>
                <a:gd name="connsiteY1651" fmla="*/ 700416 h 1608850"/>
                <a:gd name="connsiteX1652" fmla="*/ 11679031 w 12192000"/>
                <a:gd name="connsiteY1652" fmla="*/ 700416 h 1608850"/>
                <a:gd name="connsiteX1653" fmla="*/ 11679031 w 12192000"/>
                <a:gd name="connsiteY1653" fmla="*/ 750137 h 1608850"/>
                <a:gd name="connsiteX1654" fmla="*/ 11711459 w 12192000"/>
                <a:gd name="connsiteY1654" fmla="*/ 750137 h 1608850"/>
                <a:gd name="connsiteX1655" fmla="*/ 11711459 w 12192000"/>
                <a:gd name="connsiteY1655" fmla="*/ 724196 h 1608850"/>
                <a:gd name="connsiteX1656" fmla="*/ 11749966 w 12192000"/>
                <a:gd name="connsiteY1656" fmla="*/ 724196 h 1608850"/>
                <a:gd name="connsiteX1657" fmla="*/ 11749966 w 12192000"/>
                <a:gd name="connsiteY1657" fmla="*/ 693931 h 1608850"/>
                <a:gd name="connsiteX1658" fmla="*/ 11798607 w 12192000"/>
                <a:gd name="connsiteY1658" fmla="*/ 693931 h 1608850"/>
                <a:gd name="connsiteX1659" fmla="*/ 11798607 w 12192000"/>
                <a:gd name="connsiteY1659" fmla="*/ 805087 h 1608850"/>
                <a:gd name="connsiteX1660" fmla="*/ 11798607 w 12192000"/>
                <a:gd name="connsiteY1660" fmla="*/ 818866 h 1608850"/>
                <a:gd name="connsiteX1661" fmla="*/ 11864482 w 12192000"/>
                <a:gd name="connsiteY1661" fmla="*/ 818866 h 1608850"/>
                <a:gd name="connsiteX1662" fmla="*/ 11864482 w 12192000"/>
                <a:gd name="connsiteY1662" fmla="*/ 924638 h 1608850"/>
                <a:gd name="connsiteX1663" fmla="*/ 11864482 w 12192000"/>
                <a:gd name="connsiteY1663" fmla="*/ 947885 h 1608850"/>
                <a:gd name="connsiteX1664" fmla="*/ 11879442 w 12192000"/>
                <a:gd name="connsiteY1664" fmla="*/ 947885 h 1608850"/>
                <a:gd name="connsiteX1665" fmla="*/ 11879442 w 12192000"/>
                <a:gd name="connsiteY1665" fmla="*/ 946723 h 1608850"/>
                <a:gd name="connsiteX1666" fmla="*/ 11879442 w 12192000"/>
                <a:gd name="connsiteY1666" fmla="*/ 938587 h 1608850"/>
                <a:gd name="connsiteX1667" fmla="*/ 11924022 w 12192000"/>
                <a:gd name="connsiteY1667" fmla="*/ 938587 h 1608850"/>
                <a:gd name="connsiteX1668" fmla="*/ 11924022 w 12192000"/>
                <a:gd name="connsiteY1668" fmla="*/ 959508 h 1608850"/>
                <a:gd name="connsiteX1669" fmla="*/ 11926250 w 12192000"/>
                <a:gd name="connsiteY1669" fmla="*/ 960671 h 1608850"/>
                <a:gd name="connsiteX1670" fmla="*/ 11941854 w 12192000"/>
                <a:gd name="connsiteY1670" fmla="*/ 968807 h 1608850"/>
                <a:gd name="connsiteX1671" fmla="*/ 11941854 w 12192000"/>
                <a:gd name="connsiteY1671" fmla="*/ 999027 h 1608850"/>
                <a:gd name="connsiteX1672" fmla="*/ 11943247 w 12192000"/>
                <a:gd name="connsiteY1672" fmla="*/ 999609 h 1608850"/>
                <a:gd name="connsiteX1673" fmla="*/ 11952999 w 12192000"/>
                <a:gd name="connsiteY1673" fmla="*/ 1003677 h 1608850"/>
                <a:gd name="connsiteX1674" fmla="*/ 11952999 w 12192000"/>
                <a:gd name="connsiteY1674" fmla="*/ 1002515 h 1608850"/>
                <a:gd name="connsiteX1675" fmla="*/ 11952999 w 12192000"/>
                <a:gd name="connsiteY1675" fmla="*/ 994378 h 1608850"/>
                <a:gd name="connsiteX1676" fmla="*/ 11954114 w 12192000"/>
                <a:gd name="connsiteY1676" fmla="*/ 994378 h 1608850"/>
                <a:gd name="connsiteX1677" fmla="*/ 11961915 w 12192000"/>
                <a:gd name="connsiteY1677" fmla="*/ 994378 h 1608850"/>
                <a:gd name="connsiteX1678" fmla="*/ 11961915 w 12192000"/>
                <a:gd name="connsiteY1678" fmla="*/ 993506 h 1608850"/>
                <a:gd name="connsiteX1679" fmla="*/ 11961915 w 12192000"/>
                <a:gd name="connsiteY1679" fmla="*/ 987404 h 1608850"/>
                <a:gd name="connsiteX1680" fmla="*/ 11960800 w 12192000"/>
                <a:gd name="connsiteY1680" fmla="*/ 987404 h 1608850"/>
                <a:gd name="connsiteX1681" fmla="*/ 11952999 w 12192000"/>
                <a:gd name="connsiteY1681" fmla="*/ 987404 h 1608850"/>
                <a:gd name="connsiteX1682" fmla="*/ 11952999 w 12192000"/>
                <a:gd name="connsiteY1682" fmla="*/ 986242 h 1608850"/>
                <a:gd name="connsiteX1683" fmla="*/ 11952999 w 12192000"/>
                <a:gd name="connsiteY1683" fmla="*/ 978106 h 1608850"/>
                <a:gd name="connsiteX1684" fmla="*/ 11954114 w 12192000"/>
                <a:gd name="connsiteY1684" fmla="*/ 978106 h 1608850"/>
                <a:gd name="connsiteX1685" fmla="*/ 11961915 w 12192000"/>
                <a:gd name="connsiteY1685" fmla="*/ 978106 h 1608850"/>
                <a:gd name="connsiteX1686" fmla="*/ 11961915 w 12192000"/>
                <a:gd name="connsiteY1686" fmla="*/ 976943 h 1608850"/>
                <a:gd name="connsiteX1687" fmla="*/ 11961915 w 12192000"/>
                <a:gd name="connsiteY1687" fmla="*/ 968807 h 1608850"/>
                <a:gd name="connsiteX1688" fmla="*/ 11960800 w 12192000"/>
                <a:gd name="connsiteY1688" fmla="*/ 968807 h 1608850"/>
                <a:gd name="connsiteX1689" fmla="*/ 11952999 w 12192000"/>
                <a:gd name="connsiteY1689" fmla="*/ 968807 h 1608850"/>
                <a:gd name="connsiteX1690" fmla="*/ 11952999 w 12192000"/>
                <a:gd name="connsiteY1690" fmla="*/ 967645 h 1608850"/>
                <a:gd name="connsiteX1691" fmla="*/ 11952999 w 12192000"/>
                <a:gd name="connsiteY1691" fmla="*/ 959508 h 1608850"/>
                <a:gd name="connsiteX1692" fmla="*/ 11954114 w 12192000"/>
                <a:gd name="connsiteY1692" fmla="*/ 959508 h 1608850"/>
                <a:gd name="connsiteX1693" fmla="*/ 11961915 w 12192000"/>
                <a:gd name="connsiteY1693" fmla="*/ 959508 h 1608850"/>
                <a:gd name="connsiteX1694" fmla="*/ 11961915 w 12192000"/>
                <a:gd name="connsiteY1694" fmla="*/ 958637 h 1608850"/>
                <a:gd name="connsiteX1695" fmla="*/ 11961915 w 12192000"/>
                <a:gd name="connsiteY1695" fmla="*/ 952535 h 1608850"/>
                <a:gd name="connsiteX1696" fmla="*/ 11960800 w 12192000"/>
                <a:gd name="connsiteY1696" fmla="*/ 952535 h 1608850"/>
                <a:gd name="connsiteX1697" fmla="*/ 11952999 w 12192000"/>
                <a:gd name="connsiteY1697" fmla="*/ 952535 h 1608850"/>
                <a:gd name="connsiteX1698" fmla="*/ 11952999 w 12192000"/>
                <a:gd name="connsiteY1698" fmla="*/ 951372 h 1608850"/>
                <a:gd name="connsiteX1699" fmla="*/ 11952999 w 12192000"/>
                <a:gd name="connsiteY1699" fmla="*/ 943236 h 1608850"/>
                <a:gd name="connsiteX1700" fmla="*/ 11954114 w 12192000"/>
                <a:gd name="connsiteY1700" fmla="*/ 943236 h 1608850"/>
                <a:gd name="connsiteX1701" fmla="*/ 11961915 w 12192000"/>
                <a:gd name="connsiteY1701" fmla="*/ 943236 h 1608850"/>
                <a:gd name="connsiteX1702" fmla="*/ 11961915 w 12192000"/>
                <a:gd name="connsiteY1702" fmla="*/ 942074 h 1608850"/>
                <a:gd name="connsiteX1703" fmla="*/ 11961915 w 12192000"/>
                <a:gd name="connsiteY1703" fmla="*/ 933937 h 1608850"/>
                <a:gd name="connsiteX1704" fmla="*/ 11960800 w 12192000"/>
                <a:gd name="connsiteY1704" fmla="*/ 933937 h 1608850"/>
                <a:gd name="connsiteX1705" fmla="*/ 11952999 w 12192000"/>
                <a:gd name="connsiteY1705" fmla="*/ 933937 h 1608850"/>
                <a:gd name="connsiteX1706" fmla="*/ 11952999 w 12192000"/>
                <a:gd name="connsiteY1706" fmla="*/ 933066 h 1608850"/>
                <a:gd name="connsiteX1707" fmla="*/ 11952999 w 12192000"/>
                <a:gd name="connsiteY1707" fmla="*/ 926963 h 1608850"/>
                <a:gd name="connsiteX1708" fmla="*/ 11954114 w 12192000"/>
                <a:gd name="connsiteY1708" fmla="*/ 926963 h 1608850"/>
                <a:gd name="connsiteX1709" fmla="*/ 11961915 w 12192000"/>
                <a:gd name="connsiteY1709" fmla="*/ 926963 h 1608850"/>
                <a:gd name="connsiteX1710" fmla="*/ 11961915 w 12192000"/>
                <a:gd name="connsiteY1710" fmla="*/ 925801 h 1608850"/>
                <a:gd name="connsiteX1711" fmla="*/ 11961915 w 12192000"/>
                <a:gd name="connsiteY1711" fmla="*/ 917665 h 1608850"/>
                <a:gd name="connsiteX1712" fmla="*/ 11960800 w 12192000"/>
                <a:gd name="connsiteY1712" fmla="*/ 917665 h 1608850"/>
                <a:gd name="connsiteX1713" fmla="*/ 11952999 w 12192000"/>
                <a:gd name="connsiteY1713" fmla="*/ 917665 h 1608850"/>
                <a:gd name="connsiteX1714" fmla="*/ 11952999 w 12192000"/>
                <a:gd name="connsiteY1714" fmla="*/ 916503 h 1608850"/>
                <a:gd name="connsiteX1715" fmla="*/ 11952999 w 12192000"/>
                <a:gd name="connsiteY1715" fmla="*/ 908366 h 1608850"/>
                <a:gd name="connsiteX1716" fmla="*/ 11954114 w 12192000"/>
                <a:gd name="connsiteY1716" fmla="*/ 908366 h 1608850"/>
                <a:gd name="connsiteX1717" fmla="*/ 11961915 w 12192000"/>
                <a:gd name="connsiteY1717" fmla="*/ 908366 h 1608850"/>
                <a:gd name="connsiteX1718" fmla="*/ 11961915 w 12192000"/>
                <a:gd name="connsiteY1718" fmla="*/ 907204 h 1608850"/>
                <a:gd name="connsiteX1719" fmla="*/ 11961915 w 12192000"/>
                <a:gd name="connsiteY1719" fmla="*/ 899068 h 1608850"/>
                <a:gd name="connsiteX1720" fmla="*/ 11960800 w 12192000"/>
                <a:gd name="connsiteY1720" fmla="*/ 899068 h 1608850"/>
                <a:gd name="connsiteX1721" fmla="*/ 11952999 w 12192000"/>
                <a:gd name="connsiteY1721" fmla="*/ 899068 h 1608850"/>
                <a:gd name="connsiteX1722" fmla="*/ 11952999 w 12192000"/>
                <a:gd name="connsiteY1722" fmla="*/ 898196 h 1608850"/>
                <a:gd name="connsiteX1723" fmla="*/ 11952999 w 12192000"/>
                <a:gd name="connsiteY1723" fmla="*/ 892094 h 1608850"/>
                <a:gd name="connsiteX1724" fmla="*/ 11954114 w 12192000"/>
                <a:gd name="connsiteY1724" fmla="*/ 892094 h 1608850"/>
                <a:gd name="connsiteX1725" fmla="*/ 11961915 w 12192000"/>
                <a:gd name="connsiteY1725" fmla="*/ 892094 h 1608850"/>
                <a:gd name="connsiteX1726" fmla="*/ 11961915 w 12192000"/>
                <a:gd name="connsiteY1726" fmla="*/ 890931 h 1608850"/>
                <a:gd name="connsiteX1727" fmla="*/ 11961915 w 12192000"/>
                <a:gd name="connsiteY1727" fmla="*/ 882795 h 1608850"/>
                <a:gd name="connsiteX1728" fmla="*/ 11960800 w 12192000"/>
                <a:gd name="connsiteY1728" fmla="*/ 882795 h 1608850"/>
                <a:gd name="connsiteX1729" fmla="*/ 11952999 w 12192000"/>
                <a:gd name="connsiteY1729" fmla="*/ 882795 h 1608850"/>
                <a:gd name="connsiteX1730" fmla="*/ 11952999 w 12192000"/>
                <a:gd name="connsiteY1730" fmla="*/ 881633 h 1608850"/>
                <a:gd name="connsiteX1731" fmla="*/ 11952999 w 12192000"/>
                <a:gd name="connsiteY1731" fmla="*/ 873496 h 1608850"/>
                <a:gd name="connsiteX1732" fmla="*/ 11954114 w 12192000"/>
                <a:gd name="connsiteY1732" fmla="*/ 873496 h 1608850"/>
                <a:gd name="connsiteX1733" fmla="*/ 11961915 w 12192000"/>
                <a:gd name="connsiteY1733" fmla="*/ 873496 h 1608850"/>
                <a:gd name="connsiteX1734" fmla="*/ 11961915 w 12192000"/>
                <a:gd name="connsiteY1734" fmla="*/ 872625 h 1608850"/>
                <a:gd name="connsiteX1735" fmla="*/ 11961915 w 12192000"/>
                <a:gd name="connsiteY1735" fmla="*/ 866523 h 1608850"/>
                <a:gd name="connsiteX1736" fmla="*/ 11960800 w 12192000"/>
                <a:gd name="connsiteY1736" fmla="*/ 866523 h 1608850"/>
                <a:gd name="connsiteX1737" fmla="*/ 11952999 w 12192000"/>
                <a:gd name="connsiteY1737" fmla="*/ 866523 h 1608850"/>
                <a:gd name="connsiteX1738" fmla="*/ 11952999 w 12192000"/>
                <a:gd name="connsiteY1738" fmla="*/ 865360 h 1608850"/>
                <a:gd name="connsiteX1739" fmla="*/ 11952999 w 12192000"/>
                <a:gd name="connsiteY1739" fmla="*/ 857224 h 1608850"/>
                <a:gd name="connsiteX1740" fmla="*/ 11954114 w 12192000"/>
                <a:gd name="connsiteY1740" fmla="*/ 857224 h 1608850"/>
                <a:gd name="connsiteX1741" fmla="*/ 11961915 w 12192000"/>
                <a:gd name="connsiteY1741" fmla="*/ 857224 h 1608850"/>
                <a:gd name="connsiteX1742" fmla="*/ 11961915 w 12192000"/>
                <a:gd name="connsiteY1742" fmla="*/ 856062 h 1608850"/>
                <a:gd name="connsiteX1743" fmla="*/ 11961915 w 12192000"/>
                <a:gd name="connsiteY1743" fmla="*/ 847925 h 1608850"/>
                <a:gd name="connsiteX1744" fmla="*/ 11960800 w 12192000"/>
                <a:gd name="connsiteY1744" fmla="*/ 847925 h 1608850"/>
                <a:gd name="connsiteX1745" fmla="*/ 11952999 w 12192000"/>
                <a:gd name="connsiteY1745" fmla="*/ 847925 h 1608850"/>
                <a:gd name="connsiteX1746" fmla="*/ 11952999 w 12192000"/>
                <a:gd name="connsiteY1746" fmla="*/ 846763 h 1608850"/>
                <a:gd name="connsiteX1747" fmla="*/ 11952999 w 12192000"/>
                <a:gd name="connsiteY1747" fmla="*/ 838627 h 1608850"/>
                <a:gd name="connsiteX1748" fmla="*/ 11954114 w 12192000"/>
                <a:gd name="connsiteY1748" fmla="*/ 838627 h 1608850"/>
                <a:gd name="connsiteX1749" fmla="*/ 11961915 w 12192000"/>
                <a:gd name="connsiteY1749" fmla="*/ 838627 h 1608850"/>
                <a:gd name="connsiteX1750" fmla="*/ 11961915 w 12192000"/>
                <a:gd name="connsiteY1750" fmla="*/ 837755 h 1608850"/>
                <a:gd name="connsiteX1751" fmla="*/ 11961915 w 12192000"/>
                <a:gd name="connsiteY1751" fmla="*/ 831653 h 1608850"/>
                <a:gd name="connsiteX1752" fmla="*/ 11960800 w 12192000"/>
                <a:gd name="connsiteY1752" fmla="*/ 831653 h 1608850"/>
                <a:gd name="connsiteX1753" fmla="*/ 11952999 w 12192000"/>
                <a:gd name="connsiteY1753" fmla="*/ 831653 h 1608850"/>
                <a:gd name="connsiteX1754" fmla="*/ 11952999 w 12192000"/>
                <a:gd name="connsiteY1754" fmla="*/ 830491 h 1608850"/>
                <a:gd name="connsiteX1755" fmla="*/ 11952999 w 12192000"/>
                <a:gd name="connsiteY1755" fmla="*/ 822354 h 1608850"/>
                <a:gd name="connsiteX1756" fmla="*/ 11954114 w 12192000"/>
                <a:gd name="connsiteY1756" fmla="*/ 822354 h 1608850"/>
                <a:gd name="connsiteX1757" fmla="*/ 11961915 w 12192000"/>
                <a:gd name="connsiteY1757" fmla="*/ 822354 h 1608850"/>
                <a:gd name="connsiteX1758" fmla="*/ 11961915 w 12192000"/>
                <a:gd name="connsiteY1758" fmla="*/ 821192 h 1608850"/>
                <a:gd name="connsiteX1759" fmla="*/ 11961915 w 12192000"/>
                <a:gd name="connsiteY1759" fmla="*/ 813056 h 1608850"/>
                <a:gd name="connsiteX1760" fmla="*/ 11960800 w 12192000"/>
                <a:gd name="connsiteY1760" fmla="*/ 813056 h 1608850"/>
                <a:gd name="connsiteX1761" fmla="*/ 11952999 w 12192000"/>
                <a:gd name="connsiteY1761" fmla="*/ 813056 h 1608850"/>
                <a:gd name="connsiteX1762" fmla="*/ 11952999 w 12192000"/>
                <a:gd name="connsiteY1762" fmla="*/ 811893 h 1608850"/>
                <a:gd name="connsiteX1763" fmla="*/ 11952999 w 12192000"/>
                <a:gd name="connsiteY1763" fmla="*/ 803757 h 1608850"/>
                <a:gd name="connsiteX1764" fmla="*/ 11954114 w 12192000"/>
                <a:gd name="connsiteY1764" fmla="*/ 803757 h 1608850"/>
                <a:gd name="connsiteX1765" fmla="*/ 11961915 w 12192000"/>
                <a:gd name="connsiteY1765" fmla="*/ 803757 h 1608850"/>
                <a:gd name="connsiteX1766" fmla="*/ 11961915 w 12192000"/>
                <a:gd name="connsiteY1766" fmla="*/ 802885 h 1608850"/>
                <a:gd name="connsiteX1767" fmla="*/ 11961915 w 12192000"/>
                <a:gd name="connsiteY1767" fmla="*/ 796783 h 1608850"/>
                <a:gd name="connsiteX1768" fmla="*/ 11960800 w 12192000"/>
                <a:gd name="connsiteY1768" fmla="*/ 796783 h 1608850"/>
                <a:gd name="connsiteX1769" fmla="*/ 11952999 w 12192000"/>
                <a:gd name="connsiteY1769" fmla="*/ 796783 h 1608850"/>
                <a:gd name="connsiteX1770" fmla="*/ 11952999 w 12192000"/>
                <a:gd name="connsiteY1770" fmla="*/ 795621 h 1608850"/>
                <a:gd name="connsiteX1771" fmla="*/ 11952999 w 12192000"/>
                <a:gd name="connsiteY1771" fmla="*/ 787484 h 1608850"/>
                <a:gd name="connsiteX1772" fmla="*/ 11954114 w 12192000"/>
                <a:gd name="connsiteY1772" fmla="*/ 787484 h 1608850"/>
                <a:gd name="connsiteX1773" fmla="*/ 11961915 w 12192000"/>
                <a:gd name="connsiteY1773" fmla="*/ 787484 h 1608850"/>
                <a:gd name="connsiteX1774" fmla="*/ 11960800 w 12192000"/>
                <a:gd name="connsiteY1774" fmla="*/ 785741 h 1608850"/>
                <a:gd name="connsiteX1775" fmla="*/ 11952999 w 12192000"/>
                <a:gd name="connsiteY1775" fmla="*/ 773537 h 1608850"/>
                <a:gd name="connsiteX1776" fmla="*/ 11952999 w 12192000"/>
                <a:gd name="connsiteY1776" fmla="*/ 736342 h 1608850"/>
                <a:gd name="connsiteX1777" fmla="*/ 12102343 w 12192000"/>
                <a:gd name="connsiteY1777" fmla="*/ 736342 h 1608850"/>
                <a:gd name="connsiteX1778" fmla="*/ 12115716 w 12192000"/>
                <a:gd name="connsiteY1778" fmla="*/ 757264 h 1608850"/>
                <a:gd name="connsiteX1779" fmla="*/ 12115716 w 12192000"/>
                <a:gd name="connsiteY1779" fmla="*/ 803757 h 1608850"/>
                <a:gd name="connsiteX1780" fmla="*/ 12114602 w 12192000"/>
                <a:gd name="connsiteY1780" fmla="*/ 803757 h 1608850"/>
                <a:gd name="connsiteX1781" fmla="*/ 12106800 w 12192000"/>
                <a:gd name="connsiteY1781" fmla="*/ 803757 h 1608850"/>
                <a:gd name="connsiteX1782" fmla="*/ 12106800 w 12192000"/>
                <a:gd name="connsiteY1782" fmla="*/ 804919 h 1608850"/>
                <a:gd name="connsiteX1783" fmla="*/ 12106800 w 12192000"/>
                <a:gd name="connsiteY1783" fmla="*/ 813056 h 1608850"/>
                <a:gd name="connsiteX1784" fmla="*/ 12107915 w 12192000"/>
                <a:gd name="connsiteY1784" fmla="*/ 813056 h 1608850"/>
                <a:gd name="connsiteX1785" fmla="*/ 12115716 w 12192000"/>
                <a:gd name="connsiteY1785" fmla="*/ 813056 h 1608850"/>
                <a:gd name="connsiteX1786" fmla="*/ 12115716 w 12192000"/>
                <a:gd name="connsiteY1786" fmla="*/ 814218 h 1608850"/>
                <a:gd name="connsiteX1787" fmla="*/ 12115716 w 12192000"/>
                <a:gd name="connsiteY1787" fmla="*/ 822354 h 1608850"/>
                <a:gd name="connsiteX1788" fmla="*/ 12114602 w 12192000"/>
                <a:gd name="connsiteY1788" fmla="*/ 822354 h 1608850"/>
                <a:gd name="connsiteX1789" fmla="*/ 12106800 w 12192000"/>
                <a:gd name="connsiteY1789" fmla="*/ 822354 h 1608850"/>
                <a:gd name="connsiteX1790" fmla="*/ 12106800 w 12192000"/>
                <a:gd name="connsiteY1790" fmla="*/ 823516 h 1608850"/>
                <a:gd name="connsiteX1791" fmla="*/ 12106800 w 12192000"/>
                <a:gd name="connsiteY1791" fmla="*/ 831653 h 1608850"/>
                <a:gd name="connsiteX1792" fmla="*/ 12107915 w 12192000"/>
                <a:gd name="connsiteY1792" fmla="*/ 831653 h 1608850"/>
                <a:gd name="connsiteX1793" fmla="*/ 12115716 w 12192000"/>
                <a:gd name="connsiteY1793" fmla="*/ 831653 h 1608850"/>
                <a:gd name="connsiteX1794" fmla="*/ 12115716 w 12192000"/>
                <a:gd name="connsiteY1794" fmla="*/ 832525 h 1608850"/>
                <a:gd name="connsiteX1795" fmla="*/ 12115716 w 12192000"/>
                <a:gd name="connsiteY1795" fmla="*/ 838627 h 1608850"/>
                <a:gd name="connsiteX1796" fmla="*/ 12114602 w 12192000"/>
                <a:gd name="connsiteY1796" fmla="*/ 838627 h 1608850"/>
                <a:gd name="connsiteX1797" fmla="*/ 12106800 w 12192000"/>
                <a:gd name="connsiteY1797" fmla="*/ 838627 h 1608850"/>
                <a:gd name="connsiteX1798" fmla="*/ 12106800 w 12192000"/>
                <a:gd name="connsiteY1798" fmla="*/ 839789 h 1608850"/>
                <a:gd name="connsiteX1799" fmla="*/ 12106800 w 12192000"/>
                <a:gd name="connsiteY1799" fmla="*/ 847925 h 1608850"/>
                <a:gd name="connsiteX1800" fmla="*/ 12107915 w 12192000"/>
                <a:gd name="connsiteY1800" fmla="*/ 847925 h 1608850"/>
                <a:gd name="connsiteX1801" fmla="*/ 12115716 w 12192000"/>
                <a:gd name="connsiteY1801" fmla="*/ 847925 h 1608850"/>
                <a:gd name="connsiteX1802" fmla="*/ 12115716 w 12192000"/>
                <a:gd name="connsiteY1802" fmla="*/ 849088 h 1608850"/>
                <a:gd name="connsiteX1803" fmla="*/ 12115716 w 12192000"/>
                <a:gd name="connsiteY1803" fmla="*/ 857224 h 1608850"/>
                <a:gd name="connsiteX1804" fmla="*/ 12114602 w 12192000"/>
                <a:gd name="connsiteY1804" fmla="*/ 857224 h 1608850"/>
                <a:gd name="connsiteX1805" fmla="*/ 12106800 w 12192000"/>
                <a:gd name="connsiteY1805" fmla="*/ 857224 h 1608850"/>
                <a:gd name="connsiteX1806" fmla="*/ 12106800 w 12192000"/>
                <a:gd name="connsiteY1806" fmla="*/ 858386 h 1608850"/>
                <a:gd name="connsiteX1807" fmla="*/ 12106800 w 12192000"/>
                <a:gd name="connsiteY1807" fmla="*/ 866523 h 1608850"/>
                <a:gd name="connsiteX1808" fmla="*/ 12107915 w 12192000"/>
                <a:gd name="connsiteY1808" fmla="*/ 866523 h 1608850"/>
                <a:gd name="connsiteX1809" fmla="*/ 12115716 w 12192000"/>
                <a:gd name="connsiteY1809" fmla="*/ 866523 h 1608850"/>
                <a:gd name="connsiteX1810" fmla="*/ 12115716 w 12192000"/>
                <a:gd name="connsiteY1810" fmla="*/ 867394 h 1608850"/>
                <a:gd name="connsiteX1811" fmla="*/ 12115716 w 12192000"/>
                <a:gd name="connsiteY1811" fmla="*/ 873496 h 1608850"/>
                <a:gd name="connsiteX1812" fmla="*/ 12114602 w 12192000"/>
                <a:gd name="connsiteY1812" fmla="*/ 873496 h 1608850"/>
                <a:gd name="connsiteX1813" fmla="*/ 12106800 w 12192000"/>
                <a:gd name="connsiteY1813" fmla="*/ 873496 h 1608850"/>
                <a:gd name="connsiteX1814" fmla="*/ 12106800 w 12192000"/>
                <a:gd name="connsiteY1814" fmla="*/ 874659 h 1608850"/>
                <a:gd name="connsiteX1815" fmla="*/ 12106800 w 12192000"/>
                <a:gd name="connsiteY1815" fmla="*/ 882795 h 1608850"/>
                <a:gd name="connsiteX1816" fmla="*/ 12107915 w 12192000"/>
                <a:gd name="connsiteY1816" fmla="*/ 882795 h 1608850"/>
                <a:gd name="connsiteX1817" fmla="*/ 12115716 w 12192000"/>
                <a:gd name="connsiteY1817" fmla="*/ 882795 h 1608850"/>
                <a:gd name="connsiteX1818" fmla="*/ 12115716 w 12192000"/>
                <a:gd name="connsiteY1818" fmla="*/ 883957 h 1608850"/>
                <a:gd name="connsiteX1819" fmla="*/ 12115716 w 12192000"/>
                <a:gd name="connsiteY1819" fmla="*/ 892094 h 1608850"/>
                <a:gd name="connsiteX1820" fmla="*/ 12114602 w 12192000"/>
                <a:gd name="connsiteY1820" fmla="*/ 892094 h 1608850"/>
                <a:gd name="connsiteX1821" fmla="*/ 12106800 w 12192000"/>
                <a:gd name="connsiteY1821" fmla="*/ 892094 h 1608850"/>
                <a:gd name="connsiteX1822" fmla="*/ 12106800 w 12192000"/>
                <a:gd name="connsiteY1822" fmla="*/ 892965 h 1608850"/>
                <a:gd name="connsiteX1823" fmla="*/ 12106800 w 12192000"/>
                <a:gd name="connsiteY1823" fmla="*/ 899068 h 1608850"/>
                <a:gd name="connsiteX1824" fmla="*/ 12107915 w 12192000"/>
                <a:gd name="connsiteY1824" fmla="*/ 899068 h 1608850"/>
                <a:gd name="connsiteX1825" fmla="*/ 12115716 w 12192000"/>
                <a:gd name="connsiteY1825" fmla="*/ 899068 h 1608850"/>
                <a:gd name="connsiteX1826" fmla="*/ 12115716 w 12192000"/>
                <a:gd name="connsiteY1826" fmla="*/ 900230 h 1608850"/>
                <a:gd name="connsiteX1827" fmla="*/ 12115716 w 12192000"/>
                <a:gd name="connsiteY1827" fmla="*/ 908366 h 1608850"/>
                <a:gd name="connsiteX1828" fmla="*/ 12114602 w 12192000"/>
                <a:gd name="connsiteY1828" fmla="*/ 908366 h 1608850"/>
                <a:gd name="connsiteX1829" fmla="*/ 12106800 w 12192000"/>
                <a:gd name="connsiteY1829" fmla="*/ 908366 h 1608850"/>
                <a:gd name="connsiteX1830" fmla="*/ 12106800 w 12192000"/>
                <a:gd name="connsiteY1830" fmla="*/ 909528 h 1608850"/>
                <a:gd name="connsiteX1831" fmla="*/ 12106800 w 12192000"/>
                <a:gd name="connsiteY1831" fmla="*/ 917665 h 1608850"/>
                <a:gd name="connsiteX1832" fmla="*/ 12107915 w 12192000"/>
                <a:gd name="connsiteY1832" fmla="*/ 917665 h 1608850"/>
                <a:gd name="connsiteX1833" fmla="*/ 12115716 w 12192000"/>
                <a:gd name="connsiteY1833" fmla="*/ 917665 h 1608850"/>
                <a:gd name="connsiteX1834" fmla="*/ 12115716 w 12192000"/>
                <a:gd name="connsiteY1834" fmla="*/ 918827 h 1608850"/>
                <a:gd name="connsiteX1835" fmla="*/ 12115716 w 12192000"/>
                <a:gd name="connsiteY1835" fmla="*/ 926963 h 1608850"/>
                <a:gd name="connsiteX1836" fmla="*/ 12114602 w 12192000"/>
                <a:gd name="connsiteY1836" fmla="*/ 926963 h 1608850"/>
                <a:gd name="connsiteX1837" fmla="*/ 12106800 w 12192000"/>
                <a:gd name="connsiteY1837" fmla="*/ 926963 h 1608850"/>
                <a:gd name="connsiteX1838" fmla="*/ 12106800 w 12192000"/>
                <a:gd name="connsiteY1838" fmla="*/ 927835 h 1608850"/>
                <a:gd name="connsiteX1839" fmla="*/ 12106800 w 12192000"/>
                <a:gd name="connsiteY1839" fmla="*/ 933937 h 1608850"/>
                <a:gd name="connsiteX1840" fmla="*/ 12107915 w 12192000"/>
                <a:gd name="connsiteY1840" fmla="*/ 933937 h 1608850"/>
                <a:gd name="connsiteX1841" fmla="*/ 12115716 w 12192000"/>
                <a:gd name="connsiteY1841" fmla="*/ 933937 h 1608850"/>
                <a:gd name="connsiteX1842" fmla="*/ 12115716 w 12192000"/>
                <a:gd name="connsiteY1842" fmla="*/ 935100 h 1608850"/>
                <a:gd name="connsiteX1843" fmla="*/ 12115716 w 12192000"/>
                <a:gd name="connsiteY1843" fmla="*/ 943236 h 1608850"/>
                <a:gd name="connsiteX1844" fmla="*/ 12114602 w 12192000"/>
                <a:gd name="connsiteY1844" fmla="*/ 943236 h 1608850"/>
                <a:gd name="connsiteX1845" fmla="*/ 12106800 w 12192000"/>
                <a:gd name="connsiteY1845" fmla="*/ 943236 h 1608850"/>
                <a:gd name="connsiteX1846" fmla="*/ 12106800 w 12192000"/>
                <a:gd name="connsiteY1846" fmla="*/ 944398 h 1608850"/>
                <a:gd name="connsiteX1847" fmla="*/ 12106800 w 12192000"/>
                <a:gd name="connsiteY1847" fmla="*/ 952535 h 1608850"/>
                <a:gd name="connsiteX1848" fmla="*/ 12107915 w 12192000"/>
                <a:gd name="connsiteY1848" fmla="*/ 952535 h 1608850"/>
                <a:gd name="connsiteX1849" fmla="*/ 12115716 w 12192000"/>
                <a:gd name="connsiteY1849" fmla="*/ 952535 h 1608850"/>
                <a:gd name="connsiteX1850" fmla="*/ 12115716 w 12192000"/>
                <a:gd name="connsiteY1850" fmla="*/ 953406 h 1608850"/>
                <a:gd name="connsiteX1851" fmla="*/ 12115716 w 12192000"/>
                <a:gd name="connsiteY1851" fmla="*/ 959508 h 1608850"/>
                <a:gd name="connsiteX1852" fmla="*/ 12114602 w 12192000"/>
                <a:gd name="connsiteY1852" fmla="*/ 959508 h 1608850"/>
                <a:gd name="connsiteX1853" fmla="*/ 12106800 w 12192000"/>
                <a:gd name="connsiteY1853" fmla="*/ 959508 h 1608850"/>
                <a:gd name="connsiteX1854" fmla="*/ 12106800 w 12192000"/>
                <a:gd name="connsiteY1854" fmla="*/ 960671 h 1608850"/>
                <a:gd name="connsiteX1855" fmla="*/ 12106800 w 12192000"/>
                <a:gd name="connsiteY1855" fmla="*/ 968807 h 1608850"/>
                <a:gd name="connsiteX1856" fmla="*/ 12107915 w 12192000"/>
                <a:gd name="connsiteY1856" fmla="*/ 968807 h 1608850"/>
                <a:gd name="connsiteX1857" fmla="*/ 12115716 w 12192000"/>
                <a:gd name="connsiteY1857" fmla="*/ 968807 h 1608850"/>
                <a:gd name="connsiteX1858" fmla="*/ 12115716 w 12192000"/>
                <a:gd name="connsiteY1858" fmla="*/ 969969 h 1608850"/>
                <a:gd name="connsiteX1859" fmla="*/ 12115716 w 12192000"/>
                <a:gd name="connsiteY1859" fmla="*/ 978106 h 1608850"/>
                <a:gd name="connsiteX1860" fmla="*/ 12114602 w 12192000"/>
                <a:gd name="connsiteY1860" fmla="*/ 978106 h 1608850"/>
                <a:gd name="connsiteX1861" fmla="*/ 12106800 w 12192000"/>
                <a:gd name="connsiteY1861" fmla="*/ 978106 h 1608850"/>
                <a:gd name="connsiteX1862" fmla="*/ 12106800 w 12192000"/>
                <a:gd name="connsiteY1862" fmla="*/ 979268 h 1608850"/>
                <a:gd name="connsiteX1863" fmla="*/ 12106800 w 12192000"/>
                <a:gd name="connsiteY1863" fmla="*/ 987404 h 1608850"/>
                <a:gd name="connsiteX1864" fmla="*/ 12107915 w 12192000"/>
                <a:gd name="connsiteY1864" fmla="*/ 987404 h 1608850"/>
                <a:gd name="connsiteX1865" fmla="*/ 12115716 w 12192000"/>
                <a:gd name="connsiteY1865" fmla="*/ 987404 h 1608850"/>
                <a:gd name="connsiteX1866" fmla="*/ 12115716 w 12192000"/>
                <a:gd name="connsiteY1866" fmla="*/ 988276 h 1608850"/>
                <a:gd name="connsiteX1867" fmla="*/ 12115716 w 12192000"/>
                <a:gd name="connsiteY1867" fmla="*/ 994378 h 1608850"/>
                <a:gd name="connsiteX1868" fmla="*/ 12114602 w 12192000"/>
                <a:gd name="connsiteY1868" fmla="*/ 994378 h 1608850"/>
                <a:gd name="connsiteX1869" fmla="*/ 12106800 w 12192000"/>
                <a:gd name="connsiteY1869" fmla="*/ 994378 h 1608850"/>
                <a:gd name="connsiteX1870" fmla="*/ 12106800 w 12192000"/>
                <a:gd name="connsiteY1870" fmla="*/ 995540 h 1608850"/>
                <a:gd name="connsiteX1871" fmla="*/ 12106800 w 12192000"/>
                <a:gd name="connsiteY1871" fmla="*/ 1003677 h 1608850"/>
                <a:gd name="connsiteX1872" fmla="*/ 12131319 w 12192000"/>
                <a:gd name="connsiteY1872" fmla="*/ 1024599 h 1608850"/>
                <a:gd name="connsiteX1873" fmla="*/ 12130206 w 12192000"/>
                <a:gd name="connsiteY1873" fmla="*/ 1029248 h 1608850"/>
                <a:gd name="connsiteX1874" fmla="*/ 12122403 w 12192000"/>
                <a:gd name="connsiteY1874" fmla="*/ 1029248 h 1608850"/>
                <a:gd name="connsiteX1875" fmla="*/ 12122403 w 12192000"/>
                <a:gd name="connsiteY1875" fmla="*/ 1040036 h 1608850"/>
                <a:gd name="connsiteX1876" fmla="*/ 12122403 w 12192000"/>
                <a:gd name="connsiteY1876" fmla="*/ 1046874 h 1608850"/>
                <a:gd name="connsiteX1877" fmla="*/ 12131319 w 12192000"/>
                <a:gd name="connsiteY1877" fmla="*/ 1046874 h 1608850"/>
                <a:gd name="connsiteX1878" fmla="*/ 12131319 w 12192000"/>
                <a:gd name="connsiteY1878" fmla="*/ 1043196 h 1608850"/>
                <a:gd name="connsiteX1879" fmla="*/ 12132434 w 12192000"/>
                <a:gd name="connsiteY1879" fmla="*/ 1042615 h 1608850"/>
                <a:gd name="connsiteX1880" fmla="*/ 12140235 w 12192000"/>
                <a:gd name="connsiteY1880" fmla="*/ 1038547 h 1608850"/>
                <a:gd name="connsiteX1881" fmla="*/ 12142186 w 12192000"/>
                <a:gd name="connsiteY1881" fmla="*/ 1038547 h 1608850"/>
                <a:gd name="connsiteX1882" fmla="*/ 12155839 w 12192000"/>
                <a:gd name="connsiteY1882" fmla="*/ 1038547 h 1608850"/>
                <a:gd name="connsiteX1883" fmla="*/ 12155839 w 12192000"/>
                <a:gd name="connsiteY1883" fmla="*/ 1039709 h 1608850"/>
                <a:gd name="connsiteX1884" fmla="*/ 12155839 w 12192000"/>
                <a:gd name="connsiteY1884" fmla="*/ 1046874 h 1608850"/>
                <a:gd name="connsiteX1885" fmla="*/ 12192000 w 12192000"/>
                <a:gd name="connsiteY1885" fmla="*/ 1046874 h 1608850"/>
                <a:gd name="connsiteX1886" fmla="*/ 12192000 w 12192000"/>
                <a:gd name="connsiteY1886" fmla="*/ 1070905 h 1608850"/>
                <a:gd name="connsiteX1887" fmla="*/ 12192000 w 12192000"/>
                <a:gd name="connsiteY1887" fmla="*/ 1121663 h 1608850"/>
                <a:gd name="connsiteX1888" fmla="*/ 12192000 w 12192000"/>
                <a:gd name="connsiteY1888" fmla="*/ 1608850 h 1608850"/>
                <a:gd name="connsiteX1889" fmla="*/ 0 w 12192000"/>
                <a:gd name="connsiteY1889" fmla="*/ 1608850 h 1608850"/>
                <a:gd name="connsiteX1890" fmla="*/ 0 w 12192000"/>
                <a:gd name="connsiteY1890" fmla="*/ 1046874 h 1608850"/>
                <a:gd name="connsiteX1891" fmla="*/ 65773 w 12192000"/>
                <a:gd name="connsiteY1891" fmla="*/ 1046874 h 1608850"/>
                <a:gd name="connsiteX1892" fmla="*/ 82231 w 12192000"/>
                <a:gd name="connsiteY1892" fmla="*/ 1045519 h 1608850"/>
                <a:gd name="connsiteX1893" fmla="*/ 82231 w 12192000"/>
                <a:gd name="connsiteY1893" fmla="*/ 1012974 h 1608850"/>
                <a:gd name="connsiteX1894" fmla="*/ 126811 w 12192000"/>
                <a:gd name="connsiteY1894" fmla="*/ 1012974 h 1608850"/>
                <a:gd name="connsiteX1895" fmla="*/ 126811 w 12192000"/>
                <a:gd name="connsiteY1895" fmla="*/ 994377 h 1608850"/>
                <a:gd name="connsiteX1896" fmla="*/ 220430 w 12192000"/>
                <a:gd name="connsiteY1896" fmla="*/ 994377 h 1608850"/>
                <a:gd name="connsiteX1897" fmla="*/ 220430 w 12192000"/>
                <a:gd name="connsiteY1897" fmla="*/ 1006000 h 1608850"/>
                <a:gd name="connsiteX1898" fmla="*/ 280612 w 12192000"/>
                <a:gd name="connsiteY1898" fmla="*/ 1006000 h 1608850"/>
                <a:gd name="connsiteX1899" fmla="*/ 280612 w 12192000"/>
                <a:gd name="connsiteY1899" fmla="*/ 1012974 h 1608850"/>
                <a:gd name="connsiteX1900" fmla="*/ 298444 w 12192000"/>
                <a:gd name="connsiteY1900" fmla="*/ 1012974 h 1608850"/>
                <a:gd name="connsiteX1901" fmla="*/ 298444 w 12192000"/>
                <a:gd name="connsiteY1901" fmla="*/ 1019948 h 1608850"/>
                <a:gd name="connsiteX1902" fmla="*/ 314048 w 12192000"/>
                <a:gd name="connsiteY1902" fmla="*/ 1019948 h 1608850"/>
                <a:gd name="connsiteX1903" fmla="*/ 314048 w 12192000"/>
                <a:gd name="connsiteY1903" fmla="*/ 915339 h 1608850"/>
                <a:gd name="connsiteX1904" fmla="*/ 360858 w 12192000"/>
                <a:gd name="connsiteY1904" fmla="*/ 901391 h 1608850"/>
                <a:gd name="connsiteX1905" fmla="*/ 447789 w 12192000"/>
                <a:gd name="connsiteY1905" fmla="*/ 901391 h 1608850"/>
                <a:gd name="connsiteX1906" fmla="*/ 447789 w 12192000"/>
                <a:gd name="connsiteY1906" fmla="*/ 734017 h 1608850"/>
                <a:gd name="connsiteX1907" fmla="*/ 472308 w 12192000"/>
                <a:gd name="connsiteY1907" fmla="*/ 722393 h 1608850"/>
                <a:gd name="connsiteX1908" fmla="*/ 579301 w 12192000"/>
                <a:gd name="connsiteY1908" fmla="*/ 703796 h 1608850"/>
                <a:gd name="connsiteX1909" fmla="*/ 617194 w 12192000"/>
                <a:gd name="connsiteY1909" fmla="*/ 715419 h 1608850"/>
                <a:gd name="connsiteX1910" fmla="*/ 623881 w 12192000"/>
                <a:gd name="connsiteY1910" fmla="*/ 722393 h 1608850"/>
                <a:gd name="connsiteX1911" fmla="*/ 623881 w 12192000"/>
                <a:gd name="connsiteY1911" fmla="*/ 1033896 h 1608850"/>
                <a:gd name="connsiteX1912" fmla="*/ 639484 w 12192000"/>
                <a:gd name="connsiteY1912" fmla="*/ 1033896 h 1608850"/>
                <a:gd name="connsiteX1913" fmla="*/ 639484 w 12192000"/>
                <a:gd name="connsiteY1913" fmla="*/ 908365 h 1608850"/>
                <a:gd name="connsiteX1914" fmla="*/ 652858 w 12192000"/>
                <a:gd name="connsiteY1914" fmla="*/ 908365 h 1608850"/>
                <a:gd name="connsiteX1915" fmla="*/ 652858 w 12192000"/>
                <a:gd name="connsiteY1915" fmla="*/ 896742 h 1608850"/>
                <a:gd name="connsiteX1916" fmla="*/ 666232 w 12192000"/>
                <a:gd name="connsiteY1916" fmla="*/ 889768 h 1608850"/>
                <a:gd name="connsiteX1917" fmla="*/ 677377 w 12192000"/>
                <a:gd name="connsiteY1917" fmla="*/ 889768 h 1608850"/>
                <a:gd name="connsiteX1918" fmla="*/ 677377 w 12192000"/>
                <a:gd name="connsiteY1918" fmla="*/ 878145 h 1608850"/>
                <a:gd name="connsiteX1919" fmla="*/ 686293 w 12192000"/>
                <a:gd name="connsiteY1919" fmla="*/ 871171 h 1608850"/>
                <a:gd name="connsiteX1920" fmla="*/ 708584 w 12192000"/>
                <a:gd name="connsiteY1920" fmla="*/ 871171 h 1608850"/>
                <a:gd name="connsiteX1921" fmla="*/ 708584 w 12192000"/>
                <a:gd name="connsiteY1921" fmla="*/ 908365 h 1608850"/>
                <a:gd name="connsiteX1922" fmla="*/ 755393 w 12192000"/>
                <a:gd name="connsiteY1922" fmla="*/ 908365 h 1608850"/>
                <a:gd name="connsiteX1923" fmla="*/ 755393 w 12192000"/>
                <a:gd name="connsiteY1923" fmla="*/ 1038546 h 1608850"/>
                <a:gd name="connsiteX1924" fmla="*/ 773225 w 12192000"/>
                <a:gd name="connsiteY1924" fmla="*/ 1038546 h 1608850"/>
                <a:gd name="connsiteX1925" fmla="*/ 791057 w 12192000"/>
                <a:gd name="connsiteY1925" fmla="*/ 1031572 h 1608850"/>
                <a:gd name="connsiteX1926" fmla="*/ 791057 w 12192000"/>
                <a:gd name="connsiteY1926" fmla="*/ 1022273 h 1608850"/>
                <a:gd name="connsiteX1927" fmla="*/ 784370 w 12192000"/>
                <a:gd name="connsiteY1927" fmla="*/ 1019948 h 1608850"/>
                <a:gd name="connsiteX1928" fmla="*/ 784370 w 12192000"/>
                <a:gd name="connsiteY1928" fmla="*/ 1012974 h 1608850"/>
                <a:gd name="connsiteX1929" fmla="*/ 791057 w 12192000"/>
                <a:gd name="connsiteY1929" fmla="*/ 1008325 h 1608850"/>
                <a:gd name="connsiteX1930" fmla="*/ 791057 w 12192000"/>
                <a:gd name="connsiteY1930" fmla="*/ 957183 h 1608850"/>
                <a:gd name="connsiteX1931" fmla="*/ 784370 w 12192000"/>
                <a:gd name="connsiteY1931" fmla="*/ 954858 h 1608850"/>
                <a:gd name="connsiteX1932" fmla="*/ 784370 w 12192000"/>
                <a:gd name="connsiteY1932" fmla="*/ 947884 h 1608850"/>
                <a:gd name="connsiteX1933" fmla="*/ 791057 w 12192000"/>
                <a:gd name="connsiteY1933" fmla="*/ 943235 h 1608850"/>
                <a:gd name="connsiteX1934" fmla="*/ 795515 w 12192000"/>
                <a:gd name="connsiteY1934" fmla="*/ 938586 h 1608850"/>
                <a:gd name="connsiteX1935" fmla="*/ 795515 w 12192000"/>
                <a:gd name="connsiteY1935" fmla="*/ 929287 h 1608850"/>
                <a:gd name="connsiteX1936" fmla="*/ 791057 w 12192000"/>
                <a:gd name="connsiteY1936" fmla="*/ 929287 h 1608850"/>
                <a:gd name="connsiteX1937" fmla="*/ 791057 w 12192000"/>
                <a:gd name="connsiteY1937" fmla="*/ 922313 h 1608850"/>
                <a:gd name="connsiteX1938" fmla="*/ 797744 w 12192000"/>
                <a:gd name="connsiteY1938" fmla="*/ 917664 h 1608850"/>
                <a:gd name="connsiteX1939" fmla="*/ 833408 w 12192000"/>
                <a:gd name="connsiteY1939" fmla="*/ 852574 h 1608850"/>
                <a:gd name="connsiteX1940" fmla="*/ 828950 w 12192000"/>
                <a:gd name="connsiteY1940" fmla="*/ 850249 h 1608850"/>
                <a:gd name="connsiteX1941" fmla="*/ 828950 w 12192000"/>
                <a:gd name="connsiteY1941" fmla="*/ 843275 h 1608850"/>
                <a:gd name="connsiteX1942" fmla="*/ 835637 w 12192000"/>
                <a:gd name="connsiteY1942" fmla="*/ 840950 h 1608850"/>
                <a:gd name="connsiteX1943" fmla="*/ 835637 w 12192000"/>
                <a:gd name="connsiteY1943" fmla="*/ 831652 h 1608850"/>
                <a:gd name="connsiteX1944" fmla="*/ 840095 w 12192000"/>
                <a:gd name="connsiteY1944" fmla="*/ 831652 h 1608850"/>
                <a:gd name="connsiteX1945" fmla="*/ 840095 w 12192000"/>
                <a:gd name="connsiteY1945" fmla="*/ 810730 h 1608850"/>
                <a:gd name="connsiteX1946" fmla="*/ 835637 w 12192000"/>
                <a:gd name="connsiteY1946" fmla="*/ 810730 h 1608850"/>
                <a:gd name="connsiteX1947" fmla="*/ 835637 w 12192000"/>
                <a:gd name="connsiteY1947" fmla="*/ 806081 h 1608850"/>
                <a:gd name="connsiteX1948" fmla="*/ 840095 w 12192000"/>
                <a:gd name="connsiteY1948" fmla="*/ 803756 h 1608850"/>
                <a:gd name="connsiteX1949" fmla="*/ 851240 w 12192000"/>
                <a:gd name="connsiteY1949" fmla="*/ 787483 h 1608850"/>
                <a:gd name="connsiteX1950" fmla="*/ 853469 w 12192000"/>
                <a:gd name="connsiteY1950" fmla="*/ 778185 h 1608850"/>
                <a:gd name="connsiteX1951" fmla="*/ 853469 w 12192000"/>
                <a:gd name="connsiteY1951" fmla="*/ 752614 h 1608850"/>
                <a:gd name="connsiteX1952" fmla="*/ 853748 w 12192000"/>
                <a:gd name="connsiteY1952" fmla="*/ 751742 h 1608850"/>
                <a:gd name="connsiteX1953" fmla="*/ 855698 w 12192000"/>
                <a:gd name="connsiteY1953" fmla="*/ 745640 h 1608850"/>
                <a:gd name="connsiteX1954" fmla="*/ 855977 w 12192000"/>
                <a:gd name="connsiteY1954" fmla="*/ 746512 h 1608850"/>
                <a:gd name="connsiteX1955" fmla="*/ 857927 w 12192000"/>
                <a:gd name="connsiteY1955" fmla="*/ 752614 h 1608850"/>
                <a:gd name="connsiteX1956" fmla="*/ 860156 w 12192000"/>
                <a:gd name="connsiteY1956" fmla="*/ 778185 h 1608850"/>
                <a:gd name="connsiteX1957" fmla="*/ 860156 w 12192000"/>
                <a:gd name="connsiteY1957" fmla="*/ 785159 h 1608850"/>
                <a:gd name="connsiteX1958" fmla="*/ 871302 w 12192000"/>
                <a:gd name="connsiteY1958" fmla="*/ 803756 h 1608850"/>
                <a:gd name="connsiteX1959" fmla="*/ 875760 w 12192000"/>
                <a:gd name="connsiteY1959" fmla="*/ 806081 h 1608850"/>
                <a:gd name="connsiteX1960" fmla="*/ 875760 w 12192000"/>
                <a:gd name="connsiteY1960" fmla="*/ 810730 h 1608850"/>
                <a:gd name="connsiteX1961" fmla="*/ 873531 w 12192000"/>
                <a:gd name="connsiteY1961" fmla="*/ 831652 h 1608850"/>
                <a:gd name="connsiteX1962" fmla="*/ 877989 w 12192000"/>
                <a:gd name="connsiteY1962" fmla="*/ 840950 h 1608850"/>
                <a:gd name="connsiteX1963" fmla="*/ 882447 w 12192000"/>
                <a:gd name="connsiteY1963" fmla="*/ 843275 h 1608850"/>
                <a:gd name="connsiteX1964" fmla="*/ 882447 w 12192000"/>
                <a:gd name="connsiteY1964" fmla="*/ 850249 h 1608850"/>
                <a:gd name="connsiteX1965" fmla="*/ 877989 w 12192000"/>
                <a:gd name="connsiteY1965" fmla="*/ 852574 h 1608850"/>
                <a:gd name="connsiteX1966" fmla="*/ 904180 w 12192000"/>
                <a:gd name="connsiteY1966" fmla="*/ 879888 h 1608850"/>
                <a:gd name="connsiteX1967" fmla="*/ 913070 w 12192000"/>
                <a:gd name="connsiteY1967" fmla="*/ 915339 h 1608850"/>
                <a:gd name="connsiteX1968" fmla="*/ 944859 w 12192000"/>
                <a:gd name="connsiteY1968" fmla="*/ 915339 h 1608850"/>
                <a:gd name="connsiteX1969" fmla="*/ 944859 w 12192000"/>
                <a:gd name="connsiteY1969" fmla="*/ 886329 h 1608850"/>
                <a:gd name="connsiteX1970" fmla="*/ 939475 w 12192000"/>
                <a:gd name="connsiteY1970" fmla="*/ 886329 h 1608850"/>
                <a:gd name="connsiteX1971" fmla="*/ 939475 w 12192000"/>
                <a:gd name="connsiteY1971" fmla="*/ 724196 h 1608850"/>
                <a:gd name="connsiteX1972" fmla="*/ 959742 w 12192000"/>
                <a:gd name="connsiteY1972" fmla="*/ 724196 h 1608850"/>
                <a:gd name="connsiteX1973" fmla="*/ 960249 w 12192000"/>
                <a:gd name="connsiteY1973" fmla="*/ 723115 h 1608850"/>
                <a:gd name="connsiteX1974" fmla="*/ 963795 w 12192000"/>
                <a:gd name="connsiteY1974" fmla="*/ 715549 h 1608850"/>
                <a:gd name="connsiteX1975" fmla="*/ 965569 w 12192000"/>
                <a:gd name="connsiteY1975" fmla="*/ 715819 h 1608850"/>
                <a:gd name="connsiteX1976" fmla="*/ 977982 w 12192000"/>
                <a:gd name="connsiteY1976" fmla="*/ 717710 h 1608850"/>
                <a:gd name="connsiteX1977" fmla="*/ 978489 w 12192000"/>
                <a:gd name="connsiteY1977" fmla="*/ 719062 h 1608850"/>
                <a:gd name="connsiteX1978" fmla="*/ 982035 w 12192000"/>
                <a:gd name="connsiteY1978" fmla="*/ 728519 h 1608850"/>
                <a:gd name="connsiteX1979" fmla="*/ 1008382 w 12192000"/>
                <a:gd name="connsiteY1979" fmla="*/ 730681 h 1608850"/>
                <a:gd name="connsiteX1980" fmla="*/ 1008382 w 12192000"/>
                <a:gd name="connsiteY1980" fmla="*/ 607460 h 1608850"/>
                <a:gd name="connsiteX1981" fmla="*/ 1010409 w 12192000"/>
                <a:gd name="connsiteY1981" fmla="*/ 607460 h 1608850"/>
                <a:gd name="connsiteX1982" fmla="*/ 1024597 w 12192000"/>
                <a:gd name="connsiteY1982" fmla="*/ 607460 h 1608850"/>
                <a:gd name="connsiteX1983" fmla="*/ 1024597 w 12192000"/>
                <a:gd name="connsiteY1983" fmla="*/ 471268 h 1608850"/>
                <a:gd name="connsiteX1984" fmla="*/ 1026369 w 12192000"/>
                <a:gd name="connsiteY1984" fmla="*/ 471268 h 1608850"/>
                <a:gd name="connsiteX1985" fmla="*/ 1038783 w 12192000"/>
                <a:gd name="connsiteY1985" fmla="*/ 471268 h 1608850"/>
                <a:gd name="connsiteX1986" fmla="*/ 1038783 w 12192000"/>
                <a:gd name="connsiteY1986" fmla="*/ 356694 h 1608850"/>
                <a:gd name="connsiteX1987" fmla="*/ 1042837 w 12192000"/>
                <a:gd name="connsiteY1987" fmla="*/ 328590 h 1608850"/>
                <a:gd name="connsiteX1988" fmla="*/ 1044863 w 12192000"/>
                <a:gd name="connsiteY1988" fmla="*/ 328590 h 1608850"/>
                <a:gd name="connsiteX1989" fmla="*/ 1059050 w 12192000"/>
                <a:gd name="connsiteY1989" fmla="*/ 328590 h 1608850"/>
                <a:gd name="connsiteX1990" fmla="*/ 1095531 w 12192000"/>
                <a:gd name="connsiteY1990" fmla="*/ 246443 h 1608850"/>
                <a:gd name="connsiteX1991" fmla="*/ 1099585 w 12192000"/>
                <a:gd name="connsiteY1991" fmla="*/ 0 h 160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</a:cxnLst>
              <a:rect l="l" t="t" r="r" b="b"/>
              <a:pathLst>
                <a:path w="12192000" h="1608850">
                  <a:moveTo>
                    <a:pt x="8760317" y="780798"/>
                  </a:moveTo>
                  <a:lnTo>
                    <a:pt x="8760317" y="785159"/>
                  </a:lnTo>
                  <a:lnTo>
                    <a:pt x="8761882" y="787771"/>
                  </a:lnTo>
                  <a:lnTo>
                    <a:pt x="8762996" y="787771"/>
                  </a:lnTo>
                  <a:cubicBezTo>
                    <a:pt x="8762996" y="787771"/>
                    <a:pt x="8762996" y="787771"/>
                    <a:pt x="8762996" y="786900"/>
                  </a:cubicBezTo>
                  <a:lnTo>
                    <a:pt x="8762996" y="780798"/>
                  </a:lnTo>
                  <a:cubicBezTo>
                    <a:pt x="8762996" y="780798"/>
                    <a:pt x="8762996" y="780798"/>
                    <a:pt x="8761881" y="780798"/>
                  </a:cubicBezTo>
                  <a:close/>
                  <a:moveTo>
                    <a:pt x="8758924" y="762200"/>
                  </a:moveTo>
                  <a:lnTo>
                    <a:pt x="8759734" y="771499"/>
                  </a:lnTo>
                  <a:lnTo>
                    <a:pt x="8762996" y="771499"/>
                  </a:lnTo>
                  <a:cubicBezTo>
                    <a:pt x="8762996" y="771499"/>
                    <a:pt x="8762996" y="771499"/>
                    <a:pt x="8762996" y="770337"/>
                  </a:cubicBezTo>
                  <a:lnTo>
                    <a:pt x="8762996" y="762200"/>
                  </a:lnTo>
                  <a:cubicBezTo>
                    <a:pt x="8762996" y="762200"/>
                    <a:pt x="8762996" y="762200"/>
                    <a:pt x="8761881" y="762200"/>
                  </a:cubicBezTo>
                  <a:close/>
                  <a:moveTo>
                    <a:pt x="8755951" y="745928"/>
                  </a:moveTo>
                  <a:lnTo>
                    <a:pt x="8756137" y="746512"/>
                  </a:lnTo>
                  <a:lnTo>
                    <a:pt x="8758088" y="752614"/>
                  </a:lnTo>
                  <a:lnTo>
                    <a:pt x="8758113" y="752902"/>
                  </a:lnTo>
                  <a:lnTo>
                    <a:pt x="8762996" y="752902"/>
                  </a:lnTo>
                  <a:cubicBezTo>
                    <a:pt x="8762996" y="752902"/>
                    <a:pt x="8762996" y="752902"/>
                    <a:pt x="8762996" y="752030"/>
                  </a:cubicBezTo>
                  <a:lnTo>
                    <a:pt x="8762996" y="745928"/>
                  </a:lnTo>
                  <a:cubicBezTo>
                    <a:pt x="8762996" y="745928"/>
                    <a:pt x="8762996" y="745928"/>
                    <a:pt x="8761881" y="745928"/>
                  </a:cubicBezTo>
                  <a:close/>
                  <a:moveTo>
                    <a:pt x="8907881" y="718032"/>
                  </a:moveTo>
                  <a:cubicBezTo>
                    <a:pt x="8907881" y="718032"/>
                    <a:pt x="8907881" y="718032"/>
                    <a:pt x="8907881" y="719194"/>
                  </a:cubicBezTo>
                  <a:lnTo>
                    <a:pt x="8907881" y="727331"/>
                  </a:lnTo>
                  <a:lnTo>
                    <a:pt x="8908543" y="727331"/>
                  </a:lnTo>
                  <a:lnTo>
                    <a:pt x="8908543" y="718032"/>
                  </a:lnTo>
                  <a:close/>
                  <a:moveTo>
                    <a:pt x="1099585" y="0"/>
                  </a:moveTo>
                  <a:cubicBezTo>
                    <a:pt x="1099585" y="18"/>
                    <a:pt x="1099601" y="2040"/>
                    <a:pt x="1101611" y="246443"/>
                  </a:cubicBezTo>
                  <a:cubicBezTo>
                    <a:pt x="1101623" y="246467"/>
                    <a:pt x="1102267" y="247808"/>
                    <a:pt x="1140117" y="326429"/>
                  </a:cubicBezTo>
                  <a:cubicBezTo>
                    <a:pt x="1140125" y="326429"/>
                    <a:pt x="1140236" y="326429"/>
                    <a:pt x="1142145" y="326429"/>
                  </a:cubicBezTo>
                  <a:lnTo>
                    <a:pt x="1156331" y="326429"/>
                  </a:lnTo>
                  <a:cubicBezTo>
                    <a:pt x="1156331" y="326443"/>
                    <a:pt x="1156331" y="327005"/>
                    <a:pt x="1156331" y="350208"/>
                  </a:cubicBezTo>
                  <a:cubicBezTo>
                    <a:pt x="1156333" y="350214"/>
                    <a:pt x="1156371" y="350272"/>
                    <a:pt x="1156839" y="351019"/>
                  </a:cubicBezTo>
                  <a:lnTo>
                    <a:pt x="1160385" y="356694"/>
                  </a:lnTo>
                  <a:cubicBezTo>
                    <a:pt x="1160385" y="356714"/>
                    <a:pt x="1160385" y="358229"/>
                    <a:pt x="1160385" y="471268"/>
                  </a:cubicBezTo>
                  <a:cubicBezTo>
                    <a:pt x="1160393" y="471268"/>
                    <a:pt x="1160533" y="471268"/>
                    <a:pt x="1162664" y="471268"/>
                  </a:cubicBezTo>
                  <a:lnTo>
                    <a:pt x="1178625" y="471268"/>
                  </a:lnTo>
                  <a:cubicBezTo>
                    <a:pt x="1178625" y="471288"/>
                    <a:pt x="1178625" y="472923"/>
                    <a:pt x="1178625" y="611783"/>
                  </a:cubicBezTo>
                  <a:cubicBezTo>
                    <a:pt x="1178635" y="611782"/>
                    <a:pt x="1178747" y="611761"/>
                    <a:pt x="1180145" y="611513"/>
                  </a:cubicBezTo>
                  <a:lnTo>
                    <a:pt x="1190785" y="609622"/>
                  </a:lnTo>
                  <a:cubicBezTo>
                    <a:pt x="1190785" y="609644"/>
                    <a:pt x="1190755" y="610978"/>
                    <a:pt x="1188759" y="698254"/>
                  </a:cubicBezTo>
                  <a:cubicBezTo>
                    <a:pt x="1188769" y="698256"/>
                    <a:pt x="1188879" y="698276"/>
                    <a:pt x="1190279" y="698525"/>
                  </a:cubicBezTo>
                  <a:lnTo>
                    <a:pt x="1200919" y="700416"/>
                  </a:lnTo>
                  <a:cubicBezTo>
                    <a:pt x="1200921" y="700423"/>
                    <a:pt x="1200941" y="700487"/>
                    <a:pt x="1201171" y="701227"/>
                  </a:cubicBezTo>
                  <a:lnTo>
                    <a:pt x="1202945" y="706902"/>
                  </a:lnTo>
                  <a:cubicBezTo>
                    <a:pt x="1202947" y="706893"/>
                    <a:pt x="1202993" y="706750"/>
                    <a:pt x="1203705" y="704470"/>
                  </a:cubicBezTo>
                  <a:lnTo>
                    <a:pt x="1209025" y="687446"/>
                  </a:lnTo>
                  <a:cubicBezTo>
                    <a:pt x="1209032" y="687446"/>
                    <a:pt x="1209133" y="687446"/>
                    <a:pt x="1210799" y="687446"/>
                  </a:cubicBezTo>
                  <a:lnTo>
                    <a:pt x="1223212" y="687446"/>
                  </a:lnTo>
                  <a:cubicBezTo>
                    <a:pt x="1223212" y="687463"/>
                    <a:pt x="1223212" y="688156"/>
                    <a:pt x="1223212" y="719872"/>
                  </a:cubicBezTo>
                  <a:cubicBezTo>
                    <a:pt x="1223219" y="719877"/>
                    <a:pt x="1223295" y="719917"/>
                    <a:pt x="1224225" y="720413"/>
                  </a:cubicBezTo>
                  <a:lnTo>
                    <a:pt x="1231319" y="724196"/>
                  </a:lnTo>
                  <a:cubicBezTo>
                    <a:pt x="1231319" y="724205"/>
                    <a:pt x="1231319" y="724306"/>
                    <a:pt x="1231319" y="725547"/>
                  </a:cubicBezTo>
                  <a:lnTo>
                    <a:pt x="1231319" y="735005"/>
                  </a:lnTo>
                  <a:cubicBezTo>
                    <a:pt x="1231339" y="735005"/>
                    <a:pt x="1232247" y="735005"/>
                    <a:pt x="1275907" y="735005"/>
                  </a:cubicBezTo>
                  <a:cubicBezTo>
                    <a:pt x="1275907" y="735013"/>
                    <a:pt x="1275907" y="735096"/>
                    <a:pt x="1275907" y="736086"/>
                  </a:cubicBezTo>
                  <a:lnTo>
                    <a:pt x="1275907" y="743652"/>
                  </a:lnTo>
                  <a:cubicBezTo>
                    <a:pt x="1275915" y="743652"/>
                    <a:pt x="1276037" y="743652"/>
                    <a:pt x="1277933" y="743652"/>
                  </a:cubicBezTo>
                  <a:lnTo>
                    <a:pt x="1292119" y="743652"/>
                  </a:lnTo>
                  <a:cubicBezTo>
                    <a:pt x="1292119" y="743634"/>
                    <a:pt x="1292119" y="742905"/>
                    <a:pt x="1292119" y="713387"/>
                  </a:cubicBezTo>
                  <a:cubicBezTo>
                    <a:pt x="1292141" y="713387"/>
                    <a:pt x="1293071" y="713387"/>
                    <a:pt x="1336706" y="713387"/>
                  </a:cubicBezTo>
                  <a:cubicBezTo>
                    <a:pt x="1336706" y="713379"/>
                    <a:pt x="1336706" y="713282"/>
                    <a:pt x="1336706" y="712036"/>
                  </a:cubicBezTo>
                  <a:lnTo>
                    <a:pt x="1336706" y="702578"/>
                  </a:lnTo>
                  <a:cubicBezTo>
                    <a:pt x="1336713" y="702578"/>
                    <a:pt x="1336787" y="702578"/>
                    <a:pt x="1337721" y="702578"/>
                  </a:cubicBezTo>
                  <a:lnTo>
                    <a:pt x="1344813" y="702578"/>
                  </a:lnTo>
                  <a:cubicBezTo>
                    <a:pt x="1344813" y="702571"/>
                    <a:pt x="1344813" y="702458"/>
                    <a:pt x="1344813" y="700687"/>
                  </a:cubicBezTo>
                  <a:lnTo>
                    <a:pt x="1344813" y="687446"/>
                  </a:lnTo>
                  <a:cubicBezTo>
                    <a:pt x="1344823" y="687446"/>
                    <a:pt x="1344895" y="687446"/>
                    <a:pt x="1345573" y="687446"/>
                  </a:cubicBezTo>
                  <a:lnTo>
                    <a:pt x="1350893" y="687446"/>
                  </a:lnTo>
                  <a:cubicBezTo>
                    <a:pt x="1350893" y="687439"/>
                    <a:pt x="1350893" y="687354"/>
                    <a:pt x="1350893" y="686365"/>
                  </a:cubicBezTo>
                  <a:lnTo>
                    <a:pt x="1350893" y="678798"/>
                  </a:lnTo>
                  <a:cubicBezTo>
                    <a:pt x="1350901" y="678798"/>
                    <a:pt x="1351025" y="678798"/>
                    <a:pt x="1352921" y="678798"/>
                  </a:cubicBezTo>
                  <a:lnTo>
                    <a:pt x="1367107" y="678798"/>
                  </a:lnTo>
                  <a:cubicBezTo>
                    <a:pt x="1367107" y="678805"/>
                    <a:pt x="1367107" y="678882"/>
                    <a:pt x="1367107" y="679879"/>
                  </a:cubicBezTo>
                  <a:lnTo>
                    <a:pt x="1367107" y="687446"/>
                  </a:lnTo>
                  <a:cubicBezTo>
                    <a:pt x="1367119" y="687446"/>
                    <a:pt x="1367619" y="687446"/>
                    <a:pt x="1389401" y="687446"/>
                  </a:cubicBezTo>
                  <a:cubicBezTo>
                    <a:pt x="1389401" y="687438"/>
                    <a:pt x="1389401" y="687324"/>
                    <a:pt x="1389401" y="685554"/>
                  </a:cubicBezTo>
                  <a:lnTo>
                    <a:pt x="1389401" y="672313"/>
                  </a:lnTo>
                  <a:cubicBezTo>
                    <a:pt x="1389407" y="672313"/>
                    <a:pt x="1389503" y="672313"/>
                    <a:pt x="1391174" y="672313"/>
                  </a:cubicBezTo>
                  <a:lnTo>
                    <a:pt x="1403587" y="672313"/>
                  </a:lnTo>
                  <a:cubicBezTo>
                    <a:pt x="1403587" y="672325"/>
                    <a:pt x="1403587" y="672839"/>
                    <a:pt x="1403587" y="696093"/>
                  </a:cubicBezTo>
                  <a:cubicBezTo>
                    <a:pt x="1403595" y="696093"/>
                    <a:pt x="1403675" y="696093"/>
                    <a:pt x="1404601" y="696093"/>
                  </a:cubicBezTo>
                  <a:lnTo>
                    <a:pt x="1411695" y="696093"/>
                  </a:lnTo>
                  <a:cubicBezTo>
                    <a:pt x="1411695" y="696087"/>
                    <a:pt x="1411695" y="696006"/>
                    <a:pt x="1411695" y="695012"/>
                  </a:cubicBezTo>
                  <a:lnTo>
                    <a:pt x="1411695" y="687446"/>
                  </a:lnTo>
                  <a:cubicBezTo>
                    <a:pt x="1411703" y="687446"/>
                    <a:pt x="1411821" y="687446"/>
                    <a:pt x="1413467" y="687446"/>
                  </a:cubicBezTo>
                  <a:lnTo>
                    <a:pt x="1425881" y="687446"/>
                  </a:lnTo>
                  <a:cubicBezTo>
                    <a:pt x="1425881" y="687459"/>
                    <a:pt x="1425881" y="688018"/>
                    <a:pt x="1425881" y="713387"/>
                  </a:cubicBezTo>
                  <a:cubicBezTo>
                    <a:pt x="1425889" y="713387"/>
                    <a:pt x="1426007" y="713387"/>
                    <a:pt x="1427909" y="713387"/>
                  </a:cubicBezTo>
                  <a:lnTo>
                    <a:pt x="1442095" y="713387"/>
                  </a:lnTo>
                  <a:cubicBezTo>
                    <a:pt x="1442095" y="713398"/>
                    <a:pt x="1442095" y="713513"/>
                    <a:pt x="1442095" y="715008"/>
                  </a:cubicBezTo>
                  <a:lnTo>
                    <a:pt x="1442095" y="726358"/>
                  </a:lnTo>
                  <a:cubicBezTo>
                    <a:pt x="1442103" y="726358"/>
                    <a:pt x="1442173" y="726358"/>
                    <a:pt x="1442855" y="726358"/>
                  </a:cubicBezTo>
                  <a:lnTo>
                    <a:pt x="1448175" y="726358"/>
                  </a:lnTo>
                  <a:cubicBezTo>
                    <a:pt x="1448175" y="726350"/>
                    <a:pt x="1448175" y="726274"/>
                    <a:pt x="1448175" y="725547"/>
                  </a:cubicBezTo>
                  <a:lnTo>
                    <a:pt x="1448175" y="719872"/>
                  </a:lnTo>
                  <a:cubicBezTo>
                    <a:pt x="1448193" y="719872"/>
                    <a:pt x="1448911" y="719872"/>
                    <a:pt x="1478575" y="719872"/>
                  </a:cubicBezTo>
                  <a:cubicBezTo>
                    <a:pt x="1478575" y="719886"/>
                    <a:pt x="1478575" y="720449"/>
                    <a:pt x="1478575" y="743652"/>
                  </a:cubicBezTo>
                  <a:cubicBezTo>
                    <a:pt x="1478583" y="743652"/>
                    <a:pt x="1478661" y="743652"/>
                    <a:pt x="1479589" y="743652"/>
                  </a:cubicBezTo>
                  <a:lnTo>
                    <a:pt x="1486683" y="743652"/>
                  </a:lnTo>
                  <a:cubicBezTo>
                    <a:pt x="1486683" y="743659"/>
                    <a:pt x="1486683" y="743732"/>
                    <a:pt x="1486683" y="744733"/>
                  </a:cubicBezTo>
                  <a:lnTo>
                    <a:pt x="1486683" y="752299"/>
                  </a:lnTo>
                  <a:cubicBezTo>
                    <a:pt x="1486691" y="752299"/>
                    <a:pt x="1486765" y="752299"/>
                    <a:pt x="1487443" y="752299"/>
                  </a:cubicBezTo>
                  <a:lnTo>
                    <a:pt x="1492763" y="752299"/>
                  </a:lnTo>
                  <a:cubicBezTo>
                    <a:pt x="1492763" y="752292"/>
                    <a:pt x="1492763" y="752172"/>
                    <a:pt x="1492763" y="750137"/>
                  </a:cubicBezTo>
                  <a:lnTo>
                    <a:pt x="1492763" y="735005"/>
                  </a:lnTo>
                  <a:cubicBezTo>
                    <a:pt x="1492769" y="735005"/>
                    <a:pt x="1492847" y="735005"/>
                    <a:pt x="1493775" y="735005"/>
                  </a:cubicBezTo>
                  <a:lnTo>
                    <a:pt x="1500869" y="735005"/>
                  </a:lnTo>
                  <a:cubicBezTo>
                    <a:pt x="1500869" y="735013"/>
                    <a:pt x="1500869" y="735096"/>
                    <a:pt x="1500869" y="736086"/>
                  </a:cubicBezTo>
                  <a:lnTo>
                    <a:pt x="1500869" y="743652"/>
                  </a:lnTo>
                  <a:lnTo>
                    <a:pt x="1506189" y="741659"/>
                  </a:lnTo>
                  <a:cubicBezTo>
                    <a:pt x="1506949" y="741287"/>
                    <a:pt x="1506949" y="741085"/>
                    <a:pt x="1506949" y="740679"/>
                  </a:cubicBezTo>
                  <a:lnTo>
                    <a:pt x="1506949" y="735005"/>
                  </a:lnTo>
                  <a:cubicBezTo>
                    <a:pt x="1506966" y="735005"/>
                    <a:pt x="1507767" y="735005"/>
                    <a:pt x="1545457" y="735005"/>
                  </a:cubicBezTo>
                  <a:cubicBezTo>
                    <a:pt x="1545457" y="735019"/>
                    <a:pt x="1545457" y="735566"/>
                    <a:pt x="1545457" y="758784"/>
                  </a:cubicBezTo>
                  <a:cubicBezTo>
                    <a:pt x="1545464" y="758784"/>
                    <a:pt x="1545583" y="758784"/>
                    <a:pt x="1547483" y="758784"/>
                  </a:cubicBezTo>
                  <a:lnTo>
                    <a:pt x="1561669" y="758784"/>
                  </a:lnTo>
                  <a:cubicBezTo>
                    <a:pt x="1561669" y="758792"/>
                    <a:pt x="1561669" y="758874"/>
                    <a:pt x="1561669" y="759865"/>
                  </a:cubicBezTo>
                  <a:lnTo>
                    <a:pt x="1561669" y="767431"/>
                  </a:lnTo>
                  <a:cubicBezTo>
                    <a:pt x="1561679" y="767431"/>
                    <a:pt x="1561801" y="767431"/>
                    <a:pt x="1563443" y="767431"/>
                  </a:cubicBezTo>
                  <a:lnTo>
                    <a:pt x="1575857" y="767431"/>
                  </a:lnTo>
                  <a:cubicBezTo>
                    <a:pt x="1575857" y="767419"/>
                    <a:pt x="1575857" y="766908"/>
                    <a:pt x="1575857" y="743652"/>
                  </a:cubicBezTo>
                  <a:cubicBezTo>
                    <a:pt x="1575863" y="743652"/>
                    <a:pt x="1575941" y="743652"/>
                    <a:pt x="1576869" y="743652"/>
                  </a:cubicBezTo>
                  <a:lnTo>
                    <a:pt x="1583963" y="743652"/>
                  </a:lnTo>
                  <a:cubicBezTo>
                    <a:pt x="1583963" y="743633"/>
                    <a:pt x="1583963" y="742862"/>
                    <a:pt x="1583963" y="711225"/>
                  </a:cubicBezTo>
                  <a:cubicBezTo>
                    <a:pt x="1583971" y="711225"/>
                    <a:pt x="1584047" y="711225"/>
                    <a:pt x="1584977" y="711225"/>
                  </a:cubicBezTo>
                  <a:lnTo>
                    <a:pt x="1592071" y="711225"/>
                  </a:lnTo>
                  <a:cubicBezTo>
                    <a:pt x="1592071" y="711219"/>
                    <a:pt x="1592071" y="711110"/>
                    <a:pt x="1592071" y="709334"/>
                  </a:cubicBezTo>
                  <a:lnTo>
                    <a:pt x="1592071" y="696093"/>
                  </a:lnTo>
                  <a:cubicBezTo>
                    <a:pt x="1590043" y="696093"/>
                    <a:pt x="1590043" y="696093"/>
                    <a:pt x="1590803" y="694471"/>
                  </a:cubicBezTo>
                  <a:lnTo>
                    <a:pt x="1596123" y="683122"/>
                  </a:lnTo>
                  <a:cubicBezTo>
                    <a:pt x="1596129" y="683139"/>
                    <a:pt x="1596323" y="683813"/>
                    <a:pt x="1604231" y="711225"/>
                  </a:cubicBezTo>
                  <a:cubicBezTo>
                    <a:pt x="1604239" y="711225"/>
                    <a:pt x="1604311" y="711225"/>
                    <a:pt x="1604991" y="711225"/>
                  </a:cubicBezTo>
                  <a:lnTo>
                    <a:pt x="1610311" y="711225"/>
                  </a:lnTo>
                  <a:cubicBezTo>
                    <a:pt x="1610311" y="711212"/>
                    <a:pt x="1610311" y="710033"/>
                    <a:pt x="1610311" y="605298"/>
                  </a:cubicBezTo>
                  <a:cubicBezTo>
                    <a:pt x="1610321" y="605298"/>
                    <a:pt x="1610435" y="605298"/>
                    <a:pt x="1611831" y="605298"/>
                  </a:cubicBezTo>
                  <a:lnTo>
                    <a:pt x="1622471" y="605298"/>
                  </a:lnTo>
                  <a:cubicBezTo>
                    <a:pt x="1622471" y="605276"/>
                    <a:pt x="1622471" y="604266"/>
                    <a:pt x="1622471" y="557739"/>
                  </a:cubicBezTo>
                  <a:cubicBezTo>
                    <a:pt x="1622487" y="557739"/>
                    <a:pt x="1623113" y="557739"/>
                    <a:pt x="1648817" y="557739"/>
                  </a:cubicBezTo>
                  <a:cubicBezTo>
                    <a:pt x="1648817" y="557727"/>
                    <a:pt x="1648817" y="557217"/>
                    <a:pt x="1648817" y="536121"/>
                  </a:cubicBezTo>
                  <a:cubicBezTo>
                    <a:pt x="1648837" y="536121"/>
                    <a:pt x="1649625" y="536121"/>
                    <a:pt x="1683271" y="536121"/>
                  </a:cubicBezTo>
                  <a:cubicBezTo>
                    <a:pt x="1683271" y="536129"/>
                    <a:pt x="1683271" y="536259"/>
                    <a:pt x="1683271" y="538553"/>
                  </a:cubicBezTo>
                  <a:lnTo>
                    <a:pt x="1683271" y="555577"/>
                  </a:lnTo>
                  <a:cubicBezTo>
                    <a:pt x="1683281" y="555577"/>
                    <a:pt x="1683411" y="555577"/>
                    <a:pt x="1685551" y="555577"/>
                  </a:cubicBezTo>
                  <a:lnTo>
                    <a:pt x="1701511" y="555577"/>
                  </a:lnTo>
                  <a:cubicBezTo>
                    <a:pt x="1701511" y="555595"/>
                    <a:pt x="1701511" y="556489"/>
                    <a:pt x="1701511" y="603136"/>
                  </a:cubicBezTo>
                  <a:cubicBezTo>
                    <a:pt x="1701517" y="603136"/>
                    <a:pt x="1701593" y="603136"/>
                    <a:pt x="1702525" y="603136"/>
                  </a:cubicBezTo>
                  <a:lnTo>
                    <a:pt x="1709619" y="603136"/>
                  </a:lnTo>
                  <a:lnTo>
                    <a:pt x="1723805" y="607460"/>
                  </a:lnTo>
                  <a:cubicBezTo>
                    <a:pt x="1723805" y="607470"/>
                    <a:pt x="1723805" y="608120"/>
                    <a:pt x="1723805" y="646372"/>
                  </a:cubicBezTo>
                  <a:cubicBezTo>
                    <a:pt x="1723811" y="646372"/>
                    <a:pt x="1723887" y="646372"/>
                    <a:pt x="1724819" y="646372"/>
                  </a:cubicBezTo>
                  <a:lnTo>
                    <a:pt x="1731911" y="646372"/>
                  </a:lnTo>
                  <a:cubicBezTo>
                    <a:pt x="1731911" y="646382"/>
                    <a:pt x="1731911" y="646488"/>
                    <a:pt x="1731911" y="647993"/>
                  </a:cubicBezTo>
                  <a:lnTo>
                    <a:pt x="1731911" y="659342"/>
                  </a:lnTo>
                  <a:cubicBezTo>
                    <a:pt x="1731919" y="659342"/>
                    <a:pt x="1732043" y="659342"/>
                    <a:pt x="1733939" y="659342"/>
                  </a:cubicBezTo>
                  <a:lnTo>
                    <a:pt x="1748125" y="659342"/>
                  </a:lnTo>
                  <a:lnTo>
                    <a:pt x="1754205" y="665828"/>
                  </a:lnTo>
                  <a:cubicBezTo>
                    <a:pt x="1754205" y="665840"/>
                    <a:pt x="1754205" y="666326"/>
                    <a:pt x="1754205" y="687446"/>
                  </a:cubicBezTo>
                  <a:cubicBezTo>
                    <a:pt x="1754214" y="687446"/>
                    <a:pt x="1754345" y="687446"/>
                    <a:pt x="1756485" y="687446"/>
                  </a:cubicBezTo>
                  <a:lnTo>
                    <a:pt x="1772445" y="687446"/>
                  </a:lnTo>
                  <a:cubicBezTo>
                    <a:pt x="1772445" y="687453"/>
                    <a:pt x="1772445" y="687533"/>
                    <a:pt x="1772445" y="688526"/>
                  </a:cubicBezTo>
                  <a:lnTo>
                    <a:pt x="1772445" y="696093"/>
                  </a:lnTo>
                  <a:cubicBezTo>
                    <a:pt x="1772455" y="696093"/>
                    <a:pt x="1772553" y="696093"/>
                    <a:pt x="1773713" y="696093"/>
                  </a:cubicBezTo>
                  <a:lnTo>
                    <a:pt x="1782579" y="696093"/>
                  </a:lnTo>
                  <a:cubicBezTo>
                    <a:pt x="1782579" y="696102"/>
                    <a:pt x="1782579" y="696231"/>
                    <a:pt x="1782579" y="698254"/>
                  </a:cubicBezTo>
                  <a:lnTo>
                    <a:pt x="1782579" y="713387"/>
                  </a:lnTo>
                  <a:cubicBezTo>
                    <a:pt x="1786633" y="713387"/>
                    <a:pt x="1786633" y="713387"/>
                    <a:pt x="1786633" y="711495"/>
                  </a:cubicBezTo>
                  <a:lnTo>
                    <a:pt x="1786633" y="698254"/>
                  </a:lnTo>
                  <a:cubicBezTo>
                    <a:pt x="1786639" y="698254"/>
                    <a:pt x="1786716" y="698254"/>
                    <a:pt x="1787645" y="698254"/>
                  </a:cubicBezTo>
                  <a:lnTo>
                    <a:pt x="1794739" y="698254"/>
                  </a:lnTo>
                  <a:cubicBezTo>
                    <a:pt x="1794739" y="698265"/>
                    <a:pt x="1794739" y="698384"/>
                    <a:pt x="1794739" y="699876"/>
                  </a:cubicBezTo>
                  <a:lnTo>
                    <a:pt x="1794739" y="711225"/>
                  </a:lnTo>
                  <a:cubicBezTo>
                    <a:pt x="1794749" y="711225"/>
                    <a:pt x="1794821" y="711225"/>
                    <a:pt x="1795499" y="711225"/>
                  </a:cubicBezTo>
                  <a:lnTo>
                    <a:pt x="1800819" y="711225"/>
                  </a:lnTo>
                  <a:cubicBezTo>
                    <a:pt x="1800819" y="706902"/>
                    <a:pt x="1800819" y="706902"/>
                    <a:pt x="1849459" y="706902"/>
                  </a:cubicBezTo>
                  <a:cubicBezTo>
                    <a:pt x="1849459" y="706911"/>
                    <a:pt x="1849459" y="707012"/>
                    <a:pt x="1849459" y="708253"/>
                  </a:cubicBezTo>
                  <a:lnTo>
                    <a:pt x="1849459" y="717710"/>
                  </a:lnTo>
                  <a:cubicBezTo>
                    <a:pt x="1849467" y="717710"/>
                    <a:pt x="1849543" y="717710"/>
                    <a:pt x="1850219" y="717710"/>
                  </a:cubicBezTo>
                  <a:lnTo>
                    <a:pt x="1855541" y="717710"/>
                  </a:lnTo>
                  <a:cubicBezTo>
                    <a:pt x="1855541" y="717719"/>
                    <a:pt x="1855541" y="717841"/>
                    <a:pt x="1855541" y="719872"/>
                  </a:cubicBezTo>
                  <a:lnTo>
                    <a:pt x="1855541" y="735005"/>
                  </a:lnTo>
                  <a:cubicBezTo>
                    <a:pt x="1855549" y="735001"/>
                    <a:pt x="1855665" y="734923"/>
                    <a:pt x="1857567" y="733654"/>
                  </a:cubicBezTo>
                  <a:lnTo>
                    <a:pt x="1871753" y="724196"/>
                  </a:lnTo>
                  <a:cubicBezTo>
                    <a:pt x="1871755" y="724177"/>
                    <a:pt x="1871887" y="723302"/>
                    <a:pt x="1877833" y="683122"/>
                  </a:cubicBezTo>
                  <a:cubicBezTo>
                    <a:pt x="1877843" y="683120"/>
                    <a:pt x="1877911" y="683094"/>
                    <a:pt x="1878593" y="682852"/>
                  </a:cubicBezTo>
                  <a:lnTo>
                    <a:pt x="1883913" y="680960"/>
                  </a:lnTo>
                  <a:cubicBezTo>
                    <a:pt x="1883913" y="680944"/>
                    <a:pt x="1883947" y="679883"/>
                    <a:pt x="1885941" y="611783"/>
                  </a:cubicBezTo>
                  <a:cubicBezTo>
                    <a:pt x="1885941" y="611801"/>
                    <a:pt x="1885973" y="612892"/>
                    <a:pt x="1887967" y="680960"/>
                  </a:cubicBezTo>
                  <a:cubicBezTo>
                    <a:pt x="1887977" y="680963"/>
                    <a:pt x="1888047" y="680988"/>
                    <a:pt x="1888727" y="681230"/>
                  </a:cubicBezTo>
                  <a:lnTo>
                    <a:pt x="1894047" y="683122"/>
                  </a:lnTo>
                  <a:cubicBezTo>
                    <a:pt x="1894047" y="683102"/>
                    <a:pt x="1894047" y="681769"/>
                    <a:pt x="1894047" y="596651"/>
                  </a:cubicBezTo>
                  <a:cubicBezTo>
                    <a:pt x="1898101" y="596651"/>
                    <a:pt x="1898101" y="596651"/>
                    <a:pt x="1898101" y="564224"/>
                  </a:cubicBezTo>
                  <a:cubicBezTo>
                    <a:pt x="1898113" y="564224"/>
                    <a:pt x="1898799" y="564224"/>
                    <a:pt x="1936607" y="564224"/>
                  </a:cubicBezTo>
                  <a:cubicBezTo>
                    <a:pt x="1936607" y="564241"/>
                    <a:pt x="1936607" y="564959"/>
                    <a:pt x="1936607" y="596651"/>
                  </a:cubicBezTo>
                  <a:cubicBezTo>
                    <a:pt x="1936617" y="596651"/>
                    <a:pt x="1936689" y="596651"/>
                    <a:pt x="1937367" y="596651"/>
                  </a:cubicBezTo>
                  <a:lnTo>
                    <a:pt x="1942687" y="596651"/>
                  </a:lnTo>
                  <a:cubicBezTo>
                    <a:pt x="1942687" y="596630"/>
                    <a:pt x="1942687" y="595324"/>
                    <a:pt x="1942687" y="514503"/>
                  </a:cubicBezTo>
                  <a:cubicBezTo>
                    <a:pt x="1942693" y="514503"/>
                    <a:pt x="1942793" y="514503"/>
                    <a:pt x="1944461" y="514503"/>
                  </a:cubicBezTo>
                  <a:lnTo>
                    <a:pt x="1956875" y="514503"/>
                  </a:lnTo>
                  <a:cubicBezTo>
                    <a:pt x="1956875" y="514496"/>
                    <a:pt x="1956875" y="514385"/>
                    <a:pt x="1956875" y="512612"/>
                  </a:cubicBezTo>
                  <a:lnTo>
                    <a:pt x="1956875" y="499371"/>
                  </a:lnTo>
                  <a:cubicBezTo>
                    <a:pt x="1956885" y="499371"/>
                    <a:pt x="1957383" y="499371"/>
                    <a:pt x="1979169" y="499371"/>
                  </a:cubicBezTo>
                  <a:cubicBezTo>
                    <a:pt x="1979169" y="499364"/>
                    <a:pt x="1979169" y="499283"/>
                    <a:pt x="1979169" y="498290"/>
                  </a:cubicBezTo>
                  <a:lnTo>
                    <a:pt x="1979169" y="490724"/>
                  </a:lnTo>
                  <a:cubicBezTo>
                    <a:pt x="1979175" y="490724"/>
                    <a:pt x="1979285" y="490724"/>
                    <a:pt x="1980941" y="490724"/>
                  </a:cubicBezTo>
                  <a:lnTo>
                    <a:pt x="1993355" y="490724"/>
                  </a:lnTo>
                  <a:cubicBezTo>
                    <a:pt x="1993355" y="490732"/>
                    <a:pt x="1993355" y="490811"/>
                    <a:pt x="1993355" y="491805"/>
                  </a:cubicBezTo>
                  <a:lnTo>
                    <a:pt x="1993355" y="499371"/>
                  </a:lnTo>
                  <a:cubicBezTo>
                    <a:pt x="1993365" y="499371"/>
                    <a:pt x="1993437" y="499371"/>
                    <a:pt x="1994115" y="499371"/>
                  </a:cubicBezTo>
                  <a:lnTo>
                    <a:pt x="1999435" y="499371"/>
                  </a:lnTo>
                  <a:lnTo>
                    <a:pt x="2009569" y="495047"/>
                  </a:lnTo>
                  <a:lnTo>
                    <a:pt x="2013621" y="498290"/>
                  </a:lnTo>
                  <a:lnTo>
                    <a:pt x="2013621" y="490724"/>
                  </a:lnTo>
                  <a:cubicBezTo>
                    <a:pt x="2013631" y="490724"/>
                    <a:pt x="2013767" y="490724"/>
                    <a:pt x="2015901" y="490724"/>
                  </a:cubicBezTo>
                  <a:lnTo>
                    <a:pt x="2031863" y="490724"/>
                  </a:lnTo>
                  <a:cubicBezTo>
                    <a:pt x="2031863" y="490732"/>
                    <a:pt x="2031863" y="490811"/>
                    <a:pt x="2031863" y="491805"/>
                  </a:cubicBezTo>
                  <a:lnTo>
                    <a:pt x="2031863" y="499371"/>
                  </a:lnTo>
                  <a:cubicBezTo>
                    <a:pt x="2031881" y="499371"/>
                    <a:pt x="2032617" y="499371"/>
                    <a:pt x="2062263" y="499371"/>
                  </a:cubicBezTo>
                  <a:cubicBezTo>
                    <a:pt x="2062263" y="499381"/>
                    <a:pt x="2062263" y="499490"/>
                    <a:pt x="2062263" y="500992"/>
                  </a:cubicBezTo>
                  <a:lnTo>
                    <a:pt x="2062263" y="512342"/>
                  </a:lnTo>
                  <a:cubicBezTo>
                    <a:pt x="2062279" y="512342"/>
                    <a:pt x="2062919" y="512342"/>
                    <a:pt x="2088609" y="512342"/>
                  </a:cubicBezTo>
                  <a:cubicBezTo>
                    <a:pt x="2088609" y="512358"/>
                    <a:pt x="2088609" y="513038"/>
                    <a:pt x="2088609" y="542606"/>
                  </a:cubicBezTo>
                  <a:cubicBezTo>
                    <a:pt x="2088619" y="542606"/>
                    <a:pt x="2088691" y="542606"/>
                    <a:pt x="2089369" y="542606"/>
                  </a:cubicBezTo>
                  <a:lnTo>
                    <a:pt x="2094689" y="542606"/>
                  </a:lnTo>
                  <a:cubicBezTo>
                    <a:pt x="2094689" y="542613"/>
                    <a:pt x="2094689" y="542699"/>
                    <a:pt x="2094689" y="543687"/>
                  </a:cubicBezTo>
                  <a:lnTo>
                    <a:pt x="2094689" y="551254"/>
                  </a:lnTo>
                  <a:cubicBezTo>
                    <a:pt x="2098743" y="551254"/>
                    <a:pt x="2098743" y="551254"/>
                    <a:pt x="2098743" y="581518"/>
                  </a:cubicBezTo>
                  <a:cubicBezTo>
                    <a:pt x="2098753" y="581518"/>
                    <a:pt x="2098827" y="581518"/>
                    <a:pt x="2099503" y="581518"/>
                  </a:cubicBezTo>
                  <a:lnTo>
                    <a:pt x="2104823" y="581518"/>
                  </a:lnTo>
                  <a:cubicBezTo>
                    <a:pt x="2104823" y="581527"/>
                    <a:pt x="2104823" y="581594"/>
                    <a:pt x="2104823" y="582329"/>
                  </a:cubicBezTo>
                  <a:lnTo>
                    <a:pt x="2104823" y="588004"/>
                  </a:lnTo>
                  <a:cubicBezTo>
                    <a:pt x="2104829" y="588004"/>
                    <a:pt x="2104907" y="588004"/>
                    <a:pt x="2105837" y="588004"/>
                  </a:cubicBezTo>
                  <a:lnTo>
                    <a:pt x="2112929" y="588004"/>
                  </a:lnTo>
                  <a:cubicBezTo>
                    <a:pt x="2112929" y="588021"/>
                    <a:pt x="2112929" y="588734"/>
                    <a:pt x="2112929" y="618269"/>
                  </a:cubicBezTo>
                  <a:cubicBezTo>
                    <a:pt x="2112937" y="618269"/>
                    <a:pt x="2113057" y="618269"/>
                    <a:pt x="2114957" y="618269"/>
                  </a:cubicBezTo>
                  <a:lnTo>
                    <a:pt x="2129143" y="618269"/>
                  </a:lnTo>
                  <a:cubicBezTo>
                    <a:pt x="2129143" y="618285"/>
                    <a:pt x="2129143" y="618865"/>
                    <a:pt x="2129143" y="642048"/>
                  </a:cubicBezTo>
                  <a:cubicBezTo>
                    <a:pt x="2131171" y="642048"/>
                    <a:pt x="2131171" y="642048"/>
                    <a:pt x="2131171" y="643669"/>
                  </a:cubicBezTo>
                  <a:lnTo>
                    <a:pt x="2131171" y="655019"/>
                  </a:lnTo>
                  <a:cubicBezTo>
                    <a:pt x="2131179" y="655019"/>
                    <a:pt x="2131249" y="655019"/>
                    <a:pt x="2131931" y="655019"/>
                  </a:cubicBezTo>
                  <a:lnTo>
                    <a:pt x="2137251" y="655019"/>
                  </a:lnTo>
                  <a:cubicBezTo>
                    <a:pt x="2137251" y="655033"/>
                    <a:pt x="2137251" y="655596"/>
                    <a:pt x="2137251" y="678798"/>
                  </a:cubicBezTo>
                  <a:cubicBezTo>
                    <a:pt x="2137259" y="678798"/>
                    <a:pt x="2137357" y="678798"/>
                    <a:pt x="2138517" y="678798"/>
                  </a:cubicBezTo>
                  <a:lnTo>
                    <a:pt x="2147383" y="678798"/>
                  </a:lnTo>
                  <a:cubicBezTo>
                    <a:pt x="2149411" y="680960"/>
                    <a:pt x="2149411" y="680960"/>
                    <a:pt x="2149411" y="682852"/>
                  </a:cubicBezTo>
                  <a:lnTo>
                    <a:pt x="2149411" y="696093"/>
                  </a:lnTo>
                  <a:cubicBezTo>
                    <a:pt x="2149415" y="696086"/>
                    <a:pt x="2149503" y="695979"/>
                    <a:pt x="2150931" y="694201"/>
                  </a:cubicBezTo>
                  <a:lnTo>
                    <a:pt x="2161571" y="680960"/>
                  </a:lnTo>
                  <a:cubicBezTo>
                    <a:pt x="2161585" y="680960"/>
                    <a:pt x="2162225" y="680960"/>
                    <a:pt x="2189945" y="680960"/>
                  </a:cubicBezTo>
                  <a:cubicBezTo>
                    <a:pt x="2189945" y="680985"/>
                    <a:pt x="2189945" y="682386"/>
                    <a:pt x="2189945" y="767431"/>
                  </a:cubicBezTo>
                  <a:cubicBezTo>
                    <a:pt x="2189953" y="767431"/>
                    <a:pt x="2190029" y="767431"/>
                    <a:pt x="2190705" y="767431"/>
                  </a:cubicBezTo>
                  <a:lnTo>
                    <a:pt x="2196025" y="767431"/>
                  </a:lnTo>
                  <a:cubicBezTo>
                    <a:pt x="2196029" y="767423"/>
                    <a:pt x="2196087" y="767323"/>
                    <a:pt x="2196785" y="766080"/>
                  </a:cubicBezTo>
                  <a:lnTo>
                    <a:pt x="2202105" y="756622"/>
                  </a:lnTo>
                  <a:cubicBezTo>
                    <a:pt x="2202105" y="756629"/>
                    <a:pt x="2202105" y="756728"/>
                    <a:pt x="2202105" y="758514"/>
                  </a:cubicBezTo>
                  <a:lnTo>
                    <a:pt x="2202105" y="771755"/>
                  </a:lnTo>
                  <a:cubicBezTo>
                    <a:pt x="2206157" y="771755"/>
                    <a:pt x="2206157" y="771755"/>
                    <a:pt x="2206157" y="726358"/>
                  </a:cubicBezTo>
                  <a:cubicBezTo>
                    <a:pt x="2206167" y="726358"/>
                    <a:pt x="2206237" y="726358"/>
                    <a:pt x="2206917" y="726358"/>
                  </a:cubicBezTo>
                  <a:lnTo>
                    <a:pt x="2212237" y="726358"/>
                  </a:lnTo>
                  <a:cubicBezTo>
                    <a:pt x="2212237" y="726343"/>
                    <a:pt x="2212237" y="725343"/>
                    <a:pt x="2212237" y="661504"/>
                  </a:cubicBezTo>
                  <a:cubicBezTo>
                    <a:pt x="2212245" y="661504"/>
                    <a:pt x="2212325" y="661504"/>
                    <a:pt x="2213251" y="661504"/>
                  </a:cubicBezTo>
                  <a:lnTo>
                    <a:pt x="2220345" y="661504"/>
                  </a:lnTo>
                  <a:cubicBezTo>
                    <a:pt x="2220351" y="661483"/>
                    <a:pt x="2220615" y="660543"/>
                    <a:pt x="2232505" y="618269"/>
                  </a:cubicBezTo>
                  <a:cubicBezTo>
                    <a:pt x="2232514" y="618269"/>
                    <a:pt x="2232611" y="618269"/>
                    <a:pt x="2233771" y="618269"/>
                  </a:cubicBezTo>
                  <a:lnTo>
                    <a:pt x="2242639" y="618269"/>
                  </a:lnTo>
                  <a:cubicBezTo>
                    <a:pt x="2242644" y="618292"/>
                    <a:pt x="2242869" y="619258"/>
                    <a:pt x="2252771" y="661504"/>
                  </a:cubicBezTo>
                  <a:cubicBezTo>
                    <a:pt x="2252777" y="661504"/>
                    <a:pt x="2252851" y="661504"/>
                    <a:pt x="2253785" y="661504"/>
                  </a:cubicBezTo>
                  <a:lnTo>
                    <a:pt x="2260879" y="661504"/>
                  </a:lnTo>
                  <a:cubicBezTo>
                    <a:pt x="2260879" y="661515"/>
                    <a:pt x="2260879" y="662182"/>
                    <a:pt x="2260879" y="700416"/>
                  </a:cubicBezTo>
                  <a:cubicBezTo>
                    <a:pt x="2260885" y="700416"/>
                    <a:pt x="2260985" y="700416"/>
                    <a:pt x="2262651" y="700416"/>
                  </a:cubicBezTo>
                  <a:lnTo>
                    <a:pt x="2275065" y="700416"/>
                  </a:lnTo>
                  <a:cubicBezTo>
                    <a:pt x="2275065" y="700424"/>
                    <a:pt x="2275065" y="700546"/>
                    <a:pt x="2275065" y="702578"/>
                  </a:cubicBezTo>
                  <a:lnTo>
                    <a:pt x="2275065" y="717710"/>
                  </a:lnTo>
                  <a:cubicBezTo>
                    <a:pt x="2279119" y="717710"/>
                    <a:pt x="2279119" y="717710"/>
                    <a:pt x="2279119" y="715549"/>
                  </a:cubicBezTo>
                  <a:lnTo>
                    <a:pt x="2279119" y="700416"/>
                  </a:lnTo>
                  <a:cubicBezTo>
                    <a:pt x="2279129" y="700416"/>
                    <a:pt x="2279241" y="700416"/>
                    <a:pt x="2280639" y="700416"/>
                  </a:cubicBezTo>
                  <a:lnTo>
                    <a:pt x="2291279" y="700416"/>
                  </a:lnTo>
                  <a:cubicBezTo>
                    <a:pt x="2291279" y="700426"/>
                    <a:pt x="2291279" y="700543"/>
                    <a:pt x="2291279" y="702037"/>
                  </a:cubicBezTo>
                  <a:lnTo>
                    <a:pt x="2291279" y="713387"/>
                  </a:lnTo>
                  <a:cubicBezTo>
                    <a:pt x="2291295" y="713387"/>
                    <a:pt x="2292003" y="713387"/>
                    <a:pt x="2321680" y="713387"/>
                  </a:cubicBezTo>
                  <a:cubicBezTo>
                    <a:pt x="2321680" y="713370"/>
                    <a:pt x="2321680" y="712599"/>
                    <a:pt x="2321680" y="676637"/>
                  </a:cubicBezTo>
                  <a:cubicBezTo>
                    <a:pt x="2321687" y="676637"/>
                    <a:pt x="2321781" y="676637"/>
                    <a:pt x="2322945" y="676637"/>
                  </a:cubicBezTo>
                  <a:lnTo>
                    <a:pt x="2331813" y="676637"/>
                  </a:lnTo>
                  <a:cubicBezTo>
                    <a:pt x="2331813" y="676648"/>
                    <a:pt x="2331813" y="677142"/>
                    <a:pt x="2331813" y="698254"/>
                  </a:cubicBezTo>
                  <a:cubicBezTo>
                    <a:pt x="2333840" y="698254"/>
                    <a:pt x="2333840" y="698254"/>
                    <a:pt x="2333840" y="665828"/>
                  </a:cubicBezTo>
                  <a:cubicBezTo>
                    <a:pt x="2333853" y="665828"/>
                    <a:pt x="2334395" y="665828"/>
                    <a:pt x="2356133" y="665828"/>
                  </a:cubicBezTo>
                  <a:cubicBezTo>
                    <a:pt x="2356133" y="665818"/>
                    <a:pt x="2356133" y="665698"/>
                    <a:pt x="2356133" y="664206"/>
                  </a:cubicBezTo>
                  <a:lnTo>
                    <a:pt x="2356133" y="652857"/>
                  </a:lnTo>
                  <a:cubicBezTo>
                    <a:pt x="2356141" y="652857"/>
                    <a:pt x="2356215" y="652857"/>
                    <a:pt x="2356893" y="652857"/>
                  </a:cubicBezTo>
                  <a:lnTo>
                    <a:pt x="2362213" y="652857"/>
                  </a:lnTo>
                  <a:cubicBezTo>
                    <a:pt x="2362213" y="652851"/>
                    <a:pt x="2362213" y="652738"/>
                    <a:pt x="2362213" y="650966"/>
                  </a:cubicBezTo>
                  <a:lnTo>
                    <a:pt x="2362213" y="637725"/>
                  </a:lnTo>
                  <a:lnTo>
                    <a:pt x="2366267" y="644210"/>
                  </a:lnTo>
                  <a:cubicBezTo>
                    <a:pt x="2366275" y="644210"/>
                    <a:pt x="2366403" y="644210"/>
                    <a:pt x="2368547" y="644210"/>
                  </a:cubicBezTo>
                  <a:lnTo>
                    <a:pt x="2384507" y="644210"/>
                  </a:lnTo>
                  <a:cubicBezTo>
                    <a:pt x="2384507" y="644202"/>
                    <a:pt x="2384507" y="644134"/>
                    <a:pt x="2384507" y="643399"/>
                  </a:cubicBezTo>
                  <a:lnTo>
                    <a:pt x="2384507" y="637725"/>
                  </a:lnTo>
                  <a:cubicBezTo>
                    <a:pt x="2384516" y="637725"/>
                    <a:pt x="2384590" y="637725"/>
                    <a:pt x="2385267" y="637725"/>
                  </a:cubicBezTo>
                  <a:lnTo>
                    <a:pt x="2390587" y="637725"/>
                  </a:lnTo>
                  <a:cubicBezTo>
                    <a:pt x="2390587" y="637734"/>
                    <a:pt x="2390587" y="637834"/>
                    <a:pt x="2390587" y="639076"/>
                  </a:cubicBezTo>
                  <a:lnTo>
                    <a:pt x="2390587" y="648534"/>
                  </a:lnTo>
                  <a:cubicBezTo>
                    <a:pt x="2390601" y="648534"/>
                    <a:pt x="2391335" y="648534"/>
                    <a:pt x="2429093" y="648534"/>
                  </a:cubicBezTo>
                  <a:cubicBezTo>
                    <a:pt x="2429093" y="648552"/>
                    <a:pt x="2429093" y="650062"/>
                    <a:pt x="2429093" y="786887"/>
                  </a:cubicBezTo>
                  <a:cubicBezTo>
                    <a:pt x="2429104" y="786887"/>
                    <a:pt x="2429219" y="786887"/>
                    <a:pt x="2430613" y="786887"/>
                  </a:cubicBezTo>
                  <a:lnTo>
                    <a:pt x="2441254" y="786887"/>
                  </a:lnTo>
                  <a:cubicBezTo>
                    <a:pt x="2441254" y="782564"/>
                    <a:pt x="2441254" y="778240"/>
                    <a:pt x="2441254" y="773917"/>
                  </a:cubicBezTo>
                  <a:cubicBezTo>
                    <a:pt x="2443281" y="773917"/>
                    <a:pt x="2443281" y="773917"/>
                    <a:pt x="2445307" y="773917"/>
                  </a:cubicBezTo>
                  <a:cubicBezTo>
                    <a:pt x="2445307" y="778240"/>
                    <a:pt x="2445307" y="782564"/>
                    <a:pt x="2445307" y="786887"/>
                  </a:cubicBezTo>
                  <a:cubicBezTo>
                    <a:pt x="2455441" y="786887"/>
                    <a:pt x="2465575" y="786887"/>
                    <a:pt x="2475707" y="786887"/>
                  </a:cubicBezTo>
                  <a:cubicBezTo>
                    <a:pt x="2475707" y="776078"/>
                    <a:pt x="2475707" y="767431"/>
                    <a:pt x="2475707" y="756622"/>
                  </a:cubicBezTo>
                  <a:cubicBezTo>
                    <a:pt x="2479762" y="756622"/>
                    <a:pt x="2483815" y="756622"/>
                    <a:pt x="2487867" y="756622"/>
                  </a:cubicBezTo>
                  <a:lnTo>
                    <a:pt x="2500027" y="754461"/>
                  </a:lnTo>
                  <a:cubicBezTo>
                    <a:pt x="2502055" y="754461"/>
                    <a:pt x="2502055" y="756622"/>
                    <a:pt x="2504082" y="756622"/>
                  </a:cubicBezTo>
                  <a:lnTo>
                    <a:pt x="2514215" y="756622"/>
                  </a:lnTo>
                  <a:cubicBezTo>
                    <a:pt x="2514215" y="767431"/>
                    <a:pt x="2514215" y="778240"/>
                    <a:pt x="2514215" y="786887"/>
                  </a:cubicBezTo>
                  <a:cubicBezTo>
                    <a:pt x="2516242" y="786887"/>
                    <a:pt x="2518269" y="786887"/>
                    <a:pt x="2522321" y="786887"/>
                  </a:cubicBezTo>
                  <a:cubicBezTo>
                    <a:pt x="2522321" y="793373"/>
                    <a:pt x="2522321" y="799858"/>
                    <a:pt x="2522321" y="804182"/>
                  </a:cubicBezTo>
                  <a:lnTo>
                    <a:pt x="2531658" y="805087"/>
                  </a:lnTo>
                  <a:lnTo>
                    <a:pt x="2544615" y="805087"/>
                  </a:lnTo>
                  <a:cubicBezTo>
                    <a:pt x="2544615" y="799278"/>
                    <a:pt x="2544615" y="795106"/>
                    <a:pt x="2544615" y="789049"/>
                  </a:cubicBezTo>
                  <a:lnTo>
                    <a:pt x="2612571" y="789049"/>
                  </a:lnTo>
                  <a:lnTo>
                    <a:pt x="2612571" y="703796"/>
                  </a:lnTo>
                  <a:lnTo>
                    <a:pt x="2684579" y="703796"/>
                  </a:lnTo>
                  <a:lnTo>
                    <a:pt x="2684579" y="782564"/>
                  </a:lnTo>
                  <a:cubicBezTo>
                    <a:pt x="2685215" y="782564"/>
                    <a:pt x="2685849" y="782564"/>
                    <a:pt x="2686483" y="782564"/>
                  </a:cubicBezTo>
                  <a:lnTo>
                    <a:pt x="2687725" y="805087"/>
                  </a:lnTo>
                  <a:lnTo>
                    <a:pt x="2697401" y="805087"/>
                  </a:lnTo>
                  <a:cubicBezTo>
                    <a:pt x="2697937" y="797873"/>
                    <a:pt x="2698643" y="790219"/>
                    <a:pt x="2698643" y="782564"/>
                  </a:cubicBezTo>
                  <a:cubicBezTo>
                    <a:pt x="2700671" y="782564"/>
                    <a:pt x="2702697" y="782564"/>
                    <a:pt x="2704723" y="782564"/>
                  </a:cubicBezTo>
                  <a:lnTo>
                    <a:pt x="2705965" y="805087"/>
                  </a:lnTo>
                  <a:lnTo>
                    <a:pt x="2756588" y="805087"/>
                  </a:lnTo>
                  <a:lnTo>
                    <a:pt x="2756588" y="642059"/>
                  </a:lnTo>
                  <a:lnTo>
                    <a:pt x="2953915" y="642059"/>
                  </a:lnTo>
                  <a:lnTo>
                    <a:pt x="2953915" y="805087"/>
                  </a:lnTo>
                  <a:lnTo>
                    <a:pt x="2972611" y="805087"/>
                  </a:lnTo>
                  <a:lnTo>
                    <a:pt x="2972611" y="722394"/>
                  </a:lnTo>
                  <a:lnTo>
                    <a:pt x="3067731" y="722394"/>
                  </a:lnTo>
                  <a:cubicBezTo>
                    <a:pt x="3071806" y="616373"/>
                    <a:pt x="3075185" y="510899"/>
                    <a:pt x="3079662" y="404253"/>
                  </a:cubicBezTo>
                  <a:cubicBezTo>
                    <a:pt x="3069529" y="404253"/>
                    <a:pt x="3045209" y="391282"/>
                    <a:pt x="3067502" y="382635"/>
                  </a:cubicBezTo>
                  <a:cubicBezTo>
                    <a:pt x="3065474" y="380473"/>
                    <a:pt x="3063449" y="378311"/>
                    <a:pt x="3061422" y="378311"/>
                  </a:cubicBezTo>
                  <a:cubicBezTo>
                    <a:pt x="3061422" y="365341"/>
                    <a:pt x="3059394" y="363179"/>
                    <a:pt x="3069529" y="354532"/>
                  </a:cubicBezTo>
                  <a:cubicBezTo>
                    <a:pt x="3069529" y="350208"/>
                    <a:pt x="3069529" y="343723"/>
                    <a:pt x="3069529" y="337238"/>
                  </a:cubicBezTo>
                  <a:cubicBezTo>
                    <a:pt x="3073582" y="337238"/>
                    <a:pt x="3077635" y="337238"/>
                    <a:pt x="3083715" y="337238"/>
                  </a:cubicBezTo>
                  <a:cubicBezTo>
                    <a:pt x="3083715" y="328590"/>
                    <a:pt x="3083715" y="322105"/>
                    <a:pt x="3083715" y="315620"/>
                  </a:cubicBezTo>
                  <a:cubicBezTo>
                    <a:pt x="3083715" y="313458"/>
                    <a:pt x="3085742" y="313458"/>
                    <a:pt x="3085742" y="311296"/>
                  </a:cubicBezTo>
                  <a:cubicBezTo>
                    <a:pt x="3085742" y="285355"/>
                    <a:pt x="3085742" y="259414"/>
                    <a:pt x="3085742" y="233472"/>
                  </a:cubicBezTo>
                  <a:cubicBezTo>
                    <a:pt x="3085742" y="231310"/>
                    <a:pt x="3083715" y="229149"/>
                    <a:pt x="3083715" y="226987"/>
                  </a:cubicBezTo>
                  <a:cubicBezTo>
                    <a:pt x="3085742" y="224825"/>
                    <a:pt x="3087769" y="222663"/>
                    <a:pt x="3089795" y="220501"/>
                  </a:cubicBezTo>
                  <a:cubicBezTo>
                    <a:pt x="3089795" y="201045"/>
                    <a:pt x="3089795" y="181589"/>
                    <a:pt x="3089795" y="162133"/>
                  </a:cubicBezTo>
                  <a:cubicBezTo>
                    <a:pt x="3089795" y="159972"/>
                    <a:pt x="3089795" y="159972"/>
                    <a:pt x="3091822" y="157810"/>
                  </a:cubicBezTo>
                  <a:cubicBezTo>
                    <a:pt x="3091822" y="140516"/>
                    <a:pt x="3091822" y="121060"/>
                    <a:pt x="3091822" y="101604"/>
                  </a:cubicBezTo>
                  <a:cubicBezTo>
                    <a:pt x="3093849" y="92957"/>
                    <a:pt x="3093849" y="88633"/>
                    <a:pt x="3093849" y="82148"/>
                  </a:cubicBezTo>
                  <a:cubicBezTo>
                    <a:pt x="3097902" y="88633"/>
                    <a:pt x="3097902" y="92957"/>
                    <a:pt x="3097902" y="99442"/>
                  </a:cubicBezTo>
                  <a:cubicBezTo>
                    <a:pt x="3099929" y="121060"/>
                    <a:pt x="3099929" y="140516"/>
                    <a:pt x="3099929" y="157810"/>
                  </a:cubicBezTo>
                  <a:cubicBezTo>
                    <a:pt x="3101955" y="181589"/>
                    <a:pt x="3101955" y="201045"/>
                    <a:pt x="3101955" y="220501"/>
                  </a:cubicBezTo>
                  <a:cubicBezTo>
                    <a:pt x="3103982" y="222663"/>
                    <a:pt x="3106009" y="224825"/>
                    <a:pt x="3108035" y="226987"/>
                  </a:cubicBezTo>
                  <a:cubicBezTo>
                    <a:pt x="3108035" y="229149"/>
                    <a:pt x="3106009" y="231310"/>
                    <a:pt x="3106009" y="233472"/>
                  </a:cubicBezTo>
                  <a:cubicBezTo>
                    <a:pt x="3106009" y="259414"/>
                    <a:pt x="3106009" y="285355"/>
                    <a:pt x="3106009" y="311296"/>
                  </a:cubicBezTo>
                  <a:cubicBezTo>
                    <a:pt x="3106009" y="313458"/>
                    <a:pt x="3108035" y="313458"/>
                    <a:pt x="3108035" y="315620"/>
                  </a:cubicBezTo>
                  <a:cubicBezTo>
                    <a:pt x="3108035" y="322105"/>
                    <a:pt x="3108035" y="328590"/>
                    <a:pt x="3108035" y="337238"/>
                  </a:cubicBezTo>
                  <a:cubicBezTo>
                    <a:pt x="3112089" y="337238"/>
                    <a:pt x="3118169" y="337238"/>
                    <a:pt x="3122222" y="337238"/>
                  </a:cubicBezTo>
                  <a:cubicBezTo>
                    <a:pt x="3122222" y="343723"/>
                    <a:pt x="3122222" y="350208"/>
                    <a:pt x="3122222" y="354532"/>
                  </a:cubicBezTo>
                  <a:cubicBezTo>
                    <a:pt x="3130330" y="363179"/>
                    <a:pt x="3130330" y="363179"/>
                    <a:pt x="3130330" y="378311"/>
                  </a:cubicBezTo>
                  <a:cubicBezTo>
                    <a:pt x="3128302" y="378311"/>
                    <a:pt x="3126275" y="380473"/>
                    <a:pt x="3124250" y="382635"/>
                  </a:cubicBezTo>
                  <a:cubicBezTo>
                    <a:pt x="3144515" y="393444"/>
                    <a:pt x="3120195" y="402091"/>
                    <a:pt x="3112089" y="404253"/>
                  </a:cubicBezTo>
                  <a:cubicBezTo>
                    <a:pt x="3114115" y="488562"/>
                    <a:pt x="3118169" y="572871"/>
                    <a:pt x="3120195" y="657181"/>
                  </a:cubicBezTo>
                  <a:cubicBezTo>
                    <a:pt x="3142490" y="657181"/>
                    <a:pt x="3164782" y="657181"/>
                    <a:pt x="3185050" y="657181"/>
                  </a:cubicBezTo>
                  <a:cubicBezTo>
                    <a:pt x="3185050" y="683122"/>
                    <a:pt x="3185050" y="709063"/>
                    <a:pt x="3185050" y="732843"/>
                  </a:cubicBezTo>
                  <a:cubicBezTo>
                    <a:pt x="3189103" y="732843"/>
                    <a:pt x="3191130" y="732843"/>
                    <a:pt x="3193157" y="732843"/>
                  </a:cubicBezTo>
                  <a:cubicBezTo>
                    <a:pt x="3193157" y="730681"/>
                    <a:pt x="3195183" y="728519"/>
                    <a:pt x="3195183" y="726358"/>
                  </a:cubicBezTo>
                  <a:cubicBezTo>
                    <a:pt x="3197210" y="726358"/>
                    <a:pt x="3199237" y="726358"/>
                    <a:pt x="3201263" y="726358"/>
                  </a:cubicBezTo>
                  <a:cubicBezTo>
                    <a:pt x="3201263" y="728519"/>
                    <a:pt x="3201263" y="730681"/>
                    <a:pt x="3203291" y="735005"/>
                  </a:cubicBezTo>
                  <a:cubicBezTo>
                    <a:pt x="3207343" y="735005"/>
                    <a:pt x="3211397" y="735005"/>
                    <a:pt x="3215451" y="735005"/>
                  </a:cubicBezTo>
                  <a:cubicBezTo>
                    <a:pt x="3215451" y="732843"/>
                    <a:pt x="3215451" y="730681"/>
                    <a:pt x="3215451" y="728519"/>
                  </a:cubicBezTo>
                  <a:cubicBezTo>
                    <a:pt x="3223557" y="728519"/>
                    <a:pt x="3229636" y="728519"/>
                    <a:pt x="3237744" y="728519"/>
                  </a:cubicBezTo>
                  <a:cubicBezTo>
                    <a:pt x="3237744" y="730681"/>
                    <a:pt x="3237744" y="732843"/>
                    <a:pt x="3237744" y="735005"/>
                  </a:cubicBezTo>
                  <a:cubicBezTo>
                    <a:pt x="3243823" y="735005"/>
                    <a:pt x="3251931" y="735005"/>
                    <a:pt x="3258011" y="735005"/>
                  </a:cubicBezTo>
                  <a:cubicBezTo>
                    <a:pt x="3258011" y="750137"/>
                    <a:pt x="3258011" y="765270"/>
                    <a:pt x="3258011" y="780402"/>
                  </a:cubicBezTo>
                  <a:cubicBezTo>
                    <a:pt x="3262065" y="780402"/>
                    <a:pt x="3268145" y="780402"/>
                    <a:pt x="3272198" y="780402"/>
                  </a:cubicBezTo>
                  <a:cubicBezTo>
                    <a:pt x="3272198" y="776078"/>
                    <a:pt x="3272198" y="771755"/>
                    <a:pt x="3272198" y="767431"/>
                  </a:cubicBezTo>
                  <a:cubicBezTo>
                    <a:pt x="3278278" y="767431"/>
                    <a:pt x="3284358" y="767431"/>
                    <a:pt x="3288412" y="767431"/>
                  </a:cubicBezTo>
                  <a:cubicBezTo>
                    <a:pt x="3288412" y="706902"/>
                    <a:pt x="3288412" y="648534"/>
                    <a:pt x="3288412" y="588004"/>
                  </a:cubicBezTo>
                  <a:cubicBezTo>
                    <a:pt x="3290438" y="585842"/>
                    <a:pt x="3292465" y="583680"/>
                    <a:pt x="3294492" y="581518"/>
                  </a:cubicBezTo>
                  <a:cubicBezTo>
                    <a:pt x="3318811" y="581518"/>
                    <a:pt x="3343131" y="581518"/>
                    <a:pt x="3367453" y="581518"/>
                  </a:cubicBezTo>
                  <a:lnTo>
                    <a:pt x="3367453" y="590166"/>
                  </a:lnTo>
                  <a:lnTo>
                    <a:pt x="3377586" y="590166"/>
                  </a:lnTo>
                  <a:cubicBezTo>
                    <a:pt x="3377586" y="629078"/>
                    <a:pt x="3377586" y="667990"/>
                    <a:pt x="3377586" y="704740"/>
                  </a:cubicBezTo>
                  <a:cubicBezTo>
                    <a:pt x="3385693" y="704740"/>
                    <a:pt x="3391773" y="704740"/>
                    <a:pt x="3399879" y="704740"/>
                  </a:cubicBezTo>
                  <a:cubicBezTo>
                    <a:pt x="3399879" y="683122"/>
                    <a:pt x="3399879" y="661504"/>
                    <a:pt x="3399879" y="637725"/>
                  </a:cubicBezTo>
                  <a:cubicBezTo>
                    <a:pt x="3407986" y="637725"/>
                    <a:pt x="3418119" y="637725"/>
                    <a:pt x="3426227" y="637725"/>
                  </a:cubicBezTo>
                  <a:cubicBezTo>
                    <a:pt x="3428253" y="637725"/>
                    <a:pt x="3428253" y="635563"/>
                    <a:pt x="3430279" y="633401"/>
                  </a:cubicBezTo>
                  <a:lnTo>
                    <a:pt x="3438387" y="633401"/>
                  </a:lnTo>
                  <a:cubicBezTo>
                    <a:pt x="3440413" y="635563"/>
                    <a:pt x="3440413" y="637725"/>
                    <a:pt x="3442439" y="637725"/>
                  </a:cubicBezTo>
                  <a:cubicBezTo>
                    <a:pt x="3448519" y="637725"/>
                    <a:pt x="3456627" y="637725"/>
                    <a:pt x="3464734" y="637725"/>
                  </a:cubicBezTo>
                  <a:cubicBezTo>
                    <a:pt x="3464734" y="598813"/>
                    <a:pt x="3464734" y="559901"/>
                    <a:pt x="3464734" y="520989"/>
                  </a:cubicBezTo>
                  <a:cubicBezTo>
                    <a:pt x="3464747" y="520986"/>
                    <a:pt x="3465614" y="520822"/>
                    <a:pt x="3521481" y="510180"/>
                  </a:cubicBezTo>
                  <a:cubicBezTo>
                    <a:pt x="3521481" y="510187"/>
                    <a:pt x="3521481" y="510261"/>
                    <a:pt x="3521481" y="511261"/>
                  </a:cubicBezTo>
                  <a:lnTo>
                    <a:pt x="3521481" y="518827"/>
                  </a:lnTo>
                  <a:cubicBezTo>
                    <a:pt x="3521498" y="518827"/>
                    <a:pt x="3522142" y="518827"/>
                    <a:pt x="3547828" y="518827"/>
                  </a:cubicBezTo>
                  <a:cubicBezTo>
                    <a:pt x="3547828" y="518849"/>
                    <a:pt x="3547828" y="521220"/>
                    <a:pt x="3547828" y="773917"/>
                  </a:cubicBezTo>
                  <a:cubicBezTo>
                    <a:pt x="3553907" y="773917"/>
                    <a:pt x="3562015" y="773917"/>
                    <a:pt x="3570122" y="773917"/>
                  </a:cubicBezTo>
                  <a:cubicBezTo>
                    <a:pt x="3570122" y="771755"/>
                    <a:pt x="3570122" y="771755"/>
                    <a:pt x="3570122" y="769593"/>
                  </a:cubicBezTo>
                  <a:cubicBezTo>
                    <a:pt x="3574174" y="769593"/>
                    <a:pt x="3578227" y="769593"/>
                    <a:pt x="3582282" y="769593"/>
                  </a:cubicBezTo>
                  <a:cubicBezTo>
                    <a:pt x="3582282" y="771755"/>
                    <a:pt x="3582282" y="771755"/>
                    <a:pt x="3582282" y="773917"/>
                  </a:cubicBezTo>
                  <a:cubicBezTo>
                    <a:pt x="3590389" y="773917"/>
                    <a:pt x="3598494" y="773917"/>
                    <a:pt x="3606602" y="773917"/>
                  </a:cubicBezTo>
                  <a:cubicBezTo>
                    <a:pt x="3606602" y="769593"/>
                    <a:pt x="3606602" y="765270"/>
                    <a:pt x="3606602" y="760946"/>
                  </a:cubicBezTo>
                  <a:cubicBezTo>
                    <a:pt x="3616735" y="760946"/>
                    <a:pt x="3626870" y="760946"/>
                    <a:pt x="3634975" y="760946"/>
                  </a:cubicBezTo>
                  <a:cubicBezTo>
                    <a:pt x="3639029" y="756622"/>
                    <a:pt x="3643083" y="756622"/>
                    <a:pt x="3647135" y="756622"/>
                  </a:cubicBezTo>
                  <a:cubicBezTo>
                    <a:pt x="3653215" y="760946"/>
                    <a:pt x="3661323" y="760946"/>
                    <a:pt x="3667403" y="760946"/>
                  </a:cubicBezTo>
                  <a:cubicBezTo>
                    <a:pt x="3667403" y="754461"/>
                    <a:pt x="3667403" y="750137"/>
                    <a:pt x="3667403" y="743652"/>
                  </a:cubicBezTo>
                  <a:lnTo>
                    <a:pt x="3675510" y="743652"/>
                  </a:lnTo>
                  <a:cubicBezTo>
                    <a:pt x="3675510" y="739328"/>
                    <a:pt x="3675510" y="735005"/>
                    <a:pt x="3675510" y="730681"/>
                  </a:cubicBezTo>
                  <a:cubicBezTo>
                    <a:pt x="3693750" y="730681"/>
                    <a:pt x="3714017" y="730681"/>
                    <a:pt x="3732257" y="730681"/>
                  </a:cubicBezTo>
                  <a:cubicBezTo>
                    <a:pt x="3732257" y="719872"/>
                    <a:pt x="3732257" y="711225"/>
                    <a:pt x="3732257" y="700416"/>
                  </a:cubicBezTo>
                  <a:cubicBezTo>
                    <a:pt x="3738337" y="700416"/>
                    <a:pt x="3744417" y="700416"/>
                    <a:pt x="3750497" y="700416"/>
                  </a:cubicBezTo>
                  <a:cubicBezTo>
                    <a:pt x="3750497" y="698254"/>
                    <a:pt x="3750497" y="696093"/>
                    <a:pt x="3750497" y="693931"/>
                  </a:cubicBezTo>
                  <a:cubicBezTo>
                    <a:pt x="3754550" y="693931"/>
                    <a:pt x="3758603" y="693931"/>
                    <a:pt x="3762657" y="693931"/>
                  </a:cubicBezTo>
                  <a:cubicBezTo>
                    <a:pt x="3762657" y="696093"/>
                    <a:pt x="3762657" y="698254"/>
                    <a:pt x="3762657" y="700416"/>
                  </a:cubicBezTo>
                  <a:cubicBezTo>
                    <a:pt x="3768737" y="700416"/>
                    <a:pt x="3772790" y="700416"/>
                    <a:pt x="3778870" y="700416"/>
                  </a:cubicBezTo>
                  <a:cubicBezTo>
                    <a:pt x="3778870" y="715549"/>
                    <a:pt x="3778870" y="732843"/>
                    <a:pt x="3778870" y="750137"/>
                  </a:cubicBezTo>
                  <a:lnTo>
                    <a:pt x="3789470" y="750137"/>
                  </a:lnTo>
                  <a:lnTo>
                    <a:pt x="3789470" y="586174"/>
                  </a:lnTo>
                  <a:lnTo>
                    <a:pt x="3791390" y="586174"/>
                  </a:lnTo>
                  <a:lnTo>
                    <a:pt x="3791390" y="723865"/>
                  </a:lnTo>
                  <a:lnTo>
                    <a:pt x="3791390" y="750137"/>
                  </a:lnTo>
                  <a:lnTo>
                    <a:pt x="3806350" y="750137"/>
                  </a:lnTo>
                  <a:lnTo>
                    <a:pt x="3806350" y="742023"/>
                  </a:lnTo>
                  <a:lnTo>
                    <a:pt x="3811298" y="742023"/>
                  </a:lnTo>
                  <a:lnTo>
                    <a:pt x="3811298" y="724196"/>
                  </a:lnTo>
                  <a:cubicBezTo>
                    <a:pt x="3823458" y="724196"/>
                    <a:pt x="3837645" y="724196"/>
                    <a:pt x="3849805" y="724196"/>
                  </a:cubicBezTo>
                  <a:cubicBezTo>
                    <a:pt x="3849805" y="713387"/>
                    <a:pt x="3849805" y="704740"/>
                    <a:pt x="3849805" y="693931"/>
                  </a:cubicBezTo>
                  <a:lnTo>
                    <a:pt x="3888823" y="693931"/>
                  </a:lnTo>
                  <a:lnTo>
                    <a:pt x="3888823" y="690579"/>
                  </a:lnTo>
                  <a:cubicBezTo>
                    <a:pt x="3888823" y="690579"/>
                    <a:pt x="3888823" y="690579"/>
                    <a:pt x="3887708" y="690579"/>
                  </a:cubicBezTo>
                  <a:lnTo>
                    <a:pt x="3879906" y="690579"/>
                  </a:lnTo>
                  <a:cubicBezTo>
                    <a:pt x="3879906" y="690579"/>
                    <a:pt x="3879906" y="690579"/>
                    <a:pt x="3879906" y="689443"/>
                  </a:cubicBezTo>
                  <a:lnTo>
                    <a:pt x="3879906" y="681500"/>
                  </a:lnTo>
                  <a:cubicBezTo>
                    <a:pt x="3879906" y="681500"/>
                    <a:pt x="3879906" y="681500"/>
                    <a:pt x="3881022" y="681500"/>
                  </a:cubicBezTo>
                  <a:lnTo>
                    <a:pt x="3888823" y="681500"/>
                  </a:lnTo>
                  <a:cubicBezTo>
                    <a:pt x="3888823" y="681500"/>
                    <a:pt x="3888823" y="681500"/>
                    <a:pt x="3888823" y="679986"/>
                  </a:cubicBezTo>
                  <a:lnTo>
                    <a:pt x="3888823" y="669395"/>
                  </a:lnTo>
                  <a:cubicBezTo>
                    <a:pt x="3888823" y="669395"/>
                    <a:pt x="3888823" y="669395"/>
                    <a:pt x="3887708" y="669395"/>
                  </a:cubicBezTo>
                  <a:lnTo>
                    <a:pt x="3879906" y="669395"/>
                  </a:lnTo>
                  <a:cubicBezTo>
                    <a:pt x="3879906" y="669395"/>
                    <a:pt x="3879906" y="669395"/>
                    <a:pt x="3879906" y="667882"/>
                  </a:cubicBezTo>
                  <a:lnTo>
                    <a:pt x="3879906" y="657290"/>
                  </a:lnTo>
                  <a:cubicBezTo>
                    <a:pt x="3879906" y="657290"/>
                    <a:pt x="3879906" y="657290"/>
                    <a:pt x="3881022" y="657290"/>
                  </a:cubicBezTo>
                  <a:lnTo>
                    <a:pt x="3888823" y="657290"/>
                  </a:lnTo>
                  <a:cubicBezTo>
                    <a:pt x="3888823" y="657290"/>
                    <a:pt x="3888823" y="657290"/>
                    <a:pt x="3888823" y="656156"/>
                  </a:cubicBezTo>
                  <a:lnTo>
                    <a:pt x="3888823" y="648212"/>
                  </a:lnTo>
                  <a:cubicBezTo>
                    <a:pt x="3888823" y="648212"/>
                    <a:pt x="3888823" y="648212"/>
                    <a:pt x="3887708" y="648212"/>
                  </a:cubicBezTo>
                  <a:lnTo>
                    <a:pt x="3879906" y="648212"/>
                  </a:lnTo>
                  <a:cubicBezTo>
                    <a:pt x="3879906" y="648212"/>
                    <a:pt x="3879906" y="648212"/>
                    <a:pt x="3879906" y="646698"/>
                  </a:cubicBezTo>
                  <a:lnTo>
                    <a:pt x="3879906" y="636107"/>
                  </a:lnTo>
                  <a:cubicBezTo>
                    <a:pt x="3879906" y="636107"/>
                    <a:pt x="3879906" y="636107"/>
                    <a:pt x="3881022" y="636107"/>
                  </a:cubicBezTo>
                  <a:lnTo>
                    <a:pt x="3888823" y="636107"/>
                  </a:lnTo>
                  <a:cubicBezTo>
                    <a:pt x="3888823" y="636107"/>
                    <a:pt x="3888823" y="636107"/>
                    <a:pt x="3888823" y="634594"/>
                  </a:cubicBezTo>
                  <a:lnTo>
                    <a:pt x="3888823" y="624002"/>
                  </a:lnTo>
                  <a:cubicBezTo>
                    <a:pt x="3888823" y="624002"/>
                    <a:pt x="3888823" y="624002"/>
                    <a:pt x="3887708" y="624002"/>
                  </a:cubicBezTo>
                  <a:lnTo>
                    <a:pt x="3879906" y="624002"/>
                  </a:lnTo>
                  <a:cubicBezTo>
                    <a:pt x="3879906" y="624002"/>
                    <a:pt x="3879906" y="624002"/>
                    <a:pt x="3879906" y="622489"/>
                  </a:cubicBezTo>
                  <a:lnTo>
                    <a:pt x="3879906" y="611898"/>
                  </a:lnTo>
                  <a:cubicBezTo>
                    <a:pt x="3879906" y="611898"/>
                    <a:pt x="3879906" y="611898"/>
                    <a:pt x="3881022" y="611898"/>
                  </a:cubicBezTo>
                  <a:lnTo>
                    <a:pt x="3888823" y="611898"/>
                  </a:lnTo>
                  <a:cubicBezTo>
                    <a:pt x="3888823" y="611898"/>
                    <a:pt x="3888823" y="611898"/>
                    <a:pt x="3888823" y="610763"/>
                  </a:cubicBezTo>
                  <a:lnTo>
                    <a:pt x="3888823" y="602819"/>
                  </a:lnTo>
                  <a:cubicBezTo>
                    <a:pt x="3888823" y="602819"/>
                    <a:pt x="3888823" y="602819"/>
                    <a:pt x="3887708" y="602819"/>
                  </a:cubicBezTo>
                  <a:lnTo>
                    <a:pt x="3879906" y="602819"/>
                  </a:lnTo>
                  <a:cubicBezTo>
                    <a:pt x="3879906" y="602819"/>
                    <a:pt x="3879906" y="602819"/>
                    <a:pt x="3879906" y="601307"/>
                  </a:cubicBezTo>
                  <a:lnTo>
                    <a:pt x="3879906" y="590714"/>
                  </a:lnTo>
                  <a:cubicBezTo>
                    <a:pt x="3879906" y="590714"/>
                    <a:pt x="3879906" y="590714"/>
                    <a:pt x="3881022" y="590714"/>
                  </a:cubicBezTo>
                  <a:lnTo>
                    <a:pt x="3888823" y="590714"/>
                  </a:lnTo>
                  <a:cubicBezTo>
                    <a:pt x="3888823" y="590714"/>
                    <a:pt x="3888823" y="590714"/>
                    <a:pt x="3888823" y="589202"/>
                  </a:cubicBezTo>
                  <a:lnTo>
                    <a:pt x="3888823" y="578610"/>
                  </a:lnTo>
                  <a:cubicBezTo>
                    <a:pt x="3888823" y="578610"/>
                    <a:pt x="3888823" y="578610"/>
                    <a:pt x="3887708" y="578610"/>
                  </a:cubicBezTo>
                  <a:lnTo>
                    <a:pt x="3879906" y="578610"/>
                  </a:lnTo>
                  <a:cubicBezTo>
                    <a:pt x="3879906" y="578610"/>
                    <a:pt x="3879906" y="578610"/>
                    <a:pt x="3879906" y="577096"/>
                  </a:cubicBezTo>
                  <a:lnTo>
                    <a:pt x="3879906" y="566505"/>
                  </a:lnTo>
                  <a:cubicBezTo>
                    <a:pt x="3879906" y="566505"/>
                    <a:pt x="3879906" y="566505"/>
                    <a:pt x="3881022" y="566505"/>
                  </a:cubicBezTo>
                  <a:lnTo>
                    <a:pt x="3888823" y="566505"/>
                  </a:lnTo>
                  <a:cubicBezTo>
                    <a:pt x="3888823" y="566505"/>
                    <a:pt x="3888823" y="566505"/>
                    <a:pt x="3888823" y="565370"/>
                  </a:cubicBezTo>
                  <a:lnTo>
                    <a:pt x="3888823" y="557427"/>
                  </a:lnTo>
                  <a:cubicBezTo>
                    <a:pt x="3888823" y="557427"/>
                    <a:pt x="3888823" y="557427"/>
                    <a:pt x="3887708" y="557427"/>
                  </a:cubicBezTo>
                  <a:lnTo>
                    <a:pt x="3879906" y="557427"/>
                  </a:lnTo>
                  <a:cubicBezTo>
                    <a:pt x="3879906" y="557427"/>
                    <a:pt x="3879906" y="557427"/>
                    <a:pt x="3879906" y="555914"/>
                  </a:cubicBezTo>
                  <a:lnTo>
                    <a:pt x="3879906" y="545322"/>
                  </a:lnTo>
                  <a:cubicBezTo>
                    <a:pt x="3879906" y="545322"/>
                    <a:pt x="3879906" y="545322"/>
                    <a:pt x="3881022" y="545322"/>
                  </a:cubicBezTo>
                  <a:lnTo>
                    <a:pt x="3888823" y="545322"/>
                  </a:lnTo>
                  <a:cubicBezTo>
                    <a:pt x="3888823" y="545322"/>
                    <a:pt x="3888823" y="545322"/>
                    <a:pt x="3887708" y="543053"/>
                  </a:cubicBezTo>
                  <a:lnTo>
                    <a:pt x="3879906" y="527166"/>
                  </a:lnTo>
                  <a:cubicBezTo>
                    <a:pt x="3879906" y="527166"/>
                    <a:pt x="3879906" y="527166"/>
                    <a:pt x="3879906" y="478746"/>
                  </a:cubicBezTo>
                  <a:cubicBezTo>
                    <a:pt x="3879906" y="478746"/>
                    <a:pt x="3879906" y="478746"/>
                    <a:pt x="4029251" y="478746"/>
                  </a:cubicBezTo>
                  <a:cubicBezTo>
                    <a:pt x="4029251" y="478746"/>
                    <a:pt x="4029251" y="478746"/>
                    <a:pt x="4042623" y="505982"/>
                  </a:cubicBezTo>
                  <a:cubicBezTo>
                    <a:pt x="4042623" y="505982"/>
                    <a:pt x="4042623" y="505982"/>
                    <a:pt x="4042623" y="566505"/>
                  </a:cubicBezTo>
                  <a:cubicBezTo>
                    <a:pt x="4042623" y="566505"/>
                    <a:pt x="4042623" y="566505"/>
                    <a:pt x="4041510" y="566505"/>
                  </a:cubicBezTo>
                  <a:lnTo>
                    <a:pt x="4033708" y="566505"/>
                  </a:lnTo>
                  <a:cubicBezTo>
                    <a:pt x="4033708" y="566505"/>
                    <a:pt x="4033708" y="566505"/>
                    <a:pt x="4033708" y="568018"/>
                  </a:cubicBezTo>
                  <a:lnTo>
                    <a:pt x="4033708" y="578610"/>
                  </a:lnTo>
                  <a:cubicBezTo>
                    <a:pt x="4033708" y="578610"/>
                    <a:pt x="4033708" y="578610"/>
                    <a:pt x="4034823" y="578610"/>
                  </a:cubicBezTo>
                  <a:lnTo>
                    <a:pt x="4042623" y="578610"/>
                  </a:lnTo>
                  <a:cubicBezTo>
                    <a:pt x="4042623" y="578610"/>
                    <a:pt x="4042623" y="578610"/>
                    <a:pt x="4042623" y="580123"/>
                  </a:cubicBezTo>
                  <a:lnTo>
                    <a:pt x="4042623" y="590714"/>
                  </a:lnTo>
                  <a:cubicBezTo>
                    <a:pt x="4042623" y="590714"/>
                    <a:pt x="4042623" y="590714"/>
                    <a:pt x="4041510" y="590714"/>
                  </a:cubicBezTo>
                  <a:lnTo>
                    <a:pt x="4033708" y="590714"/>
                  </a:lnTo>
                  <a:cubicBezTo>
                    <a:pt x="4033708" y="590714"/>
                    <a:pt x="4033708" y="590714"/>
                    <a:pt x="4033708" y="592227"/>
                  </a:cubicBezTo>
                  <a:lnTo>
                    <a:pt x="4033708" y="602819"/>
                  </a:lnTo>
                  <a:cubicBezTo>
                    <a:pt x="4033708" y="602819"/>
                    <a:pt x="4033708" y="602819"/>
                    <a:pt x="4034823" y="602819"/>
                  </a:cubicBezTo>
                  <a:lnTo>
                    <a:pt x="4042623" y="602819"/>
                  </a:lnTo>
                  <a:cubicBezTo>
                    <a:pt x="4042623" y="602819"/>
                    <a:pt x="4042623" y="602819"/>
                    <a:pt x="4042623" y="603955"/>
                  </a:cubicBezTo>
                  <a:lnTo>
                    <a:pt x="4042623" y="611898"/>
                  </a:lnTo>
                  <a:cubicBezTo>
                    <a:pt x="4042623" y="611898"/>
                    <a:pt x="4042623" y="611898"/>
                    <a:pt x="4041510" y="611898"/>
                  </a:cubicBezTo>
                  <a:lnTo>
                    <a:pt x="4033708" y="611898"/>
                  </a:lnTo>
                  <a:cubicBezTo>
                    <a:pt x="4033708" y="611898"/>
                    <a:pt x="4033708" y="611898"/>
                    <a:pt x="4033708" y="613411"/>
                  </a:cubicBezTo>
                  <a:lnTo>
                    <a:pt x="4033708" y="624002"/>
                  </a:lnTo>
                  <a:cubicBezTo>
                    <a:pt x="4033708" y="624002"/>
                    <a:pt x="4033708" y="624002"/>
                    <a:pt x="4034823" y="624002"/>
                  </a:cubicBezTo>
                  <a:lnTo>
                    <a:pt x="4042623" y="624002"/>
                  </a:lnTo>
                  <a:cubicBezTo>
                    <a:pt x="4042623" y="624002"/>
                    <a:pt x="4042623" y="624002"/>
                    <a:pt x="4042623" y="625516"/>
                  </a:cubicBezTo>
                  <a:lnTo>
                    <a:pt x="4042623" y="636107"/>
                  </a:lnTo>
                  <a:cubicBezTo>
                    <a:pt x="4042623" y="636107"/>
                    <a:pt x="4042623" y="636107"/>
                    <a:pt x="4041510" y="636107"/>
                  </a:cubicBezTo>
                  <a:lnTo>
                    <a:pt x="4033708" y="636107"/>
                  </a:lnTo>
                  <a:cubicBezTo>
                    <a:pt x="4033708" y="636107"/>
                    <a:pt x="4033708" y="636107"/>
                    <a:pt x="4033708" y="637620"/>
                  </a:cubicBezTo>
                  <a:lnTo>
                    <a:pt x="4033708" y="648212"/>
                  </a:lnTo>
                  <a:cubicBezTo>
                    <a:pt x="4033708" y="648212"/>
                    <a:pt x="4033708" y="648212"/>
                    <a:pt x="4034823" y="648212"/>
                  </a:cubicBezTo>
                  <a:lnTo>
                    <a:pt x="4042623" y="648212"/>
                  </a:lnTo>
                  <a:cubicBezTo>
                    <a:pt x="4042623" y="648212"/>
                    <a:pt x="4042623" y="648212"/>
                    <a:pt x="4042623" y="649346"/>
                  </a:cubicBezTo>
                  <a:lnTo>
                    <a:pt x="4042623" y="657290"/>
                  </a:lnTo>
                  <a:cubicBezTo>
                    <a:pt x="4042623" y="657290"/>
                    <a:pt x="4042623" y="657290"/>
                    <a:pt x="4041510" y="657290"/>
                  </a:cubicBezTo>
                  <a:lnTo>
                    <a:pt x="4033708" y="657290"/>
                  </a:lnTo>
                  <a:cubicBezTo>
                    <a:pt x="4033708" y="657290"/>
                    <a:pt x="4033708" y="657290"/>
                    <a:pt x="4033708" y="658804"/>
                  </a:cubicBezTo>
                  <a:lnTo>
                    <a:pt x="4033708" y="669395"/>
                  </a:lnTo>
                  <a:cubicBezTo>
                    <a:pt x="4033708" y="669395"/>
                    <a:pt x="4033708" y="669395"/>
                    <a:pt x="4034823" y="669395"/>
                  </a:cubicBezTo>
                  <a:lnTo>
                    <a:pt x="4042623" y="669395"/>
                  </a:lnTo>
                  <a:cubicBezTo>
                    <a:pt x="4042623" y="669395"/>
                    <a:pt x="4042623" y="669395"/>
                    <a:pt x="4042623" y="670908"/>
                  </a:cubicBezTo>
                  <a:lnTo>
                    <a:pt x="4042623" y="681500"/>
                  </a:lnTo>
                  <a:cubicBezTo>
                    <a:pt x="4042623" y="681500"/>
                    <a:pt x="4042623" y="681500"/>
                    <a:pt x="4041510" y="681500"/>
                  </a:cubicBezTo>
                  <a:lnTo>
                    <a:pt x="4033708" y="681500"/>
                  </a:lnTo>
                  <a:cubicBezTo>
                    <a:pt x="4033708" y="681500"/>
                    <a:pt x="4033708" y="681500"/>
                    <a:pt x="4033708" y="682634"/>
                  </a:cubicBezTo>
                  <a:lnTo>
                    <a:pt x="4033708" y="690579"/>
                  </a:lnTo>
                  <a:cubicBezTo>
                    <a:pt x="4033708" y="690579"/>
                    <a:pt x="4033708" y="690579"/>
                    <a:pt x="4034823" y="690579"/>
                  </a:cubicBezTo>
                  <a:lnTo>
                    <a:pt x="4042623" y="690579"/>
                  </a:lnTo>
                  <a:cubicBezTo>
                    <a:pt x="4042623" y="690579"/>
                    <a:pt x="4042623" y="690579"/>
                    <a:pt x="4042623" y="692091"/>
                  </a:cubicBezTo>
                  <a:lnTo>
                    <a:pt x="4042623" y="702682"/>
                  </a:lnTo>
                  <a:cubicBezTo>
                    <a:pt x="4042623" y="702682"/>
                    <a:pt x="4042623" y="702682"/>
                    <a:pt x="4041510" y="702682"/>
                  </a:cubicBezTo>
                  <a:lnTo>
                    <a:pt x="4033708" y="702682"/>
                  </a:lnTo>
                  <a:cubicBezTo>
                    <a:pt x="4033708" y="702682"/>
                    <a:pt x="4033708" y="702682"/>
                    <a:pt x="4033708" y="704195"/>
                  </a:cubicBezTo>
                  <a:lnTo>
                    <a:pt x="4033708" y="714788"/>
                  </a:lnTo>
                  <a:cubicBezTo>
                    <a:pt x="4033708" y="714788"/>
                    <a:pt x="4033708" y="714788"/>
                    <a:pt x="4034823" y="714788"/>
                  </a:cubicBezTo>
                  <a:lnTo>
                    <a:pt x="4042623" y="714788"/>
                  </a:lnTo>
                  <a:cubicBezTo>
                    <a:pt x="4042623" y="714788"/>
                    <a:pt x="4042623" y="714788"/>
                    <a:pt x="4042623" y="716300"/>
                  </a:cubicBezTo>
                  <a:lnTo>
                    <a:pt x="4042623" y="726892"/>
                  </a:lnTo>
                  <a:cubicBezTo>
                    <a:pt x="4042623" y="726892"/>
                    <a:pt x="4042623" y="726892"/>
                    <a:pt x="4041510" y="726892"/>
                  </a:cubicBezTo>
                  <a:lnTo>
                    <a:pt x="4033708" y="726892"/>
                  </a:lnTo>
                  <a:cubicBezTo>
                    <a:pt x="4033708" y="726892"/>
                    <a:pt x="4033708" y="726892"/>
                    <a:pt x="4033708" y="728027"/>
                  </a:cubicBezTo>
                  <a:lnTo>
                    <a:pt x="4033708" y="735970"/>
                  </a:lnTo>
                  <a:cubicBezTo>
                    <a:pt x="4033708" y="735970"/>
                    <a:pt x="4033708" y="735970"/>
                    <a:pt x="4034823" y="735970"/>
                  </a:cubicBezTo>
                  <a:lnTo>
                    <a:pt x="4042623" y="735970"/>
                  </a:lnTo>
                  <a:cubicBezTo>
                    <a:pt x="4042623" y="735970"/>
                    <a:pt x="4042623" y="735970"/>
                    <a:pt x="4042623" y="737484"/>
                  </a:cubicBezTo>
                  <a:lnTo>
                    <a:pt x="4042623" y="748075"/>
                  </a:lnTo>
                  <a:cubicBezTo>
                    <a:pt x="4042623" y="748075"/>
                    <a:pt x="4042623" y="748075"/>
                    <a:pt x="4041510" y="748075"/>
                  </a:cubicBezTo>
                  <a:lnTo>
                    <a:pt x="4033708" y="748075"/>
                  </a:lnTo>
                  <a:cubicBezTo>
                    <a:pt x="4033708" y="748075"/>
                    <a:pt x="4033708" y="748075"/>
                    <a:pt x="4033708" y="749588"/>
                  </a:cubicBezTo>
                  <a:lnTo>
                    <a:pt x="4033708" y="760181"/>
                  </a:lnTo>
                  <a:cubicBezTo>
                    <a:pt x="4033708" y="760181"/>
                    <a:pt x="4033708" y="760181"/>
                    <a:pt x="4034823" y="760181"/>
                  </a:cubicBezTo>
                  <a:lnTo>
                    <a:pt x="4042623" y="760181"/>
                  </a:lnTo>
                  <a:cubicBezTo>
                    <a:pt x="4042623" y="760181"/>
                    <a:pt x="4042623" y="760181"/>
                    <a:pt x="4042623" y="761314"/>
                  </a:cubicBezTo>
                  <a:lnTo>
                    <a:pt x="4042623" y="769258"/>
                  </a:lnTo>
                  <a:cubicBezTo>
                    <a:pt x="4042623" y="769258"/>
                    <a:pt x="4042623" y="769258"/>
                    <a:pt x="4041510" y="769258"/>
                  </a:cubicBezTo>
                  <a:lnTo>
                    <a:pt x="4033708" y="769258"/>
                  </a:lnTo>
                  <a:cubicBezTo>
                    <a:pt x="4033708" y="769258"/>
                    <a:pt x="4033708" y="769258"/>
                    <a:pt x="4033708" y="770772"/>
                  </a:cubicBezTo>
                  <a:lnTo>
                    <a:pt x="4033708" y="781363"/>
                  </a:lnTo>
                  <a:cubicBezTo>
                    <a:pt x="4033708" y="781363"/>
                    <a:pt x="4033708" y="781363"/>
                    <a:pt x="4034823" y="781363"/>
                  </a:cubicBezTo>
                  <a:lnTo>
                    <a:pt x="4042623" y="781363"/>
                  </a:lnTo>
                  <a:cubicBezTo>
                    <a:pt x="4042623" y="781363"/>
                    <a:pt x="4042623" y="781363"/>
                    <a:pt x="4042623" y="782876"/>
                  </a:cubicBezTo>
                  <a:lnTo>
                    <a:pt x="4042623" y="793468"/>
                  </a:lnTo>
                  <a:cubicBezTo>
                    <a:pt x="4042623" y="793468"/>
                    <a:pt x="4042623" y="793468"/>
                    <a:pt x="4041510" y="793468"/>
                  </a:cubicBezTo>
                  <a:lnTo>
                    <a:pt x="4033708" y="793468"/>
                  </a:lnTo>
                  <a:cubicBezTo>
                    <a:pt x="4033708" y="793468"/>
                    <a:pt x="4033708" y="793468"/>
                    <a:pt x="4033708" y="794981"/>
                  </a:cubicBezTo>
                  <a:lnTo>
                    <a:pt x="4033708" y="805572"/>
                  </a:lnTo>
                  <a:cubicBezTo>
                    <a:pt x="4033708" y="805572"/>
                    <a:pt x="4033708" y="805572"/>
                    <a:pt x="4034823" y="805572"/>
                  </a:cubicBezTo>
                  <a:lnTo>
                    <a:pt x="4042623" y="805572"/>
                  </a:lnTo>
                  <a:cubicBezTo>
                    <a:pt x="4042623" y="805572"/>
                    <a:pt x="4042623" y="805572"/>
                    <a:pt x="4042623" y="806707"/>
                  </a:cubicBezTo>
                  <a:lnTo>
                    <a:pt x="4042623" y="814651"/>
                  </a:lnTo>
                  <a:cubicBezTo>
                    <a:pt x="4042623" y="814651"/>
                    <a:pt x="4042623" y="814651"/>
                    <a:pt x="4041510" y="814651"/>
                  </a:cubicBezTo>
                  <a:lnTo>
                    <a:pt x="4033708" y="814651"/>
                  </a:lnTo>
                  <a:cubicBezTo>
                    <a:pt x="4033708" y="814651"/>
                    <a:pt x="4033708" y="814651"/>
                    <a:pt x="4033708" y="816163"/>
                  </a:cubicBezTo>
                  <a:lnTo>
                    <a:pt x="4033708" y="826756"/>
                  </a:lnTo>
                  <a:cubicBezTo>
                    <a:pt x="4033708" y="826756"/>
                    <a:pt x="4033708" y="826756"/>
                    <a:pt x="4058227" y="853992"/>
                  </a:cubicBezTo>
                  <a:cubicBezTo>
                    <a:pt x="4058227" y="860044"/>
                    <a:pt x="4058227" y="860044"/>
                    <a:pt x="4057113" y="860044"/>
                  </a:cubicBezTo>
                  <a:lnTo>
                    <a:pt x="4049311" y="860044"/>
                  </a:lnTo>
                  <a:cubicBezTo>
                    <a:pt x="4049311" y="860044"/>
                    <a:pt x="4049311" y="860044"/>
                    <a:pt x="4049311" y="893331"/>
                  </a:cubicBezTo>
                  <a:cubicBezTo>
                    <a:pt x="4049311" y="893331"/>
                    <a:pt x="4049311" y="893331"/>
                    <a:pt x="4050427" y="893331"/>
                  </a:cubicBezTo>
                  <a:lnTo>
                    <a:pt x="4058227" y="893331"/>
                  </a:lnTo>
                  <a:cubicBezTo>
                    <a:pt x="4058227" y="893331"/>
                    <a:pt x="4058227" y="893331"/>
                    <a:pt x="4058227" y="891440"/>
                  </a:cubicBezTo>
                  <a:lnTo>
                    <a:pt x="4058227" y="878201"/>
                  </a:lnTo>
                  <a:cubicBezTo>
                    <a:pt x="4058227" y="878201"/>
                    <a:pt x="4058227" y="878201"/>
                    <a:pt x="4059342" y="877444"/>
                  </a:cubicBezTo>
                  <a:lnTo>
                    <a:pt x="4067142" y="872149"/>
                  </a:lnTo>
                  <a:cubicBezTo>
                    <a:pt x="4067142" y="872149"/>
                    <a:pt x="4067142" y="872149"/>
                    <a:pt x="4069094" y="872149"/>
                  </a:cubicBezTo>
                  <a:lnTo>
                    <a:pt x="4082747" y="872149"/>
                  </a:lnTo>
                  <a:cubicBezTo>
                    <a:pt x="4082747" y="872149"/>
                    <a:pt x="4082747" y="872149"/>
                    <a:pt x="4082747" y="873661"/>
                  </a:cubicBezTo>
                  <a:lnTo>
                    <a:pt x="4082747" y="884253"/>
                  </a:lnTo>
                  <a:cubicBezTo>
                    <a:pt x="4082747" y="884253"/>
                    <a:pt x="4082747" y="884253"/>
                    <a:pt x="4084419" y="884253"/>
                  </a:cubicBezTo>
                  <a:lnTo>
                    <a:pt x="4096121" y="884253"/>
                  </a:lnTo>
                  <a:cubicBezTo>
                    <a:pt x="4096121" y="890305"/>
                    <a:pt x="4096121" y="890305"/>
                    <a:pt x="4097235" y="890305"/>
                  </a:cubicBezTo>
                  <a:lnTo>
                    <a:pt x="4105038" y="890305"/>
                  </a:lnTo>
                  <a:cubicBezTo>
                    <a:pt x="4105038" y="890305"/>
                    <a:pt x="4105038" y="890305"/>
                    <a:pt x="4129555" y="932671"/>
                  </a:cubicBezTo>
                  <a:cubicBezTo>
                    <a:pt x="4129555" y="932671"/>
                    <a:pt x="4129555" y="932671"/>
                    <a:pt x="4129555" y="951821"/>
                  </a:cubicBezTo>
                  <a:lnTo>
                    <a:pt x="4129555" y="970823"/>
                  </a:lnTo>
                  <a:lnTo>
                    <a:pt x="4138472" y="970823"/>
                  </a:lnTo>
                  <a:lnTo>
                    <a:pt x="4138472" y="956881"/>
                  </a:lnTo>
                  <a:cubicBezTo>
                    <a:pt x="4138472" y="956881"/>
                    <a:pt x="4138472" y="956881"/>
                    <a:pt x="4139308" y="956881"/>
                  </a:cubicBezTo>
                  <a:lnTo>
                    <a:pt x="4145159" y="956881"/>
                  </a:lnTo>
                  <a:cubicBezTo>
                    <a:pt x="4145159" y="956881"/>
                    <a:pt x="4145159" y="956881"/>
                    <a:pt x="4145159" y="958394"/>
                  </a:cubicBezTo>
                  <a:lnTo>
                    <a:pt x="4145159" y="968985"/>
                  </a:lnTo>
                  <a:cubicBezTo>
                    <a:pt x="4154075" y="972013"/>
                    <a:pt x="4154075" y="972013"/>
                    <a:pt x="4154075" y="905436"/>
                  </a:cubicBezTo>
                  <a:cubicBezTo>
                    <a:pt x="4154075" y="905436"/>
                    <a:pt x="4154075" y="905436"/>
                    <a:pt x="4191968" y="905436"/>
                  </a:cubicBezTo>
                  <a:cubicBezTo>
                    <a:pt x="4191968" y="905436"/>
                    <a:pt x="4191968" y="905436"/>
                    <a:pt x="4191968" y="808599"/>
                  </a:cubicBezTo>
                  <a:cubicBezTo>
                    <a:pt x="4191968" y="808599"/>
                    <a:pt x="4191968" y="808599"/>
                    <a:pt x="4227631" y="808599"/>
                  </a:cubicBezTo>
                  <a:cubicBezTo>
                    <a:pt x="4227631" y="808599"/>
                    <a:pt x="4227631" y="808599"/>
                    <a:pt x="4227631" y="807464"/>
                  </a:cubicBezTo>
                  <a:lnTo>
                    <a:pt x="4227631" y="799520"/>
                  </a:lnTo>
                  <a:cubicBezTo>
                    <a:pt x="4227631" y="799520"/>
                    <a:pt x="4227631" y="799520"/>
                    <a:pt x="4249922" y="799520"/>
                  </a:cubicBezTo>
                  <a:cubicBezTo>
                    <a:pt x="4249922" y="799520"/>
                    <a:pt x="4249922" y="799520"/>
                    <a:pt x="4249922" y="748075"/>
                  </a:cubicBezTo>
                  <a:cubicBezTo>
                    <a:pt x="4245463" y="748075"/>
                    <a:pt x="4245463" y="748075"/>
                    <a:pt x="4245463" y="745805"/>
                  </a:cubicBezTo>
                  <a:lnTo>
                    <a:pt x="4245463" y="729918"/>
                  </a:lnTo>
                  <a:lnTo>
                    <a:pt x="4249922" y="732945"/>
                  </a:lnTo>
                  <a:cubicBezTo>
                    <a:pt x="4249922" y="732945"/>
                    <a:pt x="4249922" y="732945"/>
                    <a:pt x="4254381" y="702682"/>
                  </a:cubicBezTo>
                  <a:cubicBezTo>
                    <a:pt x="4254381" y="702682"/>
                    <a:pt x="4254381" y="702682"/>
                    <a:pt x="4258839" y="732945"/>
                  </a:cubicBezTo>
                  <a:cubicBezTo>
                    <a:pt x="4261067" y="729918"/>
                    <a:pt x="4261067" y="729918"/>
                    <a:pt x="4261346" y="728783"/>
                  </a:cubicBezTo>
                  <a:lnTo>
                    <a:pt x="4263297" y="720840"/>
                  </a:lnTo>
                  <a:cubicBezTo>
                    <a:pt x="4263297" y="720840"/>
                    <a:pt x="4263297" y="720840"/>
                    <a:pt x="4263853" y="719327"/>
                  </a:cubicBezTo>
                  <a:lnTo>
                    <a:pt x="4267754" y="708734"/>
                  </a:lnTo>
                  <a:cubicBezTo>
                    <a:pt x="4267754" y="708734"/>
                    <a:pt x="4267754" y="708734"/>
                    <a:pt x="4268311" y="707222"/>
                  </a:cubicBezTo>
                  <a:lnTo>
                    <a:pt x="4272213" y="696631"/>
                  </a:lnTo>
                  <a:cubicBezTo>
                    <a:pt x="4272213" y="696631"/>
                    <a:pt x="4272213" y="696631"/>
                    <a:pt x="4273605" y="695495"/>
                  </a:cubicBezTo>
                  <a:lnTo>
                    <a:pt x="4283357" y="687552"/>
                  </a:lnTo>
                  <a:cubicBezTo>
                    <a:pt x="4283357" y="687552"/>
                    <a:pt x="4283357" y="687552"/>
                    <a:pt x="4285030" y="686039"/>
                  </a:cubicBezTo>
                  <a:lnTo>
                    <a:pt x="4296732" y="675447"/>
                  </a:lnTo>
                  <a:cubicBezTo>
                    <a:pt x="4296732" y="675447"/>
                    <a:pt x="4296732" y="675447"/>
                    <a:pt x="4297568" y="673934"/>
                  </a:cubicBezTo>
                  <a:lnTo>
                    <a:pt x="4303418" y="663343"/>
                  </a:lnTo>
                  <a:cubicBezTo>
                    <a:pt x="4303418" y="663343"/>
                    <a:pt x="4303418" y="663343"/>
                    <a:pt x="4303976" y="660695"/>
                  </a:cubicBezTo>
                  <a:lnTo>
                    <a:pt x="4307877" y="642159"/>
                  </a:lnTo>
                  <a:cubicBezTo>
                    <a:pt x="4307877" y="642159"/>
                    <a:pt x="4307877" y="642159"/>
                    <a:pt x="4308435" y="644807"/>
                  </a:cubicBezTo>
                  <a:lnTo>
                    <a:pt x="4312335" y="663343"/>
                  </a:lnTo>
                  <a:cubicBezTo>
                    <a:pt x="4312335" y="663343"/>
                    <a:pt x="4312335" y="663343"/>
                    <a:pt x="4312893" y="664477"/>
                  </a:cubicBezTo>
                  <a:lnTo>
                    <a:pt x="4316793" y="672421"/>
                  </a:lnTo>
                  <a:cubicBezTo>
                    <a:pt x="4316793" y="672421"/>
                    <a:pt x="4316793" y="672421"/>
                    <a:pt x="4318186" y="673934"/>
                  </a:cubicBezTo>
                  <a:lnTo>
                    <a:pt x="4327938" y="684525"/>
                  </a:lnTo>
                  <a:cubicBezTo>
                    <a:pt x="4327938" y="684525"/>
                    <a:pt x="4327938" y="684525"/>
                    <a:pt x="4329054" y="686039"/>
                  </a:cubicBezTo>
                  <a:lnTo>
                    <a:pt x="4336853" y="696631"/>
                  </a:lnTo>
                  <a:cubicBezTo>
                    <a:pt x="4336853" y="696631"/>
                    <a:pt x="4336853" y="696631"/>
                    <a:pt x="4337969" y="698143"/>
                  </a:cubicBezTo>
                  <a:lnTo>
                    <a:pt x="4345771" y="708734"/>
                  </a:lnTo>
                  <a:cubicBezTo>
                    <a:pt x="4345771" y="708734"/>
                    <a:pt x="4345771" y="708734"/>
                    <a:pt x="4346049" y="710248"/>
                  </a:cubicBezTo>
                  <a:lnTo>
                    <a:pt x="4347998" y="720840"/>
                  </a:lnTo>
                  <a:cubicBezTo>
                    <a:pt x="4347998" y="720840"/>
                    <a:pt x="4347998" y="720840"/>
                    <a:pt x="4348277" y="722352"/>
                  </a:cubicBezTo>
                  <a:lnTo>
                    <a:pt x="4350228" y="732945"/>
                  </a:lnTo>
                  <a:cubicBezTo>
                    <a:pt x="4354685" y="732945"/>
                    <a:pt x="4354685" y="732945"/>
                    <a:pt x="4356914" y="702682"/>
                  </a:cubicBezTo>
                  <a:cubicBezTo>
                    <a:pt x="4356914" y="702682"/>
                    <a:pt x="4356914" y="702682"/>
                    <a:pt x="4361373" y="732945"/>
                  </a:cubicBezTo>
                  <a:cubicBezTo>
                    <a:pt x="4365830" y="732945"/>
                    <a:pt x="4365830" y="732945"/>
                    <a:pt x="4365830" y="735214"/>
                  </a:cubicBezTo>
                  <a:lnTo>
                    <a:pt x="4365830" y="751102"/>
                  </a:lnTo>
                  <a:cubicBezTo>
                    <a:pt x="4361373" y="751102"/>
                    <a:pt x="4361373" y="751102"/>
                    <a:pt x="4361373" y="793468"/>
                  </a:cubicBezTo>
                  <a:cubicBezTo>
                    <a:pt x="4361373" y="793468"/>
                    <a:pt x="4361373" y="793468"/>
                    <a:pt x="4362489" y="793468"/>
                  </a:cubicBezTo>
                  <a:lnTo>
                    <a:pt x="4370289" y="793468"/>
                  </a:lnTo>
                  <a:cubicBezTo>
                    <a:pt x="4370289" y="799520"/>
                    <a:pt x="4370289" y="799520"/>
                    <a:pt x="4371126" y="799520"/>
                  </a:cubicBezTo>
                  <a:lnTo>
                    <a:pt x="4376976" y="799520"/>
                  </a:lnTo>
                  <a:cubicBezTo>
                    <a:pt x="4376976" y="799520"/>
                    <a:pt x="4376976" y="799520"/>
                    <a:pt x="4376976" y="798007"/>
                  </a:cubicBezTo>
                  <a:lnTo>
                    <a:pt x="4376976" y="787415"/>
                  </a:lnTo>
                  <a:cubicBezTo>
                    <a:pt x="4376976" y="787415"/>
                    <a:pt x="4376976" y="787415"/>
                    <a:pt x="4379206" y="787415"/>
                  </a:cubicBezTo>
                  <a:lnTo>
                    <a:pt x="4394808" y="787415"/>
                  </a:lnTo>
                  <a:cubicBezTo>
                    <a:pt x="4394808" y="787415"/>
                    <a:pt x="4394808" y="787415"/>
                    <a:pt x="4394808" y="784767"/>
                  </a:cubicBezTo>
                  <a:lnTo>
                    <a:pt x="4394808" y="766232"/>
                  </a:lnTo>
                  <a:cubicBezTo>
                    <a:pt x="4394808" y="766232"/>
                    <a:pt x="4394808" y="766232"/>
                    <a:pt x="4432702" y="766232"/>
                  </a:cubicBezTo>
                  <a:cubicBezTo>
                    <a:pt x="4432702" y="766232"/>
                    <a:pt x="4432702" y="766232"/>
                    <a:pt x="4432702" y="768124"/>
                  </a:cubicBezTo>
                  <a:lnTo>
                    <a:pt x="4432702" y="781363"/>
                  </a:lnTo>
                  <a:cubicBezTo>
                    <a:pt x="4432702" y="781363"/>
                    <a:pt x="4432702" y="781363"/>
                    <a:pt x="4452762" y="781363"/>
                  </a:cubicBezTo>
                  <a:cubicBezTo>
                    <a:pt x="4452762" y="781363"/>
                    <a:pt x="4452762" y="781363"/>
                    <a:pt x="4452762" y="784390"/>
                  </a:cubicBezTo>
                  <a:lnTo>
                    <a:pt x="4452762" y="805572"/>
                  </a:lnTo>
                  <a:cubicBezTo>
                    <a:pt x="4448306" y="805572"/>
                    <a:pt x="4448306" y="805572"/>
                    <a:pt x="4448306" y="806707"/>
                  </a:cubicBezTo>
                  <a:lnTo>
                    <a:pt x="4448306" y="814651"/>
                  </a:lnTo>
                  <a:cubicBezTo>
                    <a:pt x="4452762" y="814651"/>
                    <a:pt x="4452762" y="814651"/>
                    <a:pt x="4452762" y="816921"/>
                  </a:cubicBezTo>
                  <a:lnTo>
                    <a:pt x="4452762" y="832808"/>
                  </a:lnTo>
                  <a:lnTo>
                    <a:pt x="4448306" y="838860"/>
                  </a:lnTo>
                  <a:cubicBezTo>
                    <a:pt x="4448306" y="838860"/>
                    <a:pt x="4448306" y="838860"/>
                    <a:pt x="4448306" y="911488"/>
                  </a:cubicBezTo>
                  <a:cubicBezTo>
                    <a:pt x="4448306" y="911488"/>
                    <a:pt x="4448306" y="911488"/>
                    <a:pt x="4450255" y="911488"/>
                  </a:cubicBezTo>
                  <a:lnTo>
                    <a:pt x="4463908" y="911488"/>
                  </a:lnTo>
                  <a:cubicBezTo>
                    <a:pt x="4463908" y="917540"/>
                    <a:pt x="4463908" y="917540"/>
                    <a:pt x="4465579" y="917540"/>
                  </a:cubicBezTo>
                  <a:lnTo>
                    <a:pt x="4477282" y="917540"/>
                  </a:lnTo>
                  <a:cubicBezTo>
                    <a:pt x="4477282" y="917540"/>
                    <a:pt x="4477282" y="917540"/>
                    <a:pt x="4477282" y="920188"/>
                  </a:cubicBezTo>
                  <a:lnTo>
                    <a:pt x="4477282" y="938724"/>
                  </a:lnTo>
                  <a:cubicBezTo>
                    <a:pt x="4477282" y="938724"/>
                    <a:pt x="4477282" y="938724"/>
                    <a:pt x="4478955" y="938724"/>
                  </a:cubicBezTo>
                  <a:lnTo>
                    <a:pt x="4490656" y="938724"/>
                  </a:lnTo>
                  <a:cubicBezTo>
                    <a:pt x="4490656" y="938724"/>
                    <a:pt x="4490656" y="938724"/>
                    <a:pt x="4490656" y="936076"/>
                  </a:cubicBezTo>
                  <a:lnTo>
                    <a:pt x="4490656" y="917540"/>
                  </a:lnTo>
                  <a:cubicBezTo>
                    <a:pt x="4490656" y="917540"/>
                    <a:pt x="4490656" y="917540"/>
                    <a:pt x="4492605" y="916028"/>
                  </a:cubicBezTo>
                  <a:lnTo>
                    <a:pt x="4506258" y="905436"/>
                  </a:lnTo>
                  <a:cubicBezTo>
                    <a:pt x="4506258" y="905436"/>
                    <a:pt x="4506258" y="905436"/>
                    <a:pt x="4506258" y="878201"/>
                  </a:cubicBezTo>
                  <a:cubicBezTo>
                    <a:pt x="4501802" y="878201"/>
                    <a:pt x="4501802" y="878201"/>
                    <a:pt x="4501802" y="847938"/>
                  </a:cubicBezTo>
                  <a:cubicBezTo>
                    <a:pt x="4501802" y="847938"/>
                    <a:pt x="4501802" y="847938"/>
                    <a:pt x="4502914" y="847938"/>
                  </a:cubicBezTo>
                  <a:lnTo>
                    <a:pt x="4510717" y="847938"/>
                  </a:lnTo>
                  <a:cubicBezTo>
                    <a:pt x="4510717" y="844913"/>
                    <a:pt x="4510717" y="844913"/>
                    <a:pt x="4530778" y="844913"/>
                  </a:cubicBezTo>
                  <a:cubicBezTo>
                    <a:pt x="4530778" y="844913"/>
                    <a:pt x="4530778" y="844913"/>
                    <a:pt x="4530778" y="843399"/>
                  </a:cubicBezTo>
                  <a:lnTo>
                    <a:pt x="4530778" y="832808"/>
                  </a:lnTo>
                  <a:cubicBezTo>
                    <a:pt x="4530778" y="832808"/>
                    <a:pt x="4530778" y="832808"/>
                    <a:pt x="4532451" y="832808"/>
                  </a:cubicBezTo>
                  <a:lnTo>
                    <a:pt x="4544152" y="832808"/>
                  </a:lnTo>
                  <a:cubicBezTo>
                    <a:pt x="4544152" y="832808"/>
                    <a:pt x="4544152" y="832808"/>
                    <a:pt x="4544152" y="681500"/>
                  </a:cubicBezTo>
                  <a:cubicBezTo>
                    <a:pt x="4544152" y="681500"/>
                    <a:pt x="4544152" y="681500"/>
                    <a:pt x="4545267" y="681500"/>
                  </a:cubicBezTo>
                  <a:lnTo>
                    <a:pt x="4553068" y="681500"/>
                  </a:lnTo>
                  <a:cubicBezTo>
                    <a:pt x="4553068" y="681500"/>
                    <a:pt x="4553068" y="681500"/>
                    <a:pt x="4553068" y="678473"/>
                  </a:cubicBezTo>
                  <a:lnTo>
                    <a:pt x="4553068" y="657290"/>
                  </a:lnTo>
                  <a:cubicBezTo>
                    <a:pt x="4555298" y="657290"/>
                    <a:pt x="4555298" y="657290"/>
                    <a:pt x="4555298" y="596766"/>
                  </a:cubicBezTo>
                  <a:cubicBezTo>
                    <a:pt x="4555298" y="596766"/>
                    <a:pt x="4555298" y="596766"/>
                    <a:pt x="4556412" y="596766"/>
                  </a:cubicBezTo>
                  <a:lnTo>
                    <a:pt x="4564213" y="596766"/>
                  </a:lnTo>
                  <a:cubicBezTo>
                    <a:pt x="4564213" y="596766"/>
                    <a:pt x="4564213" y="596766"/>
                    <a:pt x="4564213" y="598280"/>
                  </a:cubicBezTo>
                  <a:lnTo>
                    <a:pt x="4564213" y="608871"/>
                  </a:lnTo>
                  <a:cubicBezTo>
                    <a:pt x="4568671" y="608871"/>
                    <a:pt x="4568671" y="608871"/>
                    <a:pt x="4568671" y="605845"/>
                  </a:cubicBezTo>
                  <a:lnTo>
                    <a:pt x="4568671" y="584662"/>
                  </a:lnTo>
                  <a:cubicBezTo>
                    <a:pt x="4568671" y="584662"/>
                    <a:pt x="4568671" y="584662"/>
                    <a:pt x="4570065" y="583906"/>
                  </a:cubicBezTo>
                  <a:lnTo>
                    <a:pt x="4579816" y="578610"/>
                  </a:lnTo>
                  <a:cubicBezTo>
                    <a:pt x="4579816" y="578610"/>
                    <a:pt x="4579816" y="578610"/>
                    <a:pt x="4580930" y="579367"/>
                  </a:cubicBezTo>
                  <a:lnTo>
                    <a:pt x="4588733" y="584662"/>
                  </a:lnTo>
                  <a:cubicBezTo>
                    <a:pt x="4588733" y="584662"/>
                    <a:pt x="4588733" y="584662"/>
                    <a:pt x="4590404" y="584662"/>
                  </a:cubicBezTo>
                  <a:lnTo>
                    <a:pt x="4602107" y="584662"/>
                  </a:lnTo>
                  <a:cubicBezTo>
                    <a:pt x="4602107" y="584662"/>
                    <a:pt x="4602107" y="584662"/>
                    <a:pt x="4602107" y="545322"/>
                  </a:cubicBezTo>
                  <a:cubicBezTo>
                    <a:pt x="4602107" y="545322"/>
                    <a:pt x="4602107" y="545322"/>
                    <a:pt x="4603221" y="545322"/>
                  </a:cubicBezTo>
                  <a:lnTo>
                    <a:pt x="4611021" y="545322"/>
                  </a:lnTo>
                  <a:cubicBezTo>
                    <a:pt x="4611021" y="551375"/>
                    <a:pt x="4611021" y="551375"/>
                    <a:pt x="4612414" y="551375"/>
                  </a:cubicBezTo>
                  <a:lnTo>
                    <a:pt x="4622169" y="551375"/>
                  </a:lnTo>
                  <a:cubicBezTo>
                    <a:pt x="4622169" y="545322"/>
                    <a:pt x="4622169" y="545322"/>
                    <a:pt x="4623282" y="545322"/>
                  </a:cubicBezTo>
                  <a:lnTo>
                    <a:pt x="4631084" y="545322"/>
                  </a:lnTo>
                  <a:cubicBezTo>
                    <a:pt x="4631084" y="545322"/>
                    <a:pt x="4631084" y="545322"/>
                    <a:pt x="4631084" y="590714"/>
                  </a:cubicBezTo>
                  <a:cubicBezTo>
                    <a:pt x="4631084" y="590714"/>
                    <a:pt x="4631084" y="590714"/>
                    <a:pt x="4632477" y="592227"/>
                  </a:cubicBezTo>
                  <a:lnTo>
                    <a:pt x="4642230" y="602819"/>
                  </a:lnTo>
                  <a:cubicBezTo>
                    <a:pt x="4640000" y="611898"/>
                    <a:pt x="4640000" y="611898"/>
                    <a:pt x="4664518" y="611898"/>
                  </a:cubicBezTo>
                  <a:cubicBezTo>
                    <a:pt x="4664518" y="611898"/>
                    <a:pt x="4664518" y="611898"/>
                    <a:pt x="4664518" y="610007"/>
                  </a:cubicBezTo>
                  <a:lnTo>
                    <a:pt x="4664518" y="596766"/>
                  </a:lnTo>
                  <a:cubicBezTo>
                    <a:pt x="4664518" y="596766"/>
                    <a:pt x="4664518" y="596766"/>
                    <a:pt x="4693496" y="584662"/>
                  </a:cubicBezTo>
                  <a:cubicBezTo>
                    <a:pt x="4693496" y="584662"/>
                    <a:pt x="4693496" y="584662"/>
                    <a:pt x="4693496" y="583150"/>
                  </a:cubicBezTo>
                  <a:lnTo>
                    <a:pt x="4693496" y="572557"/>
                  </a:lnTo>
                  <a:cubicBezTo>
                    <a:pt x="4693496" y="572557"/>
                    <a:pt x="4693496" y="572557"/>
                    <a:pt x="4694332" y="572557"/>
                  </a:cubicBezTo>
                  <a:lnTo>
                    <a:pt x="4700182" y="572557"/>
                  </a:lnTo>
                  <a:cubicBezTo>
                    <a:pt x="4700182" y="572557"/>
                    <a:pt x="4700182" y="572557"/>
                    <a:pt x="4700182" y="571423"/>
                  </a:cubicBezTo>
                  <a:lnTo>
                    <a:pt x="4700182" y="563479"/>
                  </a:lnTo>
                  <a:cubicBezTo>
                    <a:pt x="4700182" y="563479"/>
                    <a:pt x="4700182" y="563479"/>
                    <a:pt x="4702412" y="563479"/>
                  </a:cubicBezTo>
                  <a:lnTo>
                    <a:pt x="4718014" y="563479"/>
                  </a:lnTo>
                  <a:cubicBezTo>
                    <a:pt x="4718014" y="563479"/>
                    <a:pt x="4718014" y="563479"/>
                    <a:pt x="4718014" y="564614"/>
                  </a:cubicBezTo>
                  <a:lnTo>
                    <a:pt x="4718014" y="572557"/>
                  </a:lnTo>
                  <a:cubicBezTo>
                    <a:pt x="4718014" y="572557"/>
                    <a:pt x="4718014" y="572557"/>
                    <a:pt x="4719686" y="572557"/>
                  </a:cubicBezTo>
                  <a:lnTo>
                    <a:pt x="4731390" y="572557"/>
                  </a:lnTo>
                  <a:cubicBezTo>
                    <a:pt x="4731390" y="572557"/>
                    <a:pt x="4731390" y="572557"/>
                    <a:pt x="4731390" y="574828"/>
                  </a:cubicBezTo>
                  <a:lnTo>
                    <a:pt x="4731390" y="590714"/>
                  </a:lnTo>
                  <a:cubicBezTo>
                    <a:pt x="4731390" y="590714"/>
                    <a:pt x="4731390" y="590714"/>
                    <a:pt x="4755908" y="590714"/>
                  </a:cubicBezTo>
                  <a:cubicBezTo>
                    <a:pt x="4755908" y="590714"/>
                    <a:pt x="4755908" y="590714"/>
                    <a:pt x="4755908" y="589202"/>
                  </a:cubicBezTo>
                  <a:lnTo>
                    <a:pt x="4755908" y="578610"/>
                  </a:lnTo>
                  <a:cubicBezTo>
                    <a:pt x="4755908" y="578610"/>
                    <a:pt x="4755908" y="578610"/>
                    <a:pt x="4757302" y="578610"/>
                  </a:cubicBezTo>
                  <a:lnTo>
                    <a:pt x="4767053" y="578610"/>
                  </a:lnTo>
                  <a:cubicBezTo>
                    <a:pt x="4767053" y="578610"/>
                    <a:pt x="4767053" y="578610"/>
                    <a:pt x="4767053" y="577096"/>
                  </a:cubicBezTo>
                  <a:lnTo>
                    <a:pt x="4767053" y="566505"/>
                  </a:lnTo>
                  <a:cubicBezTo>
                    <a:pt x="4767053" y="566505"/>
                    <a:pt x="4767053" y="566505"/>
                    <a:pt x="4768725" y="566505"/>
                  </a:cubicBezTo>
                  <a:lnTo>
                    <a:pt x="4780426" y="566505"/>
                  </a:lnTo>
                  <a:cubicBezTo>
                    <a:pt x="4780426" y="566505"/>
                    <a:pt x="4780426" y="566505"/>
                    <a:pt x="4780426" y="568018"/>
                  </a:cubicBezTo>
                  <a:lnTo>
                    <a:pt x="4780426" y="578610"/>
                  </a:lnTo>
                  <a:cubicBezTo>
                    <a:pt x="4784886" y="578610"/>
                    <a:pt x="4784886" y="578610"/>
                    <a:pt x="4784886" y="505982"/>
                  </a:cubicBezTo>
                  <a:cubicBezTo>
                    <a:pt x="4784886" y="505982"/>
                    <a:pt x="4784886" y="505982"/>
                    <a:pt x="4885191" y="505982"/>
                  </a:cubicBezTo>
                  <a:cubicBezTo>
                    <a:pt x="4885191" y="505982"/>
                    <a:pt x="4885191" y="505982"/>
                    <a:pt x="4885191" y="602819"/>
                  </a:cubicBezTo>
                  <a:cubicBezTo>
                    <a:pt x="4885191" y="602819"/>
                    <a:pt x="4885191" y="602819"/>
                    <a:pt x="4887420" y="602819"/>
                  </a:cubicBezTo>
                  <a:lnTo>
                    <a:pt x="4903022" y="602819"/>
                  </a:lnTo>
                  <a:cubicBezTo>
                    <a:pt x="4903022" y="602819"/>
                    <a:pt x="4903022" y="602819"/>
                    <a:pt x="4903022" y="493877"/>
                  </a:cubicBezTo>
                  <a:cubicBezTo>
                    <a:pt x="4903022" y="493877"/>
                    <a:pt x="4903022" y="493877"/>
                    <a:pt x="4925313" y="478746"/>
                  </a:cubicBezTo>
                  <a:cubicBezTo>
                    <a:pt x="4925313" y="478746"/>
                    <a:pt x="4925313" y="478746"/>
                    <a:pt x="4954291" y="478746"/>
                  </a:cubicBezTo>
                  <a:cubicBezTo>
                    <a:pt x="4954291" y="478746"/>
                    <a:pt x="4954291" y="478746"/>
                    <a:pt x="4956242" y="476477"/>
                  </a:cubicBezTo>
                  <a:lnTo>
                    <a:pt x="4969893" y="460589"/>
                  </a:lnTo>
                  <a:cubicBezTo>
                    <a:pt x="4969893" y="460589"/>
                    <a:pt x="4969893" y="460589"/>
                    <a:pt x="5007787" y="460589"/>
                  </a:cubicBezTo>
                  <a:cubicBezTo>
                    <a:pt x="5007787" y="460589"/>
                    <a:pt x="5007787" y="460589"/>
                    <a:pt x="5007787" y="462859"/>
                  </a:cubicBezTo>
                  <a:lnTo>
                    <a:pt x="5007787" y="478746"/>
                  </a:lnTo>
                  <a:cubicBezTo>
                    <a:pt x="5007787" y="478746"/>
                    <a:pt x="5007787" y="478746"/>
                    <a:pt x="5045681" y="478746"/>
                  </a:cubicBezTo>
                  <a:cubicBezTo>
                    <a:pt x="5045681" y="478746"/>
                    <a:pt x="5045681" y="478746"/>
                    <a:pt x="5045681" y="596766"/>
                  </a:cubicBezTo>
                  <a:cubicBezTo>
                    <a:pt x="5045681" y="596766"/>
                    <a:pt x="5045681" y="596766"/>
                    <a:pt x="5047073" y="596766"/>
                  </a:cubicBezTo>
                  <a:lnTo>
                    <a:pt x="5056825" y="596766"/>
                  </a:lnTo>
                  <a:cubicBezTo>
                    <a:pt x="5056825" y="596766"/>
                    <a:pt x="5056825" y="596766"/>
                    <a:pt x="5056825" y="769258"/>
                  </a:cubicBezTo>
                  <a:cubicBezTo>
                    <a:pt x="5056825" y="769258"/>
                    <a:pt x="5056825" y="769258"/>
                    <a:pt x="5059053" y="769258"/>
                  </a:cubicBezTo>
                  <a:lnTo>
                    <a:pt x="5074657" y="769258"/>
                  </a:lnTo>
                  <a:cubicBezTo>
                    <a:pt x="5074657" y="769258"/>
                    <a:pt x="5074657" y="769258"/>
                    <a:pt x="5074657" y="657290"/>
                  </a:cubicBezTo>
                  <a:cubicBezTo>
                    <a:pt x="5074657" y="657290"/>
                    <a:pt x="5074657" y="657290"/>
                    <a:pt x="5075493" y="656533"/>
                  </a:cubicBezTo>
                  <a:lnTo>
                    <a:pt x="5081344" y="651238"/>
                  </a:lnTo>
                  <a:cubicBezTo>
                    <a:pt x="5085802" y="651238"/>
                    <a:pt x="5085802" y="651238"/>
                    <a:pt x="5085802" y="652750"/>
                  </a:cubicBezTo>
                  <a:lnTo>
                    <a:pt x="5085802" y="663343"/>
                  </a:lnTo>
                  <a:cubicBezTo>
                    <a:pt x="5085802" y="663343"/>
                    <a:pt x="5085802" y="663343"/>
                    <a:pt x="5088030" y="661829"/>
                  </a:cubicBezTo>
                  <a:lnTo>
                    <a:pt x="5103634" y="651238"/>
                  </a:lnTo>
                  <a:cubicBezTo>
                    <a:pt x="5103634" y="651238"/>
                    <a:pt x="5103634" y="651238"/>
                    <a:pt x="5105585" y="651238"/>
                  </a:cubicBezTo>
                  <a:lnTo>
                    <a:pt x="5119237" y="651238"/>
                  </a:lnTo>
                  <a:cubicBezTo>
                    <a:pt x="5119237" y="651238"/>
                    <a:pt x="5119237" y="651238"/>
                    <a:pt x="5119237" y="857017"/>
                  </a:cubicBezTo>
                  <a:cubicBezTo>
                    <a:pt x="5119237" y="857017"/>
                    <a:pt x="5119237" y="857017"/>
                    <a:pt x="5150444" y="863070"/>
                  </a:cubicBezTo>
                  <a:cubicBezTo>
                    <a:pt x="5150444" y="860044"/>
                    <a:pt x="5150444" y="857017"/>
                    <a:pt x="5150444" y="853992"/>
                  </a:cubicBezTo>
                  <a:cubicBezTo>
                    <a:pt x="5161589" y="853992"/>
                    <a:pt x="5172733" y="853992"/>
                    <a:pt x="5183878" y="853992"/>
                  </a:cubicBezTo>
                  <a:cubicBezTo>
                    <a:pt x="5183878" y="838860"/>
                    <a:pt x="5183878" y="826756"/>
                    <a:pt x="5183878" y="814651"/>
                  </a:cubicBezTo>
                  <a:lnTo>
                    <a:pt x="5192794" y="814651"/>
                  </a:lnTo>
                  <a:cubicBezTo>
                    <a:pt x="5192794" y="796494"/>
                    <a:pt x="5192794" y="781363"/>
                    <a:pt x="5192794" y="763206"/>
                  </a:cubicBezTo>
                  <a:cubicBezTo>
                    <a:pt x="5195024" y="763206"/>
                    <a:pt x="5197254" y="763206"/>
                    <a:pt x="5199482" y="763206"/>
                  </a:cubicBezTo>
                  <a:cubicBezTo>
                    <a:pt x="5199482" y="745049"/>
                    <a:pt x="5199482" y="729918"/>
                    <a:pt x="5199482" y="711761"/>
                  </a:cubicBezTo>
                  <a:cubicBezTo>
                    <a:pt x="5203940" y="711761"/>
                    <a:pt x="5208398" y="711761"/>
                    <a:pt x="5215086" y="711761"/>
                  </a:cubicBezTo>
                  <a:cubicBezTo>
                    <a:pt x="5230688" y="705709"/>
                    <a:pt x="5248520" y="693604"/>
                    <a:pt x="5264122" y="684525"/>
                  </a:cubicBezTo>
                  <a:cubicBezTo>
                    <a:pt x="5266352" y="675447"/>
                    <a:pt x="5266352" y="666368"/>
                    <a:pt x="5266352" y="657290"/>
                  </a:cubicBezTo>
                  <a:cubicBezTo>
                    <a:pt x="5268582" y="666368"/>
                    <a:pt x="5268582" y="675447"/>
                    <a:pt x="5270810" y="684525"/>
                  </a:cubicBezTo>
                  <a:cubicBezTo>
                    <a:pt x="5288642" y="696631"/>
                    <a:pt x="5304245" y="708734"/>
                    <a:pt x="5322078" y="720840"/>
                  </a:cubicBezTo>
                  <a:cubicBezTo>
                    <a:pt x="5322078" y="717821"/>
                    <a:pt x="5322078" y="714803"/>
                    <a:pt x="5322078" y="714788"/>
                  </a:cubicBezTo>
                  <a:cubicBezTo>
                    <a:pt x="5326534" y="714788"/>
                    <a:pt x="5330994" y="714788"/>
                    <a:pt x="5335452" y="714788"/>
                  </a:cubicBezTo>
                  <a:cubicBezTo>
                    <a:pt x="5335452" y="729918"/>
                    <a:pt x="5335452" y="748075"/>
                    <a:pt x="5335452" y="763206"/>
                  </a:cubicBezTo>
                  <a:cubicBezTo>
                    <a:pt x="5337681" y="763206"/>
                    <a:pt x="5339909" y="763206"/>
                    <a:pt x="5342138" y="763206"/>
                  </a:cubicBezTo>
                  <a:lnTo>
                    <a:pt x="5342138" y="801467"/>
                  </a:lnTo>
                  <a:lnTo>
                    <a:pt x="5377917" y="790806"/>
                  </a:lnTo>
                  <a:cubicBezTo>
                    <a:pt x="5411603" y="790806"/>
                    <a:pt x="5445289" y="790806"/>
                    <a:pt x="5478973" y="790806"/>
                  </a:cubicBezTo>
                  <a:cubicBezTo>
                    <a:pt x="5478973" y="725949"/>
                    <a:pt x="5478973" y="661090"/>
                    <a:pt x="5478973" y="596233"/>
                  </a:cubicBezTo>
                  <a:cubicBezTo>
                    <a:pt x="5486748" y="590828"/>
                    <a:pt x="5497114" y="588126"/>
                    <a:pt x="5507479" y="582720"/>
                  </a:cubicBezTo>
                  <a:cubicBezTo>
                    <a:pt x="5548938" y="577316"/>
                    <a:pt x="5590398" y="569208"/>
                    <a:pt x="5631857" y="561101"/>
                  </a:cubicBezTo>
                  <a:cubicBezTo>
                    <a:pt x="5647405" y="566506"/>
                    <a:pt x="5660362" y="571911"/>
                    <a:pt x="5675909" y="574613"/>
                  </a:cubicBezTo>
                  <a:cubicBezTo>
                    <a:pt x="5678501" y="577316"/>
                    <a:pt x="5681091" y="580019"/>
                    <a:pt x="5683682" y="582720"/>
                  </a:cubicBezTo>
                  <a:lnTo>
                    <a:pt x="5683682" y="833084"/>
                  </a:lnTo>
                  <a:lnTo>
                    <a:pt x="5701821" y="873985"/>
                  </a:lnTo>
                  <a:lnTo>
                    <a:pt x="5701821" y="798914"/>
                  </a:lnTo>
                  <a:cubicBezTo>
                    <a:pt x="5707004" y="798914"/>
                    <a:pt x="5712186" y="798914"/>
                    <a:pt x="5717369" y="798914"/>
                  </a:cubicBezTo>
                  <a:cubicBezTo>
                    <a:pt x="5717369" y="793509"/>
                    <a:pt x="5717369" y="790806"/>
                    <a:pt x="5717369" y="785402"/>
                  </a:cubicBezTo>
                  <a:cubicBezTo>
                    <a:pt x="5722551" y="782699"/>
                    <a:pt x="5727734" y="779997"/>
                    <a:pt x="5732917" y="777295"/>
                  </a:cubicBezTo>
                  <a:lnTo>
                    <a:pt x="5745871" y="777295"/>
                  </a:lnTo>
                  <a:cubicBezTo>
                    <a:pt x="5745871" y="771890"/>
                    <a:pt x="5745871" y="769187"/>
                    <a:pt x="5745871" y="763783"/>
                  </a:cubicBezTo>
                  <a:cubicBezTo>
                    <a:pt x="5748464" y="761080"/>
                    <a:pt x="5753646" y="758377"/>
                    <a:pt x="5756236" y="755675"/>
                  </a:cubicBezTo>
                  <a:cubicBezTo>
                    <a:pt x="5764011" y="755675"/>
                    <a:pt x="5774376" y="755675"/>
                    <a:pt x="5782151" y="755675"/>
                  </a:cubicBezTo>
                  <a:cubicBezTo>
                    <a:pt x="5782151" y="769187"/>
                    <a:pt x="5782151" y="785402"/>
                    <a:pt x="5782151" y="798914"/>
                  </a:cubicBezTo>
                  <a:cubicBezTo>
                    <a:pt x="5800289" y="798914"/>
                    <a:pt x="5818428" y="798914"/>
                    <a:pt x="5836566" y="798914"/>
                  </a:cubicBezTo>
                  <a:cubicBezTo>
                    <a:pt x="5836566" y="850260"/>
                    <a:pt x="5836566" y="898903"/>
                    <a:pt x="5836566" y="950250"/>
                  </a:cubicBezTo>
                  <a:cubicBezTo>
                    <a:pt x="5844340" y="950250"/>
                    <a:pt x="5852114" y="950250"/>
                    <a:pt x="5857295" y="950250"/>
                  </a:cubicBezTo>
                  <a:cubicBezTo>
                    <a:pt x="5865070" y="947547"/>
                    <a:pt x="5870253" y="944844"/>
                    <a:pt x="5878025" y="942143"/>
                  </a:cubicBezTo>
                  <a:cubicBezTo>
                    <a:pt x="5878025" y="936737"/>
                    <a:pt x="5878025" y="934035"/>
                    <a:pt x="5878025" y="931332"/>
                  </a:cubicBezTo>
                  <a:cubicBezTo>
                    <a:pt x="5875435" y="931332"/>
                    <a:pt x="5872843" y="928630"/>
                    <a:pt x="5870253" y="928630"/>
                  </a:cubicBezTo>
                  <a:cubicBezTo>
                    <a:pt x="5870253" y="925928"/>
                    <a:pt x="5870253" y="923225"/>
                    <a:pt x="5870253" y="920522"/>
                  </a:cubicBezTo>
                  <a:cubicBezTo>
                    <a:pt x="5872843" y="917821"/>
                    <a:pt x="5875435" y="917821"/>
                    <a:pt x="5878025" y="915118"/>
                  </a:cubicBezTo>
                  <a:cubicBezTo>
                    <a:pt x="5878025" y="896202"/>
                    <a:pt x="5878025" y="874581"/>
                    <a:pt x="5878025" y="855665"/>
                  </a:cubicBezTo>
                  <a:cubicBezTo>
                    <a:pt x="5875435" y="855665"/>
                    <a:pt x="5872843" y="852962"/>
                    <a:pt x="5870253" y="852962"/>
                  </a:cubicBezTo>
                  <a:cubicBezTo>
                    <a:pt x="5870253" y="850260"/>
                    <a:pt x="5870253" y="847558"/>
                    <a:pt x="5870253" y="844855"/>
                  </a:cubicBezTo>
                  <a:cubicBezTo>
                    <a:pt x="5872843" y="842153"/>
                    <a:pt x="5875435" y="842153"/>
                    <a:pt x="5878025" y="839450"/>
                  </a:cubicBezTo>
                  <a:lnTo>
                    <a:pt x="5883208" y="834046"/>
                  </a:lnTo>
                  <a:lnTo>
                    <a:pt x="5883208" y="823236"/>
                  </a:lnTo>
                  <a:cubicBezTo>
                    <a:pt x="5880618" y="823236"/>
                    <a:pt x="5880618" y="823236"/>
                    <a:pt x="5878025" y="823236"/>
                  </a:cubicBezTo>
                  <a:cubicBezTo>
                    <a:pt x="5878025" y="820533"/>
                    <a:pt x="5878025" y="817831"/>
                    <a:pt x="5878025" y="815128"/>
                  </a:cubicBezTo>
                  <a:cubicBezTo>
                    <a:pt x="5880618" y="815128"/>
                    <a:pt x="5883208" y="812426"/>
                    <a:pt x="5885800" y="809724"/>
                  </a:cubicBezTo>
                  <a:cubicBezTo>
                    <a:pt x="5888390" y="777295"/>
                    <a:pt x="5896165" y="750271"/>
                    <a:pt x="5927259" y="734056"/>
                  </a:cubicBezTo>
                  <a:cubicBezTo>
                    <a:pt x="5924668" y="734056"/>
                    <a:pt x="5924668" y="731353"/>
                    <a:pt x="5922077" y="731353"/>
                  </a:cubicBezTo>
                  <a:cubicBezTo>
                    <a:pt x="5922077" y="728651"/>
                    <a:pt x="5922077" y="725949"/>
                    <a:pt x="5922077" y="723246"/>
                  </a:cubicBezTo>
                  <a:cubicBezTo>
                    <a:pt x="5924668" y="723246"/>
                    <a:pt x="5927259" y="720543"/>
                    <a:pt x="5929850" y="720543"/>
                  </a:cubicBezTo>
                  <a:cubicBezTo>
                    <a:pt x="5929850" y="715139"/>
                    <a:pt x="5929850" y="712436"/>
                    <a:pt x="5929850" y="709734"/>
                  </a:cubicBezTo>
                  <a:cubicBezTo>
                    <a:pt x="5932442" y="709734"/>
                    <a:pt x="5932442" y="709734"/>
                    <a:pt x="5935033" y="709734"/>
                  </a:cubicBezTo>
                  <a:cubicBezTo>
                    <a:pt x="5935033" y="701627"/>
                    <a:pt x="5935033" y="693520"/>
                    <a:pt x="5935033" y="685412"/>
                  </a:cubicBezTo>
                  <a:cubicBezTo>
                    <a:pt x="5932442" y="685412"/>
                    <a:pt x="5932442" y="685412"/>
                    <a:pt x="5929850" y="685412"/>
                  </a:cubicBezTo>
                  <a:cubicBezTo>
                    <a:pt x="5929850" y="682710"/>
                    <a:pt x="5929850" y="682710"/>
                    <a:pt x="5929850" y="680008"/>
                  </a:cubicBezTo>
                  <a:lnTo>
                    <a:pt x="5935033" y="677305"/>
                  </a:lnTo>
                  <a:cubicBezTo>
                    <a:pt x="5940215" y="671901"/>
                    <a:pt x="5942806" y="666495"/>
                    <a:pt x="5947989" y="658388"/>
                  </a:cubicBezTo>
                  <a:cubicBezTo>
                    <a:pt x="5950579" y="652983"/>
                    <a:pt x="5950579" y="650281"/>
                    <a:pt x="5950579" y="647579"/>
                  </a:cubicBezTo>
                  <a:cubicBezTo>
                    <a:pt x="5945398" y="639471"/>
                    <a:pt x="5945398" y="625960"/>
                    <a:pt x="5950579" y="617852"/>
                  </a:cubicBezTo>
                  <a:cubicBezTo>
                    <a:pt x="5950581" y="617849"/>
                    <a:pt x="5950598" y="617795"/>
                    <a:pt x="5950904" y="616838"/>
                  </a:cubicBezTo>
                  <a:lnTo>
                    <a:pt x="5953171" y="609745"/>
                  </a:lnTo>
                  <a:cubicBezTo>
                    <a:pt x="5953173" y="609748"/>
                    <a:pt x="5953190" y="609802"/>
                    <a:pt x="5953495" y="610759"/>
                  </a:cubicBezTo>
                  <a:lnTo>
                    <a:pt x="5955763" y="617852"/>
                  </a:lnTo>
                  <a:cubicBezTo>
                    <a:pt x="5960944" y="625960"/>
                    <a:pt x="5963537" y="639471"/>
                    <a:pt x="5958354" y="647579"/>
                  </a:cubicBezTo>
                  <a:cubicBezTo>
                    <a:pt x="5958354" y="650281"/>
                    <a:pt x="5958354" y="652983"/>
                    <a:pt x="5958354" y="655686"/>
                  </a:cubicBezTo>
                  <a:cubicBezTo>
                    <a:pt x="5963537" y="663793"/>
                    <a:pt x="5968719" y="671901"/>
                    <a:pt x="5971311" y="677305"/>
                  </a:cubicBezTo>
                  <a:cubicBezTo>
                    <a:pt x="5973903" y="677305"/>
                    <a:pt x="5973903" y="680008"/>
                    <a:pt x="5976494" y="680008"/>
                  </a:cubicBezTo>
                  <a:cubicBezTo>
                    <a:pt x="5976494" y="682710"/>
                    <a:pt x="5976494" y="682710"/>
                    <a:pt x="5976494" y="685412"/>
                  </a:cubicBezTo>
                  <a:cubicBezTo>
                    <a:pt x="5973903" y="693520"/>
                    <a:pt x="5973903" y="701627"/>
                    <a:pt x="5973903" y="709734"/>
                  </a:cubicBezTo>
                  <a:cubicBezTo>
                    <a:pt x="5979084" y="712436"/>
                    <a:pt x="5979084" y="715139"/>
                    <a:pt x="5979084" y="720543"/>
                  </a:cubicBezTo>
                  <a:lnTo>
                    <a:pt x="5984268" y="723246"/>
                  </a:lnTo>
                  <a:cubicBezTo>
                    <a:pt x="5984268" y="725949"/>
                    <a:pt x="5984268" y="728651"/>
                    <a:pt x="5984268" y="731353"/>
                  </a:cubicBezTo>
                  <a:cubicBezTo>
                    <a:pt x="5981676" y="734056"/>
                    <a:pt x="5981676" y="734056"/>
                    <a:pt x="5979084" y="734056"/>
                  </a:cubicBezTo>
                  <a:lnTo>
                    <a:pt x="5999269" y="755105"/>
                  </a:lnTo>
                  <a:lnTo>
                    <a:pt x="5999269" y="627662"/>
                  </a:lnTo>
                  <a:lnTo>
                    <a:pt x="5999299" y="627662"/>
                  </a:lnTo>
                  <a:cubicBezTo>
                    <a:pt x="6004989" y="627662"/>
                    <a:pt x="6016130" y="627662"/>
                    <a:pt x="6037948" y="627662"/>
                  </a:cubicBezTo>
                  <a:cubicBezTo>
                    <a:pt x="6037948" y="627654"/>
                    <a:pt x="6037948" y="627557"/>
                    <a:pt x="6037948" y="626311"/>
                  </a:cubicBezTo>
                  <a:lnTo>
                    <a:pt x="6037948" y="616853"/>
                  </a:lnTo>
                  <a:cubicBezTo>
                    <a:pt x="6037954" y="616853"/>
                    <a:pt x="6038029" y="616853"/>
                    <a:pt x="6038962" y="616853"/>
                  </a:cubicBezTo>
                  <a:lnTo>
                    <a:pt x="6046055" y="616853"/>
                  </a:lnTo>
                  <a:cubicBezTo>
                    <a:pt x="6046055" y="616846"/>
                    <a:pt x="6046055" y="616733"/>
                    <a:pt x="6046055" y="614962"/>
                  </a:cubicBezTo>
                  <a:lnTo>
                    <a:pt x="6046055" y="601721"/>
                  </a:lnTo>
                  <a:cubicBezTo>
                    <a:pt x="6046064" y="601721"/>
                    <a:pt x="6046136" y="601721"/>
                    <a:pt x="6046815" y="601721"/>
                  </a:cubicBezTo>
                  <a:lnTo>
                    <a:pt x="6052135" y="601721"/>
                  </a:lnTo>
                  <a:cubicBezTo>
                    <a:pt x="6052135" y="601714"/>
                    <a:pt x="6052135" y="601629"/>
                    <a:pt x="6052135" y="600640"/>
                  </a:cubicBezTo>
                  <a:lnTo>
                    <a:pt x="6052135" y="593073"/>
                  </a:lnTo>
                  <a:cubicBezTo>
                    <a:pt x="6052143" y="593073"/>
                    <a:pt x="6052267" y="593073"/>
                    <a:pt x="6054163" y="593073"/>
                  </a:cubicBezTo>
                  <a:lnTo>
                    <a:pt x="6068350" y="593073"/>
                  </a:lnTo>
                  <a:cubicBezTo>
                    <a:pt x="6068350" y="593080"/>
                    <a:pt x="6068350" y="593157"/>
                    <a:pt x="6068350" y="594154"/>
                  </a:cubicBezTo>
                  <a:lnTo>
                    <a:pt x="6068350" y="601721"/>
                  </a:lnTo>
                  <a:cubicBezTo>
                    <a:pt x="6068360" y="601721"/>
                    <a:pt x="6068861" y="601721"/>
                    <a:pt x="6090642" y="601721"/>
                  </a:cubicBezTo>
                  <a:cubicBezTo>
                    <a:pt x="6090642" y="601713"/>
                    <a:pt x="6090642" y="601599"/>
                    <a:pt x="6090642" y="599829"/>
                  </a:cubicBezTo>
                  <a:lnTo>
                    <a:pt x="6090642" y="586588"/>
                  </a:lnTo>
                  <a:cubicBezTo>
                    <a:pt x="6090648" y="586588"/>
                    <a:pt x="6090745" y="586588"/>
                    <a:pt x="6092416" y="586588"/>
                  </a:cubicBezTo>
                  <a:lnTo>
                    <a:pt x="6104829" y="586588"/>
                  </a:lnTo>
                  <a:cubicBezTo>
                    <a:pt x="6104829" y="586600"/>
                    <a:pt x="6104829" y="587114"/>
                    <a:pt x="6104829" y="610368"/>
                  </a:cubicBezTo>
                  <a:cubicBezTo>
                    <a:pt x="6104836" y="610368"/>
                    <a:pt x="6104916" y="610368"/>
                    <a:pt x="6105843" y="610368"/>
                  </a:cubicBezTo>
                  <a:lnTo>
                    <a:pt x="6112936" y="610368"/>
                  </a:lnTo>
                  <a:cubicBezTo>
                    <a:pt x="6112936" y="610362"/>
                    <a:pt x="6112936" y="610281"/>
                    <a:pt x="6112936" y="609287"/>
                  </a:cubicBezTo>
                  <a:lnTo>
                    <a:pt x="6112936" y="601721"/>
                  </a:lnTo>
                  <a:cubicBezTo>
                    <a:pt x="6112945" y="601721"/>
                    <a:pt x="6113063" y="601721"/>
                    <a:pt x="6114709" y="601721"/>
                  </a:cubicBezTo>
                  <a:lnTo>
                    <a:pt x="6127123" y="601721"/>
                  </a:lnTo>
                  <a:cubicBezTo>
                    <a:pt x="6127123" y="601734"/>
                    <a:pt x="6127123" y="602293"/>
                    <a:pt x="6127123" y="627662"/>
                  </a:cubicBezTo>
                  <a:cubicBezTo>
                    <a:pt x="6127131" y="627662"/>
                    <a:pt x="6127249" y="627662"/>
                    <a:pt x="6129150" y="627662"/>
                  </a:cubicBezTo>
                  <a:lnTo>
                    <a:pt x="6143336" y="627662"/>
                  </a:lnTo>
                  <a:cubicBezTo>
                    <a:pt x="6143336" y="627673"/>
                    <a:pt x="6143336" y="627788"/>
                    <a:pt x="6143336" y="629283"/>
                  </a:cubicBezTo>
                  <a:lnTo>
                    <a:pt x="6143336" y="640633"/>
                  </a:lnTo>
                  <a:cubicBezTo>
                    <a:pt x="6143344" y="640633"/>
                    <a:pt x="6143415" y="640633"/>
                    <a:pt x="6144096" y="640633"/>
                  </a:cubicBezTo>
                  <a:lnTo>
                    <a:pt x="6149417" y="640633"/>
                  </a:lnTo>
                  <a:cubicBezTo>
                    <a:pt x="6149417" y="640625"/>
                    <a:pt x="6149417" y="640549"/>
                    <a:pt x="6149417" y="639822"/>
                  </a:cubicBezTo>
                  <a:lnTo>
                    <a:pt x="6149417" y="634147"/>
                  </a:lnTo>
                  <a:cubicBezTo>
                    <a:pt x="6149434" y="634147"/>
                    <a:pt x="6150153" y="634147"/>
                    <a:pt x="6179817" y="634147"/>
                  </a:cubicBezTo>
                  <a:cubicBezTo>
                    <a:pt x="6179817" y="634161"/>
                    <a:pt x="6179817" y="634724"/>
                    <a:pt x="6179817" y="657927"/>
                  </a:cubicBezTo>
                  <a:cubicBezTo>
                    <a:pt x="6179824" y="657927"/>
                    <a:pt x="6179903" y="657927"/>
                    <a:pt x="6180830" y="657927"/>
                  </a:cubicBezTo>
                  <a:lnTo>
                    <a:pt x="6187924" y="657927"/>
                  </a:lnTo>
                  <a:cubicBezTo>
                    <a:pt x="6187924" y="657934"/>
                    <a:pt x="6187924" y="658007"/>
                    <a:pt x="6187924" y="659008"/>
                  </a:cubicBezTo>
                  <a:lnTo>
                    <a:pt x="6187924" y="666574"/>
                  </a:lnTo>
                  <a:cubicBezTo>
                    <a:pt x="6187933" y="666574"/>
                    <a:pt x="6188006" y="666574"/>
                    <a:pt x="6188684" y="666574"/>
                  </a:cubicBezTo>
                  <a:lnTo>
                    <a:pt x="6194004" y="666574"/>
                  </a:lnTo>
                  <a:cubicBezTo>
                    <a:pt x="6194004" y="666567"/>
                    <a:pt x="6194004" y="666447"/>
                    <a:pt x="6194004" y="664412"/>
                  </a:cubicBezTo>
                  <a:lnTo>
                    <a:pt x="6194004" y="649280"/>
                  </a:lnTo>
                  <a:cubicBezTo>
                    <a:pt x="6194011" y="649280"/>
                    <a:pt x="6194089" y="649280"/>
                    <a:pt x="6195017" y="649280"/>
                  </a:cubicBezTo>
                  <a:lnTo>
                    <a:pt x="6202111" y="649280"/>
                  </a:lnTo>
                  <a:cubicBezTo>
                    <a:pt x="6202111" y="649288"/>
                    <a:pt x="6202111" y="649371"/>
                    <a:pt x="6202111" y="650361"/>
                  </a:cubicBezTo>
                  <a:lnTo>
                    <a:pt x="6202111" y="657927"/>
                  </a:lnTo>
                  <a:lnTo>
                    <a:pt x="6207431" y="655934"/>
                  </a:lnTo>
                  <a:cubicBezTo>
                    <a:pt x="6208191" y="655562"/>
                    <a:pt x="6208191" y="655360"/>
                    <a:pt x="6208191" y="654954"/>
                  </a:cubicBezTo>
                  <a:lnTo>
                    <a:pt x="6208191" y="649280"/>
                  </a:lnTo>
                  <a:cubicBezTo>
                    <a:pt x="6208208" y="649280"/>
                    <a:pt x="6209009" y="649280"/>
                    <a:pt x="6246698" y="649280"/>
                  </a:cubicBezTo>
                  <a:cubicBezTo>
                    <a:pt x="6246698" y="649294"/>
                    <a:pt x="6246698" y="649841"/>
                    <a:pt x="6246698" y="673059"/>
                  </a:cubicBezTo>
                  <a:cubicBezTo>
                    <a:pt x="6246706" y="673059"/>
                    <a:pt x="6246824" y="673059"/>
                    <a:pt x="6248724" y="673059"/>
                  </a:cubicBezTo>
                  <a:lnTo>
                    <a:pt x="6262911" y="673059"/>
                  </a:lnTo>
                  <a:cubicBezTo>
                    <a:pt x="6262911" y="673067"/>
                    <a:pt x="6262911" y="673149"/>
                    <a:pt x="6262911" y="674140"/>
                  </a:cubicBezTo>
                  <a:lnTo>
                    <a:pt x="6262911" y="681706"/>
                  </a:lnTo>
                  <a:cubicBezTo>
                    <a:pt x="6262920" y="681706"/>
                    <a:pt x="6263043" y="681706"/>
                    <a:pt x="6264685" y="681706"/>
                  </a:cubicBezTo>
                  <a:lnTo>
                    <a:pt x="6277098" y="681706"/>
                  </a:lnTo>
                  <a:cubicBezTo>
                    <a:pt x="6277098" y="681694"/>
                    <a:pt x="6277098" y="681183"/>
                    <a:pt x="6277098" y="657927"/>
                  </a:cubicBezTo>
                  <a:cubicBezTo>
                    <a:pt x="6277105" y="657927"/>
                    <a:pt x="6277183" y="657927"/>
                    <a:pt x="6278111" y="657927"/>
                  </a:cubicBezTo>
                  <a:lnTo>
                    <a:pt x="6285205" y="657927"/>
                  </a:lnTo>
                  <a:cubicBezTo>
                    <a:pt x="6285205" y="657908"/>
                    <a:pt x="6285205" y="657137"/>
                    <a:pt x="6285205" y="625500"/>
                  </a:cubicBezTo>
                  <a:cubicBezTo>
                    <a:pt x="6285212" y="625500"/>
                    <a:pt x="6285289" y="625500"/>
                    <a:pt x="6286218" y="625500"/>
                  </a:cubicBezTo>
                  <a:lnTo>
                    <a:pt x="6293312" y="625500"/>
                  </a:lnTo>
                  <a:cubicBezTo>
                    <a:pt x="6293312" y="625494"/>
                    <a:pt x="6293312" y="625385"/>
                    <a:pt x="6293312" y="623609"/>
                  </a:cubicBezTo>
                  <a:lnTo>
                    <a:pt x="6293312" y="610368"/>
                  </a:lnTo>
                  <a:cubicBezTo>
                    <a:pt x="6291285" y="610368"/>
                    <a:pt x="6291285" y="610368"/>
                    <a:pt x="6292045" y="608746"/>
                  </a:cubicBezTo>
                  <a:lnTo>
                    <a:pt x="6297365" y="597397"/>
                  </a:lnTo>
                  <a:cubicBezTo>
                    <a:pt x="6297370" y="597414"/>
                    <a:pt x="6297565" y="598088"/>
                    <a:pt x="6305472" y="625500"/>
                  </a:cubicBezTo>
                  <a:cubicBezTo>
                    <a:pt x="6305480" y="625500"/>
                    <a:pt x="6305553" y="625500"/>
                    <a:pt x="6306232" y="625500"/>
                  </a:cubicBezTo>
                  <a:lnTo>
                    <a:pt x="6311552" y="625500"/>
                  </a:lnTo>
                  <a:cubicBezTo>
                    <a:pt x="6311552" y="625487"/>
                    <a:pt x="6311552" y="624308"/>
                    <a:pt x="6311552" y="519573"/>
                  </a:cubicBezTo>
                  <a:cubicBezTo>
                    <a:pt x="6311562" y="519573"/>
                    <a:pt x="6311676" y="519573"/>
                    <a:pt x="6313072" y="519573"/>
                  </a:cubicBezTo>
                  <a:lnTo>
                    <a:pt x="6323712" y="519573"/>
                  </a:lnTo>
                  <a:cubicBezTo>
                    <a:pt x="6323712" y="519551"/>
                    <a:pt x="6323712" y="518541"/>
                    <a:pt x="6323712" y="472014"/>
                  </a:cubicBezTo>
                  <a:cubicBezTo>
                    <a:pt x="6323729" y="472014"/>
                    <a:pt x="6324354" y="472014"/>
                    <a:pt x="6350059" y="472014"/>
                  </a:cubicBezTo>
                  <a:cubicBezTo>
                    <a:pt x="6350059" y="472002"/>
                    <a:pt x="6350059" y="471492"/>
                    <a:pt x="6350059" y="450396"/>
                  </a:cubicBezTo>
                  <a:cubicBezTo>
                    <a:pt x="6350078" y="450396"/>
                    <a:pt x="6350867" y="450396"/>
                    <a:pt x="6384513" y="450396"/>
                  </a:cubicBezTo>
                  <a:cubicBezTo>
                    <a:pt x="6384513" y="450404"/>
                    <a:pt x="6384513" y="450534"/>
                    <a:pt x="6384513" y="452828"/>
                  </a:cubicBezTo>
                  <a:lnTo>
                    <a:pt x="6384513" y="469852"/>
                  </a:lnTo>
                  <a:cubicBezTo>
                    <a:pt x="6384522" y="469852"/>
                    <a:pt x="6384653" y="469852"/>
                    <a:pt x="6386793" y="469852"/>
                  </a:cubicBezTo>
                  <a:lnTo>
                    <a:pt x="6402753" y="469852"/>
                  </a:lnTo>
                  <a:cubicBezTo>
                    <a:pt x="6402753" y="469870"/>
                    <a:pt x="6402753" y="470764"/>
                    <a:pt x="6402753" y="517411"/>
                  </a:cubicBezTo>
                  <a:cubicBezTo>
                    <a:pt x="6402759" y="517411"/>
                    <a:pt x="6402835" y="517411"/>
                    <a:pt x="6403766" y="517411"/>
                  </a:cubicBezTo>
                  <a:lnTo>
                    <a:pt x="6410860" y="517411"/>
                  </a:lnTo>
                  <a:lnTo>
                    <a:pt x="6425047" y="521735"/>
                  </a:lnTo>
                  <a:cubicBezTo>
                    <a:pt x="6425047" y="521745"/>
                    <a:pt x="6425047" y="522395"/>
                    <a:pt x="6425047" y="560647"/>
                  </a:cubicBezTo>
                  <a:cubicBezTo>
                    <a:pt x="6425053" y="560647"/>
                    <a:pt x="6425128" y="560647"/>
                    <a:pt x="6426060" y="560647"/>
                  </a:cubicBezTo>
                  <a:lnTo>
                    <a:pt x="6433153" y="560647"/>
                  </a:lnTo>
                  <a:cubicBezTo>
                    <a:pt x="6433153" y="560657"/>
                    <a:pt x="6433153" y="560763"/>
                    <a:pt x="6433153" y="562268"/>
                  </a:cubicBezTo>
                  <a:lnTo>
                    <a:pt x="6433153" y="573617"/>
                  </a:lnTo>
                  <a:cubicBezTo>
                    <a:pt x="6433161" y="573617"/>
                    <a:pt x="6433285" y="573617"/>
                    <a:pt x="6435180" y="573617"/>
                  </a:cubicBezTo>
                  <a:lnTo>
                    <a:pt x="6449367" y="573617"/>
                  </a:lnTo>
                  <a:lnTo>
                    <a:pt x="6455447" y="580103"/>
                  </a:lnTo>
                  <a:cubicBezTo>
                    <a:pt x="6455447" y="580115"/>
                    <a:pt x="6455447" y="580601"/>
                    <a:pt x="6455447" y="601721"/>
                  </a:cubicBezTo>
                  <a:cubicBezTo>
                    <a:pt x="6455456" y="601721"/>
                    <a:pt x="6455587" y="601721"/>
                    <a:pt x="6457727" y="601721"/>
                  </a:cubicBezTo>
                  <a:lnTo>
                    <a:pt x="6473687" y="601721"/>
                  </a:lnTo>
                  <a:cubicBezTo>
                    <a:pt x="6473687" y="601728"/>
                    <a:pt x="6473687" y="601808"/>
                    <a:pt x="6473687" y="602801"/>
                  </a:cubicBezTo>
                  <a:lnTo>
                    <a:pt x="6473687" y="610368"/>
                  </a:lnTo>
                  <a:cubicBezTo>
                    <a:pt x="6473696" y="610368"/>
                    <a:pt x="6473795" y="610368"/>
                    <a:pt x="6474954" y="610368"/>
                  </a:cubicBezTo>
                  <a:lnTo>
                    <a:pt x="6483821" y="610368"/>
                  </a:lnTo>
                  <a:cubicBezTo>
                    <a:pt x="6483821" y="610377"/>
                    <a:pt x="6483821" y="610506"/>
                    <a:pt x="6483821" y="612529"/>
                  </a:cubicBezTo>
                  <a:lnTo>
                    <a:pt x="6483821" y="627662"/>
                  </a:lnTo>
                  <a:cubicBezTo>
                    <a:pt x="6487874" y="627662"/>
                    <a:pt x="6487874" y="627662"/>
                    <a:pt x="6487874" y="625770"/>
                  </a:cubicBezTo>
                  <a:lnTo>
                    <a:pt x="6487874" y="612529"/>
                  </a:lnTo>
                  <a:cubicBezTo>
                    <a:pt x="6487880" y="612529"/>
                    <a:pt x="6487958" y="612529"/>
                    <a:pt x="6488887" y="612529"/>
                  </a:cubicBezTo>
                  <a:lnTo>
                    <a:pt x="6495981" y="612529"/>
                  </a:lnTo>
                  <a:cubicBezTo>
                    <a:pt x="6495981" y="612540"/>
                    <a:pt x="6495981" y="612659"/>
                    <a:pt x="6495981" y="614151"/>
                  </a:cubicBezTo>
                  <a:lnTo>
                    <a:pt x="6495981" y="625500"/>
                  </a:lnTo>
                  <a:cubicBezTo>
                    <a:pt x="6495990" y="625500"/>
                    <a:pt x="6496063" y="625500"/>
                    <a:pt x="6496741" y="625500"/>
                  </a:cubicBezTo>
                  <a:lnTo>
                    <a:pt x="6502061" y="625500"/>
                  </a:lnTo>
                  <a:cubicBezTo>
                    <a:pt x="6502061" y="621177"/>
                    <a:pt x="6502061" y="621177"/>
                    <a:pt x="6550701" y="621177"/>
                  </a:cubicBezTo>
                  <a:cubicBezTo>
                    <a:pt x="6550701" y="621186"/>
                    <a:pt x="6550701" y="621287"/>
                    <a:pt x="6550701" y="622528"/>
                  </a:cubicBezTo>
                  <a:lnTo>
                    <a:pt x="6550701" y="631985"/>
                  </a:lnTo>
                  <a:cubicBezTo>
                    <a:pt x="6550709" y="631985"/>
                    <a:pt x="6550784" y="631985"/>
                    <a:pt x="6551461" y="631985"/>
                  </a:cubicBezTo>
                  <a:lnTo>
                    <a:pt x="6556782" y="631985"/>
                  </a:lnTo>
                  <a:cubicBezTo>
                    <a:pt x="6556782" y="631994"/>
                    <a:pt x="6556782" y="632116"/>
                    <a:pt x="6556782" y="634147"/>
                  </a:cubicBezTo>
                  <a:lnTo>
                    <a:pt x="6556782" y="649280"/>
                  </a:lnTo>
                  <a:cubicBezTo>
                    <a:pt x="6556790" y="649276"/>
                    <a:pt x="6556906" y="649198"/>
                    <a:pt x="6558808" y="647929"/>
                  </a:cubicBezTo>
                  <a:lnTo>
                    <a:pt x="6572995" y="638471"/>
                  </a:lnTo>
                  <a:cubicBezTo>
                    <a:pt x="6572997" y="638452"/>
                    <a:pt x="6573128" y="637577"/>
                    <a:pt x="6579075" y="597397"/>
                  </a:cubicBezTo>
                  <a:cubicBezTo>
                    <a:pt x="6579084" y="597395"/>
                    <a:pt x="6579153" y="597369"/>
                    <a:pt x="6579835" y="597127"/>
                  </a:cubicBezTo>
                  <a:lnTo>
                    <a:pt x="6585155" y="595235"/>
                  </a:lnTo>
                  <a:cubicBezTo>
                    <a:pt x="6585155" y="595219"/>
                    <a:pt x="6585188" y="594158"/>
                    <a:pt x="6587182" y="526058"/>
                  </a:cubicBezTo>
                  <a:cubicBezTo>
                    <a:pt x="6587182" y="526076"/>
                    <a:pt x="6587215" y="527167"/>
                    <a:pt x="6589209" y="595235"/>
                  </a:cubicBezTo>
                  <a:cubicBezTo>
                    <a:pt x="6589218" y="595238"/>
                    <a:pt x="6589289" y="595263"/>
                    <a:pt x="6589969" y="595505"/>
                  </a:cubicBezTo>
                  <a:lnTo>
                    <a:pt x="6595289" y="597397"/>
                  </a:lnTo>
                  <a:cubicBezTo>
                    <a:pt x="6595289" y="597377"/>
                    <a:pt x="6595289" y="596044"/>
                    <a:pt x="6595289" y="510926"/>
                  </a:cubicBezTo>
                  <a:cubicBezTo>
                    <a:pt x="6599342" y="510926"/>
                    <a:pt x="6599342" y="510926"/>
                    <a:pt x="6599342" y="478499"/>
                  </a:cubicBezTo>
                  <a:cubicBezTo>
                    <a:pt x="6599354" y="478499"/>
                    <a:pt x="6600040" y="478499"/>
                    <a:pt x="6637849" y="478499"/>
                  </a:cubicBezTo>
                  <a:cubicBezTo>
                    <a:pt x="6637849" y="478516"/>
                    <a:pt x="6637849" y="479234"/>
                    <a:pt x="6637849" y="510926"/>
                  </a:cubicBezTo>
                  <a:cubicBezTo>
                    <a:pt x="6637858" y="510926"/>
                    <a:pt x="6637930" y="510926"/>
                    <a:pt x="6638609" y="510926"/>
                  </a:cubicBezTo>
                  <a:lnTo>
                    <a:pt x="6643929" y="510926"/>
                  </a:lnTo>
                  <a:cubicBezTo>
                    <a:pt x="6643929" y="510905"/>
                    <a:pt x="6643929" y="509599"/>
                    <a:pt x="6643929" y="428778"/>
                  </a:cubicBezTo>
                  <a:cubicBezTo>
                    <a:pt x="6643935" y="428778"/>
                    <a:pt x="6644034" y="428778"/>
                    <a:pt x="6645703" y="428778"/>
                  </a:cubicBezTo>
                  <a:lnTo>
                    <a:pt x="6658116" y="428778"/>
                  </a:lnTo>
                  <a:cubicBezTo>
                    <a:pt x="6658116" y="428771"/>
                    <a:pt x="6658116" y="428660"/>
                    <a:pt x="6658116" y="426887"/>
                  </a:cubicBezTo>
                  <a:lnTo>
                    <a:pt x="6658116" y="413646"/>
                  </a:lnTo>
                  <a:cubicBezTo>
                    <a:pt x="6658127" y="413646"/>
                    <a:pt x="6658625" y="413646"/>
                    <a:pt x="6680410" y="413646"/>
                  </a:cubicBezTo>
                  <a:cubicBezTo>
                    <a:pt x="6680410" y="413639"/>
                    <a:pt x="6680410" y="413558"/>
                    <a:pt x="6680410" y="412565"/>
                  </a:cubicBezTo>
                  <a:lnTo>
                    <a:pt x="6680410" y="404999"/>
                  </a:lnTo>
                  <a:cubicBezTo>
                    <a:pt x="6680417" y="404999"/>
                    <a:pt x="6680527" y="404999"/>
                    <a:pt x="6682183" y="404999"/>
                  </a:cubicBezTo>
                  <a:lnTo>
                    <a:pt x="6694597" y="404999"/>
                  </a:lnTo>
                  <a:cubicBezTo>
                    <a:pt x="6694597" y="405007"/>
                    <a:pt x="6694597" y="405086"/>
                    <a:pt x="6694597" y="406080"/>
                  </a:cubicBezTo>
                  <a:lnTo>
                    <a:pt x="6694597" y="413646"/>
                  </a:lnTo>
                  <a:cubicBezTo>
                    <a:pt x="6694606" y="413646"/>
                    <a:pt x="6694679" y="413646"/>
                    <a:pt x="6695357" y="413646"/>
                  </a:cubicBezTo>
                  <a:lnTo>
                    <a:pt x="6700677" y="413646"/>
                  </a:lnTo>
                  <a:lnTo>
                    <a:pt x="6710810" y="409322"/>
                  </a:lnTo>
                  <a:lnTo>
                    <a:pt x="6714863" y="412565"/>
                  </a:lnTo>
                  <a:lnTo>
                    <a:pt x="6714863" y="404999"/>
                  </a:lnTo>
                  <a:cubicBezTo>
                    <a:pt x="6714872" y="404999"/>
                    <a:pt x="6715009" y="404999"/>
                    <a:pt x="6717143" y="404999"/>
                  </a:cubicBezTo>
                  <a:lnTo>
                    <a:pt x="6733104" y="404999"/>
                  </a:lnTo>
                  <a:cubicBezTo>
                    <a:pt x="6733104" y="405007"/>
                    <a:pt x="6733104" y="405086"/>
                    <a:pt x="6733104" y="406080"/>
                  </a:cubicBezTo>
                  <a:lnTo>
                    <a:pt x="6733104" y="413646"/>
                  </a:lnTo>
                  <a:cubicBezTo>
                    <a:pt x="6733123" y="413646"/>
                    <a:pt x="6733859" y="413646"/>
                    <a:pt x="6763504" y="413646"/>
                  </a:cubicBezTo>
                  <a:cubicBezTo>
                    <a:pt x="6763504" y="413656"/>
                    <a:pt x="6763504" y="413765"/>
                    <a:pt x="6763504" y="415267"/>
                  </a:cubicBezTo>
                  <a:lnTo>
                    <a:pt x="6763504" y="426617"/>
                  </a:lnTo>
                  <a:cubicBezTo>
                    <a:pt x="6763521" y="426617"/>
                    <a:pt x="6764161" y="426617"/>
                    <a:pt x="6789851" y="426617"/>
                  </a:cubicBezTo>
                  <a:cubicBezTo>
                    <a:pt x="6789851" y="426633"/>
                    <a:pt x="6789851" y="427313"/>
                    <a:pt x="6789851" y="456881"/>
                  </a:cubicBezTo>
                  <a:cubicBezTo>
                    <a:pt x="6789860" y="456881"/>
                    <a:pt x="6789933" y="456881"/>
                    <a:pt x="6790611" y="456881"/>
                  </a:cubicBezTo>
                  <a:lnTo>
                    <a:pt x="6795931" y="456881"/>
                  </a:lnTo>
                  <a:cubicBezTo>
                    <a:pt x="6795931" y="456888"/>
                    <a:pt x="6795931" y="456974"/>
                    <a:pt x="6795931" y="457962"/>
                  </a:cubicBezTo>
                  <a:lnTo>
                    <a:pt x="6795931" y="465529"/>
                  </a:lnTo>
                  <a:cubicBezTo>
                    <a:pt x="6799985" y="465529"/>
                    <a:pt x="6799985" y="465529"/>
                    <a:pt x="6799985" y="495793"/>
                  </a:cubicBezTo>
                  <a:cubicBezTo>
                    <a:pt x="6799994" y="495793"/>
                    <a:pt x="6800068" y="495793"/>
                    <a:pt x="6800745" y="495793"/>
                  </a:cubicBezTo>
                  <a:lnTo>
                    <a:pt x="6806065" y="495793"/>
                  </a:lnTo>
                  <a:cubicBezTo>
                    <a:pt x="6806065" y="495802"/>
                    <a:pt x="6806065" y="495869"/>
                    <a:pt x="6806065" y="496604"/>
                  </a:cubicBezTo>
                  <a:lnTo>
                    <a:pt x="6806065" y="502279"/>
                  </a:lnTo>
                  <a:cubicBezTo>
                    <a:pt x="6806071" y="502279"/>
                    <a:pt x="6806149" y="502279"/>
                    <a:pt x="6807078" y="502279"/>
                  </a:cubicBezTo>
                  <a:lnTo>
                    <a:pt x="6814171" y="502279"/>
                  </a:lnTo>
                  <a:cubicBezTo>
                    <a:pt x="6814171" y="502296"/>
                    <a:pt x="6814171" y="503009"/>
                    <a:pt x="6814171" y="532544"/>
                  </a:cubicBezTo>
                  <a:cubicBezTo>
                    <a:pt x="6814179" y="532544"/>
                    <a:pt x="6814299" y="532544"/>
                    <a:pt x="6816198" y="532544"/>
                  </a:cubicBezTo>
                  <a:lnTo>
                    <a:pt x="6830385" y="532544"/>
                  </a:lnTo>
                  <a:cubicBezTo>
                    <a:pt x="6830385" y="532560"/>
                    <a:pt x="6830385" y="533140"/>
                    <a:pt x="6830385" y="556323"/>
                  </a:cubicBezTo>
                  <a:cubicBezTo>
                    <a:pt x="6832412" y="556323"/>
                    <a:pt x="6832412" y="556323"/>
                    <a:pt x="6832412" y="557944"/>
                  </a:cubicBezTo>
                  <a:lnTo>
                    <a:pt x="6832412" y="569294"/>
                  </a:lnTo>
                  <a:cubicBezTo>
                    <a:pt x="6832421" y="569294"/>
                    <a:pt x="6832491" y="569294"/>
                    <a:pt x="6833172" y="569294"/>
                  </a:cubicBezTo>
                  <a:lnTo>
                    <a:pt x="6838492" y="569294"/>
                  </a:lnTo>
                  <a:cubicBezTo>
                    <a:pt x="6838492" y="569308"/>
                    <a:pt x="6838492" y="569871"/>
                    <a:pt x="6838492" y="593073"/>
                  </a:cubicBezTo>
                  <a:cubicBezTo>
                    <a:pt x="6838500" y="593073"/>
                    <a:pt x="6838599" y="593073"/>
                    <a:pt x="6839758" y="593073"/>
                  </a:cubicBezTo>
                  <a:lnTo>
                    <a:pt x="6848625" y="593073"/>
                  </a:lnTo>
                  <a:cubicBezTo>
                    <a:pt x="6850652" y="595235"/>
                    <a:pt x="6850652" y="595235"/>
                    <a:pt x="6850652" y="597127"/>
                  </a:cubicBezTo>
                  <a:lnTo>
                    <a:pt x="6850652" y="610368"/>
                  </a:lnTo>
                  <a:cubicBezTo>
                    <a:pt x="6850657" y="610361"/>
                    <a:pt x="6850744" y="610254"/>
                    <a:pt x="6852172" y="608476"/>
                  </a:cubicBezTo>
                  <a:lnTo>
                    <a:pt x="6862812" y="595235"/>
                  </a:lnTo>
                  <a:cubicBezTo>
                    <a:pt x="6862827" y="595235"/>
                    <a:pt x="6863466" y="595235"/>
                    <a:pt x="6891186" y="595235"/>
                  </a:cubicBezTo>
                  <a:cubicBezTo>
                    <a:pt x="6891186" y="595260"/>
                    <a:pt x="6891186" y="596661"/>
                    <a:pt x="6891186" y="681706"/>
                  </a:cubicBezTo>
                  <a:cubicBezTo>
                    <a:pt x="6891194" y="681706"/>
                    <a:pt x="6891270" y="681706"/>
                    <a:pt x="6891946" y="681706"/>
                  </a:cubicBezTo>
                  <a:lnTo>
                    <a:pt x="6897266" y="681706"/>
                  </a:lnTo>
                  <a:cubicBezTo>
                    <a:pt x="6897270" y="681698"/>
                    <a:pt x="6897329" y="681598"/>
                    <a:pt x="6898026" y="680355"/>
                  </a:cubicBezTo>
                  <a:lnTo>
                    <a:pt x="6903346" y="670897"/>
                  </a:lnTo>
                  <a:cubicBezTo>
                    <a:pt x="6903346" y="670904"/>
                    <a:pt x="6903346" y="671003"/>
                    <a:pt x="6903346" y="672789"/>
                  </a:cubicBezTo>
                  <a:lnTo>
                    <a:pt x="6903346" y="686030"/>
                  </a:lnTo>
                  <a:cubicBezTo>
                    <a:pt x="6907399" y="686030"/>
                    <a:pt x="6907399" y="686030"/>
                    <a:pt x="6907399" y="640633"/>
                  </a:cubicBezTo>
                  <a:cubicBezTo>
                    <a:pt x="6907408" y="640633"/>
                    <a:pt x="6907478" y="640633"/>
                    <a:pt x="6908159" y="640633"/>
                  </a:cubicBezTo>
                  <a:lnTo>
                    <a:pt x="6913479" y="640633"/>
                  </a:lnTo>
                  <a:cubicBezTo>
                    <a:pt x="6913479" y="640618"/>
                    <a:pt x="6913479" y="639618"/>
                    <a:pt x="6913479" y="575779"/>
                  </a:cubicBezTo>
                  <a:cubicBezTo>
                    <a:pt x="6913486" y="575779"/>
                    <a:pt x="6913567" y="575779"/>
                    <a:pt x="6914493" y="575779"/>
                  </a:cubicBezTo>
                  <a:lnTo>
                    <a:pt x="6921586" y="575779"/>
                  </a:lnTo>
                  <a:cubicBezTo>
                    <a:pt x="6921592" y="575758"/>
                    <a:pt x="6921856" y="574818"/>
                    <a:pt x="6933746" y="532544"/>
                  </a:cubicBezTo>
                  <a:cubicBezTo>
                    <a:pt x="6933755" y="532544"/>
                    <a:pt x="6933852" y="532544"/>
                    <a:pt x="6935013" y="532544"/>
                  </a:cubicBezTo>
                  <a:lnTo>
                    <a:pt x="6943880" y="532544"/>
                  </a:lnTo>
                  <a:cubicBezTo>
                    <a:pt x="6943885" y="532567"/>
                    <a:pt x="6944111" y="533533"/>
                    <a:pt x="6954013" y="575779"/>
                  </a:cubicBezTo>
                  <a:cubicBezTo>
                    <a:pt x="6954019" y="575779"/>
                    <a:pt x="6954093" y="575779"/>
                    <a:pt x="6955026" y="575779"/>
                  </a:cubicBezTo>
                  <a:lnTo>
                    <a:pt x="6962120" y="575779"/>
                  </a:lnTo>
                  <a:cubicBezTo>
                    <a:pt x="6962120" y="575790"/>
                    <a:pt x="6962120" y="576457"/>
                    <a:pt x="6962120" y="614691"/>
                  </a:cubicBezTo>
                  <a:cubicBezTo>
                    <a:pt x="6962127" y="614691"/>
                    <a:pt x="6962226" y="614691"/>
                    <a:pt x="6963893" y="614691"/>
                  </a:cubicBezTo>
                  <a:lnTo>
                    <a:pt x="6976307" y="614691"/>
                  </a:lnTo>
                  <a:cubicBezTo>
                    <a:pt x="6976307" y="614699"/>
                    <a:pt x="6976307" y="614821"/>
                    <a:pt x="6976307" y="616853"/>
                  </a:cubicBezTo>
                  <a:lnTo>
                    <a:pt x="6976307" y="631985"/>
                  </a:lnTo>
                  <a:cubicBezTo>
                    <a:pt x="6980360" y="631985"/>
                    <a:pt x="6980360" y="631985"/>
                    <a:pt x="6980360" y="629824"/>
                  </a:cubicBezTo>
                  <a:lnTo>
                    <a:pt x="6980360" y="614691"/>
                  </a:lnTo>
                  <a:cubicBezTo>
                    <a:pt x="6980370" y="614691"/>
                    <a:pt x="6980482" y="614691"/>
                    <a:pt x="6981880" y="614691"/>
                  </a:cubicBezTo>
                  <a:lnTo>
                    <a:pt x="6992520" y="614691"/>
                  </a:lnTo>
                  <a:cubicBezTo>
                    <a:pt x="6992520" y="614701"/>
                    <a:pt x="6992520" y="614818"/>
                    <a:pt x="6992520" y="616312"/>
                  </a:cubicBezTo>
                  <a:lnTo>
                    <a:pt x="6992520" y="627662"/>
                  </a:lnTo>
                  <a:cubicBezTo>
                    <a:pt x="6992536" y="627662"/>
                    <a:pt x="6993245" y="627662"/>
                    <a:pt x="7022921" y="627662"/>
                  </a:cubicBezTo>
                  <a:cubicBezTo>
                    <a:pt x="7022921" y="627645"/>
                    <a:pt x="7022921" y="626874"/>
                    <a:pt x="7022921" y="590912"/>
                  </a:cubicBezTo>
                  <a:cubicBezTo>
                    <a:pt x="7022929" y="590912"/>
                    <a:pt x="7023022" y="590912"/>
                    <a:pt x="7024187" y="590912"/>
                  </a:cubicBezTo>
                  <a:lnTo>
                    <a:pt x="7033054" y="590912"/>
                  </a:lnTo>
                  <a:cubicBezTo>
                    <a:pt x="7033054" y="590923"/>
                    <a:pt x="7033054" y="591417"/>
                    <a:pt x="7033054" y="612529"/>
                  </a:cubicBezTo>
                  <a:cubicBezTo>
                    <a:pt x="7035081" y="612529"/>
                    <a:pt x="7035081" y="612529"/>
                    <a:pt x="7035081" y="580103"/>
                  </a:cubicBezTo>
                  <a:cubicBezTo>
                    <a:pt x="7035095" y="580103"/>
                    <a:pt x="7035636" y="580103"/>
                    <a:pt x="7057374" y="580103"/>
                  </a:cubicBezTo>
                  <a:cubicBezTo>
                    <a:pt x="7057374" y="580093"/>
                    <a:pt x="7057374" y="579973"/>
                    <a:pt x="7057374" y="578481"/>
                  </a:cubicBezTo>
                  <a:lnTo>
                    <a:pt x="7057374" y="567132"/>
                  </a:lnTo>
                  <a:cubicBezTo>
                    <a:pt x="7057382" y="567132"/>
                    <a:pt x="7057457" y="567132"/>
                    <a:pt x="7058134" y="567132"/>
                  </a:cubicBezTo>
                  <a:lnTo>
                    <a:pt x="7063454" y="567132"/>
                  </a:lnTo>
                  <a:cubicBezTo>
                    <a:pt x="7063454" y="567126"/>
                    <a:pt x="7063454" y="567013"/>
                    <a:pt x="7063454" y="565241"/>
                  </a:cubicBezTo>
                  <a:lnTo>
                    <a:pt x="7063454" y="552000"/>
                  </a:lnTo>
                  <a:lnTo>
                    <a:pt x="7067508" y="558485"/>
                  </a:lnTo>
                  <a:cubicBezTo>
                    <a:pt x="7067516" y="558485"/>
                    <a:pt x="7067645" y="558485"/>
                    <a:pt x="7069788" y="558485"/>
                  </a:cubicBezTo>
                  <a:lnTo>
                    <a:pt x="7085748" y="558485"/>
                  </a:lnTo>
                  <a:cubicBezTo>
                    <a:pt x="7085748" y="558477"/>
                    <a:pt x="7085748" y="558409"/>
                    <a:pt x="7085748" y="557674"/>
                  </a:cubicBezTo>
                  <a:lnTo>
                    <a:pt x="7085748" y="552000"/>
                  </a:lnTo>
                  <a:cubicBezTo>
                    <a:pt x="7085757" y="552000"/>
                    <a:pt x="7085831" y="552000"/>
                    <a:pt x="7086508" y="552000"/>
                  </a:cubicBezTo>
                  <a:lnTo>
                    <a:pt x="7091828" y="552000"/>
                  </a:lnTo>
                  <a:cubicBezTo>
                    <a:pt x="7091828" y="552009"/>
                    <a:pt x="7091828" y="552109"/>
                    <a:pt x="7091828" y="553351"/>
                  </a:cubicBezTo>
                  <a:lnTo>
                    <a:pt x="7091828" y="562809"/>
                  </a:lnTo>
                  <a:cubicBezTo>
                    <a:pt x="7091843" y="562809"/>
                    <a:pt x="7092576" y="562809"/>
                    <a:pt x="7130335" y="562809"/>
                  </a:cubicBezTo>
                  <a:cubicBezTo>
                    <a:pt x="7130335" y="562827"/>
                    <a:pt x="7130335" y="564337"/>
                    <a:pt x="7130335" y="701162"/>
                  </a:cubicBezTo>
                  <a:cubicBezTo>
                    <a:pt x="7130345" y="701162"/>
                    <a:pt x="7130460" y="701162"/>
                    <a:pt x="7131855" y="701162"/>
                  </a:cubicBezTo>
                  <a:lnTo>
                    <a:pt x="7142495" y="701162"/>
                  </a:lnTo>
                  <a:cubicBezTo>
                    <a:pt x="7142495" y="696839"/>
                    <a:pt x="7142495" y="692515"/>
                    <a:pt x="7142495" y="688192"/>
                  </a:cubicBezTo>
                  <a:cubicBezTo>
                    <a:pt x="7144522" y="688192"/>
                    <a:pt x="7144522" y="688192"/>
                    <a:pt x="7146549" y="688192"/>
                  </a:cubicBezTo>
                  <a:cubicBezTo>
                    <a:pt x="7146549" y="692515"/>
                    <a:pt x="7146549" y="696839"/>
                    <a:pt x="7146549" y="701162"/>
                  </a:cubicBezTo>
                  <a:cubicBezTo>
                    <a:pt x="7156682" y="701162"/>
                    <a:pt x="7166816" y="701162"/>
                    <a:pt x="7176949" y="701162"/>
                  </a:cubicBezTo>
                  <a:cubicBezTo>
                    <a:pt x="7176949" y="690353"/>
                    <a:pt x="7176949" y="681706"/>
                    <a:pt x="7176949" y="670897"/>
                  </a:cubicBezTo>
                  <a:cubicBezTo>
                    <a:pt x="7181003" y="670897"/>
                    <a:pt x="7185056" y="670897"/>
                    <a:pt x="7189109" y="670897"/>
                  </a:cubicBezTo>
                  <a:lnTo>
                    <a:pt x="7201269" y="668736"/>
                  </a:lnTo>
                  <a:cubicBezTo>
                    <a:pt x="7203296" y="668736"/>
                    <a:pt x="7203296" y="670897"/>
                    <a:pt x="7205323" y="670897"/>
                  </a:cubicBezTo>
                  <a:lnTo>
                    <a:pt x="7215456" y="670897"/>
                  </a:lnTo>
                  <a:cubicBezTo>
                    <a:pt x="7215456" y="681706"/>
                    <a:pt x="7215456" y="692515"/>
                    <a:pt x="7215456" y="701162"/>
                  </a:cubicBezTo>
                  <a:cubicBezTo>
                    <a:pt x="7217483" y="701162"/>
                    <a:pt x="7219510" y="701162"/>
                    <a:pt x="7223563" y="701162"/>
                  </a:cubicBezTo>
                  <a:cubicBezTo>
                    <a:pt x="7223563" y="707648"/>
                    <a:pt x="7223563" y="714133"/>
                    <a:pt x="7223563" y="718457"/>
                  </a:cubicBezTo>
                  <a:lnTo>
                    <a:pt x="7232899" y="719362"/>
                  </a:lnTo>
                  <a:lnTo>
                    <a:pt x="7245857" y="719362"/>
                  </a:lnTo>
                  <a:cubicBezTo>
                    <a:pt x="7245857" y="713553"/>
                    <a:pt x="7245857" y="709381"/>
                    <a:pt x="7245857" y="703324"/>
                  </a:cubicBezTo>
                  <a:lnTo>
                    <a:pt x="7313813" y="703324"/>
                  </a:lnTo>
                  <a:lnTo>
                    <a:pt x="7313813" y="618071"/>
                  </a:lnTo>
                  <a:lnTo>
                    <a:pt x="7385821" y="618071"/>
                  </a:lnTo>
                  <a:lnTo>
                    <a:pt x="7385821" y="696839"/>
                  </a:lnTo>
                  <a:cubicBezTo>
                    <a:pt x="7386456" y="696839"/>
                    <a:pt x="7387091" y="696839"/>
                    <a:pt x="7387725" y="696839"/>
                  </a:cubicBezTo>
                  <a:lnTo>
                    <a:pt x="7388967" y="719362"/>
                  </a:lnTo>
                  <a:lnTo>
                    <a:pt x="7398643" y="719362"/>
                  </a:lnTo>
                  <a:cubicBezTo>
                    <a:pt x="7399179" y="712148"/>
                    <a:pt x="7399885" y="704494"/>
                    <a:pt x="7399885" y="696839"/>
                  </a:cubicBezTo>
                  <a:cubicBezTo>
                    <a:pt x="7401912" y="696839"/>
                    <a:pt x="7403939" y="696839"/>
                    <a:pt x="7405965" y="696839"/>
                  </a:cubicBezTo>
                  <a:lnTo>
                    <a:pt x="7407207" y="719362"/>
                  </a:lnTo>
                  <a:lnTo>
                    <a:pt x="7457829" y="719362"/>
                  </a:lnTo>
                  <a:lnTo>
                    <a:pt x="7457829" y="556334"/>
                  </a:lnTo>
                  <a:lnTo>
                    <a:pt x="7655156" y="556334"/>
                  </a:lnTo>
                  <a:lnTo>
                    <a:pt x="7655156" y="719362"/>
                  </a:lnTo>
                  <a:lnTo>
                    <a:pt x="7673853" y="719362"/>
                  </a:lnTo>
                  <a:lnTo>
                    <a:pt x="7673853" y="636669"/>
                  </a:lnTo>
                  <a:lnTo>
                    <a:pt x="7768973" y="636669"/>
                  </a:lnTo>
                  <a:lnTo>
                    <a:pt x="7773382" y="519115"/>
                  </a:lnTo>
                  <a:lnTo>
                    <a:pt x="7819759" y="519115"/>
                  </a:lnTo>
                  <a:lnTo>
                    <a:pt x="7821437" y="571456"/>
                  </a:lnTo>
                  <a:cubicBezTo>
                    <a:pt x="7843732" y="571456"/>
                    <a:pt x="7866024" y="571456"/>
                    <a:pt x="7886292" y="571456"/>
                  </a:cubicBezTo>
                  <a:cubicBezTo>
                    <a:pt x="7886292" y="597397"/>
                    <a:pt x="7886292" y="623338"/>
                    <a:pt x="7886292" y="647118"/>
                  </a:cubicBezTo>
                  <a:cubicBezTo>
                    <a:pt x="7890345" y="647118"/>
                    <a:pt x="7892372" y="647118"/>
                    <a:pt x="7894398" y="647118"/>
                  </a:cubicBezTo>
                  <a:cubicBezTo>
                    <a:pt x="7894398" y="644956"/>
                    <a:pt x="7896425" y="642794"/>
                    <a:pt x="7896425" y="640633"/>
                  </a:cubicBezTo>
                  <a:cubicBezTo>
                    <a:pt x="7898452" y="640633"/>
                    <a:pt x="7900478" y="640633"/>
                    <a:pt x="7902505" y="640633"/>
                  </a:cubicBezTo>
                  <a:cubicBezTo>
                    <a:pt x="7902505" y="642794"/>
                    <a:pt x="7902505" y="644956"/>
                    <a:pt x="7904533" y="649280"/>
                  </a:cubicBezTo>
                  <a:cubicBezTo>
                    <a:pt x="7908585" y="649280"/>
                    <a:pt x="7912638" y="649280"/>
                    <a:pt x="7916693" y="649280"/>
                  </a:cubicBezTo>
                  <a:cubicBezTo>
                    <a:pt x="7916693" y="647118"/>
                    <a:pt x="7916693" y="644956"/>
                    <a:pt x="7916693" y="642794"/>
                  </a:cubicBezTo>
                  <a:cubicBezTo>
                    <a:pt x="7924798" y="642794"/>
                    <a:pt x="7930878" y="642794"/>
                    <a:pt x="7938985" y="642794"/>
                  </a:cubicBezTo>
                  <a:cubicBezTo>
                    <a:pt x="7938985" y="644956"/>
                    <a:pt x="7938985" y="647118"/>
                    <a:pt x="7938985" y="649280"/>
                  </a:cubicBezTo>
                  <a:cubicBezTo>
                    <a:pt x="7945065" y="649280"/>
                    <a:pt x="7953173" y="649280"/>
                    <a:pt x="7959253" y="649280"/>
                  </a:cubicBezTo>
                  <a:cubicBezTo>
                    <a:pt x="7959253" y="664412"/>
                    <a:pt x="7959253" y="679545"/>
                    <a:pt x="7959253" y="694677"/>
                  </a:cubicBezTo>
                  <a:cubicBezTo>
                    <a:pt x="7963306" y="694677"/>
                    <a:pt x="7969386" y="694677"/>
                    <a:pt x="7973440" y="694677"/>
                  </a:cubicBezTo>
                  <a:cubicBezTo>
                    <a:pt x="7973440" y="690353"/>
                    <a:pt x="7973440" y="686030"/>
                    <a:pt x="7973440" y="681706"/>
                  </a:cubicBezTo>
                  <a:cubicBezTo>
                    <a:pt x="7979520" y="681706"/>
                    <a:pt x="7985600" y="681706"/>
                    <a:pt x="7989653" y="681706"/>
                  </a:cubicBezTo>
                  <a:cubicBezTo>
                    <a:pt x="7989653" y="621177"/>
                    <a:pt x="7989653" y="562809"/>
                    <a:pt x="7989653" y="502279"/>
                  </a:cubicBezTo>
                  <a:cubicBezTo>
                    <a:pt x="7991680" y="500117"/>
                    <a:pt x="7993706" y="497955"/>
                    <a:pt x="7995733" y="495793"/>
                  </a:cubicBezTo>
                  <a:cubicBezTo>
                    <a:pt x="8020053" y="495793"/>
                    <a:pt x="8044373" y="495793"/>
                    <a:pt x="8068694" y="495793"/>
                  </a:cubicBezTo>
                  <a:lnTo>
                    <a:pt x="8068694" y="504441"/>
                  </a:lnTo>
                  <a:lnTo>
                    <a:pt x="8078828" y="504441"/>
                  </a:lnTo>
                  <a:cubicBezTo>
                    <a:pt x="8078828" y="543353"/>
                    <a:pt x="8078828" y="582265"/>
                    <a:pt x="8078828" y="619015"/>
                  </a:cubicBezTo>
                  <a:cubicBezTo>
                    <a:pt x="8086934" y="619015"/>
                    <a:pt x="8093014" y="619015"/>
                    <a:pt x="8101121" y="619015"/>
                  </a:cubicBezTo>
                  <a:cubicBezTo>
                    <a:pt x="8101121" y="597397"/>
                    <a:pt x="8101121" y="575779"/>
                    <a:pt x="8101121" y="552000"/>
                  </a:cubicBezTo>
                  <a:cubicBezTo>
                    <a:pt x="8109228" y="552000"/>
                    <a:pt x="8119361" y="552000"/>
                    <a:pt x="8127469" y="552000"/>
                  </a:cubicBezTo>
                  <a:cubicBezTo>
                    <a:pt x="8129494" y="552000"/>
                    <a:pt x="8129494" y="549838"/>
                    <a:pt x="8131521" y="547676"/>
                  </a:cubicBezTo>
                  <a:lnTo>
                    <a:pt x="8139629" y="547676"/>
                  </a:lnTo>
                  <a:cubicBezTo>
                    <a:pt x="8141654" y="549838"/>
                    <a:pt x="8141654" y="552000"/>
                    <a:pt x="8143681" y="552000"/>
                  </a:cubicBezTo>
                  <a:cubicBezTo>
                    <a:pt x="8149761" y="552000"/>
                    <a:pt x="8157869" y="552000"/>
                    <a:pt x="8165976" y="552000"/>
                  </a:cubicBezTo>
                  <a:cubicBezTo>
                    <a:pt x="8165976" y="513088"/>
                    <a:pt x="8165976" y="474176"/>
                    <a:pt x="8165976" y="435264"/>
                  </a:cubicBezTo>
                  <a:cubicBezTo>
                    <a:pt x="8165989" y="435261"/>
                    <a:pt x="8166856" y="435097"/>
                    <a:pt x="8222722" y="424455"/>
                  </a:cubicBezTo>
                  <a:cubicBezTo>
                    <a:pt x="8222722" y="424462"/>
                    <a:pt x="8222722" y="424536"/>
                    <a:pt x="8222722" y="425536"/>
                  </a:cubicBezTo>
                  <a:lnTo>
                    <a:pt x="8222722" y="433102"/>
                  </a:lnTo>
                  <a:cubicBezTo>
                    <a:pt x="8222740" y="433102"/>
                    <a:pt x="8223384" y="433102"/>
                    <a:pt x="8249069" y="433102"/>
                  </a:cubicBezTo>
                  <a:cubicBezTo>
                    <a:pt x="8249069" y="433124"/>
                    <a:pt x="8249069" y="435495"/>
                    <a:pt x="8249069" y="688192"/>
                  </a:cubicBezTo>
                  <a:cubicBezTo>
                    <a:pt x="8255149" y="688192"/>
                    <a:pt x="8263256" y="688192"/>
                    <a:pt x="8271364" y="688192"/>
                  </a:cubicBezTo>
                  <a:cubicBezTo>
                    <a:pt x="8271364" y="686030"/>
                    <a:pt x="8271364" y="686030"/>
                    <a:pt x="8271364" y="683868"/>
                  </a:cubicBezTo>
                  <a:cubicBezTo>
                    <a:pt x="8275416" y="683868"/>
                    <a:pt x="8279469" y="683868"/>
                    <a:pt x="8283524" y="683868"/>
                  </a:cubicBezTo>
                  <a:cubicBezTo>
                    <a:pt x="8283524" y="686030"/>
                    <a:pt x="8283524" y="686030"/>
                    <a:pt x="8283524" y="688192"/>
                  </a:cubicBezTo>
                  <a:cubicBezTo>
                    <a:pt x="8291630" y="688192"/>
                    <a:pt x="8299736" y="688192"/>
                    <a:pt x="8307844" y="688192"/>
                  </a:cubicBezTo>
                  <a:cubicBezTo>
                    <a:pt x="8307844" y="683868"/>
                    <a:pt x="8307844" y="679545"/>
                    <a:pt x="8307844" y="675221"/>
                  </a:cubicBezTo>
                  <a:cubicBezTo>
                    <a:pt x="8317977" y="675221"/>
                    <a:pt x="8328110" y="675221"/>
                    <a:pt x="8336217" y="675221"/>
                  </a:cubicBezTo>
                  <a:cubicBezTo>
                    <a:pt x="8340270" y="670897"/>
                    <a:pt x="8344325" y="670897"/>
                    <a:pt x="8348377" y="670897"/>
                  </a:cubicBezTo>
                  <a:cubicBezTo>
                    <a:pt x="8354457" y="675221"/>
                    <a:pt x="8362565" y="675221"/>
                    <a:pt x="8368645" y="675221"/>
                  </a:cubicBezTo>
                  <a:cubicBezTo>
                    <a:pt x="8368645" y="668736"/>
                    <a:pt x="8368645" y="664412"/>
                    <a:pt x="8368645" y="657927"/>
                  </a:cubicBezTo>
                  <a:lnTo>
                    <a:pt x="8376752" y="657927"/>
                  </a:lnTo>
                  <a:cubicBezTo>
                    <a:pt x="8376752" y="653603"/>
                    <a:pt x="8376752" y="649280"/>
                    <a:pt x="8376752" y="644956"/>
                  </a:cubicBezTo>
                  <a:cubicBezTo>
                    <a:pt x="8394992" y="644956"/>
                    <a:pt x="8415258" y="644956"/>
                    <a:pt x="8433498" y="644956"/>
                  </a:cubicBezTo>
                  <a:cubicBezTo>
                    <a:pt x="8433498" y="634147"/>
                    <a:pt x="8433498" y="625500"/>
                    <a:pt x="8433498" y="614691"/>
                  </a:cubicBezTo>
                  <a:cubicBezTo>
                    <a:pt x="8439578" y="614691"/>
                    <a:pt x="8445658" y="614691"/>
                    <a:pt x="8451738" y="614691"/>
                  </a:cubicBezTo>
                  <a:cubicBezTo>
                    <a:pt x="8451738" y="612529"/>
                    <a:pt x="8451738" y="610368"/>
                    <a:pt x="8451738" y="608206"/>
                  </a:cubicBezTo>
                  <a:cubicBezTo>
                    <a:pt x="8455792" y="608206"/>
                    <a:pt x="8459845" y="608206"/>
                    <a:pt x="8463898" y="608206"/>
                  </a:cubicBezTo>
                  <a:cubicBezTo>
                    <a:pt x="8463898" y="610368"/>
                    <a:pt x="8463898" y="612529"/>
                    <a:pt x="8463898" y="614691"/>
                  </a:cubicBezTo>
                  <a:cubicBezTo>
                    <a:pt x="8469978" y="614691"/>
                    <a:pt x="8474032" y="614691"/>
                    <a:pt x="8480112" y="614691"/>
                  </a:cubicBezTo>
                  <a:cubicBezTo>
                    <a:pt x="8480112" y="629824"/>
                    <a:pt x="8480112" y="647118"/>
                    <a:pt x="8480112" y="664412"/>
                  </a:cubicBezTo>
                  <a:cubicBezTo>
                    <a:pt x="8490245" y="664412"/>
                    <a:pt x="8502406" y="664412"/>
                    <a:pt x="8512540" y="664412"/>
                  </a:cubicBezTo>
                  <a:cubicBezTo>
                    <a:pt x="8512540" y="655765"/>
                    <a:pt x="8512540" y="647118"/>
                    <a:pt x="8512540" y="638471"/>
                  </a:cubicBezTo>
                  <a:cubicBezTo>
                    <a:pt x="8524700" y="638471"/>
                    <a:pt x="8538886" y="638471"/>
                    <a:pt x="8551046" y="638471"/>
                  </a:cubicBezTo>
                  <a:cubicBezTo>
                    <a:pt x="8551046" y="627662"/>
                    <a:pt x="8551046" y="619015"/>
                    <a:pt x="8551046" y="608206"/>
                  </a:cubicBezTo>
                  <a:cubicBezTo>
                    <a:pt x="8567261" y="608206"/>
                    <a:pt x="8583473" y="608206"/>
                    <a:pt x="8599688" y="608206"/>
                  </a:cubicBezTo>
                  <a:cubicBezTo>
                    <a:pt x="8599688" y="608235"/>
                    <a:pt x="8599688" y="610010"/>
                    <a:pt x="8599688" y="719362"/>
                  </a:cubicBezTo>
                  <a:lnTo>
                    <a:pt x="8599688" y="733141"/>
                  </a:lnTo>
                  <a:lnTo>
                    <a:pt x="8665562" y="733141"/>
                  </a:lnTo>
                  <a:lnTo>
                    <a:pt x="8665562" y="838913"/>
                  </a:lnTo>
                  <a:lnTo>
                    <a:pt x="8665562" y="862160"/>
                  </a:lnTo>
                  <a:lnTo>
                    <a:pt x="8680522" y="862160"/>
                  </a:lnTo>
                  <a:cubicBezTo>
                    <a:pt x="8680522" y="862160"/>
                    <a:pt x="8680522" y="862160"/>
                    <a:pt x="8680522" y="860998"/>
                  </a:cubicBezTo>
                  <a:lnTo>
                    <a:pt x="8680522" y="852862"/>
                  </a:lnTo>
                  <a:cubicBezTo>
                    <a:pt x="8680522" y="852862"/>
                    <a:pt x="8680522" y="852862"/>
                    <a:pt x="8725102" y="852862"/>
                  </a:cubicBezTo>
                  <a:cubicBezTo>
                    <a:pt x="8725102" y="852862"/>
                    <a:pt x="8725102" y="852862"/>
                    <a:pt x="8725102" y="855477"/>
                  </a:cubicBezTo>
                  <a:lnTo>
                    <a:pt x="8725102" y="861131"/>
                  </a:lnTo>
                  <a:lnTo>
                    <a:pt x="8733569" y="852574"/>
                  </a:lnTo>
                  <a:cubicBezTo>
                    <a:pt x="8731340" y="852574"/>
                    <a:pt x="8731340" y="850249"/>
                    <a:pt x="8729111" y="850249"/>
                  </a:cubicBezTo>
                  <a:cubicBezTo>
                    <a:pt x="8729111" y="847924"/>
                    <a:pt x="8729111" y="845600"/>
                    <a:pt x="8729111" y="843275"/>
                  </a:cubicBezTo>
                  <a:cubicBezTo>
                    <a:pt x="8731340" y="843275"/>
                    <a:pt x="8733569" y="840950"/>
                    <a:pt x="8735797" y="840950"/>
                  </a:cubicBezTo>
                  <a:cubicBezTo>
                    <a:pt x="8735797" y="836301"/>
                    <a:pt x="8735797" y="833976"/>
                    <a:pt x="8735797" y="831652"/>
                  </a:cubicBezTo>
                  <a:cubicBezTo>
                    <a:pt x="8738027" y="831652"/>
                    <a:pt x="8738027" y="831652"/>
                    <a:pt x="8740256" y="831652"/>
                  </a:cubicBezTo>
                  <a:cubicBezTo>
                    <a:pt x="8740256" y="824678"/>
                    <a:pt x="8740256" y="817704"/>
                    <a:pt x="8740256" y="810730"/>
                  </a:cubicBezTo>
                  <a:cubicBezTo>
                    <a:pt x="8738027" y="810730"/>
                    <a:pt x="8738027" y="810730"/>
                    <a:pt x="8735797" y="810730"/>
                  </a:cubicBezTo>
                  <a:cubicBezTo>
                    <a:pt x="8735797" y="808405"/>
                    <a:pt x="8735797" y="808405"/>
                    <a:pt x="8735797" y="806081"/>
                  </a:cubicBezTo>
                  <a:lnTo>
                    <a:pt x="8740256" y="803756"/>
                  </a:lnTo>
                  <a:cubicBezTo>
                    <a:pt x="8744713" y="799107"/>
                    <a:pt x="8746943" y="794457"/>
                    <a:pt x="8751401" y="787483"/>
                  </a:cubicBezTo>
                  <a:cubicBezTo>
                    <a:pt x="8753629" y="782834"/>
                    <a:pt x="8753629" y="780510"/>
                    <a:pt x="8753629" y="778185"/>
                  </a:cubicBezTo>
                  <a:cubicBezTo>
                    <a:pt x="8749172" y="771211"/>
                    <a:pt x="8749172" y="759588"/>
                    <a:pt x="8753629" y="752614"/>
                  </a:cubicBezTo>
                  <a:cubicBezTo>
                    <a:pt x="8753631" y="752611"/>
                    <a:pt x="8753645" y="752565"/>
                    <a:pt x="8753909" y="751742"/>
                  </a:cubicBezTo>
                  <a:lnTo>
                    <a:pt x="8755767" y="745928"/>
                  </a:lnTo>
                  <a:lnTo>
                    <a:pt x="8754080" y="745928"/>
                  </a:lnTo>
                  <a:cubicBezTo>
                    <a:pt x="8754080" y="745928"/>
                    <a:pt x="8754080" y="745928"/>
                    <a:pt x="8754080" y="744766"/>
                  </a:cubicBezTo>
                  <a:lnTo>
                    <a:pt x="8754080" y="736629"/>
                  </a:lnTo>
                  <a:cubicBezTo>
                    <a:pt x="8754080" y="736629"/>
                    <a:pt x="8754080" y="736629"/>
                    <a:pt x="8755194" y="736629"/>
                  </a:cubicBezTo>
                  <a:lnTo>
                    <a:pt x="8762996" y="736629"/>
                  </a:lnTo>
                  <a:cubicBezTo>
                    <a:pt x="8762996" y="736629"/>
                    <a:pt x="8762996" y="736629"/>
                    <a:pt x="8762996" y="735467"/>
                  </a:cubicBezTo>
                  <a:lnTo>
                    <a:pt x="8762996" y="727331"/>
                  </a:lnTo>
                  <a:cubicBezTo>
                    <a:pt x="8762996" y="727331"/>
                    <a:pt x="8762996" y="727331"/>
                    <a:pt x="8761881" y="727331"/>
                  </a:cubicBezTo>
                  <a:lnTo>
                    <a:pt x="8754080" y="727331"/>
                  </a:lnTo>
                  <a:cubicBezTo>
                    <a:pt x="8754080" y="727331"/>
                    <a:pt x="8754080" y="727331"/>
                    <a:pt x="8754080" y="726168"/>
                  </a:cubicBezTo>
                  <a:lnTo>
                    <a:pt x="8754080" y="718032"/>
                  </a:lnTo>
                  <a:cubicBezTo>
                    <a:pt x="8754080" y="718032"/>
                    <a:pt x="8754080" y="718032"/>
                    <a:pt x="8755194" y="718032"/>
                  </a:cubicBezTo>
                  <a:lnTo>
                    <a:pt x="8762996" y="718032"/>
                  </a:lnTo>
                  <a:cubicBezTo>
                    <a:pt x="8762996" y="718032"/>
                    <a:pt x="8762996" y="718032"/>
                    <a:pt x="8762996" y="717160"/>
                  </a:cubicBezTo>
                  <a:lnTo>
                    <a:pt x="8762996" y="711058"/>
                  </a:lnTo>
                  <a:cubicBezTo>
                    <a:pt x="8762996" y="711058"/>
                    <a:pt x="8762996" y="711058"/>
                    <a:pt x="8761881" y="711058"/>
                  </a:cubicBezTo>
                  <a:lnTo>
                    <a:pt x="8754080" y="711058"/>
                  </a:lnTo>
                  <a:cubicBezTo>
                    <a:pt x="8754080" y="711058"/>
                    <a:pt x="8754080" y="711058"/>
                    <a:pt x="8754080" y="709896"/>
                  </a:cubicBezTo>
                  <a:lnTo>
                    <a:pt x="8754080" y="701759"/>
                  </a:lnTo>
                  <a:cubicBezTo>
                    <a:pt x="8754080" y="701759"/>
                    <a:pt x="8754080" y="701759"/>
                    <a:pt x="8755194" y="701759"/>
                  </a:cubicBezTo>
                  <a:lnTo>
                    <a:pt x="8762996" y="701759"/>
                  </a:lnTo>
                  <a:cubicBezTo>
                    <a:pt x="8762996" y="701759"/>
                    <a:pt x="8762996" y="701759"/>
                    <a:pt x="8761881" y="700016"/>
                  </a:cubicBezTo>
                  <a:lnTo>
                    <a:pt x="8754080" y="687812"/>
                  </a:lnTo>
                  <a:cubicBezTo>
                    <a:pt x="8754080" y="687812"/>
                    <a:pt x="8754080" y="687812"/>
                    <a:pt x="8754080" y="650617"/>
                  </a:cubicBezTo>
                  <a:cubicBezTo>
                    <a:pt x="8754080" y="650617"/>
                    <a:pt x="8754080" y="650617"/>
                    <a:pt x="8903424" y="650617"/>
                  </a:cubicBezTo>
                  <a:cubicBezTo>
                    <a:pt x="8903424" y="650617"/>
                    <a:pt x="8903424" y="650617"/>
                    <a:pt x="8905096" y="653232"/>
                  </a:cubicBezTo>
                  <a:lnTo>
                    <a:pt x="8908543" y="658626"/>
                  </a:lnTo>
                  <a:lnTo>
                    <a:pt x="8908543" y="647687"/>
                  </a:lnTo>
                  <a:cubicBezTo>
                    <a:pt x="8908543" y="636001"/>
                    <a:pt x="8908543" y="622669"/>
                    <a:pt x="8908543" y="607460"/>
                  </a:cubicBezTo>
                  <a:cubicBezTo>
                    <a:pt x="8908552" y="607460"/>
                    <a:pt x="8908671" y="607460"/>
                    <a:pt x="8910570" y="607460"/>
                  </a:cubicBezTo>
                  <a:lnTo>
                    <a:pt x="8924757" y="607460"/>
                  </a:lnTo>
                  <a:cubicBezTo>
                    <a:pt x="8924757" y="607441"/>
                    <a:pt x="8924757" y="606126"/>
                    <a:pt x="8924757" y="515723"/>
                  </a:cubicBezTo>
                  <a:lnTo>
                    <a:pt x="8924757" y="490724"/>
                  </a:lnTo>
                  <a:lnTo>
                    <a:pt x="9078786" y="490724"/>
                  </a:lnTo>
                  <a:lnTo>
                    <a:pt x="9078786" y="506306"/>
                  </a:lnTo>
                  <a:cubicBezTo>
                    <a:pt x="9078786" y="526935"/>
                    <a:pt x="9078786" y="559711"/>
                    <a:pt x="9078786" y="611783"/>
                  </a:cubicBezTo>
                  <a:cubicBezTo>
                    <a:pt x="9078796" y="611782"/>
                    <a:pt x="9078908" y="611761"/>
                    <a:pt x="9080306" y="611513"/>
                  </a:cubicBezTo>
                  <a:lnTo>
                    <a:pt x="9090946" y="609622"/>
                  </a:lnTo>
                  <a:cubicBezTo>
                    <a:pt x="9090946" y="609644"/>
                    <a:pt x="9090916" y="610978"/>
                    <a:pt x="9088919" y="698254"/>
                  </a:cubicBezTo>
                  <a:cubicBezTo>
                    <a:pt x="9088929" y="698256"/>
                    <a:pt x="9089040" y="698276"/>
                    <a:pt x="9090439" y="698525"/>
                  </a:cubicBezTo>
                  <a:lnTo>
                    <a:pt x="9101079" y="700416"/>
                  </a:lnTo>
                  <a:cubicBezTo>
                    <a:pt x="9101081" y="700423"/>
                    <a:pt x="9101101" y="700487"/>
                    <a:pt x="9101332" y="701227"/>
                  </a:cubicBezTo>
                  <a:lnTo>
                    <a:pt x="9103106" y="706902"/>
                  </a:lnTo>
                  <a:cubicBezTo>
                    <a:pt x="9103108" y="706893"/>
                    <a:pt x="9103153" y="706750"/>
                    <a:pt x="9103866" y="704470"/>
                  </a:cubicBezTo>
                  <a:lnTo>
                    <a:pt x="9109186" y="687446"/>
                  </a:lnTo>
                  <a:cubicBezTo>
                    <a:pt x="9109193" y="687446"/>
                    <a:pt x="9109293" y="687446"/>
                    <a:pt x="9110959" y="687446"/>
                  </a:cubicBezTo>
                  <a:lnTo>
                    <a:pt x="9123373" y="687446"/>
                  </a:lnTo>
                  <a:cubicBezTo>
                    <a:pt x="9123373" y="687463"/>
                    <a:pt x="9123373" y="688156"/>
                    <a:pt x="9123373" y="719872"/>
                  </a:cubicBezTo>
                  <a:cubicBezTo>
                    <a:pt x="9123379" y="719877"/>
                    <a:pt x="9123456" y="719917"/>
                    <a:pt x="9124386" y="720413"/>
                  </a:cubicBezTo>
                  <a:lnTo>
                    <a:pt x="9131480" y="724196"/>
                  </a:lnTo>
                  <a:cubicBezTo>
                    <a:pt x="9131480" y="724205"/>
                    <a:pt x="9131480" y="724306"/>
                    <a:pt x="9131480" y="725547"/>
                  </a:cubicBezTo>
                  <a:lnTo>
                    <a:pt x="9131480" y="735005"/>
                  </a:lnTo>
                  <a:cubicBezTo>
                    <a:pt x="9131500" y="735005"/>
                    <a:pt x="9132408" y="735005"/>
                    <a:pt x="9176067" y="735005"/>
                  </a:cubicBezTo>
                  <a:cubicBezTo>
                    <a:pt x="9176067" y="735013"/>
                    <a:pt x="9176067" y="735096"/>
                    <a:pt x="9176067" y="736086"/>
                  </a:cubicBezTo>
                  <a:lnTo>
                    <a:pt x="9176067" y="743652"/>
                  </a:lnTo>
                  <a:cubicBezTo>
                    <a:pt x="9176076" y="743652"/>
                    <a:pt x="9176197" y="743652"/>
                    <a:pt x="9178093" y="743652"/>
                  </a:cubicBezTo>
                  <a:lnTo>
                    <a:pt x="9192280" y="743652"/>
                  </a:lnTo>
                  <a:cubicBezTo>
                    <a:pt x="9192280" y="743634"/>
                    <a:pt x="9192280" y="742905"/>
                    <a:pt x="9192280" y="713387"/>
                  </a:cubicBezTo>
                  <a:cubicBezTo>
                    <a:pt x="9192301" y="713387"/>
                    <a:pt x="9193231" y="713387"/>
                    <a:pt x="9236867" y="713387"/>
                  </a:cubicBezTo>
                  <a:cubicBezTo>
                    <a:pt x="9236867" y="713379"/>
                    <a:pt x="9236867" y="713282"/>
                    <a:pt x="9236867" y="712036"/>
                  </a:cubicBezTo>
                  <a:lnTo>
                    <a:pt x="9236867" y="702578"/>
                  </a:lnTo>
                  <a:cubicBezTo>
                    <a:pt x="9236873" y="702578"/>
                    <a:pt x="9236947" y="702578"/>
                    <a:pt x="9237881" y="702578"/>
                  </a:cubicBezTo>
                  <a:lnTo>
                    <a:pt x="9244974" y="702578"/>
                  </a:lnTo>
                  <a:cubicBezTo>
                    <a:pt x="9244974" y="702571"/>
                    <a:pt x="9244974" y="702458"/>
                    <a:pt x="9244974" y="700687"/>
                  </a:cubicBezTo>
                  <a:lnTo>
                    <a:pt x="9244974" y="687446"/>
                  </a:lnTo>
                  <a:cubicBezTo>
                    <a:pt x="9244983" y="687446"/>
                    <a:pt x="9245055" y="687446"/>
                    <a:pt x="9245734" y="687446"/>
                  </a:cubicBezTo>
                  <a:lnTo>
                    <a:pt x="9251054" y="687446"/>
                  </a:lnTo>
                  <a:cubicBezTo>
                    <a:pt x="9251054" y="687439"/>
                    <a:pt x="9251054" y="687354"/>
                    <a:pt x="9251054" y="686365"/>
                  </a:cubicBezTo>
                  <a:lnTo>
                    <a:pt x="9251054" y="678798"/>
                  </a:lnTo>
                  <a:cubicBezTo>
                    <a:pt x="9251062" y="678798"/>
                    <a:pt x="9251186" y="678798"/>
                    <a:pt x="9253081" y="678798"/>
                  </a:cubicBezTo>
                  <a:lnTo>
                    <a:pt x="9267268" y="678798"/>
                  </a:lnTo>
                  <a:cubicBezTo>
                    <a:pt x="9267268" y="678805"/>
                    <a:pt x="9267268" y="678882"/>
                    <a:pt x="9267268" y="679879"/>
                  </a:cubicBezTo>
                  <a:lnTo>
                    <a:pt x="9267268" y="687446"/>
                  </a:lnTo>
                  <a:cubicBezTo>
                    <a:pt x="9267279" y="687446"/>
                    <a:pt x="9267780" y="687446"/>
                    <a:pt x="9289561" y="687446"/>
                  </a:cubicBezTo>
                  <a:cubicBezTo>
                    <a:pt x="9289561" y="687438"/>
                    <a:pt x="9289561" y="687324"/>
                    <a:pt x="9289561" y="685554"/>
                  </a:cubicBezTo>
                  <a:lnTo>
                    <a:pt x="9289561" y="672313"/>
                  </a:lnTo>
                  <a:cubicBezTo>
                    <a:pt x="9289567" y="672313"/>
                    <a:pt x="9289664" y="672313"/>
                    <a:pt x="9291335" y="672313"/>
                  </a:cubicBezTo>
                  <a:lnTo>
                    <a:pt x="9303748" y="672313"/>
                  </a:lnTo>
                  <a:cubicBezTo>
                    <a:pt x="9303748" y="672325"/>
                    <a:pt x="9303748" y="672839"/>
                    <a:pt x="9303748" y="696093"/>
                  </a:cubicBezTo>
                  <a:cubicBezTo>
                    <a:pt x="9303755" y="696093"/>
                    <a:pt x="9303835" y="696093"/>
                    <a:pt x="9304762" y="696093"/>
                  </a:cubicBezTo>
                  <a:lnTo>
                    <a:pt x="9311855" y="696093"/>
                  </a:lnTo>
                  <a:cubicBezTo>
                    <a:pt x="9311855" y="696087"/>
                    <a:pt x="9311855" y="696006"/>
                    <a:pt x="9311855" y="695012"/>
                  </a:cubicBezTo>
                  <a:lnTo>
                    <a:pt x="9311855" y="687446"/>
                  </a:lnTo>
                  <a:cubicBezTo>
                    <a:pt x="9311864" y="687446"/>
                    <a:pt x="9311982" y="687446"/>
                    <a:pt x="9313628" y="687446"/>
                  </a:cubicBezTo>
                  <a:lnTo>
                    <a:pt x="9326042" y="687446"/>
                  </a:lnTo>
                  <a:cubicBezTo>
                    <a:pt x="9326042" y="687459"/>
                    <a:pt x="9326042" y="688018"/>
                    <a:pt x="9326042" y="713387"/>
                  </a:cubicBezTo>
                  <a:cubicBezTo>
                    <a:pt x="9326050" y="713387"/>
                    <a:pt x="9326168" y="713387"/>
                    <a:pt x="9328069" y="713387"/>
                  </a:cubicBezTo>
                  <a:lnTo>
                    <a:pt x="9342255" y="713387"/>
                  </a:lnTo>
                  <a:cubicBezTo>
                    <a:pt x="9342255" y="713398"/>
                    <a:pt x="9342255" y="713513"/>
                    <a:pt x="9342255" y="715008"/>
                  </a:cubicBezTo>
                  <a:lnTo>
                    <a:pt x="9342255" y="726358"/>
                  </a:lnTo>
                  <a:cubicBezTo>
                    <a:pt x="9342263" y="726358"/>
                    <a:pt x="9342334" y="726358"/>
                    <a:pt x="9343015" y="726358"/>
                  </a:cubicBezTo>
                  <a:lnTo>
                    <a:pt x="9348336" y="726358"/>
                  </a:lnTo>
                  <a:cubicBezTo>
                    <a:pt x="9348336" y="726350"/>
                    <a:pt x="9348336" y="726274"/>
                    <a:pt x="9348336" y="725547"/>
                  </a:cubicBezTo>
                  <a:lnTo>
                    <a:pt x="9348336" y="719872"/>
                  </a:lnTo>
                  <a:cubicBezTo>
                    <a:pt x="9348353" y="719872"/>
                    <a:pt x="9349072" y="719872"/>
                    <a:pt x="9378736" y="719872"/>
                  </a:cubicBezTo>
                  <a:cubicBezTo>
                    <a:pt x="9378736" y="719886"/>
                    <a:pt x="9378736" y="720449"/>
                    <a:pt x="9378736" y="743652"/>
                  </a:cubicBezTo>
                  <a:cubicBezTo>
                    <a:pt x="9378743" y="743652"/>
                    <a:pt x="9378822" y="743652"/>
                    <a:pt x="9379749" y="743652"/>
                  </a:cubicBezTo>
                  <a:lnTo>
                    <a:pt x="9386843" y="743652"/>
                  </a:lnTo>
                  <a:cubicBezTo>
                    <a:pt x="9386843" y="743659"/>
                    <a:pt x="9386843" y="743732"/>
                    <a:pt x="9386843" y="744733"/>
                  </a:cubicBezTo>
                  <a:lnTo>
                    <a:pt x="9386843" y="752299"/>
                  </a:lnTo>
                  <a:cubicBezTo>
                    <a:pt x="9386852" y="752299"/>
                    <a:pt x="9386925" y="752299"/>
                    <a:pt x="9387603" y="752299"/>
                  </a:cubicBezTo>
                  <a:lnTo>
                    <a:pt x="9392923" y="752299"/>
                  </a:lnTo>
                  <a:cubicBezTo>
                    <a:pt x="9392923" y="752292"/>
                    <a:pt x="9392923" y="752172"/>
                    <a:pt x="9392923" y="750137"/>
                  </a:cubicBezTo>
                  <a:lnTo>
                    <a:pt x="9392923" y="735005"/>
                  </a:lnTo>
                  <a:cubicBezTo>
                    <a:pt x="9392930" y="735005"/>
                    <a:pt x="9393008" y="735005"/>
                    <a:pt x="9393936" y="735005"/>
                  </a:cubicBezTo>
                  <a:lnTo>
                    <a:pt x="9401030" y="735005"/>
                  </a:lnTo>
                  <a:cubicBezTo>
                    <a:pt x="9401030" y="735013"/>
                    <a:pt x="9401030" y="735096"/>
                    <a:pt x="9401030" y="736086"/>
                  </a:cubicBezTo>
                  <a:lnTo>
                    <a:pt x="9401030" y="743652"/>
                  </a:lnTo>
                  <a:lnTo>
                    <a:pt x="9406350" y="741659"/>
                  </a:lnTo>
                  <a:cubicBezTo>
                    <a:pt x="9407110" y="741287"/>
                    <a:pt x="9407110" y="741085"/>
                    <a:pt x="9407110" y="740679"/>
                  </a:cubicBezTo>
                  <a:lnTo>
                    <a:pt x="9407110" y="735005"/>
                  </a:lnTo>
                  <a:cubicBezTo>
                    <a:pt x="9407127" y="735005"/>
                    <a:pt x="9407928" y="735005"/>
                    <a:pt x="9445617" y="735005"/>
                  </a:cubicBezTo>
                  <a:cubicBezTo>
                    <a:pt x="9445617" y="735019"/>
                    <a:pt x="9445617" y="735566"/>
                    <a:pt x="9445617" y="758784"/>
                  </a:cubicBezTo>
                  <a:cubicBezTo>
                    <a:pt x="9445625" y="758784"/>
                    <a:pt x="9445743" y="758784"/>
                    <a:pt x="9447643" y="758784"/>
                  </a:cubicBezTo>
                  <a:lnTo>
                    <a:pt x="9461830" y="758784"/>
                  </a:lnTo>
                  <a:cubicBezTo>
                    <a:pt x="9461830" y="758792"/>
                    <a:pt x="9461830" y="758874"/>
                    <a:pt x="9461830" y="759865"/>
                  </a:cubicBezTo>
                  <a:lnTo>
                    <a:pt x="9461830" y="767431"/>
                  </a:lnTo>
                  <a:cubicBezTo>
                    <a:pt x="9461839" y="767431"/>
                    <a:pt x="9461962" y="767431"/>
                    <a:pt x="9463604" y="767431"/>
                  </a:cubicBezTo>
                  <a:lnTo>
                    <a:pt x="9476017" y="767431"/>
                  </a:lnTo>
                  <a:cubicBezTo>
                    <a:pt x="9476017" y="767419"/>
                    <a:pt x="9476017" y="766908"/>
                    <a:pt x="9476017" y="743652"/>
                  </a:cubicBezTo>
                  <a:cubicBezTo>
                    <a:pt x="9476024" y="743652"/>
                    <a:pt x="9476102" y="743652"/>
                    <a:pt x="9477030" y="743652"/>
                  </a:cubicBezTo>
                  <a:lnTo>
                    <a:pt x="9484124" y="743652"/>
                  </a:lnTo>
                  <a:cubicBezTo>
                    <a:pt x="9484124" y="743633"/>
                    <a:pt x="9484124" y="742862"/>
                    <a:pt x="9484124" y="711225"/>
                  </a:cubicBezTo>
                  <a:cubicBezTo>
                    <a:pt x="9484131" y="711225"/>
                    <a:pt x="9484208" y="711225"/>
                    <a:pt x="9485137" y="711225"/>
                  </a:cubicBezTo>
                  <a:lnTo>
                    <a:pt x="9492231" y="711225"/>
                  </a:lnTo>
                  <a:cubicBezTo>
                    <a:pt x="9492231" y="711219"/>
                    <a:pt x="9492231" y="711110"/>
                    <a:pt x="9492231" y="709334"/>
                  </a:cubicBezTo>
                  <a:lnTo>
                    <a:pt x="9492231" y="696093"/>
                  </a:lnTo>
                  <a:cubicBezTo>
                    <a:pt x="9490204" y="696093"/>
                    <a:pt x="9490204" y="696093"/>
                    <a:pt x="9490964" y="694471"/>
                  </a:cubicBezTo>
                  <a:lnTo>
                    <a:pt x="9496284" y="683122"/>
                  </a:lnTo>
                  <a:cubicBezTo>
                    <a:pt x="9496289" y="683139"/>
                    <a:pt x="9496484" y="683813"/>
                    <a:pt x="9504391" y="711225"/>
                  </a:cubicBezTo>
                  <a:cubicBezTo>
                    <a:pt x="9504399" y="711225"/>
                    <a:pt x="9504472" y="711225"/>
                    <a:pt x="9505151" y="711225"/>
                  </a:cubicBezTo>
                  <a:lnTo>
                    <a:pt x="9510471" y="711225"/>
                  </a:lnTo>
                  <a:cubicBezTo>
                    <a:pt x="9510471" y="711212"/>
                    <a:pt x="9510471" y="710033"/>
                    <a:pt x="9510471" y="605298"/>
                  </a:cubicBezTo>
                  <a:cubicBezTo>
                    <a:pt x="9510481" y="605298"/>
                    <a:pt x="9510595" y="605298"/>
                    <a:pt x="9511991" y="605298"/>
                  </a:cubicBezTo>
                  <a:lnTo>
                    <a:pt x="9522631" y="605298"/>
                  </a:lnTo>
                  <a:cubicBezTo>
                    <a:pt x="9522631" y="605276"/>
                    <a:pt x="9522631" y="604266"/>
                    <a:pt x="9522631" y="557739"/>
                  </a:cubicBezTo>
                  <a:cubicBezTo>
                    <a:pt x="9522648" y="557739"/>
                    <a:pt x="9523273" y="557739"/>
                    <a:pt x="9548978" y="557739"/>
                  </a:cubicBezTo>
                  <a:cubicBezTo>
                    <a:pt x="9548978" y="557727"/>
                    <a:pt x="9548978" y="557217"/>
                    <a:pt x="9548978" y="536121"/>
                  </a:cubicBezTo>
                  <a:cubicBezTo>
                    <a:pt x="9548997" y="536121"/>
                    <a:pt x="9549786" y="536121"/>
                    <a:pt x="9583432" y="536121"/>
                  </a:cubicBezTo>
                  <a:cubicBezTo>
                    <a:pt x="9583432" y="536129"/>
                    <a:pt x="9583432" y="536259"/>
                    <a:pt x="9583432" y="538553"/>
                  </a:cubicBezTo>
                  <a:lnTo>
                    <a:pt x="9583432" y="555577"/>
                  </a:lnTo>
                  <a:cubicBezTo>
                    <a:pt x="9583441" y="555577"/>
                    <a:pt x="9583572" y="555577"/>
                    <a:pt x="9585712" y="555577"/>
                  </a:cubicBezTo>
                  <a:lnTo>
                    <a:pt x="9601672" y="555577"/>
                  </a:lnTo>
                  <a:cubicBezTo>
                    <a:pt x="9601672" y="555595"/>
                    <a:pt x="9601672" y="556489"/>
                    <a:pt x="9601672" y="603136"/>
                  </a:cubicBezTo>
                  <a:cubicBezTo>
                    <a:pt x="9601678" y="603136"/>
                    <a:pt x="9601754" y="603136"/>
                    <a:pt x="9602685" y="603136"/>
                  </a:cubicBezTo>
                  <a:lnTo>
                    <a:pt x="9609779" y="603136"/>
                  </a:lnTo>
                  <a:lnTo>
                    <a:pt x="9623966" y="607460"/>
                  </a:lnTo>
                  <a:cubicBezTo>
                    <a:pt x="9623966" y="607470"/>
                    <a:pt x="9623966" y="608120"/>
                    <a:pt x="9623966" y="646372"/>
                  </a:cubicBezTo>
                  <a:cubicBezTo>
                    <a:pt x="9623972" y="646372"/>
                    <a:pt x="9624047" y="646372"/>
                    <a:pt x="9624979" y="646372"/>
                  </a:cubicBezTo>
                  <a:lnTo>
                    <a:pt x="9632072" y="646372"/>
                  </a:lnTo>
                  <a:cubicBezTo>
                    <a:pt x="9632072" y="646382"/>
                    <a:pt x="9632072" y="646488"/>
                    <a:pt x="9632072" y="647993"/>
                  </a:cubicBezTo>
                  <a:lnTo>
                    <a:pt x="9632072" y="659342"/>
                  </a:lnTo>
                  <a:cubicBezTo>
                    <a:pt x="9632080" y="659342"/>
                    <a:pt x="9632204" y="659342"/>
                    <a:pt x="9634099" y="659342"/>
                  </a:cubicBezTo>
                  <a:lnTo>
                    <a:pt x="9648286" y="659342"/>
                  </a:lnTo>
                  <a:lnTo>
                    <a:pt x="9654366" y="665828"/>
                  </a:lnTo>
                  <a:cubicBezTo>
                    <a:pt x="9654366" y="665840"/>
                    <a:pt x="9654366" y="666326"/>
                    <a:pt x="9654366" y="687446"/>
                  </a:cubicBezTo>
                  <a:cubicBezTo>
                    <a:pt x="9654375" y="687446"/>
                    <a:pt x="9654506" y="687446"/>
                    <a:pt x="9656646" y="687446"/>
                  </a:cubicBezTo>
                  <a:lnTo>
                    <a:pt x="9672606" y="687446"/>
                  </a:lnTo>
                  <a:cubicBezTo>
                    <a:pt x="9672606" y="687453"/>
                    <a:pt x="9672606" y="687533"/>
                    <a:pt x="9672606" y="688526"/>
                  </a:cubicBezTo>
                  <a:lnTo>
                    <a:pt x="9672606" y="696093"/>
                  </a:lnTo>
                  <a:cubicBezTo>
                    <a:pt x="9672615" y="696093"/>
                    <a:pt x="9672714" y="696093"/>
                    <a:pt x="9673873" y="696093"/>
                  </a:cubicBezTo>
                  <a:lnTo>
                    <a:pt x="9682740" y="696093"/>
                  </a:lnTo>
                  <a:cubicBezTo>
                    <a:pt x="9682740" y="696102"/>
                    <a:pt x="9682740" y="696231"/>
                    <a:pt x="9682740" y="698254"/>
                  </a:cubicBezTo>
                  <a:lnTo>
                    <a:pt x="9682740" y="713387"/>
                  </a:lnTo>
                  <a:cubicBezTo>
                    <a:pt x="9686793" y="713387"/>
                    <a:pt x="9686793" y="713387"/>
                    <a:pt x="9686793" y="711495"/>
                  </a:cubicBezTo>
                  <a:lnTo>
                    <a:pt x="9686793" y="698254"/>
                  </a:lnTo>
                  <a:cubicBezTo>
                    <a:pt x="9686799" y="698254"/>
                    <a:pt x="9686877" y="698254"/>
                    <a:pt x="9687806" y="698254"/>
                  </a:cubicBezTo>
                  <a:lnTo>
                    <a:pt x="9694900" y="698254"/>
                  </a:lnTo>
                  <a:cubicBezTo>
                    <a:pt x="9694900" y="698265"/>
                    <a:pt x="9694900" y="698384"/>
                    <a:pt x="9694900" y="699876"/>
                  </a:cubicBezTo>
                  <a:lnTo>
                    <a:pt x="9694900" y="711225"/>
                  </a:lnTo>
                  <a:cubicBezTo>
                    <a:pt x="9694909" y="711225"/>
                    <a:pt x="9694982" y="711225"/>
                    <a:pt x="9695660" y="711225"/>
                  </a:cubicBezTo>
                  <a:lnTo>
                    <a:pt x="9700980" y="711225"/>
                  </a:lnTo>
                  <a:cubicBezTo>
                    <a:pt x="9700980" y="706902"/>
                    <a:pt x="9700980" y="706902"/>
                    <a:pt x="9749620" y="706902"/>
                  </a:cubicBezTo>
                  <a:cubicBezTo>
                    <a:pt x="9749620" y="706911"/>
                    <a:pt x="9749620" y="707012"/>
                    <a:pt x="9749620" y="708253"/>
                  </a:cubicBezTo>
                  <a:lnTo>
                    <a:pt x="9749620" y="717710"/>
                  </a:lnTo>
                  <a:cubicBezTo>
                    <a:pt x="9749628" y="717710"/>
                    <a:pt x="9749703" y="717710"/>
                    <a:pt x="9750380" y="717710"/>
                  </a:cubicBezTo>
                  <a:lnTo>
                    <a:pt x="9755702" y="717710"/>
                  </a:lnTo>
                  <a:cubicBezTo>
                    <a:pt x="9755702" y="717719"/>
                    <a:pt x="9755702" y="717841"/>
                    <a:pt x="9755702" y="719872"/>
                  </a:cubicBezTo>
                  <a:lnTo>
                    <a:pt x="9755702" y="735005"/>
                  </a:lnTo>
                  <a:cubicBezTo>
                    <a:pt x="9755710" y="735001"/>
                    <a:pt x="9755826" y="734923"/>
                    <a:pt x="9757728" y="733654"/>
                  </a:cubicBezTo>
                  <a:lnTo>
                    <a:pt x="9771914" y="724196"/>
                  </a:lnTo>
                  <a:cubicBezTo>
                    <a:pt x="9771916" y="724177"/>
                    <a:pt x="9772048" y="723302"/>
                    <a:pt x="9777994" y="683122"/>
                  </a:cubicBezTo>
                  <a:cubicBezTo>
                    <a:pt x="9778004" y="683120"/>
                    <a:pt x="9778072" y="683094"/>
                    <a:pt x="9778754" y="682852"/>
                  </a:cubicBezTo>
                  <a:lnTo>
                    <a:pt x="9784074" y="680960"/>
                  </a:lnTo>
                  <a:cubicBezTo>
                    <a:pt x="9784074" y="680944"/>
                    <a:pt x="9784108" y="679883"/>
                    <a:pt x="9786102" y="611783"/>
                  </a:cubicBezTo>
                  <a:cubicBezTo>
                    <a:pt x="9786102" y="611801"/>
                    <a:pt x="9786134" y="612892"/>
                    <a:pt x="9788128" y="680960"/>
                  </a:cubicBezTo>
                  <a:cubicBezTo>
                    <a:pt x="9788138" y="680963"/>
                    <a:pt x="9788208" y="680988"/>
                    <a:pt x="9788888" y="681230"/>
                  </a:cubicBezTo>
                  <a:lnTo>
                    <a:pt x="9794208" y="683122"/>
                  </a:lnTo>
                  <a:cubicBezTo>
                    <a:pt x="9794208" y="683102"/>
                    <a:pt x="9794208" y="681769"/>
                    <a:pt x="9794208" y="596651"/>
                  </a:cubicBezTo>
                  <a:cubicBezTo>
                    <a:pt x="9798262" y="596651"/>
                    <a:pt x="9798262" y="596651"/>
                    <a:pt x="9798262" y="564224"/>
                  </a:cubicBezTo>
                  <a:cubicBezTo>
                    <a:pt x="9798274" y="564224"/>
                    <a:pt x="9798960" y="564224"/>
                    <a:pt x="9836768" y="564224"/>
                  </a:cubicBezTo>
                  <a:cubicBezTo>
                    <a:pt x="9836768" y="564241"/>
                    <a:pt x="9836768" y="564959"/>
                    <a:pt x="9836768" y="596651"/>
                  </a:cubicBezTo>
                  <a:cubicBezTo>
                    <a:pt x="9836778" y="596651"/>
                    <a:pt x="9836850" y="596651"/>
                    <a:pt x="9837528" y="596651"/>
                  </a:cubicBezTo>
                  <a:lnTo>
                    <a:pt x="9842848" y="596651"/>
                  </a:lnTo>
                  <a:cubicBezTo>
                    <a:pt x="9842848" y="596630"/>
                    <a:pt x="9842848" y="595324"/>
                    <a:pt x="9842848" y="514503"/>
                  </a:cubicBezTo>
                  <a:cubicBezTo>
                    <a:pt x="9842854" y="514503"/>
                    <a:pt x="9842954" y="514503"/>
                    <a:pt x="9844622" y="514503"/>
                  </a:cubicBezTo>
                  <a:lnTo>
                    <a:pt x="9857036" y="514503"/>
                  </a:lnTo>
                  <a:cubicBezTo>
                    <a:pt x="9857036" y="514496"/>
                    <a:pt x="9857036" y="514385"/>
                    <a:pt x="9857036" y="512612"/>
                  </a:cubicBezTo>
                  <a:lnTo>
                    <a:pt x="9857036" y="499371"/>
                  </a:lnTo>
                  <a:cubicBezTo>
                    <a:pt x="9857046" y="499371"/>
                    <a:pt x="9857544" y="499371"/>
                    <a:pt x="9879330" y="499371"/>
                  </a:cubicBezTo>
                  <a:cubicBezTo>
                    <a:pt x="9879330" y="499364"/>
                    <a:pt x="9879330" y="499283"/>
                    <a:pt x="9879330" y="498290"/>
                  </a:cubicBezTo>
                  <a:lnTo>
                    <a:pt x="9879330" y="490724"/>
                  </a:lnTo>
                  <a:cubicBezTo>
                    <a:pt x="9879336" y="490724"/>
                    <a:pt x="9879446" y="490724"/>
                    <a:pt x="9881102" y="490724"/>
                  </a:cubicBezTo>
                  <a:lnTo>
                    <a:pt x="9893516" y="490724"/>
                  </a:lnTo>
                  <a:cubicBezTo>
                    <a:pt x="9893516" y="490732"/>
                    <a:pt x="9893516" y="490811"/>
                    <a:pt x="9893516" y="491805"/>
                  </a:cubicBezTo>
                  <a:lnTo>
                    <a:pt x="9893516" y="499371"/>
                  </a:lnTo>
                  <a:cubicBezTo>
                    <a:pt x="9893526" y="499371"/>
                    <a:pt x="9893598" y="499371"/>
                    <a:pt x="9894276" y="499371"/>
                  </a:cubicBezTo>
                  <a:lnTo>
                    <a:pt x="9899596" y="499371"/>
                  </a:lnTo>
                  <a:lnTo>
                    <a:pt x="9909730" y="495047"/>
                  </a:lnTo>
                  <a:lnTo>
                    <a:pt x="9913782" y="498290"/>
                  </a:lnTo>
                  <a:lnTo>
                    <a:pt x="9913782" y="490724"/>
                  </a:lnTo>
                  <a:cubicBezTo>
                    <a:pt x="9913792" y="490724"/>
                    <a:pt x="9913928" y="490724"/>
                    <a:pt x="9916062" y="490724"/>
                  </a:cubicBezTo>
                  <a:lnTo>
                    <a:pt x="9932024" y="490724"/>
                  </a:lnTo>
                  <a:cubicBezTo>
                    <a:pt x="9932024" y="490732"/>
                    <a:pt x="9932024" y="490811"/>
                    <a:pt x="9932024" y="491805"/>
                  </a:cubicBezTo>
                  <a:lnTo>
                    <a:pt x="9932024" y="499371"/>
                  </a:lnTo>
                  <a:cubicBezTo>
                    <a:pt x="9932042" y="499371"/>
                    <a:pt x="9932778" y="499371"/>
                    <a:pt x="9962424" y="499371"/>
                  </a:cubicBezTo>
                  <a:cubicBezTo>
                    <a:pt x="9962424" y="499381"/>
                    <a:pt x="9962424" y="499490"/>
                    <a:pt x="9962424" y="500992"/>
                  </a:cubicBezTo>
                  <a:lnTo>
                    <a:pt x="9962424" y="512342"/>
                  </a:lnTo>
                  <a:cubicBezTo>
                    <a:pt x="9962440" y="512342"/>
                    <a:pt x="9963080" y="512342"/>
                    <a:pt x="9988770" y="512342"/>
                  </a:cubicBezTo>
                  <a:cubicBezTo>
                    <a:pt x="9988770" y="512358"/>
                    <a:pt x="9988770" y="513038"/>
                    <a:pt x="9988770" y="542606"/>
                  </a:cubicBezTo>
                  <a:cubicBezTo>
                    <a:pt x="9988780" y="542606"/>
                    <a:pt x="9988852" y="542606"/>
                    <a:pt x="9989530" y="542606"/>
                  </a:cubicBezTo>
                  <a:lnTo>
                    <a:pt x="9994850" y="542606"/>
                  </a:lnTo>
                  <a:cubicBezTo>
                    <a:pt x="9994850" y="542613"/>
                    <a:pt x="9994850" y="542699"/>
                    <a:pt x="9994850" y="543687"/>
                  </a:cubicBezTo>
                  <a:lnTo>
                    <a:pt x="9994850" y="551254"/>
                  </a:lnTo>
                  <a:cubicBezTo>
                    <a:pt x="9998904" y="551254"/>
                    <a:pt x="9998904" y="551254"/>
                    <a:pt x="9998904" y="581518"/>
                  </a:cubicBezTo>
                  <a:cubicBezTo>
                    <a:pt x="9998914" y="581518"/>
                    <a:pt x="9998988" y="581518"/>
                    <a:pt x="9999664" y="581518"/>
                  </a:cubicBezTo>
                  <a:lnTo>
                    <a:pt x="10004984" y="581518"/>
                  </a:lnTo>
                  <a:cubicBezTo>
                    <a:pt x="10004984" y="581527"/>
                    <a:pt x="10004984" y="581594"/>
                    <a:pt x="10004984" y="582329"/>
                  </a:cubicBezTo>
                  <a:lnTo>
                    <a:pt x="10004984" y="588004"/>
                  </a:lnTo>
                  <a:cubicBezTo>
                    <a:pt x="10004990" y="588004"/>
                    <a:pt x="10005068" y="588004"/>
                    <a:pt x="10005998" y="588004"/>
                  </a:cubicBezTo>
                  <a:lnTo>
                    <a:pt x="10013090" y="588004"/>
                  </a:lnTo>
                  <a:cubicBezTo>
                    <a:pt x="10013090" y="588021"/>
                    <a:pt x="10013090" y="588734"/>
                    <a:pt x="10013090" y="618269"/>
                  </a:cubicBezTo>
                  <a:cubicBezTo>
                    <a:pt x="10013098" y="618269"/>
                    <a:pt x="10013218" y="618269"/>
                    <a:pt x="10015118" y="618269"/>
                  </a:cubicBezTo>
                  <a:lnTo>
                    <a:pt x="10029304" y="618269"/>
                  </a:lnTo>
                  <a:cubicBezTo>
                    <a:pt x="10029304" y="618285"/>
                    <a:pt x="10029304" y="618865"/>
                    <a:pt x="10029304" y="642048"/>
                  </a:cubicBezTo>
                  <a:cubicBezTo>
                    <a:pt x="10031332" y="642048"/>
                    <a:pt x="10031332" y="642048"/>
                    <a:pt x="10031332" y="643669"/>
                  </a:cubicBezTo>
                  <a:lnTo>
                    <a:pt x="10031332" y="655019"/>
                  </a:lnTo>
                  <a:cubicBezTo>
                    <a:pt x="10031340" y="655019"/>
                    <a:pt x="10031410" y="655019"/>
                    <a:pt x="10032092" y="655019"/>
                  </a:cubicBezTo>
                  <a:lnTo>
                    <a:pt x="10037412" y="655019"/>
                  </a:lnTo>
                  <a:cubicBezTo>
                    <a:pt x="10037412" y="655033"/>
                    <a:pt x="10037412" y="655596"/>
                    <a:pt x="10037412" y="678798"/>
                  </a:cubicBezTo>
                  <a:cubicBezTo>
                    <a:pt x="10037420" y="678798"/>
                    <a:pt x="10037518" y="678798"/>
                    <a:pt x="10038678" y="678798"/>
                  </a:cubicBezTo>
                  <a:lnTo>
                    <a:pt x="10047544" y="678798"/>
                  </a:lnTo>
                  <a:cubicBezTo>
                    <a:pt x="10049572" y="680960"/>
                    <a:pt x="10049572" y="680960"/>
                    <a:pt x="10049572" y="682852"/>
                  </a:cubicBezTo>
                  <a:lnTo>
                    <a:pt x="10049572" y="696093"/>
                  </a:lnTo>
                  <a:cubicBezTo>
                    <a:pt x="10049576" y="696086"/>
                    <a:pt x="10049664" y="695979"/>
                    <a:pt x="10051092" y="694201"/>
                  </a:cubicBezTo>
                  <a:lnTo>
                    <a:pt x="10061732" y="680960"/>
                  </a:lnTo>
                  <a:cubicBezTo>
                    <a:pt x="10061746" y="680960"/>
                    <a:pt x="10062386" y="680960"/>
                    <a:pt x="10090106" y="680960"/>
                  </a:cubicBezTo>
                  <a:cubicBezTo>
                    <a:pt x="10090106" y="680985"/>
                    <a:pt x="10090106" y="682386"/>
                    <a:pt x="10090106" y="767431"/>
                  </a:cubicBezTo>
                  <a:cubicBezTo>
                    <a:pt x="10090114" y="767431"/>
                    <a:pt x="10090190" y="767431"/>
                    <a:pt x="10090866" y="767431"/>
                  </a:cubicBezTo>
                  <a:lnTo>
                    <a:pt x="10096186" y="767431"/>
                  </a:lnTo>
                  <a:cubicBezTo>
                    <a:pt x="10096190" y="767423"/>
                    <a:pt x="10096248" y="767323"/>
                    <a:pt x="10096946" y="766080"/>
                  </a:cubicBezTo>
                  <a:lnTo>
                    <a:pt x="10102266" y="756622"/>
                  </a:lnTo>
                  <a:cubicBezTo>
                    <a:pt x="10102266" y="756629"/>
                    <a:pt x="10102266" y="756728"/>
                    <a:pt x="10102266" y="758514"/>
                  </a:cubicBezTo>
                  <a:lnTo>
                    <a:pt x="10102266" y="771755"/>
                  </a:lnTo>
                  <a:cubicBezTo>
                    <a:pt x="10106318" y="771755"/>
                    <a:pt x="10106318" y="771755"/>
                    <a:pt x="10106318" y="726358"/>
                  </a:cubicBezTo>
                  <a:cubicBezTo>
                    <a:pt x="10106328" y="726358"/>
                    <a:pt x="10106398" y="726358"/>
                    <a:pt x="10107078" y="726358"/>
                  </a:cubicBezTo>
                  <a:lnTo>
                    <a:pt x="10112398" y="726358"/>
                  </a:lnTo>
                  <a:cubicBezTo>
                    <a:pt x="10112398" y="726343"/>
                    <a:pt x="10112398" y="725343"/>
                    <a:pt x="10112398" y="661504"/>
                  </a:cubicBezTo>
                  <a:cubicBezTo>
                    <a:pt x="10112406" y="661504"/>
                    <a:pt x="10112486" y="661504"/>
                    <a:pt x="10113412" y="661504"/>
                  </a:cubicBezTo>
                  <a:lnTo>
                    <a:pt x="10120506" y="661504"/>
                  </a:lnTo>
                  <a:cubicBezTo>
                    <a:pt x="10120512" y="661483"/>
                    <a:pt x="10120776" y="660543"/>
                    <a:pt x="10132666" y="618269"/>
                  </a:cubicBezTo>
                  <a:cubicBezTo>
                    <a:pt x="10132674" y="618269"/>
                    <a:pt x="10132772" y="618269"/>
                    <a:pt x="10133932" y="618269"/>
                  </a:cubicBezTo>
                  <a:lnTo>
                    <a:pt x="10142800" y="618269"/>
                  </a:lnTo>
                  <a:cubicBezTo>
                    <a:pt x="10142804" y="618292"/>
                    <a:pt x="10143030" y="619258"/>
                    <a:pt x="10152932" y="661504"/>
                  </a:cubicBezTo>
                  <a:cubicBezTo>
                    <a:pt x="10152938" y="661504"/>
                    <a:pt x="10153012" y="661504"/>
                    <a:pt x="10153946" y="661504"/>
                  </a:cubicBezTo>
                  <a:lnTo>
                    <a:pt x="10161040" y="661504"/>
                  </a:lnTo>
                  <a:cubicBezTo>
                    <a:pt x="10161040" y="661515"/>
                    <a:pt x="10161040" y="662182"/>
                    <a:pt x="10161040" y="700416"/>
                  </a:cubicBezTo>
                  <a:cubicBezTo>
                    <a:pt x="10161046" y="700416"/>
                    <a:pt x="10161146" y="700416"/>
                    <a:pt x="10162812" y="700416"/>
                  </a:cubicBezTo>
                  <a:lnTo>
                    <a:pt x="10175226" y="700416"/>
                  </a:lnTo>
                  <a:cubicBezTo>
                    <a:pt x="10175226" y="700424"/>
                    <a:pt x="10175226" y="700546"/>
                    <a:pt x="10175226" y="702578"/>
                  </a:cubicBezTo>
                  <a:lnTo>
                    <a:pt x="10175226" y="717710"/>
                  </a:lnTo>
                  <a:cubicBezTo>
                    <a:pt x="10179280" y="717710"/>
                    <a:pt x="10179280" y="717710"/>
                    <a:pt x="10179280" y="715549"/>
                  </a:cubicBezTo>
                  <a:lnTo>
                    <a:pt x="10179280" y="700416"/>
                  </a:lnTo>
                  <a:cubicBezTo>
                    <a:pt x="10179290" y="700416"/>
                    <a:pt x="10179402" y="700416"/>
                    <a:pt x="10180800" y="700416"/>
                  </a:cubicBezTo>
                  <a:lnTo>
                    <a:pt x="10191440" y="700416"/>
                  </a:lnTo>
                  <a:cubicBezTo>
                    <a:pt x="10191440" y="700426"/>
                    <a:pt x="10191440" y="700543"/>
                    <a:pt x="10191440" y="702037"/>
                  </a:cubicBezTo>
                  <a:lnTo>
                    <a:pt x="10191440" y="713387"/>
                  </a:lnTo>
                  <a:cubicBezTo>
                    <a:pt x="10191456" y="713387"/>
                    <a:pt x="10192164" y="713387"/>
                    <a:pt x="10221840" y="713387"/>
                  </a:cubicBezTo>
                  <a:cubicBezTo>
                    <a:pt x="10221840" y="713370"/>
                    <a:pt x="10221840" y="712599"/>
                    <a:pt x="10221840" y="676637"/>
                  </a:cubicBezTo>
                  <a:cubicBezTo>
                    <a:pt x="10221848" y="676637"/>
                    <a:pt x="10221942" y="676637"/>
                    <a:pt x="10223106" y="676637"/>
                  </a:cubicBezTo>
                  <a:lnTo>
                    <a:pt x="10231974" y="676637"/>
                  </a:lnTo>
                  <a:cubicBezTo>
                    <a:pt x="10231974" y="676648"/>
                    <a:pt x="10231974" y="677142"/>
                    <a:pt x="10231974" y="698254"/>
                  </a:cubicBezTo>
                  <a:cubicBezTo>
                    <a:pt x="10234000" y="698254"/>
                    <a:pt x="10234000" y="698254"/>
                    <a:pt x="10234000" y="665828"/>
                  </a:cubicBezTo>
                  <a:cubicBezTo>
                    <a:pt x="10234014" y="665828"/>
                    <a:pt x="10234556" y="665828"/>
                    <a:pt x="10256294" y="665828"/>
                  </a:cubicBezTo>
                  <a:cubicBezTo>
                    <a:pt x="10256294" y="665818"/>
                    <a:pt x="10256294" y="665698"/>
                    <a:pt x="10256294" y="664206"/>
                  </a:cubicBezTo>
                  <a:lnTo>
                    <a:pt x="10256294" y="652857"/>
                  </a:lnTo>
                  <a:cubicBezTo>
                    <a:pt x="10256302" y="652857"/>
                    <a:pt x="10256376" y="652857"/>
                    <a:pt x="10257054" y="652857"/>
                  </a:cubicBezTo>
                  <a:lnTo>
                    <a:pt x="10262374" y="652857"/>
                  </a:lnTo>
                  <a:cubicBezTo>
                    <a:pt x="10262374" y="652851"/>
                    <a:pt x="10262374" y="652738"/>
                    <a:pt x="10262374" y="650966"/>
                  </a:cubicBezTo>
                  <a:lnTo>
                    <a:pt x="10262374" y="637725"/>
                  </a:lnTo>
                  <a:lnTo>
                    <a:pt x="10266428" y="644210"/>
                  </a:lnTo>
                  <a:cubicBezTo>
                    <a:pt x="10266436" y="644210"/>
                    <a:pt x="10266564" y="644210"/>
                    <a:pt x="10268708" y="644210"/>
                  </a:cubicBezTo>
                  <a:lnTo>
                    <a:pt x="10284668" y="644210"/>
                  </a:lnTo>
                  <a:cubicBezTo>
                    <a:pt x="10284668" y="644202"/>
                    <a:pt x="10284668" y="644134"/>
                    <a:pt x="10284668" y="643399"/>
                  </a:cubicBezTo>
                  <a:lnTo>
                    <a:pt x="10284668" y="637725"/>
                  </a:lnTo>
                  <a:cubicBezTo>
                    <a:pt x="10284676" y="637725"/>
                    <a:pt x="10284750" y="637725"/>
                    <a:pt x="10285428" y="637725"/>
                  </a:cubicBezTo>
                  <a:lnTo>
                    <a:pt x="10290748" y="637725"/>
                  </a:lnTo>
                  <a:cubicBezTo>
                    <a:pt x="10290748" y="637734"/>
                    <a:pt x="10290748" y="637834"/>
                    <a:pt x="10290748" y="639076"/>
                  </a:cubicBezTo>
                  <a:lnTo>
                    <a:pt x="10290748" y="648534"/>
                  </a:lnTo>
                  <a:cubicBezTo>
                    <a:pt x="10290762" y="648534"/>
                    <a:pt x="10291496" y="648534"/>
                    <a:pt x="10329254" y="648534"/>
                  </a:cubicBezTo>
                  <a:cubicBezTo>
                    <a:pt x="10329254" y="648552"/>
                    <a:pt x="10329254" y="650062"/>
                    <a:pt x="10329254" y="786887"/>
                  </a:cubicBezTo>
                  <a:cubicBezTo>
                    <a:pt x="10329264" y="786887"/>
                    <a:pt x="10329380" y="786887"/>
                    <a:pt x="10330774" y="786887"/>
                  </a:cubicBezTo>
                  <a:lnTo>
                    <a:pt x="10341414" y="786887"/>
                  </a:lnTo>
                  <a:cubicBezTo>
                    <a:pt x="10341414" y="782564"/>
                    <a:pt x="10341414" y="778240"/>
                    <a:pt x="10341414" y="773917"/>
                  </a:cubicBezTo>
                  <a:cubicBezTo>
                    <a:pt x="10343442" y="773917"/>
                    <a:pt x="10343442" y="773917"/>
                    <a:pt x="10345468" y="773917"/>
                  </a:cubicBezTo>
                  <a:cubicBezTo>
                    <a:pt x="10345468" y="778240"/>
                    <a:pt x="10345468" y="782564"/>
                    <a:pt x="10345468" y="786887"/>
                  </a:cubicBezTo>
                  <a:cubicBezTo>
                    <a:pt x="10355602" y="786887"/>
                    <a:pt x="10365736" y="786887"/>
                    <a:pt x="10375868" y="786887"/>
                  </a:cubicBezTo>
                  <a:cubicBezTo>
                    <a:pt x="10375868" y="776078"/>
                    <a:pt x="10375868" y="767431"/>
                    <a:pt x="10375868" y="756622"/>
                  </a:cubicBezTo>
                  <a:cubicBezTo>
                    <a:pt x="10379922" y="756622"/>
                    <a:pt x="10383976" y="756622"/>
                    <a:pt x="10388028" y="756622"/>
                  </a:cubicBezTo>
                  <a:lnTo>
                    <a:pt x="10400188" y="754461"/>
                  </a:lnTo>
                  <a:cubicBezTo>
                    <a:pt x="10402216" y="754461"/>
                    <a:pt x="10402216" y="756622"/>
                    <a:pt x="10404242" y="756622"/>
                  </a:cubicBezTo>
                  <a:lnTo>
                    <a:pt x="10414376" y="756622"/>
                  </a:lnTo>
                  <a:cubicBezTo>
                    <a:pt x="10414376" y="767431"/>
                    <a:pt x="10414376" y="778240"/>
                    <a:pt x="10414376" y="786887"/>
                  </a:cubicBezTo>
                  <a:cubicBezTo>
                    <a:pt x="10416402" y="786887"/>
                    <a:pt x="10418430" y="786887"/>
                    <a:pt x="10422482" y="786887"/>
                  </a:cubicBezTo>
                  <a:cubicBezTo>
                    <a:pt x="10422482" y="793373"/>
                    <a:pt x="10422482" y="799858"/>
                    <a:pt x="10422482" y="804182"/>
                  </a:cubicBezTo>
                  <a:lnTo>
                    <a:pt x="10431818" y="805087"/>
                  </a:lnTo>
                  <a:lnTo>
                    <a:pt x="10444776" y="805087"/>
                  </a:lnTo>
                  <a:cubicBezTo>
                    <a:pt x="10444776" y="799278"/>
                    <a:pt x="10444776" y="795106"/>
                    <a:pt x="10444776" y="789049"/>
                  </a:cubicBezTo>
                  <a:lnTo>
                    <a:pt x="10512732" y="789049"/>
                  </a:lnTo>
                  <a:lnTo>
                    <a:pt x="10512732" y="703796"/>
                  </a:lnTo>
                  <a:lnTo>
                    <a:pt x="10584740" y="703796"/>
                  </a:lnTo>
                  <a:lnTo>
                    <a:pt x="10584740" y="782564"/>
                  </a:lnTo>
                  <a:cubicBezTo>
                    <a:pt x="10585376" y="782564"/>
                    <a:pt x="10586010" y="782564"/>
                    <a:pt x="10586644" y="782564"/>
                  </a:cubicBezTo>
                  <a:lnTo>
                    <a:pt x="10587886" y="805087"/>
                  </a:lnTo>
                  <a:lnTo>
                    <a:pt x="10597562" y="805087"/>
                  </a:lnTo>
                  <a:cubicBezTo>
                    <a:pt x="10598098" y="797873"/>
                    <a:pt x="10598804" y="790219"/>
                    <a:pt x="10598804" y="782564"/>
                  </a:cubicBezTo>
                  <a:cubicBezTo>
                    <a:pt x="10600832" y="782564"/>
                    <a:pt x="10602858" y="782564"/>
                    <a:pt x="10604884" y="782564"/>
                  </a:cubicBezTo>
                  <a:lnTo>
                    <a:pt x="10606126" y="805087"/>
                  </a:lnTo>
                  <a:lnTo>
                    <a:pt x="10656748" y="805087"/>
                  </a:lnTo>
                  <a:lnTo>
                    <a:pt x="10656748" y="642059"/>
                  </a:lnTo>
                  <a:lnTo>
                    <a:pt x="10854076" y="642059"/>
                  </a:lnTo>
                  <a:lnTo>
                    <a:pt x="10854076" y="805087"/>
                  </a:lnTo>
                  <a:lnTo>
                    <a:pt x="10872772" y="805087"/>
                  </a:lnTo>
                  <a:lnTo>
                    <a:pt x="10872772" y="722394"/>
                  </a:lnTo>
                  <a:lnTo>
                    <a:pt x="10967892" y="722394"/>
                  </a:lnTo>
                  <a:cubicBezTo>
                    <a:pt x="10971967" y="616373"/>
                    <a:pt x="10975346" y="510899"/>
                    <a:pt x="10979823" y="404253"/>
                  </a:cubicBezTo>
                  <a:cubicBezTo>
                    <a:pt x="10969690" y="404253"/>
                    <a:pt x="10945370" y="391282"/>
                    <a:pt x="10967663" y="382635"/>
                  </a:cubicBezTo>
                  <a:cubicBezTo>
                    <a:pt x="10965635" y="380473"/>
                    <a:pt x="10963610" y="378311"/>
                    <a:pt x="10961583" y="378311"/>
                  </a:cubicBezTo>
                  <a:cubicBezTo>
                    <a:pt x="10961583" y="365341"/>
                    <a:pt x="10959555" y="363179"/>
                    <a:pt x="10969690" y="354532"/>
                  </a:cubicBezTo>
                  <a:cubicBezTo>
                    <a:pt x="10969690" y="350208"/>
                    <a:pt x="10969690" y="343723"/>
                    <a:pt x="10969690" y="337238"/>
                  </a:cubicBezTo>
                  <a:cubicBezTo>
                    <a:pt x="10973743" y="337238"/>
                    <a:pt x="10977796" y="337238"/>
                    <a:pt x="10983876" y="337238"/>
                  </a:cubicBezTo>
                  <a:cubicBezTo>
                    <a:pt x="10983876" y="328590"/>
                    <a:pt x="10983876" y="322105"/>
                    <a:pt x="10983876" y="315620"/>
                  </a:cubicBezTo>
                  <a:cubicBezTo>
                    <a:pt x="10983876" y="313458"/>
                    <a:pt x="10985903" y="313458"/>
                    <a:pt x="10985903" y="311296"/>
                  </a:cubicBezTo>
                  <a:cubicBezTo>
                    <a:pt x="10985903" y="285355"/>
                    <a:pt x="10985903" y="259414"/>
                    <a:pt x="10985903" y="233472"/>
                  </a:cubicBezTo>
                  <a:cubicBezTo>
                    <a:pt x="10985903" y="231310"/>
                    <a:pt x="10983876" y="229149"/>
                    <a:pt x="10983876" y="226987"/>
                  </a:cubicBezTo>
                  <a:cubicBezTo>
                    <a:pt x="10985903" y="224825"/>
                    <a:pt x="10987930" y="222663"/>
                    <a:pt x="10989956" y="220501"/>
                  </a:cubicBezTo>
                  <a:cubicBezTo>
                    <a:pt x="10989956" y="201045"/>
                    <a:pt x="10989956" y="181589"/>
                    <a:pt x="10989956" y="162133"/>
                  </a:cubicBezTo>
                  <a:cubicBezTo>
                    <a:pt x="10989956" y="159972"/>
                    <a:pt x="10989956" y="159972"/>
                    <a:pt x="10991983" y="157810"/>
                  </a:cubicBezTo>
                  <a:cubicBezTo>
                    <a:pt x="10991983" y="140516"/>
                    <a:pt x="10991983" y="121060"/>
                    <a:pt x="10991983" y="101604"/>
                  </a:cubicBezTo>
                  <a:cubicBezTo>
                    <a:pt x="10994010" y="92957"/>
                    <a:pt x="10994010" y="88633"/>
                    <a:pt x="10994010" y="82148"/>
                  </a:cubicBezTo>
                  <a:cubicBezTo>
                    <a:pt x="10998063" y="88633"/>
                    <a:pt x="10998063" y="92957"/>
                    <a:pt x="10998063" y="99442"/>
                  </a:cubicBezTo>
                  <a:cubicBezTo>
                    <a:pt x="11000090" y="121060"/>
                    <a:pt x="11000090" y="140516"/>
                    <a:pt x="11000090" y="157810"/>
                  </a:cubicBezTo>
                  <a:cubicBezTo>
                    <a:pt x="11002116" y="181589"/>
                    <a:pt x="11002116" y="201045"/>
                    <a:pt x="11002116" y="220501"/>
                  </a:cubicBezTo>
                  <a:cubicBezTo>
                    <a:pt x="11004143" y="222663"/>
                    <a:pt x="11006170" y="224825"/>
                    <a:pt x="11008196" y="226987"/>
                  </a:cubicBezTo>
                  <a:cubicBezTo>
                    <a:pt x="11008196" y="229149"/>
                    <a:pt x="11006170" y="231310"/>
                    <a:pt x="11006170" y="233472"/>
                  </a:cubicBezTo>
                  <a:cubicBezTo>
                    <a:pt x="11006170" y="259414"/>
                    <a:pt x="11006170" y="285355"/>
                    <a:pt x="11006170" y="311296"/>
                  </a:cubicBezTo>
                  <a:cubicBezTo>
                    <a:pt x="11006170" y="313458"/>
                    <a:pt x="11008196" y="313458"/>
                    <a:pt x="11008196" y="315620"/>
                  </a:cubicBezTo>
                  <a:cubicBezTo>
                    <a:pt x="11008196" y="322105"/>
                    <a:pt x="11008196" y="328590"/>
                    <a:pt x="11008196" y="337238"/>
                  </a:cubicBezTo>
                  <a:cubicBezTo>
                    <a:pt x="11012250" y="337238"/>
                    <a:pt x="11018330" y="337238"/>
                    <a:pt x="11022383" y="337238"/>
                  </a:cubicBezTo>
                  <a:cubicBezTo>
                    <a:pt x="11022383" y="343723"/>
                    <a:pt x="11022383" y="350208"/>
                    <a:pt x="11022383" y="354532"/>
                  </a:cubicBezTo>
                  <a:cubicBezTo>
                    <a:pt x="11030491" y="363179"/>
                    <a:pt x="11030491" y="363179"/>
                    <a:pt x="11030491" y="378311"/>
                  </a:cubicBezTo>
                  <a:cubicBezTo>
                    <a:pt x="11028463" y="378311"/>
                    <a:pt x="11026436" y="380473"/>
                    <a:pt x="11024411" y="382635"/>
                  </a:cubicBezTo>
                  <a:cubicBezTo>
                    <a:pt x="11044676" y="393444"/>
                    <a:pt x="11020356" y="402091"/>
                    <a:pt x="11012250" y="404253"/>
                  </a:cubicBezTo>
                  <a:cubicBezTo>
                    <a:pt x="11014276" y="488562"/>
                    <a:pt x="11018330" y="572871"/>
                    <a:pt x="11020356" y="657181"/>
                  </a:cubicBezTo>
                  <a:cubicBezTo>
                    <a:pt x="11042651" y="657181"/>
                    <a:pt x="11064943" y="657181"/>
                    <a:pt x="11085211" y="657181"/>
                  </a:cubicBezTo>
                  <a:cubicBezTo>
                    <a:pt x="11085211" y="683122"/>
                    <a:pt x="11085211" y="709063"/>
                    <a:pt x="11085211" y="732843"/>
                  </a:cubicBezTo>
                  <a:cubicBezTo>
                    <a:pt x="11089264" y="732843"/>
                    <a:pt x="11091291" y="732843"/>
                    <a:pt x="11093318" y="732843"/>
                  </a:cubicBezTo>
                  <a:cubicBezTo>
                    <a:pt x="11093318" y="730681"/>
                    <a:pt x="11095344" y="728519"/>
                    <a:pt x="11095344" y="726358"/>
                  </a:cubicBezTo>
                  <a:cubicBezTo>
                    <a:pt x="11097371" y="726358"/>
                    <a:pt x="11099398" y="726358"/>
                    <a:pt x="11101424" y="726358"/>
                  </a:cubicBezTo>
                  <a:cubicBezTo>
                    <a:pt x="11101424" y="728519"/>
                    <a:pt x="11101424" y="730681"/>
                    <a:pt x="11103452" y="735005"/>
                  </a:cubicBezTo>
                  <a:cubicBezTo>
                    <a:pt x="11107504" y="735005"/>
                    <a:pt x="11111558" y="735005"/>
                    <a:pt x="11115612" y="735005"/>
                  </a:cubicBezTo>
                  <a:cubicBezTo>
                    <a:pt x="11115612" y="732843"/>
                    <a:pt x="11115612" y="730681"/>
                    <a:pt x="11115612" y="728519"/>
                  </a:cubicBezTo>
                  <a:cubicBezTo>
                    <a:pt x="11123718" y="728519"/>
                    <a:pt x="11129798" y="728519"/>
                    <a:pt x="11137904" y="728519"/>
                  </a:cubicBezTo>
                  <a:cubicBezTo>
                    <a:pt x="11137904" y="730681"/>
                    <a:pt x="11137904" y="732843"/>
                    <a:pt x="11137904" y="735005"/>
                  </a:cubicBezTo>
                  <a:cubicBezTo>
                    <a:pt x="11143984" y="735005"/>
                    <a:pt x="11152092" y="735005"/>
                    <a:pt x="11158172" y="735005"/>
                  </a:cubicBezTo>
                  <a:cubicBezTo>
                    <a:pt x="11158172" y="750137"/>
                    <a:pt x="11158172" y="765270"/>
                    <a:pt x="11158172" y="780402"/>
                  </a:cubicBezTo>
                  <a:cubicBezTo>
                    <a:pt x="11162226" y="780402"/>
                    <a:pt x="11168306" y="780402"/>
                    <a:pt x="11172359" y="780402"/>
                  </a:cubicBezTo>
                  <a:cubicBezTo>
                    <a:pt x="11172359" y="776078"/>
                    <a:pt x="11172359" y="771755"/>
                    <a:pt x="11172359" y="767431"/>
                  </a:cubicBezTo>
                  <a:cubicBezTo>
                    <a:pt x="11178439" y="767431"/>
                    <a:pt x="11184519" y="767431"/>
                    <a:pt x="11188572" y="767431"/>
                  </a:cubicBezTo>
                  <a:cubicBezTo>
                    <a:pt x="11188572" y="706902"/>
                    <a:pt x="11188572" y="648534"/>
                    <a:pt x="11188572" y="588004"/>
                  </a:cubicBezTo>
                  <a:cubicBezTo>
                    <a:pt x="11190599" y="585842"/>
                    <a:pt x="11192626" y="583680"/>
                    <a:pt x="11194652" y="581518"/>
                  </a:cubicBezTo>
                  <a:cubicBezTo>
                    <a:pt x="11218972" y="581518"/>
                    <a:pt x="11243292" y="581518"/>
                    <a:pt x="11267614" y="581518"/>
                  </a:cubicBezTo>
                  <a:lnTo>
                    <a:pt x="11267614" y="590166"/>
                  </a:lnTo>
                  <a:lnTo>
                    <a:pt x="11277747" y="590166"/>
                  </a:lnTo>
                  <a:cubicBezTo>
                    <a:pt x="11277747" y="629078"/>
                    <a:pt x="11277747" y="667990"/>
                    <a:pt x="11277747" y="704740"/>
                  </a:cubicBezTo>
                  <a:cubicBezTo>
                    <a:pt x="11285854" y="704740"/>
                    <a:pt x="11291934" y="704740"/>
                    <a:pt x="11300040" y="704740"/>
                  </a:cubicBezTo>
                  <a:cubicBezTo>
                    <a:pt x="11300040" y="683122"/>
                    <a:pt x="11300040" y="661504"/>
                    <a:pt x="11300040" y="637725"/>
                  </a:cubicBezTo>
                  <a:cubicBezTo>
                    <a:pt x="11308147" y="637725"/>
                    <a:pt x="11318280" y="637725"/>
                    <a:pt x="11326388" y="637725"/>
                  </a:cubicBezTo>
                  <a:cubicBezTo>
                    <a:pt x="11328414" y="637725"/>
                    <a:pt x="11328414" y="635563"/>
                    <a:pt x="11330440" y="633401"/>
                  </a:cubicBezTo>
                  <a:lnTo>
                    <a:pt x="11338548" y="633401"/>
                  </a:lnTo>
                  <a:cubicBezTo>
                    <a:pt x="11340574" y="635563"/>
                    <a:pt x="11340574" y="637725"/>
                    <a:pt x="11342600" y="637725"/>
                  </a:cubicBezTo>
                  <a:cubicBezTo>
                    <a:pt x="11348680" y="637725"/>
                    <a:pt x="11356788" y="637725"/>
                    <a:pt x="11364895" y="637725"/>
                  </a:cubicBezTo>
                  <a:cubicBezTo>
                    <a:pt x="11364895" y="598813"/>
                    <a:pt x="11364895" y="559901"/>
                    <a:pt x="11364895" y="520989"/>
                  </a:cubicBezTo>
                  <a:cubicBezTo>
                    <a:pt x="11364908" y="520986"/>
                    <a:pt x="11365775" y="520822"/>
                    <a:pt x="11421642" y="510180"/>
                  </a:cubicBezTo>
                  <a:cubicBezTo>
                    <a:pt x="11421642" y="510187"/>
                    <a:pt x="11421642" y="510261"/>
                    <a:pt x="11421642" y="511261"/>
                  </a:cubicBezTo>
                  <a:lnTo>
                    <a:pt x="11421642" y="518827"/>
                  </a:lnTo>
                  <a:cubicBezTo>
                    <a:pt x="11421659" y="518827"/>
                    <a:pt x="11422303" y="518827"/>
                    <a:pt x="11447988" y="518827"/>
                  </a:cubicBezTo>
                  <a:cubicBezTo>
                    <a:pt x="11447988" y="518849"/>
                    <a:pt x="11447988" y="521220"/>
                    <a:pt x="11447988" y="773917"/>
                  </a:cubicBezTo>
                  <a:cubicBezTo>
                    <a:pt x="11454068" y="773917"/>
                    <a:pt x="11462175" y="773917"/>
                    <a:pt x="11470283" y="773917"/>
                  </a:cubicBezTo>
                  <a:cubicBezTo>
                    <a:pt x="11470283" y="771755"/>
                    <a:pt x="11470283" y="771755"/>
                    <a:pt x="11470283" y="769593"/>
                  </a:cubicBezTo>
                  <a:cubicBezTo>
                    <a:pt x="11474335" y="769593"/>
                    <a:pt x="11478388" y="769593"/>
                    <a:pt x="11482443" y="769593"/>
                  </a:cubicBezTo>
                  <a:cubicBezTo>
                    <a:pt x="11482443" y="771755"/>
                    <a:pt x="11482443" y="771755"/>
                    <a:pt x="11482443" y="773917"/>
                  </a:cubicBezTo>
                  <a:cubicBezTo>
                    <a:pt x="11490550" y="773917"/>
                    <a:pt x="11498655" y="773917"/>
                    <a:pt x="11506763" y="773917"/>
                  </a:cubicBezTo>
                  <a:cubicBezTo>
                    <a:pt x="11506763" y="769593"/>
                    <a:pt x="11506763" y="765270"/>
                    <a:pt x="11506763" y="760946"/>
                  </a:cubicBezTo>
                  <a:cubicBezTo>
                    <a:pt x="11516896" y="760946"/>
                    <a:pt x="11527030" y="760946"/>
                    <a:pt x="11535136" y="760946"/>
                  </a:cubicBezTo>
                  <a:cubicBezTo>
                    <a:pt x="11539190" y="756622"/>
                    <a:pt x="11543244" y="756622"/>
                    <a:pt x="11547296" y="756622"/>
                  </a:cubicBezTo>
                  <a:cubicBezTo>
                    <a:pt x="11553376" y="760946"/>
                    <a:pt x="11561484" y="760946"/>
                    <a:pt x="11567564" y="760946"/>
                  </a:cubicBezTo>
                  <a:cubicBezTo>
                    <a:pt x="11567564" y="754461"/>
                    <a:pt x="11567564" y="750137"/>
                    <a:pt x="11567564" y="743652"/>
                  </a:cubicBezTo>
                  <a:lnTo>
                    <a:pt x="11575671" y="743652"/>
                  </a:lnTo>
                  <a:cubicBezTo>
                    <a:pt x="11575671" y="739328"/>
                    <a:pt x="11575671" y="735005"/>
                    <a:pt x="11575671" y="730681"/>
                  </a:cubicBezTo>
                  <a:cubicBezTo>
                    <a:pt x="11593911" y="730681"/>
                    <a:pt x="11614178" y="730681"/>
                    <a:pt x="11632418" y="730681"/>
                  </a:cubicBezTo>
                  <a:cubicBezTo>
                    <a:pt x="11632418" y="719872"/>
                    <a:pt x="11632418" y="711225"/>
                    <a:pt x="11632418" y="700416"/>
                  </a:cubicBezTo>
                  <a:cubicBezTo>
                    <a:pt x="11638498" y="700416"/>
                    <a:pt x="11644578" y="700416"/>
                    <a:pt x="11650658" y="700416"/>
                  </a:cubicBezTo>
                  <a:cubicBezTo>
                    <a:pt x="11650658" y="698254"/>
                    <a:pt x="11650658" y="696093"/>
                    <a:pt x="11650658" y="693931"/>
                  </a:cubicBezTo>
                  <a:cubicBezTo>
                    <a:pt x="11654711" y="693931"/>
                    <a:pt x="11658764" y="693931"/>
                    <a:pt x="11662818" y="693931"/>
                  </a:cubicBezTo>
                  <a:cubicBezTo>
                    <a:pt x="11662818" y="696093"/>
                    <a:pt x="11662818" y="698254"/>
                    <a:pt x="11662818" y="700416"/>
                  </a:cubicBezTo>
                  <a:cubicBezTo>
                    <a:pt x="11668898" y="700416"/>
                    <a:pt x="11672951" y="700416"/>
                    <a:pt x="11679031" y="700416"/>
                  </a:cubicBezTo>
                  <a:cubicBezTo>
                    <a:pt x="11679031" y="715549"/>
                    <a:pt x="11679031" y="732843"/>
                    <a:pt x="11679031" y="750137"/>
                  </a:cubicBezTo>
                  <a:cubicBezTo>
                    <a:pt x="11689164" y="750137"/>
                    <a:pt x="11701326" y="750137"/>
                    <a:pt x="11711459" y="750137"/>
                  </a:cubicBezTo>
                  <a:cubicBezTo>
                    <a:pt x="11711459" y="741490"/>
                    <a:pt x="11711459" y="732843"/>
                    <a:pt x="11711459" y="724196"/>
                  </a:cubicBezTo>
                  <a:cubicBezTo>
                    <a:pt x="11723619" y="724196"/>
                    <a:pt x="11737806" y="724196"/>
                    <a:pt x="11749966" y="724196"/>
                  </a:cubicBezTo>
                  <a:cubicBezTo>
                    <a:pt x="11749966" y="713387"/>
                    <a:pt x="11749966" y="704740"/>
                    <a:pt x="11749966" y="693931"/>
                  </a:cubicBezTo>
                  <a:cubicBezTo>
                    <a:pt x="11766180" y="693931"/>
                    <a:pt x="11782392" y="693931"/>
                    <a:pt x="11798607" y="693931"/>
                  </a:cubicBezTo>
                  <a:cubicBezTo>
                    <a:pt x="11798607" y="693960"/>
                    <a:pt x="11798607" y="695735"/>
                    <a:pt x="11798607" y="805087"/>
                  </a:cubicBezTo>
                  <a:lnTo>
                    <a:pt x="11798607" y="818866"/>
                  </a:lnTo>
                  <a:lnTo>
                    <a:pt x="11864482" y="818866"/>
                  </a:lnTo>
                  <a:lnTo>
                    <a:pt x="11864482" y="924638"/>
                  </a:lnTo>
                  <a:lnTo>
                    <a:pt x="11864482" y="947885"/>
                  </a:lnTo>
                  <a:lnTo>
                    <a:pt x="11879442" y="947885"/>
                  </a:lnTo>
                  <a:cubicBezTo>
                    <a:pt x="11879442" y="947885"/>
                    <a:pt x="11879442" y="947885"/>
                    <a:pt x="11879442" y="946723"/>
                  </a:cubicBezTo>
                  <a:lnTo>
                    <a:pt x="11879442" y="938587"/>
                  </a:lnTo>
                  <a:cubicBezTo>
                    <a:pt x="11879442" y="938587"/>
                    <a:pt x="11879442" y="938587"/>
                    <a:pt x="11924022" y="938587"/>
                  </a:cubicBezTo>
                  <a:cubicBezTo>
                    <a:pt x="11924022" y="938587"/>
                    <a:pt x="11924022" y="938587"/>
                    <a:pt x="11924022" y="959508"/>
                  </a:cubicBezTo>
                  <a:cubicBezTo>
                    <a:pt x="11924022" y="959508"/>
                    <a:pt x="11924022" y="959508"/>
                    <a:pt x="11926250" y="960671"/>
                  </a:cubicBezTo>
                  <a:lnTo>
                    <a:pt x="11941854" y="968807"/>
                  </a:lnTo>
                  <a:cubicBezTo>
                    <a:pt x="11941854" y="968807"/>
                    <a:pt x="11941854" y="968807"/>
                    <a:pt x="11941854" y="999027"/>
                  </a:cubicBezTo>
                  <a:cubicBezTo>
                    <a:pt x="11941854" y="999027"/>
                    <a:pt x="11941854" y="999027"/>
                    <a:pt x="11943247" y="999609"/>
                  </a:cubicBezTo>
                  <a:lnTo>
                    <a:pt x="11952999" y="1003677"/>
                  </a:lnTo>
                  <a:cubicBezTo>
                    <a:pt x="11952999" y="1003677"/>
                    <a:pt x="11952999" y="1003677"/>
                    <a:pt x="11952999" y="1002515"/>
                  </a:cubicBezTo>
                  <a:lnTo>
                    <a:pt x="11952999" y="994378"/>
                  </a:lnTo>
                  <a:cubicBezTo>
                    <a:pt x="11952999" y="994378"/>
                    <a:pt x="11952999" y="994378"/>
                    <a:pt x="11954114" y="994378"/>
                  </a:cubicBezTo>
                  <a:lnTo>
                    <a:pt x="11961915" y="994378"/>
                  </a:lnTo>
                  <a:cubicBezTo>
                    <a:pt x="11961915" y="994378"/>
                    <a:pt x="11961915" y="994378"/>
                    <a:pt x="11961915" y="993506"/>
                  </a:cubicBezTo>
                  <a:lnTo>
                    <a:pt x="11961915" y="987404"/>
                  </a:lnTo>
                  <a:cubicBezTo>
                    <a:pt x="11961915" y="987404"/>
                    <a:pt x="11961915" y="987404"/>
                    <a:pt x="11960800" y="987404"/>
                  </a:cubicBezTo>
                  <a:lnTo>
                    <a:pt x="11952999" y="987404"/>
                  </a:lnTo>
                  <a:cubicBezTo>
                    <a:pt x="11952999" y="987404"/>
                    <a:pt x="11952999" y="987404"/>
                    <a:pt x="11952999" y="986242"/>
                  </a:cubicBezTo>
                  <a:lnTo>
                    <a:pt x="11952999" y="978106"/>
                  </a:lnTo>
                  <a:cubicBezTo>
                    <a:pt x="11952999" y="978106"/>
                    <a:pt x="11952999" y="978106"/>
                    <a:pt x="11954114" y="978106"/>
                  </a:cubicBezTo>
                  <a:lnTo>
                    <a:pt x="11961915" y="978106"/>
                  </a:lnTo>
                  <a:cubicBezTo>
                    <a:pt x="11961915" y="978106"/>
                    <a:pt x="11961915" y="978106"/>
                    <a:pt x="11961915" y="976943"/>
                  </a:cubicBezTo>
                  <a:lnTo>
                    <a:pt x="11961915" y="968807"/>
                  </a:lnTo>
                  <a:cubicBezTo>
                    <a:pt x="11961915" y="968807"/>
                    <a:pt x="11961915" y="968807"/>
                    <a:pt x="11960800" y="968807"/>
                  </a:cubicBezTo>
                  <a:lnTo>
                    <a:pt x="11952999" y="968807"/>
                  </a:lnTo>
                  <a:cubicBezTo>
                    <a:pt x="11952999" y="968807"/>
                    <a:pt x="11952999" y="968807"/>
                    <a:pt x="11952999" y="967645"/>
                  </a:cubicBezTo>
                  <a:lnTo>
                    <a:pt x="11952999" y="959508"/>
                  </a:lnTo>
                  <a:cubicBezTo>
                    <a:pt x="11952999" y="959508"/>
                    <a:pt x="11952999" y="959508"/>
                    <a:pt x="11954114" y="959508"/>
                  </a:cubicBezTo>
                  <a:lnTo>
                    <a:pt x="11961915" y="959508"/>
                  </a:lnTo>
                  <a:cubicBezTo>
                    <a:pt x="11961915" y="959508"/>
                    <a:pt x="11961915" y="959508"/>
                    <a:pt x="11961915" y="958637"/>
                  </a:cubicBezTo>
                  <a:lnTo>
                    <a:pt x="11961915" y="952535"/>
                  </a:lnTo>
                  <a:cubicBezTo>
                    <a:pt x="11961915" y="952535"/>
                    <a:pt x="11961915" y="952535"/>
                    <a:pt x="11960800" y="952535"/>
                  </a:cubicBezTo>
                  <a:lnTo>
                    <a:pt x="11952999" y="952535"/>
                  </a:lnTo>
                  <a:cubicBezTo>
                    <a:pt x="11952999" y="952535"/>
                    <a:pt x="11952999" y="952535"/>
                    <a:pt x="11952999" y="951372"/>
                  </a:cubicBezTo>
                  <a:lnTo>
                    <a:pt x="11952999" y="943236"/>
                  </a:lnTo>
                  <a:cubicBezTo>
                    <a:pt x="11952999" y="943236"/>
                    <a:pt x="11952999" y="943236"/>
                    <a:pt x="11954114" y="943236"/>
                  </a:cubicBezTo>
                  <a:lnTo>
                    <a:pt x="11961915" y="943236"/>
                  </a:lnTo>
                  <a:cubicBezTo>
                    <a:pt x="11961915" y="943236"/>
                    <a:pt x="11961915" y="943236"/>
                    <a:pt x="11961915" y="942074"/>
                  </a:cubicBezTo>
                  <a:lnTo>
                    <a:pt x="11961915" y="933937"/>
                  </a:lnTo>
                  <a:cubicBezTo>
                    <a:pt x="11961915" y="933937"/>
                    <a:pt x="11961915" y="933937"/>
                    <a:pt x="11960800" y="933937"/>
                  </a:cubicBezTo>
                  <a:lnTo>
                    <a:pt x="11952999" y="933937"/>
                  </a:lnTo>
                  <a:cubicBezTo>
                    <a:pt x="11952999" y="933937"/>
                    <a:pt x="11952999" y="933937"/>
                    <a:pt x="11952999" y="933066"/>
                  </a:cubicBezTo>
                  <a:lnTo>
                    <a:pt x="11952999" y="926963"/>
                  </a:lnTo>
                  <a:cubicBezTo>
                    <a:pt x="11952999" y="926963"/>
                    <a:pt x="11952999" y="926963"/>
                    <a:pt x="11954114" y="926963"/>
                  </a:cubicBezTo>
                  <a:lnTo>
                    <a:pt x="11961915" y="926963"/>
                  </a:lnTo>
                  <a:cubicBezTo>
                    <a:pt x="11961915" y="926963"/>
                    <a:pt x="11961915" y="926963"/>
                    <a:pt x="11961915" y="925801"/>
                  </a:cubicBezTo>
                  <a:lnTo>
                    <a:pt x="11961915" y="917665"/>
                  </a:lnTo>
                  <a:cubicBezTo>
                    <a:pt x="11961915" y="917665"/>
                    <a:pt x="11961915" y="917665"/>
                    <a:pt x="11960800" y="917665"/>
                  </a:cubicBezTo>
                  <a:lnTo>
                    <a:pt x="11952999" y="917665"/>
                  </a:lnTo>
                  <a:cubicBezTo>
                    <a:pt x="11952999" y="917665"/>
                    <a:pt x="11952999" y="917665"/>
                    <a:pt x="11952999" y="916503"/>
                  </a:cubicBezTo>
                  <a:lnTo>
                    <a:pt x="11952999" y="908366"/>
                  </a:lnTo>
                  <a:cubicBezTo>
                    <a:pt x="11952999" y="908366"/>
                    <a:pt x="11952999" y="908366"/>
                    <a:pt x="11954114" y="908366"/>
                  </a:cubicBezTo>
                  <a:lnTo>
                    <a:pt x="11961915" y="908366"/>
                  </a:lnTo>
                  <a:cubicBezTo>
                    <a:pt x="11961915" y="908366"/>
                    <a:pt x="11961915" y="908366"/>
                    <a:pt x="11961915" y="907204"/>
                  </a:cubicBezTo>
                  <a:lnTo>
                    <a:pt x="11961915" y="899068"/>
                  </a:lnTo>
                  <a:cubicBezTo>
                    <a:pt x="11961915" y="899068"/>
                    <a:pt x="11961915" y="899068"/>
                    <a:pt x="11960800" y="899068"/>
                  </a:cubicBezTo>
                  <a:lnTo>
                    <a:pt x="11952999" y="899068"/>
                  </a:lnTo>
                  <a:cubicBezTo>
                    <a:pt x="11952999" y="899068"/>
                    <a:pt x="11952999" y="899068"/>
                    <a:pt x="11952999" y="898196"/>
                  </a:cubicBezTo>
                  <a:lnTo>
                    <a:pt x="11952999" y="892094"/>
                  </a:lnTo>
                  <a:cubicBezTo>
                    <a:pt x="11952999" y="892094"/>
                    <a:pt x="11952999" y="892094"/>
                    <a:pt x="11954114" y="892094"/>
                  </a:cubicBezTo>
                  <a:lnTo>
                    <a:pt x="11961915" y="892094"/>
                  </a:lnTo>
                  <a:cubicBezTo>
                    <a:pt x="11961915" y="892094"/>
                    <a:pt x="11961915" y="892094"/>
                    <a:pt x="11961915" y="890931"/>
                  </a:cubicBezTo>
                  <a:lnTo>
                    <a:pt x="11961915" y="882795"/>
                  </a:lnTo>
                  <a:cubicBezTo>
                    <a:pt x="11961915" y="882795"/>
                    <a:pt x="11961915" y="882795"/>
                    <a:pt x="11960800" y="882795"/>
                  </a:cubicBezTo>
                  <a:lnTo>
                    <a:pt x="11952999" y="882795"/>
                  </a:lnTo>
                  <a:cubicBezTo>
                    <a:pt x="11952999" y="882795"/>
                    <a:pt x="11952999" y="882795"/>
                    <a:pt x="11952999" y="881633"/>
                  </a:cubicBezTo>
                  <a:lnTo>
                    <a:pt x="11952999" y="873496"/>
                  </a:lnTo>
                  <a:cubicBezTo>
                    <a:pt x="11952999" y="873496"/>
                    <a:pt x="11952999" y="873496"/>
                    <a:pt x="11954114" y="873496"/>
                  </a:cubicBezTo>
                  <a:lnTo>
                    <a:pt x="11961915" y="873496"/>
                  </a:lnTo>
                  <a:cubicBezTo>
                    <a:pt x="11961915" y="873496"/>
                    <a:pt x="11961915" y="873496"/>
                    <a:pt x="11961915" y="872625"/>
                  </a:cubicBezTo>
                  <a:lnTo>
                    <a:pt x="11961915" y="866523"/>
                  </a:lnTo>
                  <a:cubicBezTo>
                    <a:pt x="11961915" y="866523"/>
                    <a:pt x="11961915" y="866523"/>
                    <a:pt x="11960800" y="866523"/>
                  </a:cubicBezTo>
                  <a:lnTo>
                    <a:pt x="11952999" y="866523"/>
                  </a:lnTo>
                  <a:cubicBezTo>
                    <a:pt x="11952999" y="866523"/>
                    <a:pt x="11952999" y="866523"/>
                    <a:pt x="11952999" y="865360"/>
                  </a:cubicBezTo>
                  <a:lnTo>
                    <a:pt x="11952999" y="857224"/>
                  </a:lnTo>
                  <a:cubicBezTo>
                    <a:pt x="11952999" y="857224"/>
                    <a:pt x="11952999" y="857224"/>
                    <a:pt x="11954114" y="857224"/>
                  </a:cubicBezTo>
                  <a:lnTo>
                    <a:pt x="11961915" y="857224"/>
                  </a:lnTo>
                  <a:cubicBezTo>
                    <a:pt x="11961915" y="857224"/>
                    <a:pt x="11961915" y="857224"/>
                    <a:pt x="11961915" y="856062"/>
                  </a:cubicBezTo>
                  <a:lnTo>
                    <a:pt x="11961915" y="847925"/>
                  </a:lnTo>
                  <a:cubicBezTo>
                    <a:pt x="11961915" y="847925"/>
                    <a:pt x="11961915" y="847925"/>
                    <a:pt x="11960800" y="847925"/>
                  </a:cubicBezTo>
                  <a:lnTo>
                    <a:pt x="11952999" y="847925"/>
                  </a:lnTo>
                  <a:cubicBezTo>
                    <a:pt x="11952999" y="847925"/>
                    <a:pt x="11952999" y="847925"/>
                    <a:pt x="11952999" y="846763"/>
                  </a:cubicBezTo>
                  <a:lnTo>
                    <a:pt x="11952999" y="838627"/>
                  </a:lnTo>
                  <a:cubicBezTo>
                    <a:pt x="11952999" y="838627"/>
                    <a:pt x="11952999" y="838627"/>
                    <a:pt x="11954114" y="838627"/>
                  </a:cubicBezTo>
                  <a:lnTo>
                    <a:pt x="11961915" y="838627"/>
                  </a:lnTo>
                  <a:cubicBezTo>
                    <a:pt x="11961915" y="838627"/>
                    <a:pt x="11961915" y="838627"/>
                    <a:pt x="11961915" y="837755"/>
                  </a:cubicBezTo>
                  <a:lnTo>
                    <a:pt x="11961915" y="831653"/>
                  </a:lnTo>
                  <a:cubicBezTo>
                    <a:pt x="11961915" y="831653"/>
                    <a:pt x="11961915" y="831653"/>
                    <a:pt x="11960800" y="831653"/>
                  </a:cubicBezTo>
                  <a:lnTo>
                    <a:pt x="11952999" y="831653"/>
                  </a:lnTo>
                  <a:cubicBezTo>
                    <a:pt x="11952999" y="831653"/>
                    <a:pt x="11952999" y="831653"/>
                    <a:pt x="11952999" y="830491"/>
                  </a:cubicBezTo>
                  <a:lnTo>
                    <a:pt x="11952999" y="822354"/>
                  </a:lnTo>
                  <a:cubicBezTo>
                    <a:pt x="11952999" y="822354"/>
                    <a:pt x="11952999" y="822354"/>
                    <a:pt x="11954114" y="822354"/>
                  </a:cubicBezTo>
                  <a:lnTo>
                    <a:pt x="11961915" y="822354"/>
                  </a:lnTo>
                  <a:cubicBezTo>
                    <a:pt x="11961915" y="822354"/>
                    <a:pt x="11961915" y="822354"/>
                    <a:pt x="11961915" y="821192"/>
                  </a:cubicBezTo>
                  <a:lnTo>
                    <a:pt x="11961915" y="813056"/>
                  </a:lnTo>
                  <a:cubicBezTo>
                    <a:pt x="11961915" y="813056"/>
                    <a:pt x="11961915" y="813056"/>
                    <a:pt x="11960800" y="813056"/>
                  </a:cubicBezTo>
                  <a:lnTo>
                    <a:pt x="11952999" y="813056"/>
                  </a:lnTo>
                  <a:cubicBezTo>
                    <a:pt x="11952999" y="813056"/>
                    <a:pt x="11952999" y="813056"/>
                    <a:pt x="11952999" y="811893"/>
                  </a:cubicBezTo>
                  <a:lnTo>
                    <a:pt x="11952999" y="803757"/>
                  </a:lnTo>
                  <a:cubicBezTo>
                    <a:pt x="11952999" y="803757"/>
                    <a:pt x="11952999" y="803757"/>
                    <a:pt x="11954114" y="803757"/>
                  </a:cubicBezTo>
                  <a:lnTo>
                    <a:pt x="11961915" y="803757"/>
                  </a:lnTo>
                  <a:cubicBezTo>
                    <a:pt x="11961915" y="803757"/>
                    <a:pt x="11961915" y="803757"/>
                    <a:pt x="11961915" y="802885"/>
                  </a:cubicBezTo>
                  <a:lnTo>
                    <a:pt x="11961915" y="796783"/>
                  </a:lnTo>
                  <a:cubicBezTo>
                    <a:pt x="11961915" y="796783"/>
                    <a:pt x="11961915" y="796783"/>
                    <a:pt x="11960800" y="796783"/>
                  </a:cubicBezTo>
                  <a:lnTo>
                    <a:pt x="11952999" y="796783"/>
                  </a:lnTo>
                  <a:cubicBezTo>
                    <a:pt x="11952999" y="796783"/>
                    <a:pt x="11952999" y="796783"/>
                    <a:pt x="11952999" y="795621"/>
                  </a:cubicBezTo>
                  <a:lnTo>
                    <a:pt x="11952999" y="787484"/>
                  </a:lnTo>
                  <a:cubicBezTo>
                    <a:pt x="11952999" y="787484"/>
                    <a:pt x="11952999" y="787484"/>
                    <a:pt x="11954114" y="787484"/>
                  </a:cubicBezTo>
                  <a:lnTo>
                    <a:pt x="11961915" y="787484"/>
                  </a:lnTo>
                  <a:cubicBezTo>
                    <a:pt x="11961915" y="787484"/>
                    <a:pt x="11961915" y="787484"/>
                    <a:pt x="11960800" y="785741"/>
                  </a:cubicBezTo>
                  <a:lnTo>
                    <a:pt x="11952999" y="773537"/>
                  </a:lnTo>
                  <a:cubicBezTo>
                    <a:pt x="11952999" y="773537"/>
                    <a:pt x="11952999" y="773537"/>
                    <a:pt x="11952999" y="736342"/>
                  </a:cubicBezTo>
                  <a:cubicBezTo>
                    <a:pt x="11952999" y="736342"/>
                    <a:pt x="11952999" y="736342"/>
                    <a:pt x="12102343" y="736342"/>
                  </a:cubicBezTo>
                  <a:cubicBezTo>
                    <a:pt x="12102343" y="736342"/>
                    <a:pt x="12102343" y="736342"/>
                    <a:pt x="12115716" y="757264"/>
                  </a:cubicBezTo>
                  <a:cubicBezTo>
                    <a:pt x="12115716" y="757264"/>
                    <a:pt x="12115716" y="757264"/>
                    <a:pt x="12115716" y="803757"/>
                  </a:cubicBezTo>
                  <a:cubicBezTo>
                    <a:pt x="12115716" y="803757"/>
                    <a:pt x="12115716" y="803757"/>
                    <a:pt x="12114602" y="803757"/>
                  </a:cubicBezTo>
                  <a:lnTo>
                    <a:pt x="12106800" y="803757"/>
                  </a:lnTo>
                  <a:cubicBezTo>
                    <a:pt x="12106800" y="803757"/>
                    <a:pt x="12106800" y="803757"/>
                    <a:pt x="12106800" y="804919"/>
                  </a:cubicBezTo>
                  <a:lnTo>
                    <a:pt x="12106800" y="813056"/>
                  </a:lnTo>
                  <a:cubicBezTo>
                    <a:pt x="12106800" y="813056"/>
                    <a:pt x="12106800" y="813056"/>
                    <a:pt x="12107915" y="813056"/>
                  </a:cubicBezTo>
                  <a:lnTo>
                    <a:pt x="12115716" y="813056"/>
                  </a:lnTo>
                  <a:cubicBezTo>
                    <a:pt x="12115716" y="813056"/>
                    <a:pt x="12115716" y="813056"/>
                    <a:pt x="12115716" y="814218"/>
                  </a:cubicBezTo>
                  <a:lnTo>
                    <a:pt x="12115716" y="822354"/>
                  </a:lnTo>
                  <a:cubicBezTo>
                    <a:pt x="12115716" y="822354"/>
                    <a:pt x="12115716" y="822354"/>
                    <a:pt x="12114602" y="822354"/>
                  </a:cubicBezTo>
                  <a:lnTo>
                    <a:pt x="12106800" y="822354"/>
                  </a:lnTo>
                  <a:cubicBezTo>
                    <a:pt x="12106800" y="822354"/>
                    <a:pt x="12106800" y="822354"/>
                    <a:pt x="12106800" y="823516"/>
                  </a:cubicBezTo>
                  <a:lnTo>
                    <a:pt x="12106800" y="831653"/>
                  </a:lnTo>
                  <a:cubicBezTo>
                    <a:pt x="12106800" y="831653"/>
                    <a:pt x="12106800" y="831653"/>
                    <a:pt x="12107915" y="831653"/>
                  </a:cubicBezTo>
                  <a:lnTo>
                    <a:pt x="12115716" y="831653"/>
                  </a:lnTo>
                  <a:cubicBezTo>
                    <a:pt x="12115716" y="831653"/>
                    <a:pt x="12115716" y="831653"/>
                    <a:pt x="12115716" y="832525"/>
                  </a:cubicBezTo>
                  <a:lnTo>
                    <a:pt x="12115716" y="838627"/>
                  </a:lnTo>
                  <a:cubicBezTo>
                    <a:pt x="12115716" y="838627"/>
                    <a:pt x="12115716" y="838627"/>
                    <a:pt x="12114602" y="838627"/>
                  </a:cubicBezTo>
                  <a:lnTo>
                    <a:pt x="12106800" y="838627"/>
                  </a:lnTo>
                  <a:cubicBezTo>
                    <a:pt x="12106800" y="838627"/>
                    <a:pt x="12106800" y="838627"/>
                    <a:pt x="12106800" y="839789"/>
                  </a:cubicBezTo>
                  <a:lnTo>
                    <a:pt x="12106800" y="847925"/>
                  </a:lnTo>
                  <a:cubicBezTo>
                    <a:pt x="12106800" y="847925"/>
                    <a:pt x="12106800" y="847925"/>
                    <a:pt x="12107915" y="847925"/>
                  </a:cubicBezTo>
                  <a:lnTo>
                    <a:pt x="12115716" y="847925"/>
                  </a:lnTo>
                  <a:cubicBezTo>
                    <a:pt x="12115716" y="847925"/>
                    <a:pt x="12115716" y="847925"/>
                    <a:pt x="12115716" y="849088"/>
                  </a:cubicBezTo>
                  <a:lnTo>
                    <a:pt x="12115716" y="857224"/>
                  </a:lnTo>
                  <a:cubicBezTo>
                    <a:pt x="12115716" y="857224"/>
                    <a:pt x="12115716" y="857224"/>
                    <a:pt x="12114602" y="857224"/>
                  </a:cubicBezTo>
                  <a:lnTo>
                    <a:pt x="12106800" y="857224"/>
                  </a:lnTo>
                  <a:cubicBezTo>
                    <a:pt x="12106800" y="857224"/>
                    <a:pt x="12106800" y="857224"/>
                    <a:pt x="12106800" y="858386"/>
                  </a:cubicBezTo>
                  <a:lnTo>
                    <a:pt x="12106800" y="866523"/>
                  </a:lnTo>
                  <a:cubicBezTo>
                    <a:pt x="12106800" y="866523"/>
                    <a:pt x="12106800" y="866523"/>
                    <a:pt x="12107915" y="866523"/>
                  </a:cubicBezTo>
                  <a:lnTo>
                    <a:pt x="12115716" y="866523"/>
                  </a:lnTo>
                  <a:cubicBezTo>
                    <a:pt x="12115716" y="866523"/>
                    <a:pt x="12115716" y="866523"/>
                    <a:pt x="12115716" y="867394"/>
                  </a:cubicBezTo>
                  <a:lnTo>
                    <a:pt x="12115716" y="873496"/>
                  </a:lnTo>
                  <a:cubicBezTo>
                    <a:pt x="12115716" y="873496"/>
                    <a:pt x="12115716" y="873496"/>
                    <a:pt x="12114602" y="873496"/>
                  </a:cubicBezTo>
                  <a:lnTo>
                    <a:pt x="12106800" y="873496"/>
                  </a:lnTo>
                  <a:cubicBezTo>
                    <a:pt x="12106800" y="873496"/>
                    <a:pt x="12106800" y="873496"/>
                    <a:pt x="12106800" y="874659"/>
                  </a:cubicBezTo>
                  <a:lnTo>
                    <a:pt x="12106800" y="882795"/>
                  </a:lnTo>
                  <a:cubicBezTo>
                    <a:pt x="12106800" y="882795"/>
                    <a:pt x="12106800" y="882795"/>
                    <a:pt x="12107915" y="882795"/>
                  </a:cubicBezTo>
                  <a:lnTo>
                    <a:pt x="12115716" y="882795"/>
                  </a:lnTo>
                  <a:cubicBezTo>
                    <a:pt x="12115716" y="882795"/>
                    <a:pt x="12115716" y="882795"/>
                    <a:pt x="12115716" y="883957"/>
                  </a:cubicBezTo>
                  <a:lnTo>
                    <a:pt x="12115716" y="892094"/>
                  </a:lnTo>
                  <a:cubicBezTo>
                    <a:pt x="12115716" y="892094"/>
                    <a:pt x="12115716" y="892094"/>
                    <a:pt x="12114602" y="892094"/>
                  </a:cubicBezTo>
                  <a:lnTo>
                    <a:pt x="12106800" y="892094"/>
                  </a:lnTo>
                  <a:cubicBezTo>
                    <a:pt x="12106800" y="892094"/>
                    <a:pt x="12106800" y="892094"/>
                    <a:pt x="12106800" y="892965"/>
                  </a:cubicBezTo>
                  <a:lnTo>
                    <a:pt x="12106800" y="899068"/>
                  </a:lnTo>
                  <a:cubicBezTo>
                    <a:pt x="12106800" y="899068"/>
                    <a:pt x="12106800" y="899068"/>
                    <a:pt x="12107915" y="899068"/>
                  </a:cubicBezTo>
                  <a:lnTo>
                    <a:pt x="12115716" y="899068"/>
                  </a:lnTo>
                  <a:cubicBezTo>
                    <a:pt x="12115716" y="899068"/>
                    <a:pt x="12115716" y="899068"/>
                    <a:pt x="12115716" y="900230"/>
                  </a:cubicBezTo>
                  <a:lnTo>
                    <a:pt x="12115716" y="908366"/>
                  </a:lnTo>
                  <a:cubicBezTo>
                    <a:pt x="12115716" y="908366"/>
                    <a:pt x="12115716" y="908366"/>
                    <a:pt x="12114602" y="908366"/>
                  </a:cubicBezTo>
                  <a:lnTo>
                    <a:pt x="12106800" y="908366"/>
                  </a:lnTo>
                  <a:cubicBezTo>
                    <a:pt x="12106800" y="908366"/>
                    <a:pt x="12106800" y="908366"/>
                    <a:pt x="12106800" y="909528"/>
                  </a:cubicBezTo>
                  <a:lnTo>
                    <a:pt x="12106800" y="917665"/>
                  </a:lnTo>
                  <a:cubicBezTo>
                    <a:pt x="12106800" y="917665"/>
                    <a:pt x="12106800" y="917665"/>
                    <a:pt x="12107915" y="917665"/>
                  </a:cubicBezTo>
                  <a:lnTo>
                    <a:pt x="12115716" y="917665"/>
                  </a:lnTo>
                  <a:cubicBezTo>
                    <a:pt x="12115716" y="917665"/>
                    <a:pt x="12115716" y="917665"/>
                    <a:pt x="12115716" y="918827"/>
                  </a:cubicBezTo>
                  <a:lnTo>
                    <a:pt x="12115716" y="926963"/>
                  </a:lnTo>
                  <a:cubicBezTo>
                    <a:pt x="12115716" y="926963"/>
                    <a:pt x="12115716" y="926963"/>
                    <a:pt x="12114602" y="926963"/>
                  </a:cubicBezTo>
                  <a:lnTo>
                    <a:pt x="12106800" y="926963"/>
                  </a:lnTo>
                  <a:cubicBezTo>
                    <a:pt x="12106800" y="926963"/>
                    <a:pt x="12106800" y="926963"/>
                    <a:pt x="12106800" y="927835"/>
                  </a:cubicBezTo>
                  <a:lnTo>
                    <a:pt x="12106800" y="933937"/>
                  </a:lnTo>
                  <a:cubicBezTo>
                    <a:pt x="12106800" y="933937"/>
                    <a:pt x="12106800" y="933937"/>
                    <a:pt x="12107915" y="933937"/>
                  </a:cubicBezTo>
                  <a:lnTo>
                    <a:pt x="12115716" y="933937"/>
                  </a:lnTo>
                  <a:cubicBezTo>
                    <a:pt x="12115716" y="933937"/>
                    <a:pt x="12115716" y="933937"/>
                    <a:pt x="12115716" y="935100"/>
                  </a:cubicBezTo>
                  <a:lnTo>
                    <a:pt x="12115716" y="943236"/>
                  </a:lnTo>
                  <a:cubicBezTo>
                    <a:pt x="12115716" y="943236"/>
                    <a:pt x="12115716" y="943236"/>
                    <a:pt x="12114602" y="943236"/>
                  </a:cubicBezTo>
                  <a:lnTo>
                    <a:pt x="12106800" y="943236"/>
                  </a:lnTo>
                  <a:cubicBezTo>
                    <a:pt x="12106800" y="943236"/>
                    <a:pt x="12106800" y="943236"/>
                    <a:pt x="12106800" y="944398"/>
                  </a:cubicBezTo>
                  <a:lnTo>
                    <a:pt x="12106800" y="952535"/>
                  </a:lnTo>
                  <a:cubicBezTo>
                    <a:pt x="12106800" y="952535"/>
                    <a:pt x="12106800" y="952535"/>
                    <a:pt x="12107915" y="952535"/>
                  </a:cubicBezTo>
                  <a:lnTo>
                    <a:pt x="12115716" y="952535"/>
                  </a:lnTo>
                  <a:cubicBezTo>
                    <a:pt x="12115716" y="952535"/>
                    <a:pt x="12115716" y="952535"/>
                    <a:pt x="12115716" y="953406"/>
                  </a:cubicBezTo>
                  <a:lnTo>
                    <a:pt x="12115716" y="959508"/>
                  </a:lnTo>
                  <a:cubicBezTo>
                    <a:pt x="12115716" y="959508"/>
                    <a:pt x="12115716" y="959508"/>
                    <a:pt x="12114602" y="959508"/>
                  </a:cubicBezTo>
                  <a:lnTo>
                    <a:pt x="12106800" y="959508"/>
                  </a:lnTo>
                  <a:cubicBezTo>
                    <a:pt x="12106800" y="959508"/>
                    <a:pt x="12106800" y="959508"/>
                    <a:pt x="12106800" y="960671"/>
                  </a:cubicBezTo>
                  <a:lnTo>
                    <a:pt x="12106800" y="968807"/>
                  </a:lnTo>
                  <a:cubicBezTo>
                    <a:pt x="12106800" y="968807"/>
                    <a:pt x="12106800" y="968807"/>
                    <a:pt x="12107915" y="968807"/>
                  </a:cubicBezTo>
                  <a:lnTo>
                    <a:pt x="12115716" y="968807"/>
                  </a:lnTo>
                  <a:cubicBezTo>
                    <a:pt x="12115716" y="968807"/>
                    <a:pt x="12115716" y="968807"/>
                    <a:pt x="12115716" y="969969"/>
                  </a:cubicBezTo>
                  <a:lnTo>
                    <a:pt x="12115716" y="978106"/>
                  </a:lnTo>
                  <a:cubicBezTo>
                    <a:pt x="12115716" y="978106"/>
                    <a:pt x="12115716" y="978106"/>
                    <a:pt x="12114602" y="978106"/>
                  </a:cubicBezTo>
                  <a:lnTo>
                    <a:pt x="12106800" y="978106"/>
                  </a:lnTo>
                  <a:cubicBezTo>
                    <a:pt x="12106800" y="978106"/>
                    <a:pt x="12106800" y="978106"/>
                    <a:pt x="12106800" y="979268"/>
                  </a:cubicBezTo>
                  <a:lnTo>
                    <a:pt x="12106800" y="987404"/>
                  </a:lnTo>
                  <a:cubicBezTo>
                    <a:pt x="12106800" y="987404"/>
                    <a:pt x="12106800" y="987404"/>
                    <a:pt x="12107915" y="987404"/>
                  </a:cubicBezTo>
                  <a:lnTo>
                    <a:pt x="12115716" y="987404"/>
                  </a:lnTo>
                  <a:cubicBezTo>
                    <a:pt x="12115716" y="987404"/>
                    <a:pt x="12115716" y="987404"/>
                    <a:pt x="12115716" y="988276"/>
                  </a:cubicBezTo>
                  <a:lnTo>
                    <a:pt x="12115716" y="994378"/>
                  </a:lnTo>
                  <a:cubicBezTo>
                    <a:pt x="12115716" y="994378"/>
                    <a:pt x="12115716" y="994378"/>
                    <a:pt x="12114602" y="994378"/>
                  </a:cubicBezTo>
                  <a:lnTo>
                    <a:pt x="12106800" y="994378"/>
                  </a:lnTo>
                  <a:cubicBezTo>
                    <a:pt x="12106800" y="994378"/>
                    <a:pt x="12106800" y="994378"/>
                    <a:pt x="12106800" y="995540"/>
                  </a:cubicBezTo>
                  <a:lnTo>
                    <a:pt x="12106800" y="1003677"/>
                  </a:lnTo>
                  <a:cubicBezTo>
                    <a:pt x="12106800" y="1003677"/>
                    <a:pt x="12106800" y="1003677"/>
                    <a:pt x="12131319" y="1024599"/>
                  </a:cubicBezTo>
                  <a:cubicBezTo>
                    <a:pt x="12131319" y="1029248"/>
                    <a:pt x="12131319" y="1029248"/>
                    <a:pt x="12130206" y="1029248"/>
                  </a:cubicBezTo>
                  <a:lnTo>
                    <a:pt x="12122403" y="1029248"/>
                  </a:lnTo>
                  <a:cubicBezTo>
                    <a:pt x="12122403" y="1029248"/>
                    <a:pt x="12122403" y="1029248"/>
                    <a:pt x="12122403" y="1040036"/>
                  </a:cubicBezTo>
                  <a:lnTo>
                    <a:pt x="12122403" y="1046874"/>
                  </a:lnTo>
                  <a:lnTo>
                    <a:pt x="12131319" y="1046874"/>
                  </a:lnTo>
                  <a:lnTo>
                    <a:pt x="12131319" y="1043196"/>
                  </a:lnTo>
                  <a:cubicBezTo>
                    <a:pt x="12131319" y="1043196"/>
                    <a:pt x="12131319" y="1043196"/>
                    <a:pt x="12132434" y="1042615"/>
                  </a:cubicBezTo>
                  <a:lnTo>
                    <a:pt x="12140235" y="1038547"/>
                  </a:lnTo>
                  <a:cubicBezTo>
                    <a:pt x="12140235" y="1038547"/>
                    <a:pt x="12140235" y="1038547"/>
                    <a:pt x="12142186" y="1038547"/>
                  </a:cubicBezTo>
                  <a:lnTo>
                    <a:pt x="12155839" y="1038547"/>
                  </a:lnTo>
                  <a:cubicBezTo>
                    <a:pt x="12155839" y="1038547"/>
                    <a:pt x="12155839" y="1038547"/>
                    <a:pt x="12155839" y="1039709"/>
                  </a:cubicBezTo>
                  <a:lnTo>
                    <a:pt x="12155839" y="1046874"/>
                  </a:lnTo>
                  <a:lnTo>
                    <a:pt x="12192000" y="1046874"/>
                  </a:lnTo>
                  <a:lnTo>
                    <a:pt x="12192000" y="1070905"/>
                  </a:lnTo>
                  <a:lnTo>
                    <a:pt x="12192000" y="1121663"/>
                  </a:lnTo>
                  <a:lnTo>
                    <a:pt x="12192000" y="1608850"/>
                  </a:lnTo>
                  <a:lnTo>
                    <a:pt x="0" y="1608850"/>
                  </a:lnTo>
                  <a:lnTo>
                    <a:pt x="0" y="1046874"/>
                  </a:lnTo>
                  <a:lnTo>
                    <a:pt x="65773" y="1046874"/>
                  </a:lnTo>
                  <a:lnTo>
                    <a:pt x="82231" y="1045519"/>
                  </a:lnTo>
                  <a:cubicBezTo>
                    <a:pt x="82231" y="1033896"/>
                    <a:pt x="82231" y="1024598"/>
                    <a:pt x="82231" y="1012974"/>
                  </a:cubicBezTo>
                  <a:cubicBezTo>
                    <a:pt x="97834" y="1012974"/>
                    <a:pt x="113436" y="1012974"/>
                    <a:pt x="126811" y="1012974"/>
                  </a:cubicBezTo>
                  <a:cubicBezTo>
                    <a:pt x="126811" y="1006000"/>
                    <a:pt x="126811" y="1001351"/>
                    <a:pt x="126811" y="994377"/>
                  </a:cubicBezTo>
                  <a:cubicBezTo>
                    <a:pt x="158018" y="994377"/>
                    <a:pt x="189224" y="994377"/>
                    <a:pt x="220430" y="994377"/>
                  </a:cubicBezTo>
                  <a:cubicBezTo>
                    <a:pt x="220430" y="999026"/>
                    <a:pt x="220430" y="1001351"/>
                    <a:pt x="220430" y="1006000"/>
                  </a:cubicBezTo>
                  <a:cubicBezTo>
                    <a:pt x="240491" y="1006000"/>
                    <a:pt x="260552" y="1006000"/>
                    <a:pt x="280612" y="1006000"/>
                  </a:cubicBezTo>
                  <a:cubicBezTo>
                    <a:pt x="280612" y="1008325"/>
                    <a:pt x="280612" y="1010650"/>
                    <a:pt x="280612" y="1012974"/>
                  </a:cubicBezTo>
                  <a:cubicBezTo>
                    <a:pt x="285071" y="1012974"/>
                    <a:pt x="291758" y="1012974"/>
                    <a:pt x="298444" y="1012974"/>
                  </a:cubicBezTo>
                  <a:cubicBezTo>
                    <a:pt x="298444" y="1015299"/>
                    <a:pt x="298444" y="1017624"/>
                    <a:pt x="298444" y="1019948"/>
                  </a:cubicBezTo>
                  <a:cubicBezTo>
                    <a:pt x="302903" y="1019948"/>
                    <a:pt x="309590" y="1019948"/>
                    <a:pt x="314048" y="1019948"/>
                  </a:cubicBezTo>
                  <a:cubicBezTo>
                    <a:pt x="314048" y="985079"/>
                    <a:pt x="314048" y="950209"/>
                    <a:pt x="314048" y="915339"/>
                  </a:cubicBezTo>
                  <a:cubicBezTo>
                    <a:pt x="329651" y="910690"/>
                    <a:pt x="345255" y="906041"/>
                    <a:pt x="360858" y="901391"/>
                  </a:cubicBezTo>
                  <a:cubicBezTo>
                    <a:pt x="389835" y="901391"/>
                    <a:pt x="418812" y="901391"/>
                    <a:pt x="447789" y="901391"/>
                  </a:cubicBezTo>
                  <a:cubicBezTo>
                    <a:pt x="447789" y="845600"/>
                    <a:pt x="447789" y="789808"/>
                    <a:pt x="447789" y="734017"/>
                  </a:cubicBezTo>
                  <a:cubicBezTo>
                    <a:pt x="454476" y="729367"/>
                    <a:pt x="463392" y="727043"/>
                    <a:pt x="472308" y="722393"/>
                  </a:cubicBezTo>
                  <a:cubicBezTo>
                    <a:pt x="507972" y="717744"/>
                    <a:pt x="543636" y="710770"/>
                    <a:pt x="579301" y="703796"/>
                  </a:cubicBezTo>
                  <a:cubicBezTo>
                    <a:pt x="592675" y="708445"/>
                    <a:pt x="603820" y="713095"/>
                    <a:pt x="617194" y="715419"/>
                  </a:cubicBezTo>
                  <a:cubicBezTo>
                    <a:pt x="619423" y="717744"/>
                    <a:pt x="621652" y="720069"/>
                    <a:pt x="623881" y="722393"/>
                  </a:cubicBezTo>
                  <a:cubicBezTo>
                    <a:pt x="623881" y="827002"/>
                    <a:pt x="623881" y="931612"/>
                    <a:pt x="623881" y="1033896"/>
                  </a:cubicBezTo>
                  <a:cubicBezTo>
                    <a:pt x="628339" y="1033896"/>
                    <a:pt x="632796" y="1033896"/>
                    <a:pt x="639484" y="1033896"/>
                  </a:cubicBezTo>
                  <a:cubicBezTo>
                    <a:pt x="639484" y="992053"/>
                    <a:pt x="639484" y="950209"/>
                    <a:pt x="639484" y="908365"/>
                  </a:cubicBezTo>
                  <a:cubicBezTo>
                    <a:pt x="643942" y="908365"/>
                    <a:pt x="648400" y="908365"/>
                    <a:pt x="652858" y="908365"/>
                  </a:cubicBezTo>
                  <a:cubicBezTo>
                    <a:pt x="652858" y="903716"/>
                    <a:pt x="652858" y="901391"/>
                    <a:pt x="652858" y="896742"/>
                  </a:cubicBezTo>
                  <a:cubicBezTo>
                    <a:pt x="657316" y="894417"/>
                    <a:pt x="661774" y="892093"/>
                    <a:pt x="666232" y="889768"/>
                  </a:cubicBezTo>
                  <a:lnTo>
                    <a:pt x="677377" y="889768"/>
                  </a:lnTo>
                  <a:cubicBezTo>
                    <a:pt x="677377" y="885119"/>
                    <a:pt x="677377" y="882794"/>
                    <a:pt x="677377" y="878145"/>
                  </a:cubicBezTo>
                  <a:cubicBezTo>
                    <a:pt x="679606" y="875820"/>
                    <a:pt x="684064" y="873495"/>
                    <a:pt x="686293" y="871171"/>
                  </a:cubicBezTo>
                  <a:cubicBezTo>
                    <a:pt x="692981" y="871171"/>
                    <a:pt x="701896" y="871171"/>
                    <a:pt x="708584" y="871171"/>
                  </a:cubicBezTo>
                  <a:cubicBezTo>
                    <a:pt x="708584" y="882794"/>
                    <a:pt x="708584" y="896742"/>
                    <a:pt x="708584" y="908365"/>
                  </a:cubicBezTo>
                  <a:cubicBezTo>
                    <a:pt x="724187" y="908365"/>
                    <a:pt x="739790" y="908365"/>
                    <a:pt x="755393" y="908365"/>
                  </a:cubicBezTo>
                  <a:cubicBezTo>
                    <a:pt x="755393" y="952534"/>
                    <a:pt x="755393" y="994377"/>
                    <a:pt x="755393" y="1038546"/>
                  </a:cubicBezTo>
                  <a:cubicBezTo>
                    <a:pt x="762080" y="1038546"/>
                    <a:pt x="768767" y="1038546"/>
                    <a:pt x="773225" y="1038546"/>
                  </a:cubicBezTo>
                  <a:cubicBezTo>
                    <a:pt x="779912" y="1036221"/>
                    <a:pt x="784370" y="1033896"/>
                    <a:pt x="791057" y="1031572"/>
                  </a:cubicBezTo>
                  <a:cubicBezTo>
                    <a:pt x="791057" y="1026922"/>
                    <a:pt x="791057" y="1024598"/>
                    <a:pt x="791057" y="1022273"/>
                  </a:cubicBezTo>
                  <a:cubicBezTo>
                    <a:pt x="788828" y="1022273"/>
                    <a:pt x="786599" y="1019948"/>
                    <a:pt x="784370" y="1019948"/>
                  </a:cubicBezTo>
                  <a:cubicBezTo>
                    <a:pt x="784370" y="1017624"/>
                    <a:pt x="784370" y="1015299"/>
                    <a:pt x="784370" y="1012974"/>
                  </a:cubicBezTo>
                  <a:cubicBezTo>
                    <a:pt x="786599" y="1010650"/>
                    <a:pt x="788828" y="1010650"/>
                    <a:pt x="791057" y="1008325"/>
                  </a:cubicBezTo>
                  <a:cubicBezTo>
                    <a:pt x="791057" y="992053"/>
                    <a:pt x="791057" y="973455"/>
                    <a:pt x="791057" y="957183"/>
                  </a:cubicBezTo>
                  <a:cubicBezTo>
                    <a:pt x="788828" y="957183"/>
                    <a:pt x="786599" y="954858"/>
                    <a:pt x="784370" y="954858"/>
                  </a:cubicBezTo>
                  <a:cubicBezTo>
                    <a:pt x="784370" y="952534"/>
                    <a:pt x="784370" y="950209"/>
                    <a:pt x="784370" y="947884"/>
                  </a:cubicBezTo>
                  <a:cubicBezTo>
                    <a:pt x="786599" y="945560"/>
                    <a:pt x="788828" y="945560"/>
                    <a:pt x="791057" y="943235"/>
                  </a:cubicBezTo>
                  <a:lnTo>
                    <a:pt x="795515" y="938586"/>
                  </a:lnTo>
                  <a:lnTo>
                    <a:pt x="795515" y="929287"/>
                  </a:lnTo>
                  <a:cubicBezTo>
                    <a:pt x="793286" y="929287"/>
                    <a:pt x="793286" y="929287"/>
                    <a:pt x="791057" y="929287"/>
                  </a:cubicBezTo>
                  <a:cubicBezTo>
                    <a:pt x="791057" y="926962"/>
                    <a:pt x="791057" y="924638"/>
                    <a:pt x="791057" y="922313"/>
                  </a:cubicBezTo>
                  <a:cubicBezTo>
                    <a:pt x="793286" y="922313"/>
                    <a:pt x="795515" y="919988"/>
                    <a:pt x="797744" y="917664"/>
                  </a:cubicBezTo>
                  <a:cubicBezTo>
                    <a:pt x="799972" y="889768"/>
                    <a:pt x="806660" y="866522"/>
                    <a:pt x="833408" y="852574"/>
                  </a:cubicBezTo>
                  <a:cubicBezTo>
                    <a:pt x="831179" y="852574"/>
                    <a:pt x="831179" y="850249"/>
                    <a:pt x="828950" y="850249"/>
                  </a:cubicBezTo>
                  <a:cubicBezTo>
                    <a:pt x="828950" y="847924"/>
                    <a:pt x="828950" y="845600"/>
                    <a:pt x="828950" y="843275"/>
                  </a:cubicBezTo>
                  <a:cubicBezTo>
                    <a:pt x="831179" y="843275"/>
                    <a:pt x="833408" y="840950"/>
                    <a:pt x="835637" y="840950"/>
                  </a:cubicBezTo>
                  <a:cubicBezTo>
                    <a:pt x="835637" y="836301"/>
                    <a:pt x="835637" y="833976"/>
                    <a:pt x="835637" y="831652"/>
                  </a:cubicBezTo>
                  <a:cubicBezTo>
                    <a:pt x="837866" y="831652"/>
                    <a:pt x="837866" y="831652"/>
                    <a:pt x="840095" y="831652"/>
                  </a:cubicBezTo>
                  <a:cubicBezTo>
                    <a:pt x="840095" y="824678"/>
                    <a:pt x="840095" y="817704"/>
                    <a:pt x="840095" y="810730"/>
                  </a:cubicBezTo>
                  <a:cubicBezTo>
                    <a:pt x="837866" y="810730"/>
                    <a:pt x="837866" y="810730"/>
                    <a:pt x="835637" y="810730"/>
                  </a:cubicBezTo>
                  <a:cubicBezTo>
                    <a:pt x="835637" y="808405"/>
                    <a:pt x="835637" y="808405"/>
                    <a:pt x="835637" y="806081"/>
                  </a:cubicBezTo>
                  <a:lnTo>
                    <a:pt x="840095" y="803756"/>
                  </a:lnTo>
                  <a:cubicBezTo>
                    <a:pt x="844552" y="799107"/>
                    <a:pt x="846782" y="794457"/>
                    <a:pt x="851240" y="787483"/>
                  </a:cubicBezTo>
                  <a:cubicBezTo>
                    <a:pt x="853469" y="782834"/>
                    <a:pt x="853469" y="780510"/>
                    <a:pt x="853469" y="778185"/>
                  </a:cubicBezTo>
                  <a:cubicBezTo>
                    <a:pt x="849011" y="771211"/>
                    <a:pt x="849011" y="759588"/>
                    <a:pt x="853469" y="752614"/>
                  </a:cubicBezTo>
                  <a:cubicBezTo>
                    <a:pt x="853470" y="752611"/>
                    <a:pt x="853485" y="752565"/>
                    <a:pt x="853748" y="751742"/>
                  </a:cubicBezTo>
                  <a:lnTo>
                    <a:pt x="855698" y="745640"/>
                  </a:lnTo>
                  <a:cubicBezTo>
                    <a:pt x="855699" y="745643"/>
                    <a:pt x="855714" y="745689"/>
                    <a:pt x="855977" y="746512"/>
                  </a:cubicBezTo>
                  <a:lnTo>
                    <a:pt x="857927" y="752614"/>
                  </a:lnTo>
                  <a:cubicBezTo>
                    <a:pt x="862384" y="759588"/>
                    <a:pt x="864614" y="771211"/>
                    <a:pt x="860156" y="778185"/>
                  </a:cubicBezTo>
                  <a:cubicBezTo>
                    <a:pt x="860156" y="780510"/>
                    <a:pt x="860156" y="782834"/>
                    <a:pt x="860156" y="785159"/>
                  </a:cubicBezTo>
                  <a:cubicBezTo>
                    <a:pt x="864614" y="792133"/>
                    <a:pt x="869072" y="799107"/>
                    <a:pt x="871302" y="803756"/>
                  </a:cubicBezTo>
                  <a:cubicBezTo>
                    <a:pt x="873531" y="803756"/>
                    <a:pt x="873531" y="806081"/>
                    <a:pt x="875760" y="806081"/>
                  </a:cubicBezTo>
                  <a:cubicBezTo>
                    <a:pt x="875760" y="808405"/>
                    <a:pt x="875760" y="808405"/>
                    <a:pt x="875760" y="810730"/>
                  </a:cubicBezTo>
                  <a:cubicBezTo>
                    <a:pt x="873531" y="817704"/>
                    <a:pt x="873531" y="824678"/>
                    <a:pt x="873531" y="831652"/>
                  </a:cubicBezTo>
                  <a:cubicBezTo>
                    <a:pt x="877989" y="833976"/>
                    <a:pt x="877989" y="836301"/>
                    <a:pt x="877989" y="840950"/>
                  </a:cubicBezTo>
                  <a:lnTo>
                    <a:pt x="882447" y="843275"/>
                  </a:lnTo>
                  <a:cubicBezTo>
                    <a:pt x="882447" y="845600"/>
                    <a:pt x="882447" y="847924"/>
                    <a:pt x="882447" y="850249"/>
                  </a:cubicBezTo>
                  <a:cubicBezTo>
                    <a:pt x="880218" y="852574"/>
                    <a:pt x="880218" y="852574"/>
                    <a:pt x="877989" y="852574"/>
                  </a:cubicBezTo>
                  <a:cubicBezTo>
                    <a:pt x="891362" y="859548"/>
                    <a:pt x="899165" y="868846"/>
                    <a:pt x="904180" y="879888"/>
                  </a:cubicBezTo>
                  <a:lnTo>
                    <a:pt x="913070" y="915339"/>
                  </a:lnTo>
                  <a:lnTo>
                    <a:pt x="944859" y="915339"/>
                  </a:lnTo>
                  <a:lnTo>
                    <a:pt x="944859" y="886329"/>
                  </a:lnTo>
                  <a:lnTo>
                    <a:pt x="939475" y="886329"/>
                  </a:lnTo>
                  <a:cubicBezTo>
                    <a:pt x="939475" y="886306"/>
                    <a:pt x="939475" y="884414"/>
                    <a:pt x="939475" y="724196"/>
                  </a:cubicBezTo>
                  <a:cubicBezTo>
                    <a:pt x="939487" y="724196"/>
                    <a:pt x="939957" y="724196"/>
                    <a:pt x="959742" y="724196"/>
                  </a:cubicBezTo>
                  <a:cubicBezTo>
                    <a:pt x="959747" y="724190"/>
                    <a:pt x="959783" y="724108"/>
                    <a:pt x="960249" y="723115"/>
                  </a:cubicBezTo>
                  <a:lnTo>
                    <a:pt x="963795" y="715549"/>
                  </a:lnTo>
                  <a:cubicBezTo>
                    <a:pt x="963804" y="715550"/>
                    <a:pt x="963917" y="715568"/>
                    <a:pt x="965569" y="715819"/>
                  </a:cubicBezTo>
                  <a:lnTo>
                    <a:pt x="977982" y="717710"/>
                  </a:lnTo>
                  <a:cubicBezTo>
                    <a:pt x="977985" y="717720"/>
                    <a:pt x="978023" y="717821"/>
                    <a:pt x="978489" y="719062"/>
                  </a:cubicBezTo>
                  <a:lnTo>
                    <a:pt x="982035" y="728519"/>
                  </a:lnTo>
                  <a:cubicBezTo>
                    <a:pt x="982049" y="728520"/>
                    <a:pt x="982645" y="728570"/>
                    <a:pt x="1008382" y="730681"/>
                  </a:cubicBezTo>
                  <a:cubicBezTo>
                    <a:pt x="1008382" y="730661"/>
                    <a:pt x="1008382" y="729131"/>
                    <a:pt x="1008382" y="607460"/>
                  </a:cubicBezTo>
                  <a:cubicBezTo>
                    <a:pt x="1008391" y="607460"/>
                    <a:pt x="1008510" y="607460"/>
                    <a:pt x="1010409" y="607460"/>
                  </a:cubicBezTo>
                  <a:lnTo>
                    <a:pt x="1024597" y="607460"/>
                  </a:lnTo>
                  <a:cubicBezTo>
                    <a:pt x="1024597" y="607438"/>
                    <a:pt x="1024597" y="605724"/>
                    <a:pt x="1024597" y="471268"/>
                  </a:cubicBezTo>
                  <a:cubicBezTo>
                    <a:pt x="1024605" y="471268"/>
                    <a:pt x="1024712" y="471268"/>
                    <a:pt x="1026369" y="471268"/>
                  </a:cubicBezTo>
                  <a:lnTo>
                    <a:pt x="1038783" y="471268"/>
                  </a:lnTo>
                  <a:cubicBezTo>
                    <a:pt x="1038783" y="471251"/>
                    <a:pt x="1038783" y="469845"/>
                    <a:pt x="1038783" y="356694"/>
                  </a:cubicBezTo>
                  <a:cubicBezTo>
                    <a:pt x="1042837" y="354532"/>
                    <a:pt x="1042837" y="354532"/>
                    <a:pt x="1042837" y="328590"/>
                  </a:cubicBezTo>
                  <a:cubicBezTo>
                    <a:pt x="1042843" y="328590"/>
                    <a:pt x="1042963" y="328590"/>
                    <a:pt x="1044863" y="328590"/>
                  </a:cubicBezTo>
                  <a:lnTo>
                    <a:pt x="1059050" y="328590"/>
                  </a:lnTo>
                  <a:cubicBezTo>
                    <a:pt x="1059061" y="328567"/>
                    <a:pt x="1059667" y="327200"/>
                    <a:pt x="1095531" y="246443"/>
                  </a:cubicBezTo>
                  <a:cubicBezTo>
                    <a:pt x="1095531" y="246429"/>
                    <a:pt x="1095565" y="244478"/>
                    <a:pt x="10995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71B1C91-12C8-44EE-830D-F1FB142AC6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402" y="704676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87496621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14">
            <a:extLst>
              <a:ext uri="{FF2B5EF4-FFF2-40B4-BE49-F238E27FC236}">
                <a16:creationId xmlns:a16="http://schemas.microsoft.com/office/drawing/2014/main" id="{DE92AE71-849C-4C5D-8BC3-63D1AD20C264}"/>
              </a:ext>
            </a:extLst>
          </p:cNvPr>
          <p:cNvGrpSpPr/>
          <p:nvPr userDrawn="1"/>
        </p:nvGrpSpPr>
        <p:grpSpPr>
          <a:xfrm>
            <a:off x="720076" y="1536177"/>
            <a:ext cx="3862162" cy="3037656"/>
            <a:chOff x="2444748" y="555045"/>
            <a:chExt cx="7282048" cy="5727454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7D0E32D3-7FAD-40AF-9518-E72C3AEAC5FF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EBD8ABF-E4E6-471F-986A-C4EE494F7A1E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315278CF-71CB-4FE8-B7ED-DAAA45C6791D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7FAF83E-5E8E-4C78-A6BA-2CDBD8810123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6877B64-3C97-4D73-BE16-52CE9B257488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D987417-78D5-491C-8E6A-188C225E73DC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83DB0D5-7B53-40AF-92BC-8E5F127A3D0E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541791F-5F7F-4B16-86E2-320FDFF01FCD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2" name="Graphic 14">
            <a:extLst>
              <a:ext uri="{FF2B5EF4-FFF2-40B4-BE49-F238E27FC236}">
                <a16:creationId xmlns:a16="http://schemas.microsoft.com/office/drawing/2014/main" id="{CA01EEE8-1A00-420B-A9D7-046737460489}"/>
              </a:ext>
            </a:extLst>
          </p:cNvPr>
          <p:cNvGrpSpPr/>
          <p:nvPr userDrawn="1"/>
        </p:nvGrpSpPr>
        <p:grpSpPr>
          <a:xfrm>
            <a:off x="7624988" y="2977447"/>
            <a:ext cx="3862162" cy="3037656"/>
            <a:chOff x="2444748" y="555045"/>
            <a:chExt cx="7282048" cy="5727454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FF2C995-526A-4EB1-B4C9-1F6C1A508E4A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887F308-9F56-41C4-B2ED-E364B83EB337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77A3EDE-4590-40C5-888A-D3B474B740A7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30074FC-818E-4468-95AA-F42F7DC340D5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71E1870-4715-463E-8873-E96187341BD1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11437F7-9D98-4BE9-93CE-1A7DCF71FBFD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1022038-51F2-4CDE-95C2-5343CFB701F3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60F7F6F-3E37-44A1-86D4-35EFC13F5DA9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" name="그림 개체 틀 2">
            <a:extLst>
              <a:ext uri="{FF2B5EF4-FFF2-40B4-BE49-F238E27FC236}">
                <a16:creationId xmlns:a16="http://schemas.microsoft.com/office/drawing/2014/main" id="{A45798D9-CAFF-4DD7-AB24-0A8493ACDD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99554" y="1730073"/>
            <a:ext cx="3529615" cy="20027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21" name="그림 개체 틀 2">
            <a:extLst>
              <a:ext uri="{FF2B5EF4-FFF2-40B4-BE49-F238E27FC236}">
                <a16:creationId xmlns:a16="http://schemas.microsoft.com/office/drawing/2014/main" id="{6D1F2188-2B90-458D-B866-CF7EE47DCD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796362" y="3147364"/>
            <a:ext cx="3529615" cy="20027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CA4F7555-B08F-4024-B435-F4B03BF47F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23" name="Rectangle: Top Corners Rounded 22">
            <a:extLst>
              <a:ext uri="{FF2B5EF4-FFF2-40B4-BE49-F238E27FC236}">
                <a16:creationId xmlns:a16="http://schemas.microsoft.com/office/drawing/2014/main" id="{263284AA-C901-48FB-8B29-4C8F0687F5D8}"/>
              </a:ext>
            </a:extLst>
          </p:cNvPr>
          <p:cNvSpPr/>
          <p:nvPr userDrawn="1"/>
        </p:nvSpPr>
        <p:spPr>
          <a:xfrm rot="5400000">
            <a:off x="4877311" y="1608819"/>
            <a:ext cx="138403" cy="98930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8C3D689E-28EE-438B-A23D-92EC82A7FA53}"/>
              </a:ext>
            </a:extLst>
          </p:cNvPr>
          <p:cNvSpPr/>
          <p:nvPr userDrawn="1"/>
        </p:nvSpPr>
        <p:spPr>
          <a:xfrm rot="16200000" flipH="1">
            <a:off x="11665598" y="6098134"/>
            <a:ext cx="138403" cy="9144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C99B3A-24E5-4560-8124-DF3CBFC4979C}"/>
              </a:ext>
            </a:extLst>
          </p:cNvPr>
          <p:cNvSpPr txBox="1"/>
          <p:nvPr userDrawn="1"/>
        </p:nvSpPr>
        <p:spPr>
          <a:xfrm>
            <a:off x="9893028" y="6386058"/>
            <a:ext cx="138457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dist"/>
            <a:r>
              <a:rPr lang="en-US" altLang="ko-KR" sz="1600" b="1" dirty="0">
                <a:solidFill>
                  <a:schemeClr val="accent1"/>
                </a:solidFill>
                <a:latin typeface="+mn-lt"/>
                <a:cs typeface="Arial" pitchFamily="34" charset="0"/>
              </a:rPr>
              <a:t>Real Estate</a:t>
            </a:r>
            <a:endParaRPr lang="ko-KR" altLang="en-US" sz="1600" b="1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779743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6EA1BEB-CA23-4BDA-ABE4-1C3DD68D5A7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76669" y="924448"/>
            <a:ext cx="5298456" cy="5009104"/>
          </a:xfrm>
          <a:custGeom>
            <a:avLst/>
            <a:gdLst>
              <a:gd name="connsiteX0" fmla="*/ 383512 w 4232031"/>
              <a:gd name="connsiteY0" fmla="*/ 152400 h 4000919"/>
              <a:gd name="connsiteX1" fmla="*/ 4232031 w 4232031"/>
              <a:gd name="connsiteY1" fmla="*/ 152400 h 4000919"/>
              <a:gd name="connsiteX2" fmla="*/ 4232031 w 4232031"/>
              <a:gd name="connsiteY2" fmla="*/ 4000919 h 4000919"/>
              <a:gd name="connsiteX3" fmla="*/ 0 w 4232031"/>
              <a:gd name="connsiteY3" fmla="*/ 0 h 4000919"/>
              <a:gd name="connsiteX4" fmla="*/ 3848519 w 4232031"/>
              <a:gd name="connsiteY4" fmla="*/ 3848519 h 4000919"/>
              <a:gd name="connsiteX5" fmla="*/ 0 w 4232031"/>
              <a:gd name="connsiteY5" fmla="*/ 3848519 h 4000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2031" h="4000919">
                <a:moveTo>
                  <a:pt x="383512" y="152400"/>
                </a:moveTo>
                <a:lnTo>
                  <a:pt x="4232031" y="152400"/>
                </a:lnTo>
                <a:lnTo>
                  <a:pt x="4232031" y="4000919"/>
                </a:lnTo>
                <a:close/>
                <a:moveTo>
                  <a:pt x="0" y="0"/>
                </a:moveTo>
                <a:lnTo>
                  <a:pt x="3848519" y="3848519"/>
                </a:lnTo>
                <a:lnTo>
                  <a:pt x="0" y="384851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8126964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2C59715-0591-4B9D-8DF3-CA84D8FBF86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504010" cy="6858000"/>
          </a:xfrm>
          <a:custGeom>
            <a:avLst/>
            <a:gdLst>
              <a:gd name="connsiteX0" fmla="*/ 2612170 w 6504010"/>
              <a:gd name="connsiteY0" fmla="*/ 0 h 6858000"/>
              <a:gd name="connsiteX1" fmla="*/ 4486354 w 6504010"/>
              <a:gd name="connsiteY1" fmla="*/ 0 h 6858000"/>
              <a:gd name="connsiteX2" fmla="*/ 6504010 w 6504010"/>
              <a:gd name="connsiteY2" fmla="*/ 4666806 h 6858000"/>
              <a:gd name="connsiteX3" fmla="*/ 1435812 w 6504010"/>
              <a:gd name="connsiteY3" fmla="*/ 6858000 h 6858000"/>
              <a:gd name="connsiteX4" fmla="*/ 1101944 w 6504010"/>
              <a:gd name="connsiteY4" fmla="*/ 6858000 h 6858000"/>
              <a:gd name="connsiteX5" fmla="*/ 0 w 6504010"/>
              <a:gd name="connsiteY5" fmla="*/ 4309223 h 6858000"/>
              <a:gd name="connsiteX6" fmla="*/ 0 w 6504010"/>
              <a:gd name="connsiteY6" fmla="*/ 112935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04010" h="6858000">
                <a:moveTo>
                  <a:pt x="2612170" y="0"/>
                </a:moveTo>
                <a:lnTo>
                  <a:pt x="4486354" y="0"/>
                </a:lnTo>
                <a:lnTo>
                  <a:pt x="6504010" y="4666806"/>
                </a:lnTo>
                <a:lnTo>
                  <a:pt x="1435812" y="6858000"/>
                </a:lnTo>
                <a:lnTo>
                  <a:pt x="1101944" y="6858000"/>
                </a:lnTo>
                <a:lnTo>
                  <a:pt x="0" y="4309223"/>
                </a:lnTo>
                <a:lnTo>
                  <a:pt x="0" y="112935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1790741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ame 4">
            <a:extLst>
              <a:ext uri="{FF2B5EF4-FFF2-40B4-BE49-F238E27FC236}">
                <a16:creationId xmlns:a16="http://schemas.microsoft.com/office/drawing/2014/main" id="{68FC2D2C-E288-4655-B149-7FDC6019F189}"/>
              </a:ext>
            </a:extLst>
          </p:cNvPr>
          <p:cNvSpPr/>
          <p:nvPr userDrawn="1"/>
        </p:nvSpPr>
        <p:spPr>
          <a:xfrm>
            <a:off x="1065125" y="615462"/>
            <a:ext cx="10061750" cy="5627077"/>
          </a:xfrm>
          <a:prstGeom prst="frame">
            <a:avLst>
              <a:gd name="adj1" fmla="val 125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그림 개체 틀 2">
            <a:extLst>
              <a:ext uri="{FF2B5EF4-FFF2-40B4-BE49-F238E27FC236}">
                <a16:creationId xmlns:a16="http://schemas.microsoft.com/office/drawing/2014/main" id="{A45798D9-CAFF-4DD7-AB24-0A8493ACDD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25478" y="2672859"/>
            <a:ext cx="1768509" cy="25107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8C2D07FC-15C4-4C6A-986D-9F8AF75556D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783566" y="2672859"/>
            <a:ext cx="1768509" cy="25107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그림 개체 틀 2">
            <a:extLst>
              <a:ext uri="{FF2B5EF4-FFF2-40B4-BE49-F238E27FC236}">
                <a16:creationId xmlns:a16="http://schemas.microsoft.com/office/drawing/2014/main" id="{77E72DE7-6595-4BFA-8756-B9305A9898B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041654" y="2672860"/>
            <a:ext cx="1768509" cy="25107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6" name="그림 개체 틀 2">
            <a:extLst>
              <a:ext uri="{FF2B5EF4-FFF2-40B4-BE49-F238E27FC236}">
                <a16:creationId xmlns:a16="http://schemas.microsoft.com/office/drawing/2014/main" id="{F9074EBC-1F15-45F9-A91E-E5C4D64C818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67390" y="2672859"/>
            <a:ext cx="1768509" cy="25107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325CAF5-D11F-4EBB-976F-4EE501C8F940}"/>
              </a:ext>
            </a:extLst>
          </p:cNvPr>
          <p:cNvSpPr/>
          <p:nvPr userDrawn="1"/>
        </p:nvSpPr>
        <p:spPr>
          <a:xfrm>
            <a:off x="0" y="2672858"/>
            <a:ext cx="3064747" cy="25107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70107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id="{A45798D9-CAFF-4DD7-AB24-0A8493ACDD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266858" y="364253"/>
            <a:ext cx="6012983" cy="30647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5" name="그림 개체 틀 2">
            <a:extLst>
              <a:ext uri="{FF2B5EF4-FFF2-40B4-BE49-F238E27FC236}">
                <a16:creationId xmlns:a16="http://schemas.microsoft.com/office/drawing/2014/main" id="{550CE873-3157-4ACA-9DEF-A3898679AE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486787" y="364253"/>
            <a:ext cx="3172650" cy="60566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6" name="그림 개체 틀 2">
            <a:extLst>
              <a:ext uri="{FF2B5EF4-FFF2-40B4-BE49-F238E27FC236}">
                <a16:creationId xmlns:a16="http://schemas.microsoft.com/office/drawing/2014/main" id="{97EDFA1B-E40C-4818-BE93-5913C50D0E2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266858" y="3627455"/>
            <a:ext cx="2902063" cy="28662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7" name="그림 개체 틀 2">
            <a:extLst>
              <a:ext uri="{FF2B5EF4-FFF2-40B4-BE49-F238E27FC236}">
                <a16:creationId xmlns:a16="http://schemas.microsoft.com/office/drawing/2014/main" id="{A8A97DCE-D05A-4EB8-81BB-EFE1E828ADA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381193" y="3627455"/>
            <a:ext cx="2898648" cy="28662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5033791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Imag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이등변 삼각형 1">
            <a:extLst>
              <a:ext uri="{FF2B5EF4-FFF2-40B4-BE49-F238E27FC236}">
                <a16:creationId xmlns:a16="http://schemas.microsoft.com/office/drawing/2014/main" id="{6C6DFD09-A3A3-46CB-8362-51647524E6BD}"/>
              </a:ext>
            </a:extLst>
          </p:cNvPr>
          <p:cNvSpPr/>
          <p:nvPr userDrawn="1"/>
        </p:nvSpPr>
        <p:spPr>
          <a:xfrm rot="19800000">
            <a:off x="133561" y="236516"/>
            <a:ext cx="6117151" cy="5273405"/>
          </a:xfrm>
          <a:prstGeom prst="triangl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10" name="그림 개체 틀 9">
            <a:extLst>
              <a:ext uri="{FF2B5EF4-FFF2-40B4-BE49-F238E27FC236}">
                <a16:creationId xmlns:a16="http://schemas.microsoft.com/office/drawing/2014/main" id="{031131DF-CEA2-4960-A1A4-3F4DC774EDC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6964" y="420431"/>
            <a:ext cx="6699339" cy="5844144"/>
          </a:xfrm>
          <a:custGeom>
            <a:avLst/>
            <a:gdLst>
              <a:gd name="connsiteX0" fmla="*/ 6255989 w 6364927"/>
              <a:gd name="connsiteY0" fmla="*/ 5288703 h 5552421"/>
              <a:gd name="connsiteX1" fmla="*/ 6256633 w 6364927"/>
              <a:gd name="connsiteY1" fmla="*/ 5289197 h 5552421"/>
              <a:gd name="connsiteX2" fmla="*/ 6273669 w 6364927"/>
              <a:gd name="connsiteY2" fmla="*/ 5302275 h 5552421"/>
              <a:gd name="connsiteX3" fmla="*/ 6338341 w 6364927"/>
              <a:gd name="connsiteY3" fmla="*/ 5305638 h 5552421"/>
              <a:gd name="connsiteX4" fmla="*/ 6353495 w 6364927"/>
              <a:gd name="connsiteY4" fmla="*/ 5296297 h 5552421"/>
              <a:gd name="connsiteX5" fmla="*/ 6364927 w 6364927"/>
              <a:gd name="connsiteY5" fmla="*/ 5316029 h 5552421"/>
              <a:gd name="connsiteX6" fmla="*/ 6361174 w 6364927"/>
              <a:gd name="connsiteY6" fmla="*/ 5318389 h 5552421"/>
              <a:gd name="connsiteX7" fmla="*/ 6311999 w 6364927"/>
              <a:gd name="connsiteY7" fmla="*/ 5363376 h 5552421"/>
              <a:gd name="connsiteX8" fmla="*/ 6278329 w 6364927"/>
              <a:gd name="connsiteY8" fmla="*/ 5408157 h 5552421"/>
              <a:gd name="connsiteX9" fmla="*/ 6275149 w 6364927"/>
              <a:gd name="connsiteY9" fmla="*/ 5406491 h 5552421"/>
              <a:gd name="connsiteX10" fmla="*/ 6228626 w 6364927"/>
              <a:gd name="connsiteY10" fmla="*/ 5438500 h 5552421"/>
              <a:gd name="connsiteX11" fmla="*/ 6193338 w 6364927"/>
              <a:gd name="connsiteY11" fmla="*/ 5476400 h 5552421"/>
              <a:gd name="connsiteX12" fmla="*/ 6184516 w 6364927"/>
              <a:gd name="connsiteY12" fmla="*/ 5427640 h 5552421"/>
              <a:gd name="connsiteX13" fmla="*/ 6241860 w 6364927"/>
              <a:gd name="connsiteY13" fmla="*/ 5319261 h 5552421"/>
              <a:gd name="connsiteX14" fmla="*/ 6256196 w 6364927"/>
              <a:gd name="connsiteY14" fmla="*/ 5289451 h 5552421"/>
              <a:gd name="connsiteX15" fmla="*/ 2968165 w 6364927"/>
              <a:gd name="connsiteY15" fmla="*/ 245883 h 5552421"/>
              <a:gd name="connsiteX16" fmla="*/ 2986957 w 6364927"/>
              <a:gd name="connsiteY16" fmla="*/ 259205 h 5552421"/>
              <a:gd name="connsiteX17" fmla="*/ 3033442 w 6364927"/>
              <a:gd name="connsiteY17" fmla="*/ 283914 h 5552421"/>
              <a:gd name="connsiteX18" fmla="*/ 2956404 w 6364927"/>
              <a:gd name="connsiteY18" fmla="*/ 411016 h 5552421"/>
              <a:gd name="connsiteX19" fmla="*/ 3117671 w 6364927"/>
              <a:gd name="connsiteY19" fmla="*/ 343228 h 5552421"/>
              <a:gd name="connsiteX20" fmla="*/ 3210547 w 6364927"/>
              <a:gd name="connsiteY20" fmla="*/ 330280 h 5552421"/>
              <a:gd name="connsiteX21" fmla="*/ 3243292 w 6364927"/>
              <a:gd name="connsiteY21" fmla="*/ 397967 h 5552421"/>
              <a:gd name="connsiteX22" fmla="*/ 3193322 w 6364927"/>
              <a:gd name="connsiteY22" fmla="*/ 452344 h 5552421"/>
              <a:gd name="connsiteX23" fmla="*/ 3176728 w 6364927"/>
              <a:gd name="connsiteY23" fmla="*/ 467036 h 5552421"/>
              <a:gd name="connsiteX24" fmla="*/ 3081773 w 6364927"/>
              <a:gd name="connsiteY24" fmla="*/ 562716 h 5552421"/>
              <a:gd name="connsiteX25" fmla="*/ 3134961 w 6364927"/>
              <a:gd name="connsiteY25" fmla="*/ 644059 h 5552421"/>
              <a:gd name="connsiteX26" fmla="*/ 3233513 w 6364927"/>
              <a:gd name="connsiteY26" fmla="*/ 673688 h 5552421"/>
              <a:gd name="connsiteX27" fmla="*/ 3288282 w 6364927"/>
              <a:gd name="connsiteY27" fmla="*/ 724562 h 5552421"/>
              <a:gd name="connsiteX28" fmla="*/ 3337558 w 6364927"/>
              <a:gd name="connsiteY28" fmla="*/ 864218 h 5552421"/>
              <a:gd name="connsiteX29" fmla="*/ 3337370 w 6364927"/>
              <a:gd name="connsiteY29" fmla="*/ 874518 h 5552421"/>
              <a:gd name="connsiteX30" fmla="*/ 3344120 w 6364927"/>
              <a:gd name="connsiteY30" fmla="*/ 962335 h 5552421"/>
              <a:gd name="connsiteX31" fmla="*/ 3319577 w 6364927"/>
              <a:gd name="connsiteY31" fmla="*/ 1017294 h 5552421"/>
              <a:gd name="connsiteX32" fmla="*/ 3288347 w 6364927"/>
              <a:gd name="connsiteY32" fmla="*/ 1147458 h 5552421"/>
              <a:gd name="connsiteX33" fmla="*/ 3305699 w 6364927"/>
              <a:gd name="connsiteY33" fmla="*/ 1209780 h 5552421"/>
              <a:gd name="connsiteX34" fmla="*/ 3348793 w 6364927"/>
              <a:gd name="connsiteY34" fmla="*/ 1240909 h 5552421"/>
              <a:gd name="connsiteX35" fmla="*/ 3443497 w 6364927"/>
              <a:gd name="connsiteY35" fmla="*/ 1242190 h 5552421"/>
              <a:gd name="connsiteX36" fmla="*/ 3517378 w 6364927"/>
              <a:gd name="connsiteY36" fmla="*/ 1240227 h 5552421"/>
              <a:gd name="connsiteX37" fmla="*/ 3646343 w 6364927"/>
              <a:gd name="connsiteY37" fmla="*/ 1257363 h 5552421"/>
              <a:gd name="connsiteX38" fmla="*/ 3673411 w 6364927"/>
              <a:gd name="connsiteY38" fmla="*/ 1282474 h 5552421"/>
              <a:gd name="connsiteX39" fmla="*/ 3675051 w 6364927"/>
              <a:gd name="connsiteY39" fmla="*/ 1307003 h 5552421"/>
              <a:gd name="connsiteX40" fmla="*/ 3740667 w 6364927"/>
              <a:gd name="connsiteY40" fmla="*/ 1269055 h 5552421"/>
              <a:gd name="connsiteX41" fmla="*/ 3665336 w 6364927"/>
              <a:gd name="connsiteY41" fmla="*/ 1344214 h 5552421"/>
              <a:gd name="connsiteX42" fmla="*/ 3620350 w 6364927"/>
              <a:gd name="connsiteY42" fmla="*/ 1385517 h 5552421"/>
              <a:gd name="connsiteX43" fmla="*/ 3642434 w 6364927"/>
              <a:gd name="connsiteY43" fmla="*/ 1423702 h 5552421"/>
              <a:gd name="connsiteX44" fmla="*/ 3770892 w 6364927"/>
              <a:gd name="connsiteY44" fmla="*/ 1472724 h 5552421"/>
              <a:gd name="connsiteX45" fmla="*/ 3684074 w 6364927"/>
              <a:gd name="connsiteY45" fmla="*/ 1517837 h 5552421"/>
              <a:gd name="connsiteX46" fmla="*/ 3736569 w 6364927"/>
              <a:gd name="connsiteY46" fmla="*/ 1543530 h 5552421"/>
              <a:gd name="connsiteX47" fmla="*/ 3651203 w 6364927"/>
              <a:gd name="connsiteY47" fmla="*/ 1623473 h 5552421"/>
              <a:gd name="connsiteX48" fmla="*/ 3629816 w 6364927"/>
              <a:gd name="connsiteY48" fmla="*/ 1651128 h 5552421"/>
              <a:gd name="connsiteX49" fmla="*/ 3661868 w 6364927"/>
              <a:gd name="connsiteY49" fmla="*/ 1663165 h 5552421"/>
              <a:gd name="connsiteX50" fmla="*/ 3751776 w 6364927"/>
              <a:gd name="connsiteY50" fmla="*/ 1667219 h 5552421"/>
              <a:gd name="connsiteX51" fmla="*/ 3687612 w 6364927"/>
              <a:gd name="connsiteY51" fmla="*/ 1739996 h 5552421"/>
              <a:gd name="connsiteX52" fmla="*/ 3762629 w 6364927"/>
              <a:gd name="connsiteY52" fmla="*/ 1696612 h 5552421"/>
              <a:gd name="connsiteX53" fmla="*/ 3840927 w 6364927"/>
              <a:gd name="connsiteY53" fmla="*/ 1702285 h 5552421"/>
              <a:gd name="connsiteX54" fmla="*/ 3842380 w 6364927"/>
              <a:gd name="connsiteY54" fmla="*/ 1737114 h 5552421"/>
              <a:gd name="connsiteX55" fmla="*/ 3909639 w 6364927"/>
              <a:gd name="connsiteY55" fmla="*/ 1831721 h 5552421"/>
              <a:gd name="connsiteX56" fmla="*/ 3790897 w 6364927"/>
              <a:gd name="connsiteY56" fmla="*/ 1951348 h 5552421"/>
              <a:gd name="connsiteX57" fmla="*/ 3906107 w 6364927"/>
              <a:gd name="connsiteY57" fmla="*/ 1879624 h 5552421"/>
              <a:gd name="connsiteX58" fmla="*/ 4018349 w 6364927"/>
              <a:gd name="connsiteY58" fmla="*/ 1824902 h 5552421"/>
              <a:gd name="connsiteX59" fmla="*/ 4064218 w 6364927"/>
              <a:gd name="connsiteY59" fmla="*/ 1839139 h 5552421"/>
              <a:gd name="connsiteX60" fmla="*/ 4033239 w 6364927"/>
              <a:gd name="connsiteY60" fmla="*/ 1872342 h 5552421"/>
              <a:gd name="connsiteX61" fmla="*/ 3911028 w 6364927"/>
              <a:gd name="connsiteY61" fmla="*/ 1953211 h 5552421"/>
              <a:gd name="connsiteX62" fmla="*/ 4052546 w 6364927"/>
              <a:gd name="connsiteY62" fmla="*/ 1927419 h 5552421"/>
              <a:gd name="connsiteX63" fmla="*/ 4093811 w 6364927"/>
              <a:gd name="connsiteY63" fmla="*/ 1944319 h 5552421"/>
              <a:gd name="connsiteX64" fmla="*/ 4069456 w 6364927"/>
              <a:gd name="connsiteY64" fmla="*/ 1988976 h 5552421"/>
              <a:gd name="connsiteX65" fmla="*/ 4032420 w 6364927"/>
              <a:gd name="connsiteY65" fmla="*/ 1990014 h 5552421"/>
              <a:gd name="connsiteX66" fmla="*/ 4004597 w 6364927"/>
              <a:gd name="connsiteY66" fmla="*/ 1995914 h 5552421"/>
              <a:gd name="connsiteX67" fmla="*/ 3875381 w 6364927"/>
              <a:gd name="connsiteY67" fmla="*/ 2075738 h 5552421"/>
              <a:gd name="connsiteX68" fmla="*/ 3879798 w 6364927"/>
              <a:gd name="connsiteY68" fmla="*/ 2083375 h 5552421"/>
              <a:gd name="connsiteX69" fmla="*/ 3904845 w 6364927"/>
              <a:gd name="connsiteY69" fmla="*/ 2094368 h 5552421"/>
              <a:gd name="connsiteX70" fmla="*/ 4068638 w 6364927"/>
              <a:gd name="connsiteY70" fmla="*/ 2106649 h 5552421"/>
              <a:gd name="connsiteX71" fmla="*/ 4112675 w 6364927"/>
              <a:gd name="connsiteY71" fmla="*/ 2096467 h 5552421"/>
              <a:gd name="connsiteX72" fmla="*/ 4070278 w 6364927"/>
              <a:gd name="connsiteY72" fmla="*/ 2131178 h 5552421"/>
              <a:gd name="connsiteX73" fmla="*/ 4041887 w 6364927"/>
              <a:gd name="connsiteY73" fmla="*/ 2157789 h 5552421"/>
              <a:gd name="connsiteX74" fmla="*/ 4079365 w 6364927"/>
              <a:gd name="connsiteY74" fmla="*/ 2157515 h 5552421"/>
              <a:gd name="connsiteX75" fmla="*/ 4186622 w 6364927"/>
              <a:gd name="connsiteY75" fmla="*/ 2115868 h 5552421"/>
              <a:gd name="connsiteX76" fmla="*/ 4265300 w 6364927"/>
              <a:gd name="connsiteY76" fmla="*/ 2111130 h 5552421"/>
              <a:gd name="connsiteX77" fmla="*/ 4224164 w 6364927"/>
              <a:gd name="connsiteY77" fmla="*/ 2180781 h 5552421"/>
              <a:gd name="connsiteX78" fmla="*/ 4219367 w 6364927"/>
              <a:gd name="connsiteY78" fmla="*/ 2183555 h 5552421"/>
              <a:gd name="connsiteX79" fmla="*/ 4269654 w 6364927"/>
              <a:gd name="connsiteY79" fmla="*/ 2205428 h 5552421"/>
              <a:gd name="connsiteX80" fmla="*/ 4323981 w 6364927"/>
              <a:gd name="connsiteY80" fmla="*/ 2255539 h 5552421"/>
              <a:gd name="connsiteX81" fmla="*/ 4348837 w 6364927"/>
              <a:gd name="connsiteY81" fmla="*/ 2266642 h 5552421"/>
              <a:gd name="connsiteX82" fmla="*/ 4322466 w 6364927"/>
              <a:gd name="connsiteY82" fmla="*/ 2307371 h 5552421"/>
              <a:gd name="connsiteX83" fmla="*/ 4198046 w 6364927"/>
              <a:gd name="connsiteY83" fmla="*/ 2384422 h 5552421"/>
              <a:gd name="connsiteX84" fmla="*/ 4296787 w 6364927"/>
              <a:gd name="connsiteY84" fmla="*/ 2403751 h 5552421"/>
              <a:gd name="connsiteX85" fmla="*/ 4348397 w 6364927"/>
              <a:gd name="connsiteY85" fmla="*/ 2373903 h 5552421"/>
              <a:gd name="connsiteX86" fmla="*/ 4335276 w 6364927"/>
              <a:gd name="connsiteY86" fmla="*/ 2437543 h 5552421"/>
              <a:gd name="connsiteX87" fmla="*/ 4338365 w 6364927"/>
              <a:gd name="connsiteY87" fmla="*/ 2486712 h 5552421"/>
              <a:gd name="connsiteX88" fmla="*/ 4316285 w 6364927"/>
              <a:gd name="connsiteY88" fmla="*/ 2556552 h 5552421"/>
              <a:gd name="connsiteX89" fmla="*/ 4240888 w 6364927"/>
              <a:gd name="connsiteY89" fmla="*/ 2610348 h 5552421"/>
              <a:gd name="connsiteX90" fmla="*/ 4427203 w 6364927"/>
              <a:gd name="connsiteY90" fmla="*/ 2553552 h 5552421"/>
              <a:gd name="connsiteX91" fmla="*/ 4235652 w 6364927"/>
              <a:gd name="connsiteY91" fmla="*/ 2720383 h 5552421"/>
              <a:gd name="connsiteX92" fmla="*/ 4279690 w 6364927"/>
              <a:gd name="connsiteY92" fmla="*/ 2710202 h 5552421"/>
              <a:gd name="connsiteX93" fmla="*/ 4367076 w 6364927"/>
              <a:gd name="connsiteY93" fmla="*/ 2644377 h 5552421"/>
              <a:gd name="connsiteX94" fmla="*/ 4442978 w 6364927"/>
              <a:gd name="connsiteY94" fmla="*/ 2656531 h 5552421"/>
              <a:gd name="connsiteX95" fmla="*/ 4486072 w 6364927"/>
              <a:gd name="connsiteY95" fmla="*/ 2687661 h 5552421"/>
              <a:gd name="connsiteX96" fmla="*/ 4601407 w 6364927"/>
              <a:gd name="connsiteY96" fmla="*/ 2692297 h 5552421"/>
              <a:gd name="connsiteX97" fmla="*/ 4593078 w 6364927"/>
              <a:gd name="connsiteY97" fmla="*/ 2742974 h 5552421"/>
              <a:gd name="connsiteX98" fmla="*/ 4656110 w 6364927"/>
              <a:gd name="connsiteY98" fmla="*/ 2721807 h 5552421"/>
              <a:gd name="connsiteX99" fmla="*/ 4765007 w 6364927"/>
              <a:gd name="connsiteY99" fmla="*/ 2704689 h 5552421"/>
              <a:gd name="connsiteX100" fmla="*/ 4722358 w 6364927"/>
              <a:gd name="connsiteY100" fmla="*/ 2782348 h 5552421"/>
              <a:gd name="connsiteX101" fmla="*/ 4734472 w 6364927"/>
              <a:gd name="connsiteY101" fmla="*/ 2846680 h 5552421"/>
              <a:gd name="connsiteX102" fmla="*/ 4642861 w 6364927"/>
              <a:gd name="connsiteY102" fmla="*/ 2904758 h 5552421"/>
              <a:gd name="connsiteX103" fmla="*/ 4895489 w 6364927"/>
              <a:gd name="connsiteY103" fmla="*/ 2875854 h 5552421"/>
              <a:gd name="connsiteX104" fmla="*/ 4870946 w 6364927"/>
              <a:gd name="connsiteY104" fmla="*/ 2930812 h 5552421"/>
              <a:gd name="connsiteX105" fmla="*/ 4945776 w 6364927"/>
              <a:gd name="connsiteY105" fmla="*/ 2889685 h 5552421"/>
              <a:gd name="connsiteX106" fmla="*/ 4957035 w 6364927"/>
              <a:gd name="connsiteY106" fmla="*/ 2885934 h 5552421"/>
              <a:gd name="connsiteX107" fmla="*/ 4964182 w 6364927"/>
              <a:gd name="connsiteY107" fmla="*/ 2898270 h 5552421"/>
              <a:gd name="connsiteX108" fmla="*/ 4907974 w 6364927"/>
              <a:gd name="connsiteY108" fmla="*/ 2974446 h 5552421"/>
              <a:gd name="connsiteX109" fmla="*/ 4668984 w 6364927"/>
              <a:gd name="connsiteY109" fmla="*/ 3220863 h 5552421"/>
              <a:gd name="connsiteX110" fmla="*/ 4879147 w 6364927"/>
              <a:gd name="connsiteY110" fmla="*/ 3151294 h 5552421"/>
              <a:gd name="connsiteX111" fmla="*/ 4780915 w 6364927"/>
              <a:gd name="connsiteY111" fmla="*/ 3208104 h 5552421"/>
              <a:gd name="connsiteX112" fmla="*/ 4702550 w 6364927"/>
              <a:gd name="connsiteY112" fmla="*/ 3278903 h 5552421"/>
              <a:gd name="connsiteX113" fmla="*/ 4794858 w 6364927"/>
              <a:gd name="connsiteY113" fmla="*/ 3286666 h 5552421"/>
              <a:gd name="connsiteX114" fmla="*/ 4897827 w 6364927"/>
              <a:gd name="connsiteY114" fmla="*/ 3323931 h 5552421"/>
              <a:gd name="connsiteX115" fmla="*/ 4935244 w 6364927"/>
              <a:gd name="connsiteY115" fmla="*/ 3312484 h 5552421"/>
              <a:gd name="connsiteX116" fmla="*/ 5037705 w 6364927"/>
              <a:gd name="connsiteY116" fmla="*/ 3273610 h 5552421"/>
              <a:gd name="connsiteX117" fmla="*/ 4984959 w 6364927"/>
              <a:gd name="connsiteY117" fmla="*/ 3344879 h 5552421"/>
              <a:gd name="connsiteX118" fmla="*/ 5010891 w 6364927"/>
              <a:gd name="connsiteY118" fmla="*/ 3411411 h 5552421"/>
              <a:gd name="connsiteX119" fmla="*/ 5110896 w 6364927"/>
              <a:gd name="connsiteY119" fmla="*/ 3475869 h 5552421"/>
              <a:gd name="connsiteX120" fmla="*/ 5224781 w 6364927"/>
              <a:gd name="connsiteY120" fmla="*/ 3553701 h 5552421"/>
              <a:gd name="connsiteX121" fmla="*/ 5245412 w 6364927"/>
              <a:gd name="connsiteY121" fmla="*/ 3557057 h 5552421"/>
              <a:gd name="connsiteX122" fmla="*/ 5240051 w 6364927"/>
              <a:gd name="connsiteY122" fmla="*/ 3590730 h 5552421"/>
              <a:gd name="connsiteX123" fmla="*/ 5244468 w 6364927"/>
              <a:gd name="connsiteY123" fmla="*/ 3598367 h 5552421"/>
              <a:gd name="connsiteX124" fmla="*/ 5258285 w 6364927"/>
              <a:gd name="connsiteY124" fmla="*/ 3600567 h 5552421"/>
              <a:gd name="connsiteX125" fmla="*/ 5260494 w 6364927"/>
              <a:gd name="connsiteY125" fmla="*/ 3604385 h 5552421"/>
              <a:gd name="connsiteX126" fmla="*/ 5130898 w 6364927"/>
              <a:gd name="connsiteY126" fmla="*/ 3694621 h 5552421"/>
              <a:gd name="connsiteX127" fmla="*/ 5164591 w 6364927"/>
              <a:gd name="connsiteY127" fmla="*/ 3731187 h 5552421"/>
              <a:gd name="connsiteX128" fmla="*/ 5202892 w 6364927"/>
              <a:gd name="connsiteY128" fmla="*/ 3775279 h 5552421"/>
              <a:gd name="connsiteX129" fmla="*/ 5301253 w 6364927"/>
              <a:gd name="connsiteY129" fmla="*/ 3805019 h 5552421"/>
              <a:gd name="connsiteX130" fmla="*/ 5305670 w 6364927"/>
              <a:gd name="connsiteY130" fmla="*/ 3812656 h 5552421"/>
              <a:gd name="connsiteX131" fmla="*/ 5311159 w 6364927"/>
              <a:gd name="connsiteY131" fmla="*/ 3865533 h 5552421"/>
              <a:gd name="connsiteX132" fmla="*/ 5308444 w 6364927"/>
              <a:gd name="connsiteY132" fmla="*/ 3893599 h 5552421"/>
              <a:gd name="connsiteX133" fmla="*/ 5303589 w 6364927"/>
              <a:gd name="connsiteY133" fmla="*/ 3993223 h 5552421"/>
              <a:gd name="connsiteX134" fmla="*/ 5422835 w 6364927"/>
              <a:gd name="connsiteY134" fmla="*/ 3939547 h 5552421"/>
              <a:gd name="connsiteX135" fmla="*/ 5391605 w 6364927"/>
              <a:gd name="connsiteY135" fmla="*/ 4069711 h 5552421"/>
              <a:gd name="connsiteX136" fmla="*/ 5354509 w 6364927"/>
              <a:gd name="connsiteY136" fmla="*/ 4167598 h 5552421"/>
              <a:gd name="connsiteX137" fmla="*/ 5333118 w 6364927"/>
              <a:gd name="connsiteY137" fmla="*/ 4185064 h 5552421"/>
              <a:gd name="connsiteX138" fmla="*/ 5259930 w 6364927"/>
              <a:gd name="connsiteY138" fmla="*/ 4242678 h 5552421"/>
              <a:gd name="connsiteX139" fmla="*/ 5217533 w 6364927"/>
              <a:gd name="connsiteY139" fmla="*/ 4277389 h 5552421"/>
              <a:gd name="connsiteX140" fmla="*/ 5224850 w 6364927"/>
              <a:gd name="connsiteY140" fmla="*/ 4344495 h 5552421"/>
              <a:gd name="connsiteX141" fmla="*/ 5422967 w 6364927"/>
              <a:gd name="connsiteY141" fmla="*/ 4285970 h 5552421"/>
              <a:gd name="connsiteX142" fmla="*/ 5472621 w 6364927"/>
              <a:gd name="connsiteY142" fmla="*/ 4361203 h 5552421"/>
              <a:gd name="connsiteX143" fmla="*/ 5544486 w 6364927"/>
              <a:gd name="connsiteY143" fmla="*/ 4355310 h 5552421"/>
              <a:gd name="connsiteX144" fmla="*/ 5585939 w 6364927"/>
              <a:gd name="connsiteY144" fmla="*/ 4361910 h 5552421"/>
              <a:gd name="connsiteX145" fmla="*/ 5568778 w 6364927"/>
              <a:gd name="connsiteY145" fmla="*/ 4397313 h 5552421"/>
              <a:gd name="connsiteX146" fmla="*/ 5456849 w 6364927"/>
              <a:gd name="connsiteY146" fmla="*/ 4518096 h 5552421"/>
              <a:gd name="connsiteX147" fmla="*/ 5750484 w 6364927"/>
              <a:gd name="connsiteY147" fmla="*/ 4332992 h 5552421"/>
              <a:gd name="connsiteX148" fmla="*/ 5751181 w 6364927"/>
              <a:gd name="connsiteY148" fmla="*/ 4398831 h 5552421"/>
              <a:gd name="connsiteX149" fmla="*/ 5669284 w 6364927"/>
              <a:gd name="connsiteY149" fmla="*/ 4517533 h 5552421"/>
              <a:gd name="connsiteX150" fmla="*/ 5742221 w 6364927"/>
              <a:gd name="connsiteY150" fmla="*/ 4556880 h 5552421"/>
              <a:gd name="connsiteX151" fmla="*/ 5790744 w 6364927"/>
              <a:gd name="connsiteY151" fmla="*/ 4835572 h 5552421"/>
              <a:gd name="connsiteX152" fmla="*/ 5850432 w 6364927"/>
              <a:gd name="connsiteY152" fmla="*/ 4852009 h 5552421"/>
              <a:gd name="connsiteX153" fmla="*/ 5949235 w 6364927"/>
              <a:gd name="connsiteY153" fmla="*/ 4784676 h 5552421"/>
              <a:gd name="connsiteX154" fmla="*/ 5856113 w 6364927"/>
              <a:gd name="connsiteY154" fmla="*/ 4904775 h 5552421"/>
              <a:gd name="connsiteX155" fmla="*/ 5979396 w 6364927"/>
              <a:gd name="connsiteY155" fmla="*/ 4869145 h 5552421"/>
              <a:gd name="connsiteX156" fmla="*/ 5894030 w 6364927"/>
              <a:gd name="connsiteY156" fmla="*/ 4949088 h 5552421"/>
              <a:gd name="connsiteX157" fmla="*/ 5989176 w 6364927"/>
              <a:gd name="connsiteY157" fmla="*/ 4951133 h 5552421"/>
              <a:gd name="connsiteX158" fmla="*/ 5953404 w 6364927"/>
              <a:gd name="connsiteY158" fmla="*/ 4997299 h 5552421"/>
              <a:gd name="connsiteX159" fmla="*/ 5924949 w 6364927"/>
              <a:gd name="connsiteY159" fmla="*/ 5110571 h 5552421"/>
              <a:gd name="connsiteX160" fmla="*/ 6012332 w 6364927"/>
              <a:gd name="connsiteY160" fmla="*/ 5034558 h 5552421"/>
              <a:gd name="connsiteX161" fmla="*/ 6102619 w 6364927"/>
              <a:gd name="connsiteY161" fmla="*/ 5028202 h 5552421"/>
              <a:gd name="connsiteX162" fmla="*/ 6113661 w 6364927"/>
              <a:gd name="connsiteY162" fmla="*/ 5047294 h 5552421"/>
              <a:gd name="connsiteX163" fmla="*/ 6113030 w 6364927"/>
              <a:gd name="connsiteY163" fmla="*/ 5154666 h 5552421"/>
              <a:gd name="connsiteX164" fmla="*/ 6163821 w 6364927"/>
              <a:gd name="connsiteY164" fmla="*/ 5242490 h 5552421"/>
              <a:gd name="connsiteX165" fmla="*/ 6171695 w 6364927"/>
              <a:gd name="connsiteY165" fmla="*/ 5272825 h 5552421"/>
              <a:gd name="connsiteX166" fmla="*/ 6171960 w 6364927"/>
              <a:gd name="connsiteY166" fmla="*/ 5272847 h 5552421"/>
              <a:gd name="connsiteX167" fmla="*/ 6160393 w 6364927"/>
              <a:gd name="connsiteY167" fmla="*/ 5281399 h 5552421"/>
              <a:gd name="connsiteX168" fmla="*/ 6144817 w 6364927"/>
              <a:gd name="connsiteY168" fmla="*/ 5319261 h 5552421"/>
              <a:gd name="connsiteX169" fmla="*/ 6077770 w 6364927"/>
              <a:gd name="connsiteY169" fmla="*/ 5167441 h 5552421"/>
              <a:gd name="connsiteX170" fmla="*/ 6055714 w 6364927"/>
              <a:gd name="connsiteY170" fmla="*/ 5308401 h 5552421"/>
              <a:gd name="connsiteX171" fmla="*/ 6011604 w 6364927"/>
              <a:gd name="connsiteY171" fmla="*/ 5405920 h 5552421"/>
              <a:gd name="connsiteX172" fmla="*/ 6007193 w 6364927"/>
              <a:gd name="connsiteY172" fmla="*/ 5411239 h 5552421"/>
              <a:gd name="connsiteX173" fmla="*/ 6007193 w 6364927"/>
              <a:gd name="connsiteY173" fmla="*/ 5400601 h 5552421"/>
              <a:gd name="connsiteX174" fmla="*/ 5923384 w 6364927"/>
              <a:gd name="connsiteY174" fmla="*/ 5340981 h 5552421"/>
              <a:gd name="connsiteX175" fmla="*/ 5918972 w 6364927"/>
              <a:gd name="connsiteY175" fmla="*/ 5232602 h 5552421"/>
              <a:gd name="connsiteX176" fmla="*/ 5905740 w 6364927"/>
              <a:gd name="connsiteY176" fmla="*/ 5205341 h 5552421"/>
              <a:gd name="connsiteX177" fmla="*/ 5879273 w 6364927"/>
              <a:gd name="connsiteY177" fmla="*/ 5183842 h 5552421"/>
              <a:gd name="connsiteX178" fmla="*/ 5782230 w 6364927"/>
              <a:gd name="connsiteY178" fmla="*/ 5183842 h 5552421"/>
              <a:gd name="connsiteX179" fmla="*/ 5694010 w 6364927"/>
              <a:gd name="connsiteY179" fmla="*/ 5237921 h 5552421"/>
              <a:gd name="connsiteX180" fmla="*/ 5591674 w 6364927"/>
              <a:gd name="connsiteY180" fmla="*/ 5281361 h 5552421"/>
              <a:gd name="connsiteX181" fmla="*/ 5547564 w 6364927"/>
              <a:gd name="connsiteY181" fmla="*/ 5221742 h 5552421"/>
              <a:gd name="connsiteX182" fmla="*/ 5560797 w 6364927"/>
              <a:gd name="connsiteY182" fmla="*/ 5248781 h 5552421"/>
              <a:gd name="connsiteX183" fmla="*/ 5556386 w 6364927"/>
              <a:gd name="connsiteY183" fmla="*/ 5303082 h 5552421"/>
              <a:gd name="connsiteX184" fmla="*/ 5521098 w 6364927"/>
              <a:gd name="connsiteY184" fmla="*/ 5275821 h 5552421"/>
              <a:gd name="connsiteX185" fmla="*/ 5494632 w 6364927"/>
              <a:gd name="connsiteY185" fmla="*/ 5216422 h 5552421"/>
              <a:gd name="connsiteX186" fmla="*/ 5450521 w 6364927"/>
              <a:gd name="connsiteY186" fmla="*/ 5243240 h 5552421"/>
              <a:gd name="connsiteX187" fmla="*/ 5349068 w 6364927"/>
              <a:gd name="connsiteY187" fmla="*/ 5118682 h 5552421"/>
              <a:gd name="connsiteX188" fmla="*/ 5322601 w 6364927"/>
              <a:gd name="connsiteY188" fmla="*/ 5113141 h 5552421"/>
              <a:gd name="connsiteX189" fmla="*/ 5296135 w 6364927"/>
              <a:gd name="connsiteY189" fmla="*/ 5096961 h 5552421"/>
              <a:gd name="connsiteX190" fmla="*/ 5184977 w 6364927"/>
              <a:gd name="connsiteY190" fmla="*/ 5026482 h 5552421"/>
              <a:gd name="connsiteX191" fmla="*/ 5154100 w 6364927"/>
              <a:gd name="connsiteY191" fmla="*/ 5037342 h 5552421"/>
              <a:gd name="connsiteX192" fmla="*/ 5109990 w 6364927"/>
              <a:gd name="connsiteY192" fmla="*/ 5107822 h 5552421"/>
              <a:gd name="connsiteX193" fmla="*/ 5070290 w 6364927"/>
              <a:gd name="connsiteY193" fmla="*/ 5178301 h 5552421"/>
              <a:gd name="connsiteX194" fmla="*/ 5017358 w 6364927"/>
              <a:gd name="connsiteY194" fmla="*/ 5194481 h 5552421"/>
              <a:gd name="connsiteX195" fmla="*/ 4937960 w 6364927"/>
              <a:gd name="connsiteY195" fmla="*/ 5205341 h 5552421"/>
              <a:gd name="connsiteX196" fmla="*/ 4933548 w 6364927"/>
              <a:gd name="connsiteY196" fmla="*/ 5346522 h 5552421"/>
              <a:gd name="connsiteX197" fmla="*/ 4866501 w 6364927"/>
              <a:gd name="connsiteY197" fmla="*/ 5243240 h 5552421"/>
              <a:gd name="connsiteX198" fmla="*/ 4901789 w 6364927"/>
              <a:gd name="connsiteY198" fmla="*/ 5232602 h 5552421"/>
              <a:gd name="connsiteX199" fmla="*/ 4901789 w 6364927"/>
              <a:gd name="connsiteY199" fmla="*/ 5129542 h 5552421"/>
              <a:gd name="connsiteX200" fmla="*/ 4875323 w 6364927"/>
              <a:gd name="connsiteY200" fmla="*/ 5113141 h 5552421"/>
              <a:gd name="connsiteX201" fmla="*/ 4844446 w 6364927"/>
              <a:gd name="connsiteY201" fmla="*/ 5156581 h 5552421"/>
              <a:gd name="connsiteX202" fmla="*/ 4830330 w 6364927"/>
              <a:gd name="connsiteY202" fmla="*/ 5194481 h 5552421"/>
              <a:gd name="connsiteX203" fmla="*/ 4737698 w 6364927"/>
              <a:gd name="connsiteY203" fmla="*/ 5275821 h 5552421"/>
              <a:gd name="connsiteX204" fmla="*/ 4750932 w 6364927"/>
              <a:gd name="connsiteY204" fmla="*/ 5086101 h 5552421"/>
              <a:gd name="connsiteX205" fmla="*/ 4702410 w 6364927"/>
              <a:gd name="connsiteY205" fmla="*/ 5140402 h 5552421"/>
              <a:gd name="connsiteX206" fmla="*/ 4675944 w 6364927"/>
              <a:gd name="connsiteY206" fmla="*/ 5026482 h 5552421"/>
              <a:gd name="connsiteX207" fmla="*/ 4636245 w 6364927"/>
              <a:gd name="connsiteY207" fmla="*/ 5010302 h 5552421"/>
              <a:gd name="connsiteX208" fmla="*/ 4614190 w 6364927"/>
              <a:gd name="connsiteY208" fmla="*/ 5048202 h 5552421"/>
              <a:gd name="connsiteX209" fmla="*/ 4548024 w 6364927"/>
              <a:gd name="connsiteY209" fmla="*/ 5048202 h 5552421"/>
              <a:gd name="connsiteX210" fmla="*/ 4512736 w 6364927"/>
              <a:gd name="connsiteY210" fmla="*/ 5151262 h 5552421"/>
              <a:gd name="connsiteX211" fmla="*/ 4450982 w 6364927"/>
              <a:gd name="connsiteY211" fmla="*/ 5107822 h 5552421"/>
              <a:gd name="connsiteX212" fmla="*/ 4388345 w 6364927"/>
              <a:gd name="connsiteY212" fmla="*/ 5113141 h 5552421"/>
              <a:gd name="connsiteX213" fmla="*/ 4361879 w 6364927"/>
              <a:gd name="connsiteY213" fmla="*/ 5151262 h 5552421"/>
              <a:gd name="connsiteX214" fmla="*/ 4322180 w 6364927"/>
              <a:gd name="connsiteY214" fmla="*/ 4983041 h 5552421"/>
              <a:gd name="connsiteX215" fmla="*/ 4282480 w 6364927"/>
              <a:gd name="connsiteY215" fmla="*/ 5281361 h 5552421"/>
              <a:gd name="connsiteX216" fmla="*/ 4269248 w 6364927"/>
              <a:gd name="connsiteY216" fmla="*/ 5183842 h 5552421"/>
              <a:gd name="connsiteX217" fmla="*/ 4269248 w 6364927"/>
              <a:gd name="connsiteY217" fmla="*/ 5086101 h 5552421"/>
              <a:gd name="connsiteX218" fmla="*/ 4203082 w 6364927"/>
              <a:gd name="connsiteY218" fmla="*/ 5221742 h 5552421"/>
              <a:gd name="connsiteX219" fmla="*/ 4172204 w 6364927"/>
              <a:gd name="connsiteY219" fmla="*/ 5237921 h 5552421"/>
              <a:gd name="connsiteX220" fmla="*/ 4145738 w 6364927"/>
              <a:gd name="connsiteY220" fmla="*/ 5205341 h 5552421"/>
              <a:gd name="connsiteX221" fmla="*/ 4163382 w 6364927"/>
              <a:gd name="connsiteY221" fmla="*/ 5178301 h 5552421"/>
              <a:gd name="connsiteX222" fmla="*/ 4172204 w 6364927"/>
              <a:gd name="connsiteY222" fmla="*/ 5145721 h 5552421"/>
              <a:gd name="connsiteX223" fmla="*/ 4172204 w 6364927"/>
              <a:gd name="connsiteY223" fmla="*/ 4999221 h 5552421"/>
              <a:gd name="connsiteX224" fmla="*/ 4167794 w 6364927"/>
              <a:gd name="connsiteY224" fmla="*/ 4993901 h 5552421"/>
              <a:gd name="connsiteX225" fmla="*/ 4141328 w 6364927"/>
              <a:gd name="connsiteY225" fmla="*/ 5010302 h 5552421"/>
              <a:gd name="connsiteX226" fmla="*/ 4044285 w 6364927"/>
              <a:gd name="connsiteY226" fmla="*/ 5161900 h 5552421"/>
              <a:gd name="connsiteX227" fmla="*/ 4035463 w 6364927"/>
              <a:gd name="connsiteY227" fmla="*/ 5178301 h 5552421"/>
              <a:gd name="connsiteX228" fmla="*/ 4008997 w 6364927"/>
              <a:gd name="connsiteY228" fmla="*/ 5080560 h 5552421"/>
              <a:gd name="connsiteX229" fmla="*/ 3977237 w 6364927"/>
              <a:gd name="connsiteY229" fmla="*/ 5232602 h 5552421"/>
              <a:gd name="connsiteX230" fmla="*/ 3941949 w 6364927"/>
              <a:gd name="connsiteY230" fmla="*/ 5319261 h 5552421"/>
              <a:gd name="connsiteX231" fmla="*/ 3906661 w 6364927"/>
              <a:gd name="connsiteY231" fmla="*/ 5232602 h 5552421"/>
              <a:gd name="connsiteX232" fmla="*/ 3897839 w 6364927"/>
              <a:gd name="connsiteY232" fmla="*/ 5227061 h 5552421"/>
              <a:gd name="connsiteX233" fmla="*/ 3866962 w 6364927"/>
              <a:gd name="connsiteY233" fmla="*/ 5286681 h 5552421"/>
              <a:gd name="connsiteX234" fmla="*/ 3853729 w 6364927"/>
              <a:gd name="connsiteY234" fmla="*/ 5237921 h 5552421"/>
              <a:gd name="connsiteX235" fmla="*/ 3787563 w 6364927"/>
              <a:gd name="connsiteY235" fmla="*/ 5303082 h 5552421"/>
              <a:gd name="connsiteX236" fmla="*/ 3739042 w 6364927"/>
              <a:gd name="connsiteY236" fmla="*/ 5319261 h 5552421"/>
              <a:gd name="connsiteX237" fmla="*/ 3730220 w 6364927"/>
              <a:gd name="connsiteY237" fmla="*/ 5389741 h 5552421"/>
              <a:gd name="connsiteX238" fmla="*/ 3734631 w 6364927"/>
              <a:gd name="connsiteY238" fmla="*/ 5286681 h 5552421"/>
              <a:gd name="connsiteX239" fmla="*/ 3739042 w 6364927"/>
              <a:gd name="connsiteY239" fmla="*/ 5129542 h 5552421"/>
              <a:gd name="connsiteX240" fmla="*/ 3593478 w 6364927"/>
              <a:gd name="connsiteY240" fmla="*/ 5216422 h 5552421"/>
              <a:gd name="connsiteX241" fmla="*/ 3535252 w 6364927"/>
              <a:gd name="connsiteY241" fmla="*/ 5161900 h 5552421"/>
              <a:gd name="connsiteX242" fmla="*/ 3526430 w 6364927"/>
              <a:gd name="connsiteY242" fmla="*/ 5053743 h 5552421"/>
              <a:gd name="connsiteX243" fmla="*/ 3477909 w 6364927"/>
              <a:gd name="connsiteY243" fmla="*/ 5232602 h 5552421"/>
              <a:gd name="connsiteX244" fmla="*/ 3442621 w 6364927"/>
              <a:gd name="connsiteY244" fmla="*/ 5113141 h 5552421"/>
              <a:gd name="connsiteX245" fmla="*/ 3429388 w 6364927"/>
              <a:gd name="connsiteY245" fmla="*/ 4993901 h 5552421"/>
              <a:gd name="connsiteX246" fmla="*/ 3416155 w 6364927"/>
              <a:gd name="connsiteY246" fmla="*/ 5042661 h 5552421"/>
              <a:gd name="connsiteX247" fmla="*/ 3429388 w 6364927"/>
              <a:gd name="connsiteY247" fmla="*/ 5140402 h 5552421"/>
              <a:gd name="connsiteX248" fmla="*/ 3376455 w 6364927"/>
              <a:gd name="connsiteY248" fmla="*/ 5200022 h 5552421"/>
              <a:gd name="connsiteX249" fmla="*/ 3341167 w 6364927"/>
              <a:gd name="connsiteY249" fmla="*/ 5216422 h 5552421"/>
              <a:gd name="connsiteX250" fmla="*/ 3301468 w 6364927"/>
              <a:gd name="connsiteY250" fmla="*/ 5275821 h 5552421"/>
              <a:gd name="connsiteX251" fmla="*/ 3257357 w 6364927"/>
              <a:gd name="connsiteY251" fmla="*/ 5297762 h 5552421"/>
              <a:gd name="connsiteX252" fmla="*/ 3222069 w 6364927"/>
              <a:gd name="connsiteY252" fmla="*/ 5324580 h 5552421"/>
              <a:gd name="connsiteX253" fmla="*/ 3208836 w 6364927"/>
              <a:gd name="connsiteY253" fmla="*/ 5433181 h 5552421"/>
              <a:gd name="connsiteX254" fmla="*/ 3182370 w 6364927"/>
              <a:gd name="connsiteY254" fmla="*/ 5471081 h 5552421"/>
              <a:gd name="connsiteX255" fmla="*/ 3155904 w 6364927"/>
              <a:gd name="connsiteY255" fmla="*/ 5438500 h 5552421"/>
              <a:gd name="connsiteX256" fmla="*/ 3136495 w 6364927"/>
              <a:gd name="connsiteY256" fmla="*/ 5384421 h 5552421"/>
              <a:gd name="connsiteX257" fmla="*/ 3070330 w 6364927"/>
              <a:gd name="connsiteY257" fmla="*/ 5373340 h 5552421"/>
              <a:gd name="connsiteX258" fmla="*/ 3070330 w 6364927"/>
              <a:gd name="connsiteY258" fmla="*/ 5248781 h 5552421"/>
              <a:gd name="connsiteX259" fmla="*/ 2968876 w 6364927"/>
              <a:gd name="connsiteY259" fmla="*/ 5503439 h 5552421"/>
              <a:gd name="connsiteX260" fmla="*/ 2929177 w 6364927"/>
              <a:gd name="connsiteY260" fmla="*/ 5449360 h 5552421"/>
              <a:gd name="connsiteX261" fmla="*/ 2924766 w 6364927"/>
              <a:gd name="connsiteY261" fmla="*/ 5552421 h 5552421"/>
              <a:gd name="connsiteX262" fmla="*/ 2854189 w 6364927"/>
              <a:gd name="connsiteY262" fmla="*/ 5395060 h 5552421"/>
              <a:gd name="connsiteX263" fmla="*/ 2849778 w 6364927"/>
              <a:gd name="connsiteY263" fmla="*/ 5378659 h 5552421"/>
              <a:gd name="connsiteX264" fmla="*/ 2796846 w 6364927"/>
              <a:gd name="connsiteY264" fmla="*/ 5151262 h 5552421"/>
              <a:gd name="connsiteX265" fmla="*/ 2770380 w 6364927"/>
              <a:gd name="connsiteY265" fmla="*/ 5118682 h 5552421"/>
              <a:gd name="connsiteX266" fmla="*/ 2743913 w 6364927"/>
              <a:gd name="connsiteY266" fmla="*/ 5324580 h 5552421"/>
              <a:gd name="connsiteX267" fmla="*/ 2739502 w 6364927"/>
              <a:gd name="connsiteY267" fmla="*/ 5205341 h 5552421"/>
              <a:gd name="connsiteX268" fmla="*/ 2712154 w 6364927"/>
              <a:gd name="connsiteY268" fmla="*/ 5096961 h 5552421"/>
              <a:gd name="connsiteX269" fmla="*/ 2645989 w 6364927"/>
              <a:gd name="connsiteY269" fmla="*/ 5216422 h 5552421"/>
              <a:gd name="connsiteX270" fmla="*/ 2615111 w 6364927"/>
              <a:gd name="connsiteY270" fmla="*/ 5254100 h 5552421"/>
              <a:gd name="connsiteX271" fmla="*/ 2566590 w 6364927"/>
              <a:gd name="connsiteY271" fmla="*/ 5340981 h 5552421"/>
              <a:gd name="connsiteX272" fmla="*/ 2557768 w 6364927"/>
              <a:gd name="connsiteY272" fmla="*/ 5389741 h 5552421"/>
              <a:gd name="connsiteX273" fmla="*/ 2513658 w 6364927"/>
              <a:gd name="connsiteY273" fmla="*/ 5330121 h 5552421"/>
              <a:gd name="connsiteX274" fmla="*/ 2425437 w 6364927"/>
              <a:gd name="connsiteY274" fmla="*/ 5324580 h 5552421"/>
              <a:gd name="connsiteX275" fmla="*/ 2372505 w 6364927"/>
              <a:gd name="connsiteY275" fmla="*/ 5378659 h 5552421"/>
              <a:gd name="connsiteX276" fmla="*/ 2301046 w 6364927"/>
              <a:gd name="connsiteY276" fmla="*/ 5378659 h 5552421"/>
              <a:gd name="connsiteX277" fmla="*/ 2248114 w 6364927"/>
              <a:gd name="connsiteY277" fmla="*/ 5373340 h 5552421"/>
              <a:gd name="connsiteX278" fmla="*/ 2181948 w 6364927"/>
              <a:gd name="connsiteY278" fmla="*/ 5449360 h 5552421"/>
              <a:gd name="connsiteX279" fmla="*/ 2181948 w 6364927"/>
              <a:gd name="connsiteY279" fmla="*/ 5378659 h 5552421"/>
              <a:gd name="connsiteX280" fmla="*/ 2155482 w 6364927"/>
              <a:gd name="connsiteY280" fmla="*/ 5438500 h 5552421"/>
              <a:gd name="connsiteX281" fmla="*/ 2142249 w 6364927"/>
              <a:gd name="connsiteY281" fmla="*/ 5335440 h 5552421"/>
              <a:gd name="connsiteX282" fmla="*/ 2067262 w 6364927"/>
              <a:gd name="connsiteY282" fmla="*/ 5303082 h 5552421"/>
              <a:gd name="connsiteX283" fmla="*/ 1987863 w 6364927"/>
              <a:gd name="connsiteY283" fmla="*/ 5384421 h 5552421"/>
              <a:gd name="connsiteX284" fmla="*/ 1801718 w 6364927"/>
              <a:gd name="connsiteY284" fmla="*/ 5319261 h 5552421"/>
              <a:gd name="connsiteX285" fmla="*/ 1792896 w 6364927"/>
              <a:gd name="connsiteY285" fmla="*/ 5395060 h 5552421"/>
              <a:gd name="connsiteX286" fmla="*/ 1744374 w 6364927"/>
              <a:gd name="connsiteY286" fmla="*/ 5303082 h 5552421"/>
              <a:gd name="connsiteX287" fmla="*/ 1748785 w 6364927"/>
              <a:gd name="connsiteY287" fmla="*/ 5161900 h 5552421"/>
              <a:gd name="connsiteX288" fmla="*/ 1731141 w 6364927"/>
              <a:gd name="connsiteY288" fmla="*/ 5156581 h 5552421"/>
              <a:gd name="connsiteX289" fmla="*/ 1704675 w 6364927"/>
              <a:gd name="connsiteY289" fmla="*/ 5303082 h 5552421"/>
              <a:gd name="connsiteX290" fmla="*/ 1589988 w 6364927"/>
              <a:gd name="connsiteY290" fmla="*/ 5243240 h 5552421"/>
              <a:gd name="connsiteX291" fmla="*/ 1616454 w 6364927"/>
              <a:gd name="connsiteY291" fmla="*/ 5135083 h 5552421"/>
              <a:gd name="connsiteX292" fmla="*/ 1532645 w 6364927"/>
              <a:gd name="connsiteY292" fmla="*/ 5086101 h 5552421"/>
              <a:gd name="connsiteX293" fmla="*/ 1497357 w 6364927"/>
              <a:gd name="connsiteY293" fmla="*/ 5237921 h 5552421"/>
              <a:gd name="connsiteX294" fmla="*/ 1386199 w 6364927"/>
              <a:gd name="connsiteY294" fmla="*/ 5292000 h 5552421"/>
              <a:gd name="connsiteX295" fmla="*/ 1358850 w 6364927"/>
              <a:gd name="connsiteY295" fmla="*/ 5368021 h 5552421"/>
              <a:gd name="connsiteX296" fmla="*/ 1314740 w 6364927"/>
              <a:gd name="connsiteY296" fmla="*/ 5373340 h 5552421"/>
              <a:gd name="connsiteX297" fmla="*/ 1266219 w 6364927"/>
              <a:gd name="connsiteY297" fmla="*/ 5227061 h 5552421"/>
              <a:gd name="connsiteX298" fmla="*/ 1275041 w 6364927"/>
              <a:gd name="connsiteY298" fmla="*/ 5492579 h 5552421"/>
              <a:gd name="connsiteX299" fmla="*/ 1213286 w 6364927"/>
              <a:gd name="connsiteY299" fmla="*/ 5438500 h 5552421"/>
              <a:gd name="connsiteX300" fmla="*/ 1164765 w 6364927"/>
              <a:gd name="connsiteY300" fmla="*/ 5389741 h 5552421"/>
              <a:gd name="connsiteX301" fmla="*/ 1120655 w 6364927"/>
              <a:gd name="connsiteY301" fmla="*/ 5384421 h 5552421"/>
              <a:gd name="connsiteX302" fmla="*/ 841878 w 6364927"/>
              <a:gd name="connsiteY302" fmla="*/ 5292000 h 5552421"/>
              <a:gd name="connsiteX303" fmla="*/ 780123 w 6364927"/>
              <a:gd name="connsiteY303" fmla="*/ 5357160 h 5552421"/>
              <a:gd name="connsiteX304" fmla="*/ 784534 w 6364927"/>
              <a:gd name="connsiteY304" fmla="*/ 5416780 h 5552421"/>
              <a:gd name="connsiteX305" fmla="*/ 771301 w 6364927"/>
              <a:gd name="connsiteY305" fmla="*/ 5454680 h 5552421"/>
              <a:gd name="connsiteX306" fmla="*/ 736013 w 6364927"/>
              <a:gd name="connsiteY306" fmla="*/ 5422321 h 5552421"/>
              <a:gd name="connsiteX307" fmla="*/ 731602 w 6364927"/>
              <a:gd name="connsiteY307" fmla="*/ 5357160 h 5552421"/>
              <a:gd name="connsiteX308" fmla="*/ 713958 w 6364927"/>
              <a:gd name="connsiteY308" fmla="*/ 5357160 h 5552421"/>
              <a:gd name="connsiteX309" fmla="*/ 687492 w 6364927"/>
              <a:gd name="connsiteY309" fmla="*/ 5416780 h 5552421"/>
              <a:gd name="connsiteX310" fmla="*/ 674259 w 6364927"/>
              <a:gd name="connsiteY310" fmla="*/ 5330121 h 5552421"/>
              <a:gd name="connsiteX311" fmla="*/ 669847 w 6364927"/>
              <a:gd name="connsiteY311" fmla="*/ 5330121 h 5552421"/>
              <a:gd name="connsiteX312" fmla="*/ 665436 w 6364927"/>
              <a:gd name="connsiteY312" fmla="*/ 5330121 h 5552421"/>
              <a:gd name="connsiteX313" fmla="*/ 652203 w 6364927"/>
              <a:gd name="connsiteY313" fmla="*/ 5373340 h 5552421"/>
              <a:gd name="connsiteX314" fmla="*/ 624855 w 6364927"/>
              <a:gd name="connsiteY314" fmla="*/ 5395060 h 5552421"/>
              <a:gd name="connsiteX315" fmla="*/ 602800 w 6364927"/>
              <a:gd name="connsiteY315" fmla="*/ 5362480 h 5552421"/>
              <a:gd name="connsiteX316" fmla="*/ 514579 w 6364927"/>
              <a:gd name="connsiteY316" fmla="*/ 5259641 h 5552421"/>
              <a:gd name="connsiteX317" fmla="*/ 479291 w 6364927"/>
              <a:gd name="connsiteY317" fmla="*/ 5481941 h 5552421"/>
              <a:gd name="connsiteX318" fmla="*/ 267562 w 6364927"/>
              <a:gd name="connsiteY318" fmla="*/ 5411239 h 5552421"/>
              <a:gd name="connsiteX319" fmla="*/ 227862 w 6364927"/>
              <a:gd name="connsiteY319" fmla="*/ 5465761 h 5552421"/>
              <a:gd name="connsiteX320" fmla="*/ 187281 w 6364927"/>
              <a:gd name="connsiteY320" fmla="*/ 5492579 h 5552421"/>
              <a:gd name="connsiteX321" fmla="*/ 99060 w 6364927"/>
              <a:gd name="connsiteY321" fmla="*/ 5487260 h 5552421"/>
              <a:gd name="connsiteX322" fmla="*/ 15251 w 6364927"/>
              <a:gd name="connsiteY322" fmla="*/ 5340981 h 5552421"/>
              <a:gd name="connsiteX323" fmla="*/ 11278 w 6364927"/>
              <a:gd name="connsiteY323" fmla="*/ 5346268 h 5552421"/>
              <a:gd name="connsiteX324" fmla="*/ 524 w 6364927"/>
              <a:gd name="connsiteY324" fmla="*/ 5307700 h 5552421"/>
              <a:gd name="connsiteX325" fmla="*/ 15484 w 6364927"/>
              <a:gd name="connsiteY325" fmla="*/ 5255311 h 5552421"/>
              <a:gd name="connsiteX326" fmla="*/ 32691 w 6364927"/>
              <a:gd name="connsiteY326" fmla="*/ 5145477 h 5552421"/>
              <a:gd name="connsiteX327" fmla="*/ 106617 w 6364927"/>
              <a:gd name="connsiteY327" fmla="*/ 5139539 h 5552421"/>
              <a:gd name="connsiteX328" fmla="*/ 76668 w 6364927"/>
              <a:gd name="connsiteY328" fmla="*/ 5136483 h 5552421"/>
              <a:gd name="connsiteX329" fmla="*/ 32902 w 6364927"/>
              <a:gd name="connsiteY329" fmla="*/ 5104040 h 5552421"/>
              <a:gd name="connsiteX330" fmla="*/ 74695 w 6364927"/>
              <a:gd name="connsiteY330" fmla="*/ 5088490 h 5552421"/>
              <a:gd name="connsiteX331" fmla="*/ 139107 w 6364927"/>
              <a:gd name="connsiteY331" fmla="*/ 5097415 h 5552421"/>
              <a:gd name="connsiteX332" fmla="*/ 139654 w 6364927"/>
              <a:gd name="connsiteY332" fmla="*/ 5045795 h 5552421"/>
              <a:gd name="connsiteX333" fmla="*/ 299014 w 6364927"/>
              <a:gd name="connsiteY333" fmla="*/ 5025498 h 5552421"/>
              <a:gd name="connsiteX334" fmla="*/ 317705 w 6364927"/>
              <a:gd name="connsiteY334" fmla="*/ 5005958 h 5552421"/>
              <a:gd name="connsiteX335" fmla="*/ 345428 w 6364927"/>
              <a:gd name="connsiteY335" fmla="*/ 4992041 h 5552421"/>
              <a:gd name="connsiteX336" fmla="*/ 464008 w 6364927"/>
              <a:gd name="connsiteY336" fmla="*/ 4934925 h 5552421"/>
              <a:gd name="connsiteX337" fmla="*/ 471107 w 6364927"/>
              <a:gd name="connsiteY337" fmla="*/ 4902973 h 5552421"/>
              <a:gd name="connsiteX338" fmla="*/ 434587 w 6364927"/>
              <a:gd name="connsiteY338" fmla="*/ 4828277 h 5552421"/>
              <a:gd name="connsiteX339" fmla="*/ 395736 w 6364927"/>
              <a:gd name="connsiteY339" fmla="*/ 4757327 h 5552421"/>
              <a:gd name="connsiteX340" fmla="*/ 409976 w 6364927"/>
              <a:gd name="connsiteY340" fmla="*/ 4703840 h 5552421"/>
              <a:gd name="connsiteX341" fmla="*/ 442719 w 6364927"/>
              <a:gd name="connsiteY341" fmla="*/ 4630696 h 5552421"/>
              <a:gd name="connsiteX342" fmla="*/ 325198 w 6364927"/>
              <a:gd name="connsiteY342" fmla="*/ 4552337 h 5552421"/>
              <a:gd name="connsiteX343" fmla="*/ 448312 w 6364927"/>
              <a:gd name="connsiteY343" fmla="*/ 4550003 h 5552421"/>
              <a:gd name="connsiteX344" fmla="*/ 438693 w 6364927"/>
              <a:gd name="connsiteY344" fmla="*/ 4585583 h 5552421"/>
              <a:gd name="connsiteX345" fmla="*/ 526184 w 6364927"/>
              <a:gd name="connsiteY345" fmla="*/ 4640050 h 5552421"/>
              <a:gd name="connsiteX346" fmla="*/ 554094 w 6364927"/>
              <a:gd name="connsiteY346" fmla="*/ 4626251 h 5552421"/>
              <a:gd name="connsiteX347" fmla="*/ 533536 w 6364927"/>
              <a:gd name="connsiteY347" fmla="*/ 4577079 h 5552421"/>
              <a:gd name="connsiteX348" fmla="*/ 508821 w 6364927"/>
              <a:gd name="connsiteY348" fmla="*/ 4545067 h 5552421"/>
              <a:gd name="connsiteX349" fmla="*/ 488726 w 6364927"/>
              <a:gd name="connsiteY349" fmla="*/ 4423440 h 5552421"/>
              <a:gd name="connsiteX350" fmla="*/ 642790 w 6364927"/>
              <a:gd name="connsiteY350" fmla="*/ 4534942 h 5552421"/>
              <a:gd name="connsiteX351" fmla="*/ 622337 w 6364927"/>
              <a:gd name="connsiteY351" fmla="*/ 4465052 h 5552421"/>
              <a:gd name="connsiteX352" fmla="*/ 733035 w 6364927"/>
              <a:gd name="connsiteY352" fmla="*/ 4502792 h 5552421"/>
              <a:gd name="connsiteX353" fmla="*/ 767751 w 6364927"/>
              <a:gd name="connsiteY353" fmla="*/ 4477641 h 5552421"/>
              <a:gd name="connsiteX354" fmla="*/ 747233 w 6364927"/>
              <a:gd name="connsiteY354" fmla="*/ 4438888 h 5552421"/>
              <a:gd name="connsiteX355" fmla="*/ 782202 w 6364927"/>
              <a:gd name="connsiteY355" fmla="*/ 4382718 h 5552421"/>
              <a:gd name="connsiteX356" fmla="*/ 713362 w 6364927"/>
              <a:gd name="connsiteY356" fmla="*/ 4298293 h 5552421"/>
              <a:gd name="connsiteX357" fmla="*/ 782877 w 6364927"/>
              <a:gd name="connsiteY357" fmla="*/ 4268826 h 5552421"/>
              <a:gd name="connsiteX358" fmla="*/ 811465 w 6364927"/>
              <a:gd name="connsiteY358" fmla="*/ 4212841 h 5552421"/>
              <a:gd name="connsiteX359" fmla="*/ 793091 w 6364927"/>
              <a:gd name="connsiteY359" fmla="*/ 4170226 h 5552421"/>
              <a:gd name="connsiteX360" fmla="*/ 956879 w 6364927"/>
              <a:gd name="connsiteY360" fmla="*/ 4225429 h 5552421"/>
              <a:gd name="connsiteX361" fmla="*/ 724608 w 6364927"/>
              <a:gd name="connsiteY361" fmla="*/ 4034063 h 5552421"/>
              <a:gd name="connsiteX362" fmla="*/ 814388 w 6364927"/>
              <a:gd name="connsiteY362" fmla="*/ 4074369 h 5552421"/>
              <a:gd name="connsiteX363" fmla="*/ 897364 w 6364927"/>
              <a:gd name="connsiteY363" fmla="*/ 4126026 h 5552421"/>
              <a:gd name="connsiteX364" fmla="*/ 817183 w 6364927"/>
              <a:gd name="connsiteY364" fmla="*/ 3998169 h 5552421"/>
              <a:gd name="connsiteX365" fmla="*/ 819767 w 6364927"/>
              <a:gd name="connsiteY365" fmla="*/ 3963405 h 5552421"/>
              <a:gd name="connsiteX366" fmla="*/ 861413 w 6364927"/>
              <a:gd name="connsiteY366" fmla="*/ 3958157 h 5552421"/>
              <a:gd name="connsiteX367" fmla="*/ 875043 w 6364927"/>
              <a:gd name="connsiteY367" fmla="*/ 3987426 h 5552421"/>
              <a:gd name="connsiteX368" fmla="*/ 898038 w 6364927"/>
              <a:gd name="connsiteY368" fmla="*/ 4012134 h 5552421"/>
              <a:gd name="connsiteX369" fmla="*/ 1022407 w 6364927"/>
              <a:gd name="connsiteY369" fmla="*/ 4089560 h 5552421"/>
              <a:gd name="connsiteX370" fmla="*/ 1029254 w 6364927"/>
              <a:gd name="connsiteY370" fmla="*/ 4088627 h 5552421"/>
              <a:gd name="connsiteX371" fmla="*/ 1029318 w 6364927"/>
              <a:gd name="connsiteY371" fmla="*/ 4057491 h 5552421"/>
              <a:gd name="connsiteX372" fmla="*/ 951910 w 6364927"/>
              <a:gd name="connsiteY372" fmla="*/ 3894988 h 5552421"/>
              <a:gd name="connsiteX373" fmla="*/ 942649 w 6364927"/>
              <a:gd name="connsiteY373" fmla="*/ 3878831 h 5552421"/>
              <a:gd name="connsiteX374" fmla="*/ 1039612 w 6364927"/>
              <a:gd name="connsiteY374" fmla="*/ 3908019 h 5552421"/>
              <a:gd name="connsiteX375" fmla="*/ 927324 w 6364927"/>
              <a:gd name="connsiteY375" fmla="*/ 3800703 h 5552421"/>
              <a:gd name="connsiteX376" fmla="*/ 872407 w 6364927"/>
              <a:gd name="connsiteY376" fmla="*/ 3724946 h 5552421"/>
              <a:gd name="connsiteX377" fmla="*/ 964624 w 6364927"/>
              <a:gd name="connsiteY377" fmla="*/ 3740789 h 5552421"/>
              <a:gd name="connsiteX378" fmla="*/ 973991 w 6364927"/>
              <a:gd name="connsiteY378" fmla="*/ 3736228 h 5552421"/>
              <a:gd name="connsiteX379" fmla="*/ 939696 w 6364927"/>
              <a:gd name="connsiteY379" fmla="*/ 3678506 h 5552421"/>
              <a:gd name="connsiteX380" fmla="*/ 988084 w 6364927"/>
              <a:gd name="connsiteY380" fmla="*/ 3693042 h 5552421"/>
              <a:gd name="connsiteX381" fmla="*/ 967736 w 6364927"/>
              <a:gd name="connsiteY381" fmla="*/ 3602434 h 5552421"/>
              <a:gd name="connsiteX382" fmla="*/ 979645 w 6364927"/>
              <a:gd name="connsiteY382" fmla="*/ 3552692 h 5552421"/>
              <a:gd name="connsiteX383" fmla="*/ 924475 w 6364927"/>
              <a:gd name="connsiteY383" fmla="*/ 3507954 h 5552421"/>
              <a:gd name="connsiteX384" fmla="*/ 1009634 w 6364927"/>
              <a:gd name="connsiteY384" fmla="*/ 3566166 h 5552421"/>
              <a:gd name="connsiteX385" fmla="*/ 1140703 w 6364927"/>
              <a:gd name="connsiteY385" fmla="*/ 3652960 h 5552421"/>
              <a:gd name="connsiteX386" fmla="*/ 1143879 w 6364927"/>
              <a:gd name="connsiteY386" fmla="*/ 3483469 h 5552421"/>
              <a:gd name="connsiteX387" fmla="*/ 1220937 w 6364927"/>
              <a:gd name="connsiteY387" fmla="*/ 3462855 h 5552421"/>
              <a:gd name="connsiteX388" fmla="*/ 1317417 w 6364927"/>
              <a:gd name="connsiteY388" fmla="*/ 3512528 h 5552421"/>
              <a:gd name="connsiteX389" fmla="*/ 1191222 w 6364927"/>
              <a:gd name="connsiteY389" fmla="*/ 3376808 h 5552421"/>
              <a:gd name="connsiteX390" fmla="*/ 1311286 w 6364927"/>
              <a:gd name="connsiteY390" fmla="*/ 3409987 h 5552421"/>
              <a:gd name="connsiteX391" fmla="*/ 1419506 w 6364927"/>
              <a:gd name="connsiteY391" fmla="*/ 3461772 h 5552421"/>
              <a:gd name="connsiteX392" fmla="*/ 1385106 w 6364927"/>
              <a:gd name="connsiteY392" fmla="*/ 3424768 h 5552421"/>
              <a:gd name="connsiteX393" fmla="*/ 1295137 w 6364927"/>
              <a:gd name="connsiteY393" fmla="*/ 3384345 h 5552421"/>
              <a:gd name="connsiteX394" fmla="*/ 1272500 w 6364927"/>
              <a:gd name="connsiteY394" fmla="*/ 3307900 h 5552421"/>
              <a:gd name="connsiteX395" fmla="*/ 1277226 w 6364927"/>
              <a:gd name="connsiteY395" fmla="*/ 3269275 h 5552421"/>
              <a:gd name="connsiteX396" fmla="*/ 1247783 w 6364927"/>
              <a:gd name="connsiteY396" fmla="*/ 3204181 h 5552421"/>
              <a:gd name="connsiteX397" fmla="*/ 1252468 w 6364927"/>
              <a:gd name="connsiteY397" fmla="*/ 3155138 h 5552421"/>
              <a:gd name="connsiteX398" fmla="*/ 1248352 w 6364927"/>
              <a:gd name="connsiteY398" fmla="*/ 3111007 h 5552421"/>
              <a:gd name="connsiteX399" fmla="*/ 1163151 w 6364927"/>
              <a:gd name="connsiteY399" fmla="*/ 3042377 h 5552421"/>
              <a:gd name="connsiteX400" fmla="*/ 1144965 w 6364927"/>
              <a:gd name="connsiteY400" fmla="*/ 2999879 h 5552421"/>
              <a:gd name="connsiteX401" fmla="*/ 1186611 w 6364927"/>
              <a:gd name="connsiteY401" fmla="*/ 2994630 h 5552421"/>
              <a:gd name="connsiteX402" fmla="*/ 1242777 w 6364927"/>
              <a:gd name="connsiteY402" fmla="*/ 3006735 h 5552421"/>
              <a:gd name="connsiteX403" fmla="*/ 1287154 w 6364927"/>
              <a:gd name="connsiteY403" fmla="*/ 2956421 h 5552421"/>
              <a:gd name="connsiteX404" fmla="*/ 1392895 w 6364927"/>
              <a:gd name="connsiteY404" fmla="*/ 3022251 h 5552421"/>
              <a:gd name="connsiteX405" fmla="*/ 1230327 w 6364927"/>
              <a:gd name="connsiteY405" fmla="*/ 2801536 h 5552421"/>
              <a:gd name="connsiteX406" fmla="*/ 1297218 w 6364927"/>
              <a:gd name="connsiteY406" fmla="*/ 2796415 h 5552421"/>
              <a:gd name="connsiteX407" fmla="*/ 1212058 w 6364927"/>
              <a:gd name="connsiteY407" fmla="*/ 2738203 h 5552421"/>
              <a:gd name="connsiteX408" fmla="*/ 1382946 w 6364927"/>
              <a:gd name="connsiteY408" fmla="*/ 2761454 h 5552421"/>
              <a:gd name="connsiteX409" fmla="*/ 1399201 w 6364927"/>
              <a:gd name="connsiteY409" fmla="*/ 2766377 h 5552421"/>
              <a:gd name="connsiteX410" fmla="*/ 1620220 w 6364927"/>
              <a:gd name="connsiteY410" fmla="*/ 2841622 h 5552421"/>
              <a:gd name="connsiteX411" fmla="*/ 1661866 w 6364927"/>
              <a:gd name="connsiteY411" fmla="*/ 2836373 h 5552421"/>
              <a:gd name="connsiteX412" fmla="*/ 1501060 w 6364927"/>
              <a:gd name="connsiteY412" fmla="*/ 2705087 h 5552421"/>
              <a:gd name="connsiteX413" fmla="*/ 1604617 w 6364927"/>
              <a:gd name="connsiteY413" fmla="*/ 2764361 h 5552421"/>
              <a:gd name="connsiteX414" fmla="*/ 1711077 w 6364927"/>
              <a:gd name="connsiteY414" fmla="*/ 2798423 h 5552421"/>
              <a:gd name="connsiteX415" fmla="*/ 1644632 w 6364927"/>
              <a:gd name="connsiteY415" fmla="*/ 2679118 h 5552421"/>
              <a:gd name="connsiteX416" fmla="*/ 1628965 w 6364927"/>
              <a:gd name="connsiteY416" fmla="*/ 2632992 h 5552421"/>
              <a:gd name="connsiteX417" fmla="*/ 1580853 w 6364927"/>
              <a:gd name="connsiteY417" fmla="*/ 2545884 h 5552421"/>
              <a:gd name="connsiteX418" fmla="*/ 1544122 w 6364927"/>
              <a:gd name="connsiteY418" fmla="*/ 2512625 h 5552421"/>
              <a:gd name="connsiteX419" fmla="*/ 1618048 w 6364927"/>
              <a:gd name="connsiteY419" fmla="*/ 2506688 h 5552421"/>
              <a:gd name="connsiteX420" fmla="*/ 1669377 w 6364927"/>
              <a:gd name="connsiteY420" fmla="*/ 2434723 h 5552421"/>
              <a:gd name="connsiteX421" fmla="*/ 1651443 w 6364927"/>
              <a:gd name="connsiteY421" fmla="*/ 2361206 h 5552421"/>
              <a:gd name="connsiteX422" fmla="*/ 1689209 w 6364927"/>
              <a:gd name="connsiteY422" fmla="*/ 2300543 h 5552421"/>
              <a:gd name="connsiteX423" fmla="*/ 1721700 w 6364927"/>
              <a:gd name="connsiteY423" fmla="*/ 2258418 h 5552421"/>
              <a:gd name="connsiteX424" fmla="*/ 1692132 w 6364927"/>
              <a:gd name="connsiteY424" fmla="*/ 2162071 h 5552421"/>
              <a:gd name="connsiteX425" fmla="*/ 1752153 w 6364927"/>
              <a:gd name="connsiteY425" fmla="*/ 2199437 h 5552421"/>
              <a:gd name="connsiteX426" fmla="*/ 1715339 w 6364927"/>
              <a:gd name="connsiteY426" fmla="*/ 2145343 h 5552421"/>
              <a:gd name="connsiteX427" fmla="*/ 1809824 w 6364927"/>
              <a:gd name="connsiteY427" fmla="*/ 2188577 h 5552421"/>
              <a:gd name="connsiteX428" fmla="*/ 1876925 w 6364927"/>
              <a:gd name="connsiteY428" fmla="*/ 2142019 h 5552421"/>
              <a:gd name="connsiteX429" fmla="*/ 1849836 w 6364927"/>
              <a:gd name="connsiteY429" fmla="*/ 2031627 h 5552421"/>
              <a:gd name="connsiteX430" fmla="*/ 2003532 w 6364927"/>
              <a:gd name="connsiteY430" fmla="*/ 1908040 h 5552421"/>
              <a:gd name="connsiteX431" fmla="*/ 1943846 w 6364927"/>
              <a:gd name="connsiteY431" fmla="*/ 1860491 h 5552421"/>
              <a:gd name="connsiteX432" fmla="*/ 2047573 w 6364927"/>
              <a:gd name="connsiteY432" fmla="*/ 1867910 h 5552421"/>
              <a:gd name="connsiteX433" fmla="*/ 2165095 w 6364927"/>
              <a:gd name="connsiteY433" fmla="*/ 1946270 h 5552421"/>
              <a:gd name="connsiteX434" fmla="*/ 2178936 w 6364927"/>
              <a:gd name="connsiteY434" fmla="*/ 1934103 h 5552421"/>
              <a:gd name="connsiteX435" fmla="*/ 2068555 w 6364927"/>
              <a:gd name="connsiteY435" fmla="*/ 1834209 h 5552421"/>
              <a:gd name="connsiteX436" fmla="*/ 2179968 w 6364927"/>
              <a:gd name="connsiteY436" fmla="*/ 1768474 h 5552421"/>
              <a:gd name="connsiteX437" fmla="*/ 2257799 w 6364927"/>
              <a:gd name="connsiteY437" fmla="*/ 1848104 h 5552421"/>
              <a:gd name="connsiteX438" fmla="*/ 2343675 w 6364927"/>
              <a:gd name="connsiteY438" fmla="*/ 1802843 h 5552421"/>
              <a:gd name="connsiteX439" fmla="*/ 2233440 w 6364927"/>
              <a:gd name="connsiteY439" fmla="*/ 1692648 h 5552421"/>
              <a:gd name="connsiteX440" fmla="*/ 2246279 w 6364927"/>
              <a:gd name="connsiteY440" fmla="*/ 1569701 h 5552421"/>
              <a:gd name="connsiteX441" fmla="*/ 2196197 w 6364927"/>
              <a:gd name="connsiteY441" fmla="*/ 1506307 h 5552421"/>
              <a:gd name="connsiteX442" fmla="*/ 2214993 w 6364927"/>
              <a:gd name="connsiteY442" fmla="*/ 1466049 h 5552421"/>
              <a:gd name="connsiteX443" fmla="*/ 2364818 w 6364927"/>
              <a:gd name="connsiteY443" fmla="*/ 1502168 h 5552421"/>
              <a:gd name="connsiteX444" fmla="*/ 2134749 w 6364927"/>
              <a:gd name="connsiteY444" fmla="*/ 1369329 h 5552421"/>
              <a:gd name="connsiteX445" fmla="*/ 2213296 w 6364927"/>
              <a:gd name="connsiteY445" fmla="*/ 1345485 h 5552421"/>
              <a:gd name="connsiteX446" fmla="*/ 2280333 w 6364927"/>
              <a:gd name="connsiteY446" fmla="*/ 1330063 h 5552421"/>
              <a:gd name="connsiteX447" fmla="*/ 2308161 w 6364927"/>
              <a:gd name="connsiteY447" fmla="*/ 1295428 h 5552421"/>
              <a:gd name="connsiteX448" fmla="*/ 2533956 w 6364927"/>
              <a:gd name="connsiteY448" fmla="*/ 1107611 h 5552421"/>
              <a:gd name="connsiteX449" fmla="*/ 2511277 w 6364927"/>
              <a:gd name="connsiteY449" fmla="*/ 1020748 h 5552421"/>
              <a:gd name="connsiteX450" fmla="*/ 2458332 w 6364927"/>
              <a:gd name="connsiteY450" fmla="*/ 992984 h 5552421"/>
              <a:gd name="connsiteX451" fmla="*/ 2433152 w 6364927"/>
              <a:gd name="connsiteY451" fmla="*/ 961720 h 5552421"/>
              <a:gd name="connsiteX452" fmla="*/ 2479273 w 6364927"/>
              <a:gd name="connsiteY452" fmla="*/ 948864 h 5552421"/>
              <a:gd name="connsiteX453" fmla="*/ 2536920 w 6364927"/>
              <a:gd name="connsiteY453" fmla="*/ 979557 h 5552421"/>
              <a:gd name="connsiteX454" fmla="*/ 2546246 w 6364927"/>
              <a:gd name="connsiteY454" fmla="*/ 964579 h 5552421"/>
              <a:gd name="connsiteX455" fmla="*/ 2509620 w 6364927"/>
              <a:gd name="connsiteY455" fmla="*/ 910601 h 5552421"/>
              <a:gd name="connsiteX456" fmla="*/ 2590181 w 6364927"/>
              <a:gd name="connsiteY456" fmla="*/ 945167 h 5552421"/>
              <a:gd name="connsiteX457" fmla="*/ 2592513 w 6364927"/>
              <a:gd name="connsiteY457" fmla="*/ 941422 h 5552421"/>
              <a:gd name="connsiteX458" fmla="*/ 2594844 w 6364927"/>
              <a:gd name="connsiteY458" fmla="*/ 937678 h 5552421"/>
              <a:gd name="connsiteX459" fmla="*/ 2565148 w 6364927"/>
              <a:gd name="connsiteY459" fmla="*/ 903603 h 5552421"/>
              <a:gd name="connsiteX460" fmla="*/ 2561163 w 6364927"/>
              <a:gd name="connsiteY460" fmla="*/ 868906 h 5552421"/>
              <a:gd name="connsiteX461" fmla="*/ 2600478 w 6364927"/>
              <a:gd name="connsiteY461" fmla="*/ 867402 h 5552421"/>
              <a:gd name="connsiteX462" fmla="*/ 2734405 w 6364927"/>
              <a:gd name="connsiteY462" fmla="*/ 846860 h 5552421"/>
              <a:gd name="connsiteX463" fmla="*/ 2564339 w 6364927"/>
              <a:gd name="connsiteY463" fmla="*/ 699416 h 5552421"/>
              <a:gd name="connsiteX464" fmla="*/ 2736259 w 6364927"/>
              <a:gd name="connsiteY464" fmla="*/ 557039 h 5552421"/>
              <a:gd name="connsiteX465" fmla="*/ 2710955 w 6364927"/>
              <a:gd name="connsiteY465" fmla="*/ 494522 h 5552421"/>
              <a:gd name="connsiteX466" fmla="*/ 2709637 w 6364927"/>
              <a:gd name="connsiteY466" fmla="*/ 445897 h 5552421"/>
              <a:gd name="connsiteX467" fmla="*/ 2760777 w 6364927"/>
              <a:gd name="connsiteY467" fmla="*/ 373816 h 5552421"/>
              <a:gd name="connsiteX468" fmla="*/ 2929252 w 6364927"/>
              <a:gd name="connsiteY468" fmla="*/ 379976 h 5552421"/>
              <a:gd name="connsiteX469" fmla="*/ 2973798 w 6364927"/>
              <a:gd name="connsiteY469" fmla="*/ 277809 h 5552421"/>
              <a:gd name="connsiteX470" fmla="*/ 3140035 w 6364927"/>
              <a:gd name="connsiteY470" fmla="*/ 81724 h 5552421"/>
              <a:gd name="connsiteX471" fmla="*/ 3147401 w 6364927"/>
              <a:gd name="connsiteY471" fmla="*/ 106542 h 5552421"/>
              <a:gd name="connsiteX472" fmla="*/ 3234202 w 6364927"/>
              <a:gd name="connsiteY472" fmla="*/ 111757 h 5552421"/>
              <a:gd name="connsiteX473" fmla="*/ 3021704 w 6364927"/>
              <a:gd name="connsiteY473" fmla="*/ 198982 h 5552421"/>
              <a:gd name="connsiteX474" fmla="*/ 2990505 w 6364927"/>
              <a:gd name="connsiteY474" fmla="*/ 196234 h 5552421"/>
              <a:gd name="connsiteX475" fmla="*/ 3005107 w 6364927"/>
              <a:gd name="connsiteY475" fmla="*/ 182875 h 5552421"/>
              <a:gd name="connsiteX476" fmla="*/ 3039686 w 6364927"/>
              <a:gd name="connsiteY476" fmla="*/ 161909 h 5552421"/>
              <a:gd name="connsiteX477" fmla="*/ 3129995 w 6364927"/>
              <a:gd name="connsiteY477" fmla="*/ 98624 h 5552421"/>
              <a:gd name="connsiteX478" fmla="*/ 3139834 w 6364927"/>
              <a:gd name="connsiteY478" fmla="*/ 84371 h 5552421"/>
              <a:gd name="connsiteX479" fmla="*/ 3093889 w 6364927"/>
              <a:gd name="connsiteY479" fmla="*/ 0 h 5552421"/>
              <a:gd name="connsiteX480" fmla="*/ 3105597 w 6364927"/>
              <a:gd name="connsiteY480" fmla="*/ 4456 h 5552421"/>
              <a:gd name="connsiteX481" fmla="*/ 3152592 w 6364927"/>
              <a:gd name="connsiteY481" fmla="*/ 16960 h 5552421"/>
              <a:gd name="connsiteX482" fmla="*/ 3151171 w 6364927"/>
              <a:gd name="connsiteY482" fmla="*/ 22196 h 5552421"/>
              <a:gd name="connsiteX483" fmla="*/ 3139499 w 6364927"/>
              <a:gd name="connsiteY483" fmla="*/ 69021 h 5552421"/>
              <a:gd name="connsiteX484" fmla="*/ 3131932 w 6364927"/>
              <a:gd name="connsiteY484" fmla="*/ 58181 h 5552421"/>
              <a:gd name="connsiteX485" fmla="*/ 3111955 w 6364927"/>
              <a:gd name="connsiteY485" fmla="*/ 45825 h 5552421"/>
              <a:gd name="connsiteX486" fmla="*/ 3076016 w 6364927"/>
              <a:gd name="connsiteY486" fmla="*/ 24824 h 5552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</a:cxnLst>
            <a:rect l="l" t="t" r="r" b="b"/>
            <a:pathLst>
              <a:path w="6364927" h="5552421">
                <a:moveTo>
                  <a:pt x="6255989" y="5288703"/>
                </a:moveTo>
                <a:lnTo>
                  <a:pt x="6256633" y="5289197"/>
                </a:lnTo>
                <a:cubicBezTo>
                  <a:pt x="6263495" y="5292872"/>
                  <a:pt x="6270356" y="5296547"/>
                  <a:pt x="6273669" y="5302275"/>
                </a:cubicBezTo>
                <a:cubicBezTo>
                  <a:pt x="6284143" y="5342078"/>
                  <a:pt x="6307550" y="5328541"/>
                  <a:pt x="6338341" y="5305638"/>
                </a:cubicBezTo>
                <a:lnTo>
                  <a:pt x="6353495" y="5296297"/>
                </a:lnTo>
                <a:lnTo>
                  <a:pt x="6364927" y="5316029"/>
                </a:lnTo>
                <a:lnTo>
                  <a:pt x="6361174" y="5318389"/>
                </a:lnTo>
                <a:cubicBezTo>
                  <a:pt x="6342548" y="5332147"/>
                  <a:pt x="6326365" y="5347268"/>
                  <a:pt x="6311999" y="5363376"/>
                </a:cubicBezTo>
                <a:lnTo>
                  <a:pt x="6278329" y="5408157"/>
                </a:lnTo>
                <a:lnTo>
                  <a:pt x="6275149" y="5406491"/>
                </a:lnTo>
                <a:cubicBezTo>
                  <a:pt x="6255920" y="5398897"/>
                  <a:pt x="6238552" y="5401931"/>
                  <a:pt x="6228626" y="5438500"/>
                </a:cubicBezTo>
                <a:cubicBezTo>
                  <a:pt x="6224216" y="5459999"/>
                  <a:pt x="6210982" y="5481941"/>
                  <a:pt x="6193338" y="5476400"/>
                </a:cubicBezTo>
                <a:cubicBezTo>
                  <a:pt x="6171284" y="5471081"/>
                  <a:pt x="6184516" y="5443820"/>
                  <a:pt x="6184516" y="5427640"/>
                </a:cubicBezTo>
                <a:cubicBezTo>
                  <a:pt x="6184516" y="5378659"/>
                  <a:pt x="6206572" y="5335440"/>
                  <a:pt x="6241860" y="5319261"/>
                </a:cubicBezTo>
                <a:cubicBezTo>
                  <a:pt x="6257299" y="5311171"/>
                  <a:pt x="6258401" y="5300311"/>
                  <a:pt x="6256196" y="5289451"/>
                </a:cubicBezTo>
                <a:close/>
                <a:moveTo>
                  <a:pt x="2968165" y="245883"/>
                </a:moveTo>
                <a:lnTo>
                  <a:pt x="2986957" y="259205"/>
                </a:lnTo>
                <a:cubicBezTo>
                  <a:pt x="2998992" y="273264"/>
                  <a:pt x="3008929" y="290447"/>
                  <a:pt x="3033442" y="283914"/>
                </a:cubicBezTo>
                <a:cubicBezTo>
                  <a:pt x="3002083" y="327528"/>
                  <a:pt x="2994388" y="378857"/>
                  <a:pt x="2956404" y="411016"/>
                </a:cubicBezTo>
                <a:cubicBezTo>
                  <a:pt x="3027513" y="436134"/>
                  <a:pt x="3063853" y="369257"/>
                  <a:pt x="3117671" y="343228"/>
                </a:cubicBezTo>
                <a:cubicBezTo>
                  <a:pt x="3145683" y="327028"/>
                  <a:pt x="3178115" y="328654"/>
                  <a:pt x="3210547" y="330280"/>
                </a:cubicBezTo>
                <a:cubicBezTo>
                  <a:pt x="3265814" y="328890"/>
                  <a:pt x="3202218" y="380956"/>
                  <a:pt x="3243292" y="397967"/>
                </a:cubicBezTo>
                <a:cubicBezTo>
                  <a:pt x="3263923" y="401323"/>
                  <a:pt x="3212312" y="431170"/>
                  <a:pt x="3193322" y="452344"/>
                </a:cubicBezTo>
                <a:cubicBezTo>
                  <a:pt x="3190926" y="458825"/>
                  <a:pt x="3181333" y="464373"/>
                  <a:pt x="3176728" y="467036"/>
                </a:cubicBezTo>
                <a:cubicBezTo>
                  <a:pt x="3143540" y="496421"/>
                  <a:pt x="3097103" y="502895"/>
                  <a:pt x="3081773" y="562716"/>
                </a:cubicBezTo>
                <a:cubicBezTo>
                  <a:pt x="3068460" y="626467"/>
                  <a:pt x="3058871" y="642204"/>
                  <a:pt x="3134961" y="644059"/>
                </a:cubicBezTo>
                <a:cubicBezTo>
                  <a:pt x="3176602" y="640359"/>
                  <a:pt x="3231873" y="649159"/>
                  <a:pt x="3233513" y="673688"/>
                </a:cubicBezTo>
                <a:cubicBezTo>
                  <a:pt x="3235408" y="709281"/>
                  <a:pt x="3263043" y="713681"/>
                  <a:pt x="3288282" y="724562"/>
                </a:cubicBezTo>
                <a:cubicBezTo>
                  <a:pt x="3372638" y="762402"/>
                  <a:pt x="3379263" y="773857"/>
                  <a:pt x="3337558" y="864218"/>
                </a:cubicBezTo>
                <a:cubicBezTo>
                  <a:pt x="3332953" y="866881"/>
                  <a:pt x="3335162" y="870700"/>
                  <a:pt x="3337370" y="874518"/>
                </a:cubicBezTo>
                <a:cubicBezTo>
                  <a:pt x="3408287" y="899747"/>
                  <a:pt x="3410116" y="913976"/>
                  <a:pt x="3344120" y="962335"/>
                </a:cubicBezTo>
                <a:cubicBezTo>
                  <a:pt x="3318125" y="982464"/>
                  <a:pt x="3320145" y="996583"/>
                  <a:pt x="3319577" y="1017294"/>
                </a:cubicBezTo>
                <a:cubicBezTo>
                  <a:pt x="3327463" y="1063689"/>
                  <a:pt x="3333332" y="1106155"/>
                  <a:pt x="3288347" y="1147458"/>
                </a:cubicBezTo>
                <a:cubicBezTo>
                  <a:pt x="3269798" y="1169395"/>
                  <a:pt x="3289861" y="1193461"/>
                  <a:pt x="3305699" y="1209780"/>
                </a:cubicBezTo>
                <a:cubicBezTo>
                  <a:pt x="3319137" y="1222390"/>
                  <a:pt x="3339960" y="1225635"/>
                  <a:pt x="3348793" y="1240909"/>
                </a:cubicBezTo>
                <a:cubicBezTo>
                  <a:pt x="3375481" y="1276430"/>
                  <a:pt x="3405513" y="1274349"/>
                  <a:pt x="3443497" y="1242190"/>
                </a:cubicBezTo>
                <a:cubicBezTo>
                  <a:pt x="3471508" y="1225990"/>
                  <a:pt x="3487914" y="1221597"/>
                  <a:pt x="3517378" y="1240227"/>
                </a:cubicBezTo>
                <a:cubicBezTo>
                  <a:pt x="3549242" y="1262563"/>
                  <a:pt x="3589936" y="1289985"/>
                  <a:pt x="3646343" y="1257363"/>
                </a:cubicBezTo>
                <a:cubicBezTo>
                  <a:pt x="3679151" y="1238389"/>
                  <a:pt x="3683188" y="1256437"/>
                  <a:pt x="3673411" y="1282474"/>
                </a:cubicBezTo>
                <a:cubicBezTo>
                  <a:pt x="3671014" y="1288955"/>
                  <a:pt x="3663630" y="1298321"/>
                  <a:pt x="3675051" y="1307003"/>
                </a:cubicBezTo>
                <a:lnTo>
                  <a:pt x="3740667" y="1269055"/>
                </a:lnTo>
                <a:cubicBezTo>
                  <a:pt x="3741993" y="1325359"/>
                  <a:pt x="3695747" y="1331721"/>
                  <a:pt x="3665336" y="1344214"/>
                </a:cubicBezTo>
                <a:cubicBezTo>
                  <a:pt x="3639529" y="1354043"/>
                  <a:pt x="3625523" y="1362144"/>
                  <a:pt x="3620350" y="1385517"/>
                </a:cubicBezTo>
                <a:cubicBezTo>
                  <a:pt x="3612778" y="1405183"/>
                  <a:pt x="3631012" y="1415020"/>
                  <a:pt x="3642434" y="1423702"/>
                </a:cubicBezTo>
                <a:cubicBezTo>
                  <a:pt x="3674360" y="1457213"/>
                  <a:pt x="3718021" y="1467631"/>
                  <a:pt x="3770892" y="1472724"/>
                </a:cubicBezTo>
                <a:cubicBezTo>
                  <a:pt x="3740292" y="1495516"/>
                  <a:pt x="3709881" y="1508008"/>
                  <a:pt x="3684074" y="1517837"/>
                </a:cubicBezTo>
                <a:cubicBezTo>
                  <a:pt x="3688114" y="1546074"/>
                  <a:pt x="3720922" y="1527100"/>
                  <a:pt x="3736569" y="1543530"/>
                </a:cubicBezTo>
                <a:cubicBezTo>
                  <a:pt x="3708177" y="1570140"/>
                  <a:pt x="3679786" y="1596750"/>
                  <a:pt x="3651203" y="1623473"/>
                </a:cubicBezTo>
                <a:cubicBezTo>
                  <a:pt x="3644202" y="1632617"/>
                  <a:pt x="3620983" y="1635854"/>
                  <a:pt x="3629816" y="1651128"/>
                </a:cubicBezTo>
                <a:cubicBezTo>
                  <a:pt x="3631644" y="1665357"/>
                  <a:pt x="3648050" y="1660964"/>
                  <a:pt x="3661868" y="1663165"/>
                </a:cubicBezTo>
                <a:cubicBezTo>
                  <a:pt x="3686915" y="1674157"/>
                  <a:pt x="3724328" y="1652520"/>
                  <a:pt x="3751776" y="1667219"/>
                </a:cubicBezTo>
                <a:cubicBezTo>
                  <a:pt x="3737202" y="1696030"/>
                  <a:pt x="3695181" y="1710141"/>
                  <a:pt x="3687612" y="1739996"/>
                </a:cubicBezTo>
                <a:cubicBezTo>
                  <a:pt x="3715624" y="1723797"/>
                  <a:pt x="3741239" y="1714078"/>
                  <a:pt x="3762629" y="1696612"/>
                </a:cubicBezTo>
                <a:cubicBezTo>
                  <a:pt x="3795817" y="1667227"/>
                  <a:pt x="3813104" y="1708185"/>
                  <a:pt x="3840927" y="1702285"/>
                </a:cubicBezTo>
                <a:cubicBezTo>
                  <a:pt x="3857333" y="1697893"/>
                  <a:pt x="3847364" y="1724041"/>
                  <a:pt x="3842380" y="1737114"/>
                </a:cubicBezTo>
                <a:cubicBezTo>
                  <a:pt x="3824650" y="1793229"/>
                  <a:pt x="3826164" y="1839232"/>
                  <a:pt x="3909639" y="1831721"/>
                </a:cubicBezTo>
                <a:cubicBezTo>
                  <a:pt x="3873675" y="1877998"/>
                  <a:pt x="3817648" y="1900209"/>
                  <a:pt x="3790897" y="1951348"/>
                </a:cubicBezTo>
                <a:cubicBezTo>
                  <a:pt x="3835315" y="1930756"/>
                  <a:pt x="3870519" y="1905301"/>
                  <a:pt x="3906107" y="1879624"/>
                </a:cubicBezTo>
                <a:cubicBezTo>
                  <a:pt x="3939295" y="1850239"/>
                  <a:pt x="3976707" y="1828602"/>
                  <a:pt x="4018349" y="1824902"/>
                </a:cubicBezTo>
                <a:cubicBezTo>
                  <a:pt x="4034754" y="1820510"/>
                  <a:pt x="4059990" y="1821202"/>
                  <a:pt x="4064218" y="1839139"/>
                </a:cubicBezTo>
                <a:cubicBezTo>
                  <a:pt x="4066047" y="1853368"/>
                  <a:pt x="4045228" y="1860312"/>
                  <a:pt x="4033239" y="1872342"/>
                </a:cubicBezTo>
                <a:cubicBezTo>
                  <a:pt x="3993238" y="1900571"/>
                  <a:pt x="3949009" y="1910864"/>
                  <a:pt x="3911028" y="1953211"/>
                </a:cubicBezTo>
                <a:cubicBezTo>
                  <a:pt x="3962071" y="1944074"/>
                  <a:pt x="4008508" y="1937600"/>
                  <a:pt x="4052546" y="1927419"/>
                </a:cubicBezTo>
                <a:cubicBezTo>
                  <a:pt x="4070968" y="1926955"/>
                  <a:pt x="4089582" y="1926381"/>
                  <a:pt x="4093811" y="1944319"/>
                </a:cubicBezTo>
                <a:cubicBezTo>
                  <a:pt x="4097848" y="1962366"/>
                  <a:pt x="4086050" y="1974284"/>
                  <a:pt x="4069456" y="1988976"/>
                </a:cubicBezTo>
                <a:cubicBezTo>
                  <a:pt x="4052863" y="2003669"/>
                  <a:pt x="4041253" y="2005287"/>
                  <a:pt x="4032420" y="1990014"/>
                </a:cubicBezTo>
                <a:cubicBezTo>
                  <a:pt x="4023587" y="1974740"/>
                  <a:pt x="4011598" y="1986770"/>
                  <a:pt x="4004597" y="1995914"/>
                </a:cubicBezTo>
                <a:cubicBezTo>
                  <a:pt x="3980054" y="2050872"/>
                  <a:pt x="3931220" y="2063827"/>
                  <a:pt x="3875381" y="2075738"/>
                </a:cubicBezTo>
                <a:lnTo>
                  <a:pt x="3879798" y="2083375"/>
                </a:lnTo>
                <a:cubicBezTo>
                  <a:pt x="3889011" y="2088239"/>
                  <a:pt x="3900428" y="2086731"/>
                  <a:pt x="3904845" y="2094368"/>
                </a:cubicBezTo>
                <a:cubicBezTo>
                  <a:pt x="3944975" y="2152689"/>
                  <a:pt x="4005226" y="2138226"/>
                  <a:pt x="4068638" y="2106649"/>
                </a:cubicBezTo>
                <a:cubicBezTo>
                  <a:pt x="4080055" y="2105141"/>
                  <a:pt x="4089648" y="2099593"/>
                  <a:pt x="4112675" y="2096467"/>
                </a:cubicBezTo>
                <a:cubicBezTo>
                  <a:pt x="4091668" y="2113711"/>
                  <a:pt x="4088701" y="2130715"/>
                  <a:pt x="4070278" y="2131178"/>
                </a:cubicBezTo>
                <a:cubicBezTo>
                  <a:pt x="4054064" y="2135460"/>
                  <a:pt x="4035262" y="2146334"/>
                  <a:pt x="4041887" y="2157789"/>
                </a:cubicBezTo>
                <a:cubicBezTo>
                  <a:pt x="4046365" y="2176600"/>
                  <a:pt x="4065167" y="2165726"/>
                  <a:pt x="4079365" y="2157515"/>
                </a:cubicBezTo>
                <a:cubicBezTo>
                  <a:pt x="4116590" y="2146179"/>
                  <a:pt x="4151606" y="2131023"/>
                  <a:pt x="4186622" y="2115868"/>
                </a:cubicBezTo>
                <a:cubicBezTo>
                  <a:pt x="4212238" y="2106149"/>
                  <a:pt x="4249842" y="2084402"/>
                  <a:pt x="4265300" y="2111130"/>
                </a:cubicBezTo>
                <a:cubicBezTo>
                  <a:pt x="4285363" y="2135197"/>
                  <a:pt x="4243154" y="2159607"/>
                  <a:pt x="4224164" y="2180781"/>
                </a:cubicBezTo>
                <a:lnTo>
                  <a:pt x="4219367" y="2183555"/>
                </a:lnTo>
                <a:cubicBezTo>
                  <a:pt x="4235205" y="2199874"/>
                  <a:pt x="4275398" y="2171533"/>
                  <a:pt x="4269654" y="2205428"/>
                </a:cubicBezTo>
                <a:cubicBezTo>
                  <a:pt x="4263914" y="2249513"/>
                  <a:pt x="4272747" y="2264787"/>
                  <a:pt x="4323981" y="2255539"/>
                </a:cubicBezTo>
                <a:cubicBezTo>
                  <a:pt x="4335399" y="2254031"/>
                  <a:pt x="4354009" y="2243268"/>
                  <a:pt x="4348837" y="2266642"/>
                </a:cubicBezTo>
                <a:cubicBezTo>
                  <a:pt x="4350857" y="2280761"/>
                  <a:pt x="4352689" y="2305178"/>
                  <a:pt x="4322466" y="2307371"/>
                </a:cubicBezTo>
                <a:cubicBezTo>
                  <a:pt x="4267006" y="2308871"/>
                  <a:pt x="4240444" y="2349711"/>
                  <a:pt x="4198046" y="2384422"/>
                </a:cubicBezTo>
                <a:cubicBezTo>
                  <a:pt x="4243912" y="2388470"/>
                  <a:pt x="4283725" y="2370540"/>
                  <a:pt x="4296787" y="2403751"/>
                </a:cubicBezTo>
                <a:lnTo>
                  <a:pt x="4348397" y="2373903"/>
                </a:lnTo>
                <a:cubicBezTo>
                  <a:pt x="4322402" y="2394032"/>
                  <a:pt x="4368084" y="2418569"/>
                  <a:pt x="4335276" y="2437543"/>
                </a:cubicBezTo>
                <a:cubicBezTo>
                  <a:pt x="4332308" y="2454546"/>
                  <a:pt x="4341142" y="2469819"/>
                  <a:pt x="4338365" y="2486712"/>
                </a:cubicBezTo>
                <a:cubicBezTo>
                  <a:pt x="4343036" y="2505413"/>
                  <a:pt x="4358306" y="2542441"/>
                  <a:pt x="4316285" y="2556552"/>
                </a:cubicBezTo>
                <a:cubicBezTo>
                  <a:pt x="4285873" y="2569045"/>
                  <a:pt x="4262274" y="2582693"/>
                  <a:pt x="4240888" y="2610348"/>
                </a:cubicBezTo>
                <a:cubicBezTo>
                  <a:pt x="4303540" y="2599592"/>
                  <a:pt x="4364551" y="2564308"/>
                  <a:pt x="4427203" y="2553552"/>
                </a:cubicBezTo>
                <a:cubicBezTo>
                  <a:pt x="4383478" y="2629795"/>
                  <a:pt x="4297232" y="2664387"/>
                  <a:pt x="4235652" y="2720383"/>
                </a:cubicBezTo>
                <a:cubicBezTo>
                  <a:pt x="4258683" y="2727446"/>
                  <a:pt x="4267892" y="2722120"/>
                  <a:pt x="4279690" y="2710202"/>
                </a:cubicBezTo>
                <a:cubicBezTo>
                  <a:pt x="4310481" y="2687298"/>
                  <a:pt x="4334268" y="2663350"/>
                  <a:pt x="4367076" y="2644377"/>
                </a:cubicBezTo>
                <a:cubicBezTo>
                  <a:pt x="4395279" y="2628065"/>
                  <a:pt x="4437677" y="2593355"/>
                  <a:pt x="4442978" y="2656531"/>
                </a:cubicBezTo>
                <a:cubicBezTo>
                  <a:pt x="4442410" y="2677242"/>
                  <a:pt x="4460645" y="2687079"/>
                  <a:pt x="4486072" y="2687661"/>
                </a:cubicBezTo>
                <a:cubicBezTo>
                  <a:pt x="4523108" y="2686623"/>
                  <a:pt x="4557557" y="2692178"/>
                  <a:pt x="4601407" y="2692297"/>
                </a:cubicBezTo>
                <a:cubicBezTo>
                  <a:pt x="4582416" y="2713471"/>
                  <a:pt x="4556421" y="2733600"/>
                  <a:pt x="4593078" y="2742974"/>
                </a:cubicBezTo>
                <a:cubicBezTo>
                  <a:pt x="4620713" y="2747374"/>
                  <a:pt x="4634907" y="2728974"/>
                  <a:pt x="4656110" y="2721807"/>
                </a:cubicBezTo>
                <a:cubicBezTo>
                  <a:pt x="4695730" y="2703989"/>
                  <a:pt x="4740528" y="2672986"/>
                  <a:pt x="4765007" y="2704689"/>
                </a:cubicBezTo>
                <a:cubicBezTo>
                  <a:pt x="4783937" y="2726353"/>
                  <a:pt x="4739140" y="2757356"/>
                  <a:pt x="4722358" y="2782348"/>
                </a:cubicBezTo>
                <a:cubicBezTo>
                  <a:pt x="4696175" y="2812778"/>
                  <a:pt x="4676805" y="2844363"/>
                  <a:pt x="4734472" y="2846680"/>
                </a:cubicBezTo>
                <a:cubicBezTo>
                  <a:pt x="4706081" y="2873291"/>
                  <a:pt x="4669044" y="2874328"/>
                  <a:pt x="4642861" y="2904758"/>
                </a:cubicBezTo>
                <a:cubicBezTo>
                  <a:pt x="4730372" y="2915294"/>
                  <a:pt x="4814223" y="2887183"/>
                  <a:pt x="4895489" y="2875854"/>
                </a:cubicBezTo>
                <a:cubicBezTo>
                  <a:pt x="4894921" y="2896564"/>
                  <a:pt x="4871322" y="2910212"/>
                  <a:pt x="4870946" y="2930812"/>
                </a:cubicBezTo>
                <a:cubicBezTo>
                  <a:pt x="4895552" y="2916582"/>
                  <a:pt x="4916326" y="2901701"/>
                  <a:pt x="4945776" y="2889685"/>
                </a:cubicBezTo>
                <a:lnTo>
                  <a:pt x="4957035" y="2885934"/>
                </a:lnTo>
                <a:lnTo>
                  <a:pt x="4964182" y="2898270"/>
                </a:lnTo>
                <a:lnTo>
                  <a:pt x="4907974" y="2974446"/>
                </a:lnTo>
                <a:cubicBezTo>
                  <a:pt x="4841620" y="3070385"/>
                  <a:pt x="4781512" y="3163428"/>
                  <a:pt x="4668984" y="3220863"/>
                </a:cubicBezTo>
                <a:cubicBezTo>
                  <a:pt x="4743437" y="3208378"/>
                  <a:pt x="4795803" y="3147520"/>
                  <a:pt x="4879147" y="3151294"/>
                </a:cubicBezTo>
                <a:cubicBezTo>
                  <a:pt x="4841735" y="3172931"/>
                  <a:pt x="4811073" y="3184549"/>
                  <a:pt x="4780915" y="3208104"/>
                </a:cubicBezTo>
                <a:cubicBezTo>
                  <a:pt x="4747915" y="3227189"/>
                  <a:pt x="4694035" y="3242044"/>
                  <a:pt x="4702550" y="3278903"/>
                </a:cubicBezTo>
                <a:cubicBezTo>
                  <a:pt x="4708799" y="3310958"/>
                  <a:pt x="4762426" y="3285040"/>
                  <a:pt x="4794858" y="3286666"/>
                </a:cubicBezTo>
                <a:cubicBezTo>
                  <a:pt x="4834103" y="3289447"/>
                  <a:pt x="4892526" y="3260755"/>
                  <a:pt x="4897827" y="3323931"/>
                </a:cubicBezTo>
                <a:cubicBezTo>
                  <a:pt x="4899847" y="3338050"/>
                  <a:pt x="4921046" y="3320694"/>
                  <a:pt x="4935244" y="3312484"/>
                </a:cubicBezTo>
                <a:cubicBezTo>
                  <a:pt x="4963063" y="3296394"/>
                  <a:pt x="4996063" y="3277310"/>
                  <a:pt x="5037705" y="3273610"/>
                </a:cubicBezTo>
                <a:cubicBezTo>
                  <a:pt x="5016126" y="3301376"/>
                  <a:pt x="5004141" y="3323594"/>
                  <a:pt x="4984959" y="3344879"/>
                </a:cubicBezTo>
                <a:cubicBezTo>
                  <a:pt x="4960984" y="3379127"/>
                  <a:pt x="4976822" y="3395445"/>
                  <a:pt x="5010891" y="3411411"/>
                </a:cubicBezTo>
                <a:cubicBezTo>
                  <a:pt x="5045343" y="3427155"/>
                  <a:pt x="5105407" y="3422992"/>
                  <a:pt x="5110896" y="3475869"/>
                </a:cubicBezTo>
                <a:cubicBezTo>
                  <a:pt x="5123832" y="3530554"/>
                  <a:pt x="5155124" y="3563412"/>
                  <a:pt x="5224781" y="3553701"/>
                </a:cubicBezTo>
                <a:cubicBezTo>
                  <a:pt x="5231786" y="3554746"/>
                  <a:pt x="5238599" y="3555901"/>
                  <a:pt x="5245412" y="3557057"/>
                </a:cubicBezTo>
                <a:cubicBezTo>
                  <a:pt x="5291281" y="3571293"/>
                  <a:pt x="5245035" y="3577657"/>
                  <a:pt x="5240051" y="3590730"/>
                </a:cubicBezTo>
                <a:lnTo>
                  <a:pt x="5244468" y="3598367"/>
                </a:lnTo>
                <a:cubicBezTo>
                  <a:pt x="5251281" y="3599523"/>
                  <a:pt x="5251281" y="3599523"/>
                  <a:pt x="5258285" y="3600567"/>
                </a:cubicBezTo>
                <a:lnTo>
                  <a:pt x="5260494" y="3604385"/>
                </a:lnTo>
                <a:cubicBezTo>
                  <a:pt x="5215696" y="3635389"/>
                  <a:pt x="5170899" y="3666392"/>
                  <a:pt x="5130898" y="3694621"/>
                </a:cubicBezTo>
                <a:cubicBezTo>
                  <a:pt x="5176956" y="3698558"/>
                  <a:pt x="5176956" y="3698558"/>
                  <a:pt x="5164591" y="3731187"/>
                </a:cubicBezTo>
                <a:cubicBezTo>
                  <a:pt x="5142445" y="3779664"/>
                  <a:pt x="5153866" y="3788346"/>
                  <a:pt x="5202892" y="3775279"/>
                </a:cubicBezTo>
                <a:cubicBezTo>
                  <a:pt x="5251534" y="3762434"/>
                  <a:pt x="5271409" y="3796801"/>
                  <a:pt x="5301253" y="3805019"/>
                </a:cubicBezTo>
                <a:cubicBezTo>
                  <a:pt x="5308066" y="3806174"/>
                  <a:pt x="5305670" y="3812656"/>
                  <a:pt x="5305670" y="3812656"/>
                </a:cubicBezTo>
                <a:cubicBezTo>
                  <a:pt x="5282075" y="3836492"/>
                  <a:pt x="5302325" y="3850259"/>
                  <a:pt x="5311159" y="3865533"/>
                </a:cubicBezTo>
                <a:cubicBezTo>
                  <a:pt x="5318225" y="3877751"/>
                  <a:pt x="5322642" y="3885388"/>
                  <a:pt x="5308444" y="3893599"/>
                </a:cubicBezTo>
                <a:cubicBezTo>
                  <a:pt x="5247625" y="3928773"/>
                  <a:pt x="5281506" y="3955039"/>
                  <a:pt x="5303589" y="3993223"/>
                </a:cubicBezTo>
                <a:cubicBezTo>
                  <a:pt x="5331099" y="3921262"/>
                  <a:pt x="5378230" y="3970439"/>
                  <a:pt x="5422835" y="3939547"/>
                </a:cubicBezTo>
                <a:cubicBezTo>
                  <a:pt x="5396084" y="3990686"/>
                  <a:pt x="5371730" y="4035345"/>
                  <a:pt x="5391605" y="4069711"/>
                </a:cubicBezTo>
                <a:cubicBezTo>
                  <a:pt x="5411292" y="4114377"/>
                  <a:pt x="5387505" y="4138324"/>
                  <a:pt x="5354509" y="4167598"/>
                </a:cubicBezTo>
                <a:cubicBezTo>
                  <a:pt x="5345108" y="4173035"/>
                  <a:pt x="5330910" y="4181246"/>
                  <a:pt x="5333118" y="4185064"/>
                </a:cubicBezTo>
                <a:cubicBezTo>
                  <a:pt x="5331795" y="4236785"/>
                  <a:pt x="5285549" y="4243149"/>
                  <a:pt x="5259930" y="4242678"/>
                </a:cubicBezTo>
                <a:cubicBezTo>
                  <a:pt x="5220685" y="4239897"/>
                  <a:pt x="5215512" y="4263271"/>
                  <a:pt x="5217533" y="4277389"/>
                </a:cubicBezTo>
                <a:cubicBezTo>
                  <a:pt x="5212360" y="4300763"/>
                  <a:pt x="5211600" y="4321585"/>
                  <a:pt x="5224850" y="4344495"/>
                </a:cubicBezTo>
                <a:cubicBezTo>
                  <a:pt x="5286242" y="4298800"/>
                  <a:pt x="5353502" y="4295570"/>
                  <a:pt x="5422967" y="4285970"/>
                </a:cubicBezTo>
                <a:cubicBezTo>
                  <a:pt x="5401074" y="4345510"/>
                  <a:pt x="5412116" y="4364603"/>
                  <a:pt x="5472621" y="4361203"/>
                </a:cubicBezTo>
                <a:cubicBezTo>
                  <a:pt x="5498048" y="4361785"/>
                  <a:pt x="5521267" y="4358547"/>
                  <a:pt x="5544486" y="4355310"/>
                </a:cubicBezTo>
                <a:cubicBezTo>
                  <a:pt x="5555904" y="4353803"/>
                  <a:pt x="5577106" y="4346636"/>
                  <a:pt x="5585939" y="4361910"/>
                </a:cubicBezTo>
                <a:cubicBezTo>
                  <a:pt x="5587576" y="4376251"/>
                  <a:pt x="5573570" y="4384351"/>
                  <a:pt x="5568778" y="4397313"/>
                </a:cubicBezTo>
                <a:cubicBezTo>
                  <a:pt x="5542215" y="4438153"/>
                  <a:pt x="5493001" y="4461520"/>
                  <a:pt x="5456849" y="4518096"/>
                </a:cubicBezTo>
                <a:cubicBezTo>
                  <a:pt x="5560449" y="4447990"/>
                  <a:pt x="5654648" y="4383321"/>
                  <a:pt x="5750484" y="4332992"/>
                </a:cubicBezTo>
                <a:cubicBezTo>
                  <a:pt x="5756921" y="4354747"/>
                  <a:pt x="5769983" y="4387957"/>
                  <a:pt x="5751181" y="4398831"/>
                </a:cubicBezTo>
                <a:cubicBezTo>
                  <a:pt x="5701779" y="4432497"/>
                  <a:pt x="5723294" y="4491393"/>
                  <a:pt x="5669284" y="4517533"/>
                </a:cubicBezTo>
                <a:cubicBezTo>
                  <a:pt x="5732127" y="4506666"/>
                  <a:pt x="5732127" y="4506666"/>
                  <a:pt x="5742221" y="4556880"/>
                </a:cubicBezTo>
                <a:cubicBezTo>
                  <a:pt x="5758818" y="4650212"/>
                  <a:pt x="5770176" y="4745556"/>
                  <a:pt x="5790744" y="4835572"/>
                </a:cubicBezTo>
                <a:cubicBezTo>
                  <a:pt x="5794405" y="4874220"/>
                  <a:pt x="5808034" y="4886719"/>
                  <a:pt x="5850432" y="4852009"/>
                </a:cubicBezTo>
                <a:cubicBezTo>
                  <a:pt x="5878823" y="4825398"/>
                  <a:pt x="5916427" y="4803650"/>
                  <a:pt x="5949235" y="4784676"/>
                </a:cubicBezTo>
                <a:cubicBezTo>
                  <a:pt x="5984381" y="4856071"/>
                  <a:pt x="5900906" y="4863583"/>
                  <a:pt x="5856113" y="4904775"/>
                </a:cubicBezTo>
                <a:cubicBezTo>
                  <a:pt x="5904567" y="4902230"/>
                  <a:pt x="5937375" y="4883256"/>
                  <a:pt x="5979396" y="4869145"/>
                </a:cubicBezTo>
                <a:cubicBezTo>
                  <a:pt x="5964443" y="4908367"/>
                  <a:pt x="5924630" y="4926296"/>
                  <a:pt x="5894030" y="4949088"/>
                </a:cubicBezTo>
                <a:cubicBezTo>
                  <a:pt x="5924254" y="4946896"/>
                  <a:pt x="5956682" y="4938333"/>
                  <a:pt x="5989176" y="4951133"/>
                </a:cubicBezTo>
                <a:cubicBezTo>
                  <a:pt x="5979395" y="4966981"/>
                  <a:pt x="5972014" y="4986536"/>
                  <a:pt x="5953404" y="4997299"/>
                </a:cubicBezTo>
                <a:cubicBezTo>
                  <a:pt x="5878575" y="5030384"/>
                  <a:pt x="5898449" y="5064750"/>
                  <a:pt x="5924949" y="5110571"/>
                </a:cubicBezTo>
                <a:cubicBezTo>
                  <a:pt x="5953341" y="5083961"/>
                  <a:pt x="5983748" y="5061279"/>
                  <a:pt x="6012332" y="5034558"/>
                </a:cubicBezTo>
                <a:cubicBezTo>
                  <a:pt x="6045328" y="5005284"/>
                  <a:pt x="6072399" y="5040583"/>
                  <a:pt x="6102619" y="5028202"/>
                </a:cubicBezTo>
                <a:cubicBezTo>
                  <a:pt x="6119025" y="5023809"/>
                  <a:pt x="6113849" y="5036994"/>
                  <a:pt x="6113661" y="5047294"/>
                </a:cubicBezTo>
                <a:cubicBezTo>
                  <a:pt x="6091702" y="5085471"/>
                  <a:pt x="6093155" y="5120300"/>
                  <a:pt x="6113030" y="5154666"/>
                </a:cubicBezTo>
                <a:cubicBezTo>
                  <a:pt x="6130696" y="5185214"/>
                  <a:pt x="6164577" y="5211480"/>
                  <a:pt x="6163821" y="5242490"/>
                </a:cubicBezTo>
                <a:cubicBezTo>
                  <a:pt x="6162796" y="5259644"/>
                  <a:pt x="6166026" y="5268604"/>
                  <a:pt x="6171695" y="5272825"/>
                </a:cubicBezTo>
                <a:lnTo>
                  <a:pt x="6171960" y="5272847"/>
                </a:lnTo>
                <a:lnTo>
                  <a:pt x="6160393" y="5281399"/>
                </a:lnTo>
                <a:cubicBezTo>
                  <a:pt x="6153639" y="5289783"/>
                  <a:pt x="6148125" y="5301641"/>
                  <a:pt x="6144817" y="5319261"/>
                </a:cubicBezTo>
                <a:cubicBezTo>
                  <a:pt x="6135995" y="5243240"/>
                  <a:pt x="6091002" y="5210660"/>
                  <a:pt x="6077770" y="5167441"/>
                </a:cubicBezTo>
                <a:cubicBezTo>
                  <a:pt x="6016015" y="5200022"/>
                  <a:pt x="6051304" y="5259641"/>
                  <a:pt x="6055714" y="5308401"/>
                </a:cubicBezTo>
                <a:cubicBezTo>
                  <a:pt x="6055714" y="5351841"/>
                  <a:pt x="6042481" y="5384421"/>
                  <a:pt x="6011604" y="5405920"/>
                </a:cubicBezTo>
                <a:cubicBezTo>
                  <a:pt x="6011604" y="5411239"/>
                  <a:pt x="6011604" y="5416780"/>
                  <a:pt x="6007193" y="5411239"/>
                </a:cubicBezTo>
                <a:cubicBezTo>
                  <a:pt x="6002782" y="5411239"/>
                  <a:pt x="6007193" y="5405920"/>
                  <a:pt x="6007193" y="5400601"/>
                </a:cubicBezTo>
                <a:cubicBezTo>
                  <a:pt x="6002782" y="5330121"/>
                  <a:pt x="5980727" y="5313942"/>
                  <a:pt x="5923384" y="5340981"/>
                </a:cubicBezTo>
                <a:cubicBezTo>
                  <a:pt x="5910150" y="5286681"/>
                  <a:pt x="5905740" y="5281361"/>
                  <a:pt x="5918972" y="5232602"/>
                </a:cubicBezTo>
                <a:cubicBezTo>
                  <a:pt x="5923384" y="5210660"/>
                  <a:pt x="5918972" y="5205341"/>
                  <a:pt x="5905740" y="5205341"/>
                </a:cubicBezTo>
                <a:cubicBezTo>
                  <a:pt x="5892506" y="5205341"/>
                  <a:pt x="5888095" y="5194481"/>
                  <a:pt x="5879273" y="5183842"/>
                </a:cubicBezTo>
                <a:cubicBezTo>
                  <a:pt x="5835163" y="5129542"/>
                  <a:pt x="5826341" y="5129542"/>
                  <a:pt x="5782230" y="5183842"/>
                </a:cubicBezTo>
                <a:cubicBezTo>
                  <a:pt x="5760176" y="5210660"/>
                  <a:pt x="5738120" y="5243240"/>
                  <a:pt x="5694010" y="5237921"/>
                </a:cubicBezTo>
                <a:cubicBezTo>
                  <a:pt x="5666662" y="5232602"/>
                  <a:pt x="5613729" y="5221742"/>
                  <a:pt x="5591674" y="5281361"/>
                </a:cubicBezTo>
                <a:cubicBezTo>
                  <a:pt x="5582852" y="5254100"/>
                  <a:pt x="5587263" y="5216422"/>
                  <a:pt x="5547564" y="5221742"/>
                </a:cubicBezTo>
                <a:cubicBezTo>
                  <a:pt x="5551975" y="5232602"/>
                  <a:pt x="5556386" y="5237921"/>
                  <a:pt x="5560797" y="5248781"/>
                </a:cubicBezTo>
                <a:cubicBezTo>
                  <a:pt x="5565208" y="5265182"/>
                  <a:pt x="5574030" y="5292000"/>
                  <a:pt x="5556386" y="5303082"/>
                </a:cubicBezTo>
                <a:cubicBezTo>
                  <a:pt x="5538742" y="5308401"/>
                  <a:pt x="5529920" y="5292000"/>
                  <a:pt x="5521098" y="5275821"/>
                </a:cubicBezTo>
                <a:cubicBezTo>
                  <a:pt x="5507864" y="5259641"/>
                  <a:pt x="5503454" y="5237921"/>
                  <a:pt x="5494632" y="5216422"/>
                </a:cubicBezTo>
                <a:cubicBezTo>
                  <a:pt x="5476988" y="5221742"/>
                  <a:pt x="5468165" y="5248781"/>
                  <a:pt x="5450521" y="5243240"/>
                </a:cubicBezTo>
                <a:cubicBezTo>
                  <a:pt x="5446110" y="5205341"/>
                  <a:pt x="5384356" y="5129542"/>
                  <a:pt x="5349068" y="5118682"/>
                </a:cubicBezTo>
                <a:cubicBezTo>
                  <a:pt x="5340246" y="5118682"/>
                  <a:pt x="5327012" y="5113141"/>
                  <a:pt x="5322601" y="5113141"/>
                </a:cubicBezTo>
                <a:cubicBezTo>
                  <a:pt x="5300546" y="5135083"/>
                  <a:pt x="5300546" y="5124001"/>
                  <a:pt x="5296135" y="5096961"/>
                </a:cubicBezTo>
                <a:cubicBezTo>
                  <a:pt x="5278491" y="5015622"/>
                  <a:pt x="5251142" y="4999221"/>
                  <a:pt x="5184977" y="5026482"/>
                </a:cubicBezTo>
                <a:cubicBezTo>
                  <a:pt x="5176155" y="5031801"/>
                  <a:pt x="5162922" y="5037342"/>
                  <a:pt x="5154100" y="5037342"/>
                </a:cubicBezTo>
                <a:cubicBezTo>
                  <a:pt x="5114400" y="5037342"/>
                  <a:pt x="5105578" y="5069922"/>
                  <a:pt x="5109990" y="5107822"/>
                </a:cubicBezTo>
                <a:cubicBezTo>
                  <a:pt x="5114400" y="5145721"/>
                  <a:pt x="5105578" y="5167441"/>
                  <a:pt x="5070290" y="5178301"/>
                </a:cubicBezTo>
                <a:cubicBezTo>
                  <a:pt x="5052646" y="5178301"/>
                  <a:pt x="5017358" y="5194481"/>
                  <a:pt x="5017358" y="5194481"/>
                </a:cubicBezTo>
                <a:cubicBezTo>
                  <a:pt x="4995303" y="5243240"/>
                  <a:pt x="4964426" y="5221742"/>
                  <a:pt x="4937960" y="5205341"/>
                </a:cubicBezTo>
                <a:cubicBezTo>
                  <a:pt x="4933548" y="5254100"/>
                  <a:pt x="4933548" y="5292000"/>
                  <a:pt x="4933548" y="5346522"/>
                </a:cubicBezTo>
                <a:cubicBezTo>
                  <a:pt x="4901789" y="5308401"/>
                  <a:pt x="4853268" y="5308401"/>
                  <a:pt x="4866501" y="5243240"/>
                </a:cubicBezTo>
                <a:cubicBezTo>
                  <a:pt x="4875323" y="5205341"/>
                  <a:pt x="4888556" y="5221742"/>
                  <a:pt x="4901789" y="5232602"/>
                </a:cubicBezTo>
                <a:cubicBezTo>
                  <a:pt x="4906200" y="5200022"/>
                  <a:pt x="4929138" y="5161900"/>
                  <a:pt x="4901789" y="5129542"/>
                </a:cubicBezTo>
                <a:cubicBezTo>
                  <a:pt x="4897378" y="5118682"/>
                  <a:pt x="4884145" y="5096961"/>
                  <a:pt x="4875323" y="5113141"/>
                </a:cubicBezTo>
                <a:cubicBezTo>
                  <a:pt x="4862090" y="5124001"/>
                  <a:pt x="4830330" y="5113141"/>
                  <a:pt x="4844446" y="5156581"/>
                </a:cubicBezTo>
                <a:cubicBezTo>
                  <a:pt x="4853268" y="5172982"/>
                  <a:pt x="4840034" y="5189161"/>
                  <a:pt x="4830330" y="5194481"/>
                </a:cubicBezTo>
                <a:cubicBezTo>
                  <a:pt x="4786220" y="5205341"/>
                  <a:pt x="4759754" y="5237921"/>
                  <a:pt x="4737698" y="5275821"/>
                </a:cubicBezTo>
                <a:cubicBezTo>
                  <a:pt x="4742110" y="5216422"/>
                  <a:pt x="4746521" y="5151262"/>
                  <a:pt x="4750932" y="5086101"/>
                </a:cubicBezTo>
                <a:cubicBezTo>
                  <a:pt x="4724466" y="5096961"/>
                  <a:pt x="4728876" y="5135083"/>
                  <a:pt x="4702410" y="5140402"/>
                </a:cubicBezTo>
                <a:cubicBezTo>
                  <a:pt x="4693588" y="5102502"/>
                  <a:pt x="4680356" y="5064381"/>
                  <a:pt x="4675944" y="5026482"/>
                </a:cubicBezTo>
                <a:cubicBezTo>
                  <a:pt x="4671534" y="4977722"/>
                  <a:pt x="4653889" y="4988582"/>
                  <a:pt x="4636245" y="5010302"/>
                </a:cubicBezTo>
                <a:cubicBezTo>
                  <a:pt x="4627423" y="5021162"/>
                  <a:pt x="4618601" y="5037342"/>
                  <a:pt x="4614190" y="5048202"/>
                </a:cubicBezTo>
                <a:cubicBezTo>
                  <a:pt x="4596546" y="5086101"/>
                  <a:pt x="4578902" y="5102502"/>
                  <a:pt x="4548024" y="5048202"/>
                </a:cubicBezTo>
                <a:cubicBezTo>
                  <a:pt x="4578902" y="5113141"/>
                  <a:pt x="4534792" y="5135083"/>
                  <a:pt x="4512736" y="5151262"/>
                </a:cubicBezTo>
                <a:cubicBezTo>
                  <a:pt x="4490681" y="5167441"/>
                  <a:pt x="4468626" y="5129542"/>
                  <a:pt x="4450982" y="5107822"/>
                </a:cubicBezTo>
                <a:cubicBezTo>
                  <a:pt x="4428926" y="5080560"/>
                  <a:pt x="4405990" y="5075241"/>
                  <a:pt x="4388345" y="5113141"/>
                </a:cubicBezTo>
                <a:cubicBezTo>
                  <a:pt x="4379523" y="5124001"/>
                  <a:pt x="4370701" y="5135083"/>
                  <a:pt x="4361879" y="5151262"/>
                </a:cubicBezTo>
                <a:cubicBezTo>
                  <a:pt x="4348646" y="5096961"/>
                  <a:pt x="4348646" y="5042661"/>
                  <a:pt x="4322180" y="4983041"/>
                </a:cubicBezTo>
                <a:cubicBezTo>
                  <a:pt x="4300124" y="5086101"/>
                  <a:pt x="4370701" y="5200022"/>
                  <a:pt x="4282480" y="5281361"/>
                </a:cubicBezTo>
                <a:cubicBezTo>
                  <a:pt x="4264836" y="5248781"/>
                  <a:pt x="4269248" y="5216422"/>
                  <a:pt x="4269248" y="5183842"/>
                </a:cubicBezTo>
                <a:lnTo>
                  <a:pt x="4269248" y="5086101"/>
                </a:lnTo>
                <a:cubicBezTo>
                  <a:pt x="4242781" y="5129542"/>
                  <a:pt x="4229548" y="5183842"/>
                  <a:pt x="4203082" y="5221742"/>
                </a:cubicBezTo>
                <a:cubicBezTo>
                  <a:pt x="4194260" y="5232602"/>
                  <a:pt x="4185438" y="5243240"/>
                  <a:pt x="4172204" y="5237921"/>
                </a:cubicBezTo>
                <a:cubicBezTo>
                  <a:pt x="4158972" y="5232602"/>
                  <a:pt x="4150150" y="5221742"/>
                  <a:pt x="4145738" y="5205341"/>
                </a:cubicBezTo>
                <a:cubicBezTo>
                  <a:pt x="4141328" y="5183842"/>
                  <a:pt x="4150150" y="5178301"/>
                  <a:pt x="4163382" y="5178301"/>
                </a:cubicBezTo>
                <a:cubicBezTo>
                  <a:pt x="4185438" y="5178301"/>
                  <a:pt x="4181027" y="5161900"/>
                  <a:pt x="4172204" y="5145721"/>
                </a:cubicBezTo>
                <a:cubicBezTo>
                  <a:pt x="4150150" y="5096961"/>
                  <a:pt x="4145738" y="5048202"/>
                  <a:pt x="4172204" y="4999221"/>
                </a:cubicBezTo>
                <a:cubicBezTo>
                  <a:pt x="4167794" y="4999221"/>
                  <a:pt x="4167794" y="4999221"/>
                  <a:pt x="4167794" y="4993901"/>
                </a:cubicBezTo>
                <a:cubicBezTo>
                  <a:pt x="4158972" y="4999221"/>
                  <a:pt x="4150150" y="5010302"/>
                  <a:pt x="4141328" y="5010302"/>
                </a:cubicBezTo>
                <a:cubicBezTo>
                  <a:pt x="4066340" y="5021162"/>
                  <a:pt x="4044285" y="5080560"/>
                  <a:pt x="4044285" y="5161900"/>
                </a:cubicBezTo>
                <a:cubicBezTo>
                  <a:pt x="4044285" y="5167441"/>
                  <a:pt x="4044285" y="5178301"/>
                  <a:pt x="4035463" y="5178301"/>
                </a:cubicBezTo>
                <a:cubicBezTo>
                  <a:pt x="4000175" y="5156581"/>
                  <a:pt x="4048696" y="5102502"/>
                  <a:pt x="4008997" y="5080560"/>
                </a:cubicBezTo>
                <a:cubicBezTo>
                  <a:pt x="3990471" y="5129542"/>
                  <a:pt x="3990471" y="5183842"/>
                  <a:pt x="3977237" y="5232602"/>
                </a:cubicBezTo>
                <a:cubicBezTo>
                  <a:pt x="3972826" y="5265182"/>
                  <a:pt x="3981649" y="5319261"/>
                  <a:pt x="3941949" y="5319261"/>
                </a:cubicBezTo>
                <a:cubicBezTo>
                  <a:pt x="3911072" y="5319261"/>
                  <a:pt x="3915483" y="5265182"/>
                  <a:pt x="3906661" y="5232602"/>
                </a:cubicBezTo>
                <a:cubicBezTo>
                  <a:pt x="3906661" y="5232602"/>
                  <a:pt x="3902250" y="5232602"/>
                  <a:pt x="3897839" y="5227061"/>
                </a:cubicBezTo>
                <a:cubicBezTo>
                  <a:pt x="3889017" y="5248781"/>
                  <a:pt x="3875784" y="5265182"/>
                  <a:pt x="3866962" y="5286681"/>
                </a:cubicBezTo>
                <a:cubicBezTo>
                  <a:pt x="3849318" y="5270501"/>
                  <a:pt x="3866962" y="5248781"/>
                  <a:pt x="3853729" y="5237921"/>
                </a:cubicBezTo>
                <a:cubicBezTo>
                  <a:pt x="3814029" y="5237921"/>
                  <a:pt x="3787563" y="5254100"/>
                  <a:pt x="3787563" y="5303082"/>
                </a:cubicBezTo>
                <a:cubicBezTo>
                  <a:pt x="3783152" y="5357160"/>
                  <a:pt x="3756686" y="5330121"/>
                  <a:pt x="3739042" y="5319261"/>
                </a:cubicBezTo>
                <a:cubicBezTo>
                  <a:pt x="3739042" y="5346522"/>
                  <a:pt x="3747864" y="5368021"/>
                  <a:pt x="3730220" y="5389741"/>
                </a:cubicBezTo>
                <a:cubicBezTo>
                  <a:pt x="3703754" y="5351841"/>
                  <a:pt x="3716987" y="5313942"/>
                  <a:pt x="3734631" y="5286681"/>
                </a:cubicBezTo>
                <a:cubicBezTo>
                  <a:pt x="3769919" y="5232602"/>
                  <a:pt x="3756686" y="5189161"/>
                  <a:pt x="3739042" y="5129542"/>
                </a:cubicBezTo>
                <a:cubicBezTo>
                  <a:pt x="3677287" y="5243240"/>
                  <a:pt x="3668465" y="5248781"/>
                  <a:pt x="3593478" y="5216422"/>
                </a:cubicBezTo>
                <a:cubicBezTo>
                  <a:pt x="3575834" y="5205341"/>
                  <a:pt x="3526430" y="5205341"/>
                  <a:pt x="3535252" y="5161900"/>
                </a:cubicBezTo>
                <a:cubicBezTo>
                  <a:pt x="3544074" y="5124001"/>
                  <a:pt x="3535252" y="5091642"/>
                  <a:pt x="3526430" y="5053743"/>
                </a:cubicBezTo>
                <a:cubicBezTo>
                  <a:pt x="3491142" y="5107822"/>
                  <a:pt x="3508786" y="5178301"/>
                  <a:pt x="3477909" y="5232602"/>
                </a:cubicBezTo>
                <a:cubicBezTo>
                  <a:pt x="3451443" y="5200022"/>
                  <a:pt x="3447032" y="5156581"/>
                  <a:pt x="3442621" y="5113141"/>
                </a:cubicBezTo>
                <a:cubicBezTo>
                  <a:pt x="3438210" y="5075241"/>
                  <a:pt x="3433799" y="5037342"/>
                  <a:pt x="3429388" y="4993901"/>
                </a:cubicBezTo>
                <a:cubicBezTo>
                  <a:pt x="3407332" y="5010302"/>
                  <a:pt x="3416155" y="5026482"/>
                  <a:pt x="3416155" y="5042661"/>
                </a:cubicBezTo>
                <a:lnTo>
                  <a:pt x="3429388" y="5140402"/>
                </a:lnTo>
                <a:cubicBezTo>
                  <a:pt x="3433799" y="5200022"/>
                  <a:pt x="3424977" y="5210660"/>
                  <a:pt x="3376455" y="5200022"/>
                </a:cubicBezTo>
                <a:cubicBezTo>
                  <a:pt x="3363222" y="5200022"/>
                  <a:pt x="3349989" y="5205341"/>
                  <a:pt x="3341167" y="5216422"/>
                </a:cubicBezTo>
                <a:cubicBezTo>
                  <a:pt x="3323523" y="5232602"/>
                  <a:pt x="3310290" y="5254100"/>
                  <a:pt x="3301468" y="5275821"/>
                </a:cubicBezTo>
                <a:cubicBezTo>
                  <a:pt x="3297057" y="5292000"/>
                  <a:pt x="3288235" y="5346522"/>
                  <a:pt x="3257357" y="5297762"/>
                </a:cubicBezTo>
                <a:cubicBezTo>
                  <a:pt x="3248535" y="5286681"/>
                  <a:pt x="3222069" y="5292000"/>
                  <a:pt x="3222069" y="5324580"/>
                </a:cubicBezTo>
                <a:cubicBezTo>
                  <a:pt x="3226480" y="5362480"/>
                  <a:pt x="3217658" y="5400601"/>
                  <a:pt x="3208836" y="5433181"/>
                </a:cubicBezTo>
                <a:cubicBezTo>
                  <a:pt x="3204425" y="5449360"/>
                  <a:pt x="3195603" y="5465761"/>
                  <a:pt x="3182370" y="5471081"/>
                </a:cubicBezTo>
                <a:cubicBezTo>
                  <a:pt x="3164726" y="5471081"/>
                  <a:pt x="3160315" y="5449360"/>
                  <a:pt x="3155904" y="5438500"/>
                </a:cubicBezTo>
                <a:cubicBezTo>
                  <a:pt x="3145317" y="5422321"/>
                  <a:pt x="3145317" y="5400601"/>
                  <a:pt x="3136495" y="5384421"/>
                </a:cubicBezTo>
                <a:cubicBezTo>
                  <a:pt x="3118851" y="5351841"/>
                  <a:pt x="3105618" y="5313942"/>
                  <a:pt x="3070330" y="5373340"/>
                </a:cubicBezTo>
                <a:lnTo>
                  <a:pt x="3070330" y="5248781"/>
                </a:lnTo>
                <a:cubicBezTo>
                  <a:pt x="3021808" y="5330121"/>
                  <a:pt x="2990931" y="5411239"/>
                  <a:pt x="2968876" y="5503439"/>
                </a:cubicBezTo>
                <a:cubicBezTo>
                  <a:pt x="2951232" y="5487260"/>
                  <a:pt x="2951232" y="5459999"/>
                  <a:pt x="2929177" y="5449360"/>
                </a:cubicBezTo>
                <a:cubicBezTo>
                  <a:pt x="2929177" y="5481941"/>
                  <a:pt x="2933588" y="5514521"/>
                  <a:pt x="2924766" y="5552421"/>
                </a:cubicBezTo>
                <a:cubicBezTo>
                  <a:pt x="2893889" y="5498120"/>
                  <a:pt x="2854189" y="5459999"/>
                  <a:pt x="2854189" y="5395060"/>
                </a:cubicBezTo>
                <a:cubicBezTo>
                  <a:pt x="2854189" y="5389741"/>
                  <a:pt x="2854189" y="5384421"/>
                  <a:pt x="2849778" y="5378659"/>
                </a:cubicBezTo>
                <a:cubicBezTo>
                  <a:pt x="2801257" y="5313942"/>
                  <a:pt x="2788024" y="5237921"/>
                  <a:pt x="2796846" y="5151262"/>
                </a:cubicBezTo>
                <a:cubicBezTo>
                  <a:pt x="2801257" y="5135083"/>
                  <a:pt x="2788024" y="5118682"/>
                  <a:pt x="2770380" y="5118682"/>
                </a:cubicBezTo>
                <a:cubicBezTo>
                  <a:pt x="2757147" y="5183842"/>
                  <a:pt x="2779202" y="5259641"/>
                  <a:pt x="2743913" y="5324580"/>
                </a:cubicBezTo>
                <a:cubicBezTo>
                  <a:pt x="2739502" y="5286681"/>
                  <a:pt x="2739502" y="5248781"/>
                  <a:pt x="2739502" y="5205341"/>
                </a:cubicBezTo>
                <a:cubicBezTo>
                  <a:pt x="2739502" y="5167441"/>
                  <a:pt x="2739502" y="5129542"/>
                  <a:pt x="2712154" y="5096961"/>
                </a:cubicBezTo>
                <a:cubicBezTo>
                  <a:pt x="2690099" y="5140402"/>
                  <a:pt x="2668044" y="5178301"/>
                  <a:pt x="2645989" y="5216422"/>
                </a:cubicBezTo>
                <a:cubicBezTo>
                  <a:pt x="2637167" y="5232602"/>
                  <a:pt x="2623933" y="5254100"/>
                  <a:pt x="2615111" y="5254100"/>
                </a:cubicBezTo>
                <a:cubicBezTo>
                  <a:pt x="2557768" y="5248781"/>
                  <a:pt x="2571001" y="5303082"/>
                  <a:pt x="2566590" y="5340981"/>
                </a:cubicBezTo>
                <a:cubicBezTo>
                  <a:pt x="2562179" y="5357160"/>
                  <a:pt x="2571001" y="5378659"/>
                  <a:pt x="2557768" y="5389741"/>
                </a:cubicBezTo>
                <a:cubicBezTo>
                  <a:pt x="2535713" y="5378659"/>
                  <a:pt x="2526891" y="5351841"/>
                  <a:pt x="2513658" y="5330121"/>
                </a:cubicBezTo>
                <a:cubicBezTo>
                  <a:pt x="2473958" y="5275821"/>
                  <a:pt x="2473958" y="5275821"/>
                  <a:pt x="2425437" y="5324580"/>
                </a:cubicBezTo>
                <a:cubicBezTo>
                  <a:pt x="2407793" y="5346522"/>
                  <a:pt x="2390149" y="5362480"/>
                  <a:pt x="2372505" y="5378659"/>
                </a:cubicBezTo>
                <a:cubicBezTo>
                  <a:pt x="2350450" y="5400601"/>
                  <a:pt x="2323983" y="5411239"/>
                  <a:pt x="2301046" y="5378659"/>
                </a:cubicBezTo>
                <a:cubicBezTo>
                  <a:pt x="2283402" y="5346522"/>
                  <a:pt x="2265758" y="5357160"/>
                  <a:pt x="2248114" y="5373340"/>
                </a:cubicBezTo>
                <a:cubicBezTo>
                  <a:pt x="2226059" y="5395060"/>
                  <a:pt x="2204003" y="5422321"/>
                  <a:pt x="2181948" y="5449360"/>
                </a:cubicBezTo>
                <a:lnTo>
                  <a:pt x="2181948" y="5378659"/>
                </a:lnTo>
                <a:cubicBezTo>
                  <a:pt x="2168715" y="5400601"/>
                  <a:pt x="2177537" y="5427640"/>
                  <a:pt x="2155482" y="5438500"/>
                </a:cubicBezTo>
                <a:cubicBezTo>
                  <a:pt x="2151071" y="5400601"/>
                  <a:pt x="2146660" y="5368021"/>
                  <a:pt x="2142249" y="5335440"/>
                </a:cubicBezTo>
                <a:cubicBezTo>
                  <a:pt x="2111372" y="5346522"/>
                  <a:pt x="2089317" y="5303082"/>
                  <a:pt x="2067262" y="5303082"/>
                </a:cubicBezTo>
                <a:cubicBezTo>
                  <a:pt x="2023151" y="5297762"/>
                  <a:pt x="2001096" y="5340981"/>
                  <a:pt x="1987863" y="5384421"/>
                </a:cubicBezTo>
                <a:cubicBezTo>
                  <a:pt x="1930520" y="5351841"/>
                  <a:pt x="1867883" y="5319261"/>
                  <a:pt x="1801718" y="5319261"/>
                </a:cubicBezTo>
                <a:cubicBezTo>
                  <a:pt x="1801718" y="5351841"/>
                  <a:pt x="1841417" y="5384421"/>
                  <a:pt x="1792896" y="5395060"/>
                </a:cubicBezTo>
                <a:cubicBezTo>
                  <a:pt x="1762018" y="5395060"/>
                  <a:pt x="1735552" y="5335440"/>
                  <a:pt x="1744374" y="5303082"/>
                </a:cubicBezTo>
                <a:cubicBezTo>
                  <a:pt x="1762018" y="5254100"/>
                  <a:pt x="1753196" y="5210660"/>
                  <a:pt x="1748785" y="5161900"/>
                </a:cubicBezTo>
                <a:cubicBezTo>
                  <a:pt x="1748785" y="5145721"/>
                  <a:pt x="1731141" y="5140402"/>
                  <a:pt x="1731141" y="5156581"/>
                </a:cubicBezTo>
                <a:cubicBezTo>
                  <a:pt x="1731141" y="5205341"/>
                  <a:pt x="1687031" y="5248781"/>
                  <a:pt x="1704675" y="5303082"/>
                </a:cubicBezTo>
                <a:cubicBezTo>
                  <a:pt x="1656154" y="5319261"/>
                  <a:pt x="1616454" y="5292000"/>
                  <a:pt x="1589988" y="5243240"/>
                </a:cubicBezTo>
                <a:cubicBezTo>
                  <a:pt x="1576755" y="5205341"/>
                  <a:pt x="1594399" y="5167441"/>
                  <a:pt x="1616454" y="5135083"/>
                </a:cubicBezTo>
                <a:cubicBezTo>
                  <a:pt x="1585577" y="5129542"/>
                  <a:pt x="1567933" y="5086101"/>
                  <a:pt x="1532645" y="5086101"/>
                </a:cubicBezTo>
                <a:cubicBezTo>
                  <a:pt x="1528234" y="5183842"/>
                  <a:pt x="1523823" y="5189161"/>
                  <a:pt x="1497357" y="5237921"/>
                </a:cubicBezTo>
                <a:cubicBezTo>
                  <a:pt x="1417076" y="5172982"/>
                  <a:pt x="1408254" y="5178301"/>
                  <a:pt x="1386199" y="5292000"/>
                </a:cubicBezTo>
                <a:cubicBezTo>
                  <a:pt x="1381788" y="5319261"/>
                  <a:pt x="1367672" y="5346522"/>
                  <a:pt x="1358850" y="5368021"/>
                </a:cubicBezTo>
                <a:cubicBezTo>
                  <a:pt x="1345617" y="5405920"/>
                  <a:pt x="1332384" y="5411239"/>
                  <a:pt x="1314740" y="5373340"/>
                </a:cubicBezTo>
                <a:cubicBezTo>
                  <a:pt x="1292685" y="5324580"/>
                  <a:pt x="1288274" y="5275821"/>
                  <a:pt x="1266219" y="5227061"/>
                </a:cubicBezTo>
                <a:cubicBezTo>
                  <a:pt x="1261808" y="5319261"/>
                  <a:pt x="1279452" y="5405920"/>
                  <a:pt x="1275041" y="5492579"/>
                </a:cubicBezTo>
                <a:cubicBezTo>
                  <a:pt x="1244163" y="5492579"/>
                  <a:pt x="1213286" y="5481941"/>
                  <a:pt x="1213286" y="5438500"/>
                </a:cubicBezTo>
                <a:cubicBezTo>
                  <a:pt x="1208875" y="5395060"/>
                  <a:pt x="1195642" y="5389741"/>
                  <a:pt x="1164765" y="5389741"/>
                </a:cubicBezTo>
                <a:cubicBezTo>
                  <a:pt x="1151532" y="5395060"/>
                  <a:pt x="1133888" y="5389741"/>
                  <a:pt x="1120655" y="5384421"/>
                </a:cubicBezTo>
                <a:cubicBezTo>
                  <a:pt x="1022730" y="5368021"/>
                  <a:pt x="934509" y="5313942"/>
                  <a:pt x="841878" y="5292000"/>
                </a:cubicBezTo>
                <a:cubicBezTo>
                  <a:pt x="771301" y="5275821"/>
                  <a:pt x="771301" y="5275821"/>
                  <a:pt x="780123" y="5357160"/>
                </a:cubicBezTo>
                <a:cubicBezTo>
                  <a:pt x="784534" y="5378659"/>
                  <a:pt x="784534" y="5400601"/>
                  <a:pt x="784534" y="5416780"/>
                </a:cubicBezTo>
                <a:cubicBezTo>
                  <a:pt x="784534" y="5433181"/>
                  <a:pt x="793356" y="5454680"/>
                  <a:pt x="771301" y="5454680"/>
                </a:cubicBezTo>
                <a:cubicBezTo>
                  <a:pt x="753657" y="5454680"/>
                  <a:pt x="736013" y="5454680"/>
                  <a:pt x="736013" y="5422321"/>
                </a:cubicBezTo>
                <a:cubicBezTo>
                  <a:pt x="736013" y="5400601"/>
                  <a:pt x="731602" y="5378659"/>
                  <a:pt x="731602" y="5357160"/>
                </a:cubicBezTo>
                <a:lnTo>
                  <a:pt x="713958" y="5357160"/>
                </a:lnTo>
                <a:cubicBezTo>
                  <a:pt x="705136" y="5373340"/>
                  <a:pt x="709547" y="5405920"/>
                  <a:pt x="687492" y="5416780"/>
                </a:cubicBezTo>
                <a:cubicBezTo>
                  <a:pt x="669847" y="5389741"/>
                  <a:pt x="674259" y="5357160"/>
                  <a:pt x="674259" y="5330121"/>
                </a:cubicBezTo>
                <a:lnTo>
                  <a:pt x="669847" y="5330121"/>
                </a:lnTo>
                <a:lnTo>
                  <a:pt x="665436" y="5330121"/>
                </a:lnTo>
                <a:cubicBezTo>
                  <a:pt x="661025" y="5346522"/>
                  <a:pt x="656614" y="5357160"/>
                  <a:pt x="652203" y="5373340"/>
                </a:cubicBezTo>
                <a:cubicBezTo>
                  <a:pt x="647792" y="5384421"/>
                  <a:pt x="638970" y="5395060"/>
                  <a:pt x="624855" y="5395060"/>
                </a:cubicBezTo>
                <a:cubicBezTo>
                  <a:pt x="607211" y="5395060"/>
                  <a:pt x="598389" y="5373340"/>
                  <a:pt x="602800" y="5362480"/>
                </a:cubicBezTo>
                <a:cubicBezTo>
                  <a:pt x="611622" y="5281361"/>
                  <a:pt x="563101" y="5275821"/>
                  <a:pt x="514579" y="5259641"/>
                </a:cubicBezTo>
                <a:cubicBezTo>
                  <a:pt x="518990" y="5340981"/>
                  <a:pt x="571923" y="5427640"/>
                  <a:pt x="479291" y="5481941"/>
                </a:cubicBezTo>
                <a:cubicBezTo>
                  <a:pt x="435181" y="5362480"/>
                  <a:pt x="338138" y="5433181"/>
                  <a:pt x="267562" y="5411239"/>
                </a:cubicBezTo>
                <a:cubicBezTo>
                  <a:pt x="232273" y="5400601"/>
                  <a:pt x="245506" y="5454680"/>
                  <a:pt x="227862" y="5465761"/>
                </a:cubicBezTo>
                <a:cubicBezTo>
                  <a:pt x="214629" y="5476400"/>
                  <a:pt x="204925" y="5498120"/>
                  <a:pt x="187281" y="5492579"/>
                </a:cubicBezTo>
                <a:cubicBezTo>
                  <a:pt x="166108" y="5496125"/>
                  <a:pt x="127291" y="5512526"/>
                  <a:pt x="99060" y="5487260"/>
                </a:cubicBezTo>
                <a:cubicBezTo>
                  <a:pt x="70830" y="5461994"/>
                  <a:pt x="28484" y="5400601"/>
                  <a:pt x="15251" y="5340981"/>
                </a:cubicBezTo>
                <a:lnTo>
                  <a:pt x="11278" y="5346268"/>
                </a:lnTo>
                <a:lnTo>
                  <a:pt x="524" y="5307700"/>
                </a:lnTo>
                <a:cubicBezTo>
                  <a:pt x="-1387" y="5290273"/>
                  <a:pt x="1570" y="5272629"/>
                  <a:pt x="15484" y="5255311"/>
                </a:cubicBezTo>
                <a:cubicBezTo>
                  <a:pt x="34453" y="5234905"/>
                  <a:pt x="71648" y="5195709"/>
                  <a:pt x="32691" y="5145477"/>
                </a:cubicBezTo>
                <a:cubicBezTo>
                  <a:pt x="60496" y="5152395"/>
                  <a:pt x="90151" y="5176053"/>
                  <a:pt x="106617" y="5139539"/>
                </a:cubicBezTo>
                <a:cubicBezTo>
                  <a:pt x="95066" y="5137545"/>
                  <a:pt x="88219" y="5138478"/>
                  <a:pt x="76668" y="5136483"/>
                </a:cubicBezTo>
                <a:cubicBezTo>
                  <a:pt x="60414" y="5131560"/>
                  <a:pt x="32985" y="5124876"/>
                  <a:pt x="32902" y="5104040"/>
                </a:cubicBezTo>
                <a:cubicBezTo>
                  <a:pt x="37712" y="5086250"/>
                  <a:pt x="56298" y="5087429"/>
                  <a:pt x="74695" y="5088490"/>
                </a:cubicBezTo>
                <a:cubicBezTo>
                  <a:pt x="95424" y="5085807"/>
                  <a:pt x="116194" y="5093542"/>
                  <a:pt x="139107" y="5097415"/>
                </a:cubicBezTo>
                <a:cubicBezTo>
                  <a:pt x="143917" y="5079625"/>
                  <a:pt x="125625" y="5057845"/>
                  <a:pt x="139654" y="5045795"/>
                </a:cubicBezTo>
                <a:cubicBezTo>
                  <a:pt x="174159" y="5062080"/>
                  <a:pt x="271145" y="5049715"/>
                  <a:pt x="299014" y="5025498"/>
                </a:cubicBezTo>
                <a:cubicBezTo>
                  <a:pt x="303676" y="5018009"/>
                  <a:pt x="315374" y="5009703"/>
                  <a:pt x="317705" y="5005958"/>
                </a:cubicBezTo>
                <a:cubicBezTo>
                  <a:pt x="310735" y="4975639"/>
                  <a:pt x="320142" y="4981495"/>
                  <a:pt x="345428" y="4992041"/>
                </a:cubicBezTo>
                <a:cubicBezTo>
                  <a:pt x="423805" y="5020051"/>
                  <a:pt x="452182" y="5005502"/>
                  <a:pt x="464008" y="4934925"/>
                </a:cubicBezTo>
                <a:cubicBezTo>
                  <a:pt x="464155" y="4924624"/>
                  <a:pt x="466445" y="4910462"/>
                  <a:pt x="471107" y="4902973"/>
                </a:cubicBezTo>
                <a:cubicBezTo>
                  <a:pt x="492089" y="4869271"/>
                  <a:pt x="469093" y="4844563"/>
                  <a:pt x="434587" y="4828277"/>
                </a:cubicBezTo>
                <a:cubicBezTo>
                  <a:pt x="400082" y="4811992"/>
                  <a:pt x="386306" y="4793023"/>
                  <a:pt x="395736" y="4757327"/>
                </a:cubicBezTo>
                <a:cubicBezTo>
                  <a:pt x="405061" y="4742348"/>
                  <a:pt x="409976" y="4703840"/>
                  <a:pt x="409976" y="4703840"/>
                </a:cubicBezTo>
                <a:cubicBezTo>
                  <a:pt x="380239" y="4659347"/>
                  <a:pt x="414809" y="4644496"/>
                  <a:pt x="442719" y="4630696"/>
                </a:cubicBezTo>
                <a:cubicBezTo>
                  <a:pt x="403657" y="4601182"/>
                  <a:pt x="371483" y="4581152"/>
                  <a:pt x="325198" y="4552337"/>
                </a:cubicBezTo>
                <a:cubicBezTo>
                  <a:pt x="374345" y="4545522"/>
                  <a:pt x="399989" y="4504331"/>
                  <a:pt x="448312" y="4550003"/>
                </a:cubicBezTo>
                <a:cubicBezTo>
                  <a:pt x="475823" y="4577522"/>
                  <a:pt x="454906" y="4580088"/>
                  <a:pt x="438693" y="4585583"/>
                </a:cubicBezTo>
                <a:cubicBezTo>
                  <a:pt x="464020" y="4606546"/>
                  <a:pt x="484260" y="4646166"/>
                  <a:pt x="526184" y="4640050"/>
                </a:cubicBezTo>
                <a:cubicBezTo>
                  <a:pt x="537734" y="4642045"/>
                  <a:pt x="563167" y="4642291"/>
                  <a:pt x="554094" y="4626251"/>
                </a:cubicBezTo>
                <a:cubicBezTo>
                  <a:pt x="551869" y="4609277"/>
                  <a:pt x="577873" y="4588055"/>
                  <a:pt x="533536" y="4577079"/>
                </a:cubicBezTo>
                <a:cubicBezTo>
                  <a:pt x="514950" y="4575901"/>
                  <a:pt x="508208" y="4556116"/>
                  <a:pt x="508821" y="4545067"/>
                </a:cubicBezTo>
                <a:cubicBezTo>
                  <a:pt x="522915" y="4501880"/>
                  <a:pt x="509244" y="4462194"/>
                  <a:pt x="488726" y="4423440"/>
                </a:cubicBezTo>
                <a:cubicBezTo>
                  <a:pt x="536820" y="4458577"/>
                  <a:pt x="589805" y="4496760"/>
                  <a:pt x="642790" y="4534942"/>
                </a:cubicBezTo>
                <a:cubicBezTo>
                  <a:pt x="647559" y="4506734"/>
                  <a:pt x="612865" y="4490331"/>
                  <a:pt x="622337" y="4465052"/>
                </a:cubicBezTo>
                <a:cubicBezTo>
                  <a:pt x="659174" y="4477593"/>
                  <a:pt x="698529" y="4486507"/>
                  <a:pt x="733035" y="4502792"/>
                </a:cubicBezTo>
                <a:cubicBezTo>
                  <a:pt x="776759" y="4524817"/>
                  <a:pt x="776865" y="4504099"/>
                  <a:pt x="767751" y="4477641"/>
                </a:cubicBezTo>
                <a:cubicBezTo>
                  <a:pt x="763194" y="4464412"/>
                  <a:pt x="754122" y="4448372"/>
                  <a:pt x="747233" y="4438888"/>
                </a:cubicBezTo>
                <a:cubicBezTo>
                  <a:pt x="724384" y="4403879"/>
                  <a:pt x="719786" y="4380232"/>
                  <a:pt x="782202" y="4382718"/>
                </a:cubicBezTo>
                <a:cubicBezTo>
                  <a:pt x="710755" y="4374610"/>
                  <a:pt x="715440" y="4325567"/>
                  <a:pt x="713362" y="4298293"/>
                </a:cubicBezTo>
                <a:cubicBezTo>
                  <a:pt x="711283" y="4271019"/>
                  <a:pt x="755113" y="4272326"/>
                  <a:pt x="782877" y="4268826"/>
                </a:cubicBezTo>
                <a:cubicBezTo>
                  <a:pt x="817676" y="4264510"/>
                  <a:pt x="834314" y="4247850"/>
                  <a:pt x="811465" y="4212841"/>
                </a:cubicBezTo>
                <a:cubicBezTo>
                  <a:pt x="806908" y="4199612"/>
                  <a:pt x="802163" y="4186266"/>
                  <a:pt x="793091" y="4170226"/>
                </a:cubicBezTo>
                <a:cubicBezTo>
                  <a:pt x="846182" y="4187690"/>
                  <a:pt x="892279" y="4216388"/>
                  <a:pt x="956879" y="4225429"/>
                </a:cubicBezTo>
                <a:cubicBezTo>
                  <a:pt x="881045" y="4152238"/>
                  <a:pt x="747035" y="4151945"/>
                  <a:pt x="724608" y="4034063"/>
                </a:cubicBezTo>
                <a:cubicBezTo>
                  <a:pt x="761591" y="4036304"/>
                  <a:pt x="786730" y="4057150"/>
                  <a:pt x="814388" y="4074369"/>
                </a:cubicBezTo>
                <a:lnTo>
                  <a:pt x="897364" y="4126026"/>
                </a:lnTo>
                <a:cubicBezTo>
                  <a:pt x="874473" y="4080599"/>
                  <a:pt x="835370" y="4040667"/>
                  <a:pt x="817183" y="3998169"/>
                </a:cubicBezTo>
                <a:cubicBezTo>
                  <a:pt x="812626" y="3984940"/>
                  <a:pt x="808258" y="3971828"/>
                  <a:pt x="819767" y="3963405"/>
                </a:cubicBezTo>
                <a:cubicBezTo>
                  <a:pt x="831277" y="3954983"/>
                  <a:pt x="845158" y="3953233"/>
                  <a:pt x="861413" y="3958157"/>
                </a:cubicBezTo>
                <a:cubicBezTo>
                  <a:pt x="881995" y="3965774"/>
                  <a:pt x="882036" y="3976192"/>
                  <a:pt x="875043" y="3987426"/>
                </a:cubicBezTo>
                <a:cubicBezTo>
                  <a:pt x="863386" y="4006149"/>
                  <a:pt x="879641" y="4011072"/>
                  <a:pt x="898038" y="4012134"/>
                </a:cubicBezTo>
                <a:cubicBezTo>
                  <a:pt x="951088" y="4019180"/>
                  <a:pt x="994813" y="4041205"/>
                  <a:pt x="1022407" y="4089560"/>
                </a:cubicBezTo>
                <a:cubicBezTo>
                  <a:pt x="1024738" y="4085815"/>
                  <a:pt x="1024738" y="4085815"/>
                  <a:pt x="1029254" y="4088627"/>
                </a:cubicBezTo>
                <a:cubicBezTo>
                  <a:pt x="1029401" y="4078326"/>
                  <a:pt x="1024656" y="4064980"/>
                  <a:pt x="1029318" y="4057491"/>
                </a:cubicBezTo>
                <a:cubicBezTo>
                  <a:pt x="1059730" y="3988092"/>
                  <a:pt x="1020961" y="3937977"/>
                  <a:pt x="951910" y="3894988"/>
                </a:cubicBezTo>
                <a:cubicBezTo>
                  <a:pt x="947206" y="3892060"/>
                  <a:pt x="937986" y="3886320"/>
                  <a:pt x="942649" y="3878831"/>
                </a:cubicBezTo>
                <a:cubicBezTo>
                  <a:pt x="979738" y="3860353"/>
                  <a:pt x="1000003" y="3930125"/>
                  <a:pt x="1039612" y="3908019"/>
                </a:cubicBezTo>
                <a:cubicBezTo>
                  <a:pt x="1007821" y="3866405"/>
                  <a:pt x="961724" y="3837707"/>
                  <a:pt x="927324" y="3800703"/>
                </a:cubicBezTo>
                <a:cubicBezTo>
                  <a:pt x="901997" y="3779739"/>
                  <a:pt x="851425" y="3758648"/>
                  <a:pt x="872407" y="3724946"/>
                </a:cubicBezTo>
                <a:cubicBezTo>
                  <a:pt x="888725" y="3698734"/>
                  <a:pt x="932303" y="3731059"/>
                  <a:pt x="964624" y="3740789"/>
                </a:cubicBezTo>
                <a:cubicBezTo>
                  <a:pt x="964624" y="3740789"/>
                  <a:pt x="966956" y="3737044"/>
                  <a:pt x="973991" y="3736228"/>
                </a:cubicBezTo>
                <a:cubicBezTo>
                  <a:pt x="960214" y="3717259"/>
                  <a:pt x="953285" y="3697357"/>
                  <a:pt x="939696" y="3678506"/>
                </a:cubicBezTo>
                <a:cubicBezTo>
                  <a:pt x="962757" y="3672078"/>
                  <a:pt x="971870" y="3698536"/>
                  <a:pt x="988084" y="3693042"/>
                </a:cubicBezTo>
                <a:cubicBezTo>
                  <a:pt x="1009065" y="3659340"/>
                  <a:pt x="1009317" y="3628321"/>
                  <a:pt x="967736" y="3602434"/>
                </a:cubicBezTo>
                <a:cubicBezTo>
                  <a:pt x="924158" y="3570109"/>
                  <a:pt x="961100" y="3561931"/>
                  <a:pt x="979645" y="3552692"/>
                </a:cubicBezTo>
                <a:cubicBezTo>
                  <a:pt x="956502" y="3538284"/>
                  <a:pt x="933589" y="3534411"/>
                  <a:pt x="924475" y="3507954"/>
                </a:cubicBezTo>
                <a:cubicBezTo>
                  <a:pt x="970636" y="3505516"/>
                  <a:pt x="995816" y="3536780"/>
                  <a:pt x="1009634" y="3566166"/>
                </a:cubicBezTo>
                <a:cubicBezTo>
                  <a:pt x="1036893" y="3624705"/>
                  <a:pt x="1080765" y="3636429"/>
                  <a:pt x="1140703" y="3652960"/>
                </a:cubicBezTo>
                <a:cubicBezTo>
                  <a:pt x="1076818" y="3540444"/>
                  <a:pt x="1076777" y="3530026"/>
                  <a:pt x="1143879" y="3483469"/>
                </a:cubicBezTo>
                <a:cubicBezTo>
                  <a:pt x="1162611" y="3474347"/>
                  <a:pt x="1188721" y="3432407"/>
                  <a:pt x="1220937" y="3462855"/>
                </a:cubicBezTo>
                <a:cubicBezTo>
                  <a:pt x="1248448" y="3490374"/>
                  <a:pt x="1280581" y="3499987"/>
                  <a:pt x="1317417" y="3512528"/>
                </a:cubicBezTo>
                <a:cubicBezTo>
                  <a:pt x="1290158" y="3453990"/>
                  <a:pt x="1221001" y="3431719"/>
                  <a:pt x="1191222" y="3376808"/>
                </a:cubicBezTo>
                <a:cubicBezTo>
                  <a:pt x="1232868" y="3371559"/>
                  <a:pt x="1272077" y="3390773"/>
                  <a:pt x="1311286" y="3409987"/>
                </a:cubicBezTo>
                <a:cubicBezTo>
                  <a:pt x="1345792" y="3426273"/>
                  <a:pt x="1380297" y="3442558"/>
                  <a:pt x="1419506" y="3461772"/>
                </a:cubicBezTo>
                <a:cubicBezTo>
                  <a:pt x="1417239" y="3434380"/>
                  <a:pt x="1398841" y="3433319"/>
                  <a:pt x="1385106" y="3424768"/>
                </a:cubicBezTo>
                <a:lnTo>
                  <a:pt x="1295137" y="3384345"/>
                </a:lnTo>
                <a:cubicBezTo>
                  <a:pt x="1242193" y="3356581"/>
                  <a:pt x="1237824" y="3343469"/>
                  <a:pt x="1272500" y="3307900"/>
                </a:cubicBezTo>
                <a:cubicBezTo>
                  <a:pt x="1279493" y="3296666"/>
                  <a:pt x="1281971" y="3282621"/>
                  <a:pt x="1277226" y="3269275"/>
                </a:cubicBezTo>
                <a:cubicBezTo>
                  <a:pt x="1272816" y="3245745"/>
                  <a:pt x="1261559" y="3223149"/>
                  <a:pt x="1247783" y="3204181"/>
                </a:cubicBezTo>
                <a:cubicBezTo>
                  <a:pt x="1236379" y="3191885"/>
                  <a:pt x="1194756" y="3155581"/>
                  <a:pt x="1252468" y="3155138"/>
                </a:cubicBezTo>
                <a:cubicBezTo>
                  <a:pt x="1266539" y="3153505"/>
                  <a:pt x="1276010" y="3128226"/>
                  <a:pt x="1248352" y="3111007"/>
                </a:cubicBezTo>
                <a:cubicBezTo>
                  <a:pt x="1213847" y="3094722"/>
                  <a:pt x="1186147" y="3067085"/>
                  <a:pt x="1163151" y="3042377"/>
                </a:cubicBezTo>
                <a:cubicBezTo>
                  <a:pt x="1151747" y="3030082"/>
                  <a:pt x="1142486" y="3013924"/>
                  <a:pt x="1144965" y="2999879"/>
                </a:cubicBezTo>
                <a:cubicBezTo>
                  <a:pt x="1154290" y="2984900"/>
                  <a:pt x="1175060" y="2992635"/>
                  <a:pt x="1186611" y="2994630"/>
                </a:cubicBezTo>
                <a:cubicBezTo>
                  <a:pt x="1205941" y="2994194"/>
                  <a:pt x="1224380" y="3005673"/>
                  <a:pt x="1242777" y="3006735"/>
                </a:cubicBezTo>
                <a:cubicBezTo>
                  <a:pt x="1279761" y="3008975"/>
                  <a:pt x="1318928" y="3017771"/>
                  <a:pt x="1287154" y="2956421"/>
                </a:cubicBezTo>
                <a:lnTo>
                  <a:pt x="1392895" y="3022251"/>
                </a:lnTo>
                <a:cubicBezTo>
                  <a:pt x="1349487" y="2938071"/>
                  <a:pt x="1296942" y="2868988"/>
                  <a:pt x="1230327" y="2801536"/>
                </a:cubicBezTo>
                <a:cubicBezTo>
                  <a:pt x="1253387" y="2795109"/>
                  <a:pt x="1276530" y="2809516"/>
                  <a:pt x="1297218" y="2796415"/>
                </a:cubicBezTo>
                <a:cubicBezTo>
                  <a:pt x="1269559" y="2779196"/>
                  <a:pt x="1239570" y="2765722"/>
                  <a:pt x="1212058" y="2738203"/>
                </a:cubicBezTo>
                <a:cubicBezTo>
                  <a:pt x="1274474" y="2740688"/>
                  <a:pt x="1327818" y="2727133"/>
                  <a:pt x="1382946" y="2761454"/>
                </a:cubicBezTo>
                <a:cubicBezTo>
                  <a:pt x="1387462" y="2764265"/>
                  <a:pt x="1391978" y="2767077"/>
                  <a:pt x="1399201" y="2766377"/>
                </a:cubicBezTo>
                <a:cubicBezTo>
                  <a:pt x="1479785" y="2759390"/>
                  <a:pt x="1551315" y="2788333"/>
                  <a:pt x="1620220" y="2841622"/>
                </a:cubicBezTo>
                <a:cubicBezTo>
                  <a:pt x="1631624" y="2853918"/>
                  <a:pt x="1652541" y="2851352"/>
                  <a:pt x="1661866" y="2836373"/>
                </a:cubicBezTo>
                <a:cubicBezTo>
                  <a:pt x="1613543" y="2790702"/>
                  <a:pt x="1537539" y="2769365"/>
                  <a:pt x="1501060" y="2705087"/>
                </a:cubicBezTo>
                <a:cubicBezTo>
                  <a:pt x="1535565" y="2721372"/>
                  <a:pt x="1567739" y="2741402"/>
                  <a:pt x="1604617" y="2764361"/>
                </a:cubicBezTo>
                <a:cubicBezTo>
                  <a:pt x="1636791" y="2784391"/>
                  <a:pt x="1668965" y="2804421"/>
                  <a:pt x="1711077" y="2798423"/>
                </a:cubicBezTo>
                <a:cubicBezTo>
                  <a:pt x="1685856" y="2756741"/>
                  <a:pt x="1665338" y="2717988"/>
                  <a:pt x="1644632" y="2679118"/>
                </a:cubicBezTo>
                <a:cubicBezTo>
                  <a:pt x="1635560" y="2663077"/>
                  <a:pt x="1624303" y="2640481"/>
                  <a:pt x="1628965" y="2632992"/>
                </a:cubicBezTo>
                <a:cubicBezTo>
                  <a:pt x="1663787" y="2587123"/>
                  <a:pt x="1610696" y="2569659"/>
                  <a:pt x="1580853" y="2545884"/>
                </a:cubicBezTo>
                <a:cubicBezTo>
                  <a:pt x="1569449" y="2533589"/>
                  <a:pt x="1546536" y="2529715"/>
                  <a:pt x="1544122" y="2512625"/>
                </a:cubicBezTo>
                <a:cubicBezTo>
                  <a:pt x="1565186" y="2499758"/>
                  <a:pt x="1592615" y="2506443"/>
                  <a:pt x="1618048" y="2506688"/>
                </a:cubicBezTo>
                <a:cubicBezTo>
                  <a:pt x="1685126" y="2501684"/>
                  <a:pt x="1685126" y="2501684"/>
                  <a:pt x="1669377" y="2434723"/>
                </a:cubicBezTo>
                <a:cubicBezTo>
                  <a:pt x="1660075" y="2408148"/>
                  <a:pt x="1655853" y="2384736"/>
                  <a:pt x="1651443" y="2361206"/>
                </a:cubicBezTo>
                <a:cubicBezTo>
                  <a:pt x="1644472" y="2330886"/>
                  <a:pt x="1649428" y="2302796"/>
                  <a:pt x="1689209" y="2300543"/>
                </a:cubicBezTo>
                <a:cubicBezTo>
                  <a:pt x="1725816" y="2302549"/>
                  <a:pt x="1726110" y="2281948"/>
                  <a:pt x="1721700" y="2258418"/>
                </a:cubicBezTo>
                <a:cubicBezTo>
                  <a:pt x="1714917" y="2228216"/>
                  <a:pt x="1703431" y="2195085"/>
                  <a:pt x="1692132" y="2162071"/>
                </a:cubicBezTo>
                <a:lnTo>
                  <a:pt x="1752153" y="2199437"/>
                </a:lnTo>
                <a:cubicBezTo>
                  <a:pt x="1740520" y="2176607"/>
                  <a:pt x="1712903" y="2169806"/>
                  <a:pt x="1715339" y="2145343"/>
                </a:cubicBezTo>
                <a:cubicBezTo>
                  <a:pt x="1749845" y="2161628"/>
                  <a:pt x="1779834" y="2175103"/>
                  <a:pt x="1809824" y="2188577"/>
                </a:cubicBezTo>
                <a:cubicBezTo>
                  <a:pt x="1816735" y="2156507"/>
                  <a:pt x="1865269" y="2160742"/>
                  <a:pt x="1876925" y="2142019"/>
                </a:cubicBezTo>
                <a:cubicBezTo>
                  <a:pt x="1904754" y="2107384"/>
                  <a:pt x="1879720" y="2065819"/>
                  <a:pt x="1849836" y="2031627"/>
                </a:cubicBezTo>
                <a:cubicBezTo>
                  <a:pt x="1907801" y="2000165"/>
                  <a:pt x="1968563" y="1964210"/>
                  <a:pt x="2003532" y="1908040"/>
                </a:cubicBezTo>
                <a:cubicBezTo>
                  <a:pt x="1975874" y="1890822"/>
                  <a:pt x="1927234" y="1907305"/>
                  <a:pt x="1943846" y="1860491"/>
                </a:cubicBezTo>
                <a:cubicBezTo>
                  <a:pt x="1960165" y="1834278"/>
                  <a:pt x="2024766" y="1843320"/>
                  <a:pt x="2047573" y="1867910"/>
                </a:cubicBezTo>
                <a:cubicBezTo>
                  <a:pt x="2079830" y="1908776"/>
                  <a:pt x="2121370" y="1924246"/>
                  <a:pt x="2165095" y="1946270"/>
                </a:cubicBezTo>
                <a:cubicBezTo>
                  <a:pt x="2178830" y="1954821"/>
                  <a:pt x="2192671" y="1942654"/>
                  <a:pt x="2178936" y="1934103"/>
                </a:cubicBezTo>
                <a:cubicBezTo>
                  <a:pt x="2137542" y="1908333"/>
                  <a:pt x="2123977" y="1847928"/>
                  <a:pt x="2068555" y="1834209"/>
                </a:cubicBezTo>
                <a:cubicBezTo>
                  <a:pt x="2080463" y="1784467"/>
                  <a:pt x="2124587" y="1765173"/>
                  <a:pt x="2179968" y="1768474"/>
                </a:cubicBezTo>
                <a:cubicBezTo>
                  <a:pt x="2219136" y="1777270"/>
                  <a:pt x="2241985" y="1812279"/>
                  <a:pt x="2257799" y="1848104"/>
                </a:cubicBezTo>
                <a:cubicBezTo>
                  <a:pt x="2278822" y="1824820"/>
                  <a:pt x="2325025" y="1832800"/>
                  <a:pt x="2343675" y="1802843"/>
                </a:cubicBezTo>
                <a:cubicBezTo>
                  <a:pt x="2263031" y="1747441"/>
                  <a:pt x="2260846" y="1740885"/>
                  <a:pt x="2233440" y="1692648"/>
                </a:cubicBezTo>
                <a:cubicBezTo>
                  <a:pt x="2330998" y="1658816"/>
                  <a:pt x="2331145" y="1648515"/>
                  <a:pt x="2246279" y="1569701"/>
                </a:cubicBezTo>
                <a:cubicBezTo>
                  <a:pt x="2225467" y="1551549"/>
                  <a:pt x="2209785" y="1525159"/>
                  <a:pt x="2196197" y="1506307"/>
                </a:cubicBezTo>
                <a:cubicBezTo>
                  <a:pt x="2171016" y="1475043"/>
                  <a:pt x="2173494" y="1460998"/>
                  <a:pt x="2214993" y="1466049"/>
                </a:cubicBezTo>
                <a:cubicBezTo>
                  <a:pt x="2268043" y="1473096"/>
                  <a:pt x="2311768" y="1495121"/>
                  <a:pt x="2364818" y="1502168"/>
                </a:cubicBezTo>
                <a:cubicBezTo>
                  <a:pt x="2288878" y="1449695"/>
                  <a:pt x="2205985" y="1418874"/>
                  <a:pt x="2134749" y="1369329"/>
                </a:cubicBezTo>
                <a:cubicBezTo>
                  <a:pt x="2151068" y="1343116"/>
                  <a:pt x="2176418" y="1322526"/>
                  <a:pt x="2213296" y="1345485"/>
                </a:cubicBezTo>
                <a:cubicBezTo>
                  <a:pt x="2252505" y="1364699"/>
                  <a:pt x="2264014" y="1356276"/>
                  <a:pt x="2280333" y="1330063"/>
                </a:cubicBezTo>
                <a:cubicBezTo>
                  <a:pt x="2282811" y="1316018"/>
                  <a:pt x="2296652" y="1303851"/>
                  <a:pt x="2308161" y="1295428"/>
                </a:cubicBezTo>
                <a:cubicBezTo>
                  <a:pt x="2373838" y="1220965"/>
                  <a:pt x="2466372" y="1174653"/>
                  <a:pt x="2533956" y="1107611"/>
                </a:cubicBezTo>
                <a:cubicBezTo>
                  <a:pt x="2584991" y="1056248"/>
                  <a:pt x="2584991" y="1056248"/>
                  <a:pt x="2511277" y="1020748"/>
                </a:cubicBezTo>
                <a:cubicBezTo>
                  <a:pt x="2490695" y="1013131"/>
                  <a:pt x="2472068" y="1001535"/>
                  <a:pt x="2458332" y="992984"/>
                </a:cubicBezTo>
                <a:cubicBezTo>
                  <a:pt x="2444409" y="984316"/>
                  <a:pt x="2421496" y="980443"/>
                  <a:pt x="2433152" y="961720"/>
                </a:cubicBezTo>
                <a:cubicBezTo>
                  <a:pt x="2442477" y="946741"/>
                  <a:pt x="2451802" y="931762"/>
                  <a:pt x="2479273" y="948864"/>
                </a:cubicBezTo>
                <a:cubicBezTo>
                  <a:pt x="2497711" y="960343"/>
                  <a:pt x="2518670" y="968195"/>
                  <a:pt x="2536920" y="979557"/>
                </a:cubicBezTo>
                <a:lnTo>
                  <a:pt x="2546246" y="964579"/>
                </a:lnTo>
                <a:cubicBezTo>
                  <a:pt x="2537173" y="948538"/>
                  <a:pt x="2507183" y="935064"/>
                  <a:pt x="2509620" y="910601"/>
                </a:cubicBezTo>
                <a:cubicBezTo>
                  <a:pt x="2541900" y="909913"/>
                  <a:pt x="2567227" y="930877"/>
                  <a:pt x="2590181" y="945167"/>
                </a:cubicBezTo>
                <a:lnTo>
                  <a:pt x="2592513" y="941422"/>
                </a:lnTo>
                <a:lnTo>
                  <a:pt x="2594844" y="937678"/>
                </a:lnTo>
                <a:cubicBezTo>
                  <a:pt x="2583252" y="925265"/>
                  <a:pt x="2576552" y="915898"/>
                  <a:pt x="2565148" y="903603"/>
                </a:cubicBezTo>
                <a:cubicBezTo>
                  <a:pt x="2558072" y="894001"/>
                  <a:pt x="2553703" y="880889"/>
                  <a:pt x="2561163" y="868906"/>
                </a:cubicBezTo>
                <a:cubicBezTo>
                  <a:pt x="2570488" y="853928"/>
                  <a:pt x="2593589" y="857918"/>
                  <a:pt x="2600478" y="867402"/>
                </a:cubicBezTo>
                <a:cubicBezTo>
                  <a:pt x="2664679" y="917763"/>
                  <a:pt x="2695026" y="879500"/>
                  <a:pt x="2734405" y="846860"/>
                </a:cubicBezTo>
                <a:cubicBezTo>
                  <a:pt x="2663022" y="807616"/>
                  <a:pt x="2561480" y="806752"/>
                  <a:pt x="2564339" y="699416"/>
                </a:cubicBezTo>
                <a:cubicBezTo>
                  <a:pt x="2689065" y="725105"/>
                  <a:pt x="2680332" y="605357"/>
                  <a:pt x="2736259" y="557039"/>
                </a:cubicBezTo>
                <a:cubicBezTo>
                  <a:pt x="2763941" y="532704"/>
                  <a:pt x="2711038" y="515357"/>
                  <a:pt x="2710955" y="494522"/>
                </a:cubicBezTo>
                <a:cubicBezTo>
                  <a:pt x="2708918" y="477665"/>
                  <a:pt x="2695608" y="457948"/>
                  <a:pt x="2709637" y="445897"/>
                </a:cubicBezTo>
                <a:cubicBezTo>
                  <a:pt x="2717816" y="426049"/>
                  <a:pt x="2724408" y="384428"/>
                  <a:pt x="2760777" y="373816"/>
                </a:cubicBezTo>
                <a:cubicBezTo>
                  <a:pt x="2797147" y="363203"/>
                  <a:pt x="2871645" y="359701"/>
                  <a:pt x="2929252" y="379976"/>
                </a:cubicBezTo>
                <a:cubicBezTo>
                  <a:pt x="2888322" y="281751"/>
                  <a:pt x="2897605" y="256355"/>
                  <a:pt x="2973798" y="277809"/>
                </a:cubicBezTo>
                <a:close/>
                <a:moveTo>
                  <a:pt x="3140035" y="81724"/>
                </a:moveTo>
                <a:lnTo>
                  <a:pt x="3147401" y="106542"/>
                </a:lnTo>
                <a:cubicBezTo>
                  <a:pt x="3161187" y="120862"/>
                  <a:pt x="3190069" y="121994"/>
                  <a:pt x="3234202" y="111757"/>
                </a:cubicBezTo>
                <a:cubicBezTo>
                  <a:pt x="3181456" y="183026"/>
                  <a:pt x="3095210" y="217618"/>
                  <a:pt x="3021704" y="198982"/>
                </a:cubicBezTo>
                <a:lnTo>
                  <a:pt x="2990505" y="196234"/>
                </a:lnTo>
                <a:lnTo>
                  <a:pt x="3005107" y="182875"/>
                </a:lnTo>
                <a:cubicBezTo>
                  <a:pt x="3015540" y="175585"/>
                  <a:pt x="3027373" y="168792"/>
                  <a:pt x="3039686" y="161909"/>
                </a:cubicBezTo>
                <a:cubicBezTo>
                  <a:pt x="3069552" y="144130"/>
                  <a:pt x="3109013" y="132326"/>
                  <a:pt x="3129995" y="98624"/>
                </a:cubicBezTo>
                <a:cubicBezTo>
                  <a:pt x="3134620" y="93709"/>
                  <a:pt x="3137962" y="88970"/>
                  <a:pt x="3139834" y="84371"/>
                </a:cubicBezTo>
                <a:close/>
                <a:moveTo>
                  <a:pt x="3093889" y="0"/>
                </a:moveTo>
                <a:lnTo>
                  <a:pt x="3105597" y="4456"/>
                </a:lnTo>
                <a:lnTo>
                  <a:pt x="3152592" y="16960"/>
                </a:lnTo>
                <a:lnTo>
                  <a:pt x="3151171" y="22196"/>
                </a:lnTo>
                <a:lnTo>
                  <a:pt x="3139499" y="69021"/>
                </a:lnTo>
                <a:lnTo>
                  <a:pt x="3131932" y="58181"/>
                </a:lnTo>
                <a:cubicBezTo>
                  <a:pt x="3127178" y="54003"/>
                  <a:pt x="3120581" y="49896"/>
                  <a:pt x="3111955" y="45825"/>
                </a:cubicBezTo>
                <a:lnTo>
                  <a:pt x="3076016" y="2482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242529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id="{A45798D9-CAFF-4DD7-AB24-0A8493ACDD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88995" y="2249718"/>
            <a:ext cx="1952494" cy="29338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9873807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411A7D3-2EB4-447E-BE5F-AC7E7EEBA567}"/>
              </a:ext>
            </a:extLst>
          </p:cNvPr>
          <p:cNvGrpSpPr/>
          <p:nvPr userDrawn="1"/>
        </p:nvGrpSpPr>
        <p:grpSpPr>
          <a:xfrm>
            <a:off x="-1" y="-121539"/>
            <a:ext cx="12192001" cy="1608851"/>
            <a:chOff x="-1" y="-121539"/>
            <a:chExt cx="12192001" cy="160885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3CD8CE1-859C-4513-862E-CE4DF1CA8AD9}"/>
                </a:ext>
              </a:extLst>
            </p:cNvPr>
            <p:cNvSpPr/>
            <p:nvPr userDrawn="1"/>
          </p:nvSpPr>
          <p:spPr>
            <a:xfrm>
              <a:off x="0" y="1"/>
              <a:ext cx="12192000" cy="140017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78A8CBF-574A-4E06-8CA3-B60B0BEC73D5}"/>
                </a:ext>
              </a:extLst>
            </p:cNvPr>
            <p:cNvSpPr/>
            <p:nvPr userDrawn="1"/>
          </p:nvSpPr>
          <p:spPr>
            <a:xfrm>
              <a:off x="-1" y="-121539"/>
              <a:ext cx="12192000" cy="1608851"/>
            </a:xfrm>
            <a:custGeom>
              <a:avLst/>
              <a:gdLst>
                <a:gd name="connsiteX0" fmla="*/ 8760317 w 12192000"/>
                <a:gd name="connsiteY0" fmla="*/ 780798 h 1608850"/>
                <a:gd name="connsiteX1" fmla="*/ 8760317 w 12192000"/>
                <a:gd name="connsiteY1" fmla="*/ 785159 h 1608850"/>
                <a:gd name="connsiteX2" fmla="*/ 8761882 w 12192000"/>
                <a:gd name="connsiteY2" fmla="*/ 787771 h 1608850"/>
                <a:gd name="connsiteX3" fmla="*/ 8762996 w 12192000"/>
                <a:gd name="connsiteY3" fmla="*/ 787771 h 1608850"/>
                <a:gd name="connsiteX4" fmla="*/ 8762996 w 12192000"/>
                <a:gd name="connsiteY4" fmla="*/ 786900 h 1608850"/>
                <a:gd name="connsiteX5" fmla="*/ 8762996 w 12192000"/>
                <a:gd name="connsiteY5" fmla="*/ 780798 h 1608850"/>
                <a:gd name="connsiteX6" fmla="*/ 8761881 w 12192000"/>
                <a:gd name="connsiteY6" fmla="*/ 780798 h 1608850"/>
                <a:gd name="connsiteX7" fmla="*/ 8758924 w 12192000"/>
                <a:gd name="connsiteY7" fmla="*/ 762200 h 1608850"/>
                <a:gd name="connsiteX8" fmla="*/ 8759734 w 12192000"/>
                <a:gd name="connsiteY8" fmla="*/ 771499 h 1608850"/>
                <a:gd name="connsiteX9" fmla="*/ 8762996 w 12192000"/>
                <a:gd name="connsiteY9" fmla="*/ 771499 h 1608850"/>
                <a:gd name="connsiteX10" fmla="*/ 8762996 w 12192000"/>
                <a:gd name="connsiteY10" fmla="*/ 770337 h 1608850"/>
                <a:gd name="connsiteX11" fmla="*/ 8762996 w 12192000"/>
                <a:gd name="connsiteY11" fmla="*/ 762200 h 1608850"/>
                <a:gd name="connsiteX12" fmla="*/ 8761881 w 12192000"/>
                <a:gd name="connsiteY12" fmla="*/ 762200 h 1608850"/>
                <a:gd name="connsiteX13" fmla="*/ 8755951 w 12192000"/>
                <a:gd name="connsiteY13" fmla="*/ 745928 h 1608850"/>
                <a:gd name="connsiteX14" fmla="*/ 8756137 w 12192000"/>
                <a:gd name="connsiteY14" fmla="*/ 746512 h 1608850"/>
                <a:gd name="connsiteX15" fmla="*/ 8758088 w 12192000"/>
                <a:gd name="connsiteY15" fmla="*/ 752614 h 1608850"/>
                <a:gd name="connsiteX16" fmla="*/ 8758113 w 12192000"/>
                <a:gd name="connsiteY16" fmla="*/ 752902 h 1608850"/>
                <a:gd name="connsiteX17" fmla="*/ 8762996 w 12192000"/>
                <a:gd name="connsiteY17" fmla="*/ 752902 h 1608850"/>
                <a:gd name="connsiteX18" fmla="*/ 8762996 w 12192000"/>
                <a:gd name="connsiteY18" fmla="*/ 752030 h 1608850"/>
                <a:gd name="connsiteX19" fmla="*/ 8762996 w 12192000"/>
                <a:gd name="connsiteY19" fmla="*/ 745928 h 1608850"/>
                <a:gd name="connsiteX20" fmla="*/ 8761881 w 12192000"/>
                <a:gd name="connsiteY20" fmla="*/ 745928 h 1608850"/>
                <a:gd name="connsiteX21" fmla="*/ 8907881 w 12192000"/>
                <a:gd name="connsiteY21" fmla="*/ 718032 h 1608850"/>
                <a:gd name="connsiteX22" fmla="*/ 8907881 w 12192000"/>
                <a:gd name="connsiteY22" fmla="*/ 719194 h 1608850"/>
                <a:gd name="connsiteX23" fmla="*/ 8907881 w 12192000"/>
                <a:gd name="connsiteY23" fmla="*/ 727331 h 1608850"/>
                <a:gd name="connsiteX24" fmla="*/ 8908543 w 12192000"/>
                <a:gd name="connsiteY24" fmla="*/ 727331 h 1608850"/>
                <a:gd name="connsiteX25" fmla="*/ 8908543 w 12192000"/>
                <a:gd name="connsiteY25" fmla="*/ 718032 h 1608850"/>
                <a:gd name="connsiteX26" fmla="*/ 1099585 w 12192000"/>
                <a:gd name="connsiteY26" fmla="*/ 0 h 1608850"/>
                <a:gd name="connsiteX27" fmla="*/ 1101611 w 12192000"/>
                <a:gd name="connsiteY27" fmla="*/ 246443 h 1608850"/>
                <a:gd name="connsiteX28" fmla="*/ 1140117 w 12192000"/>
                <a:gd name="connsiteY28" fmla="*/ 326429 h 1608850"/>
                <a:gd name="connsiteX29" fmla="*/ 1142145 w 12192000"/>
                <a:gd name="connsiteY29" fmla="*/ 326429 h 1608850"/>
                <a:gd name="connsiteX30" fmla="*/ 1156331 w 12192000"/>
                <a:gd name="connsiteY30" fmla="*/ 326429 h 1608850"/>
                <a:gd name="connsiteX31" fmla="*/ 1156331 w 12192000"/>
                <a:gd name="connsiteY31" fmla="*/ 350208 h 1608850"/>
                <a:gd name="connsiteX32" fmla="*/ 1156839 w 12192000"/>
                <a:gd name="connsiteY32" fmla="*/ 351019 h 1608850"/>
                <a:gd name="connsiteX33" fmla="*/ 1160385 w 12192000"/>
                <a:gd name="connsiteY33" fmla="*/ 356694 h 1608850"/>
                <a:gd name="connsiteX34" fmla="*/ 1160385 w 12192000"/>
                <a:gd name="connsiteY34" fmla="*/ 471268 h 1608850"/>
                <a:gd name="connsiteX35" fmla="*/ 1162664 w 12192000"/>
                <a:gd name="connsiteY35" fmla="*/ 471268 h 1608850"/>
                <a:gd name="connsiteX36" fmla="*/ 1178625 w 12192000"/>
                <a:gd name="connsiteY36" fmla="*/ 471268 h 1608850"/>
                <a:gd name="connsiteX37" fmla="*/ 1178625 w 12192000"/>
                <a:gd name="connsiteY37" fmla="*/ 611783 h 1608850"/>
                <a:gd name="connsiteX38" fmla="*/ 1180145 w 12192000"/>
                <a:gd name="connsiteY38" fmla="*/ 611513 h 1608850"/>
                <a:gd name="connsiteX39" fmla="*/ 1190785 w 12192000"/>
                <a:gd name="connsiteY39" fmla="*/ 609622 h 1608850"/>
                <a:gd name="connsiteX40" fmla="*/ 1188759 w 12192000"/>
                <a:gd name="connsiteY40" fmla="*/ 698254 h 1608850"/>
                <a:gd name="connsiteX41" fmla="*/ 1190279 w 12192000"/>
                <a:gd name="connsiteY41" fmla="*/ 698525 h 1608850"/>
                <a:gd name="connsiteX42" fmla="*/ 1200919 w 12192000"/>
                <a:gd name="connsiteY42" fmla="*/ 700416 h 1608850"/>
                <a:gd name="connsiteX43" fmla="*/ 1201171 w 12192000"/>
                <a:gd name="connsiteY43" fmla="*/ 701227 h 1608850"/>
                <a:gd name="connsiteX44" fmla="*/ 1202945 w 12192000"/>
                <a:gd name="connsiteY44" fmla="*/ 706902 h 1608850"/>
                <a:gd name="connsiteX45" fmla="*/ 1203705 w 12192000"/>
                <a:gd name="connsiteY45" fmla="*/ 704470 h 1608850"/>
                <a:gd name="connsiteX46" fmla="*/ 1209025 w 12192000"/>
                <a:gd name="connsiteY46" fmla="*/ 687446 h 1608850"/>
                <a:gd name="connsiteX47" fmla="*/ 1210799 w 12192000"/>
                <a:gd name="connsiteY47" fmla="*/ 687446 h 1608850"/>
                <a:gd name="connsiteX48" fmla="*/ 1223212 w 12192000"/>
                <a:gd name="connsiteY48" fmla="*/ 687446 h 1608850"/>
                <a:gd name="connsiteX49" fmla="*/ 1223212 w 12192000"/>
                <a:gd name="connsiteY49" fmla="*/ 719872 h 1608850"/>
                <a:gd name="connsiteX50" fmla="*/ 1224225 w 12192000"/>
                <a:gd name="connsiteY50" fmla="*/ 720413 h 1608850"/>
                <a:gd name="connsiteX51" fmla="*/ 1231319 w 12192000"/>
                <a:gd name="connsiteY51" fmla="*/ 724196 h 1608850"/>
                <a:gd name="connsiteX52" fmla="*/ 1231319 w 12192000"/>
                <a:gd name="connsiteY52" fmla="*/ 725547 h 1608850"/>
                <a:gd name="connsiteX53" fmla="*/ 1231319 w 12192000"/>
                <a:gd name="connsiteY53" fmla="*/ 735005 h 1608850"/>
                <a:gd name="connsiteX54" fmla="*/ 1275907 w 12192000"/>
                <a:gd name="connsiteY54" fmla="*/ 735005 h 1608850"/>
                <a:gd name="connsiteX55" fmla="*/ 1275907 w 12192000"/>
                <a:gd name="connsiteY55" fmla="*/ 736086 h 1608850"/>
                <a:gd name="connsiteX56" fmla="*/ 1275907 w 12192000"/>
                <a:gd name="connsiteY56" fmla="*/ 743652 h 1608850"/>
                <a:gd name="connsiteX57" fmla="*/ 1277933 w 12192000"/>
                <a:gd name="connsiteY57" fmla="*/ 743652 h 1608850"/>
                <a:gd name="connsiteX58" fmla="*/ 1292119 w 12192000"/>
                <a:gd name="connsiteY58" fmla="*/ 743652 h 1608850"/>
                <a:gd name="connsiteX59" fmla="*/ 1292119 w 12192000"/>
                <a:gd name="connsiteY59" fmla="*/ 713387 h 1608850"/>
                <a:gd name="connsiteX60" fmla="*/ 1336706 w 12192000"/>
                <a:gd name="connsiteY60" fmla="*/ 713387 h 1608850"/>
                <a:gd name="connsiteX61" fmla="*/ 1336706 w 12192000"/>
                <a:gd name="connsiteY61" fmla="*/ 712036 h 1608850"/>
                <a:gd name="connsiteX62" fmla="*/ 1336706 w 12192000"/>
                <a:gd name="connsiteY62" fmla="*/ 702578 h 1608850"/>
                <a:gd name="connsiteX63" fmla="*/ 1337721 w 12192000"/>
                <a:gd name="connsiteY63" fmla="*/ 702578 h 1608850"/>
                <a:gd name="connsiteX64" fmla="*/ 1344813 w 12192000"/>
                <a:gd name="connsiteY64" fmla="*/ 702578 h 1608850"/>
                <a:gd name="connsiteX65" fmla="*/ 1344813 w 12192000"/>
                <a:gd name="connsiteY65" fmla="*/ 700687 h 1608850"/>
                <a:gd name="connsiteX66" fmla="*/ 1344813 w 12192000"/>
                <a:gd name="connsiteY66" fmla="*/ 687446 h 1608850"/>
                <a:gd name="connsiteX67" fmla="*/ 1345573 w 12192000"/>
                <a:gd name="connsiteY67" fmla="*/ 687446 h 1608850"/>
                <a:gd name="connsiteX68" fmla="*/ 1350893 w 12192000"/>
                <a:gd name="connsiteY68" fmla="*/ 687446 h 1608850"/>
                <a:gd name="connsiteX69" fmla="*/ 1350893 w 12192000"/>
                <a:gd name="connsiteY69" fmla="*/ 686365 h 1608850"/>
                <a:gd name="connsiteX70" fmla="*/ 1350893 w 12192000"/>
                <a:gd name="connsiteY70" fmla="*/ 678798 h 1608850"/>
                <a:gd name="connsiteX71" fmla="*/ 1352921 w 12192000"/>
                <a:gd name="connsiteY71" fmla="*/ 678798 h 1608850"/>
                <a:gd name="connsiteX72" fmla="*/ 1367107 w 12192000"/>
                <a:gd name="connsiteY72" fmla="*/ 678798 h 1608850"/>
                <a:gd name="connsiteX73" fmla="*/ 1367107 w 12192000"/>
                <a:gd name="connsiteY73" fmla="*/ 679879 h 1608850"/>
                <a:gd name="connsiteX74" fmla="*/ 1367107 w 12192000"/>
                <a:gd name="connsiteY74" fmla="*/ 687446 h 1608850"/>
                <a:gd name="connsiteX75" fmla="*/ 1389401 w 12192000"/>
                <a:gd name="connsiteY75" fmla="*/ 687446 h 1608850"/>
                <a:gd name="connsiteX76" fmla="*/ 1389401 w 12192000"/>
                <a:gd name="connsiteY76" fmla="*/ 685554 h 1608850"/>
                <a:gd name="connsiteX77" fmla="*/ 1389401 w 12192000"/>
                <a:gd name="connsiteY77" fmla="*/ 672313 h 1608850"/>
                <a:gd name="connsiteX78" fmla="*/ 1391174 w 12192000"/>
                <a:gd name="connsiteY78" fmla="*/ 672313 h 1608850"/>
                <a:gd name="connsiteX79" fmla="*/ 1403587 w 12192000"/>
                <a:gd name="connsiteY79" fmla="*/ 672313 h 1608850"/>
                <a:gd name="connsiteX80" fmla="*/ 1403587 w 12192000"/>
                <a:gd name="connsiteY80" fmla="*/ 696093 h 1608850"/>
                <a:gd name="connsiteX81" fmla="*/ 1404601 w 12192000"/>
                <a:gd name="connsiteY81" fmla="*/ 696093 h 1608850"/>
                <a:gd name="connsiteX82" fmla="*/ 1411695 w 12192000"/>
                <a:gd name="connsiteY82" fmla="*/ 696093 h 1608850"/>
                <a:gd name="connsiteX83" fmla="*/ 1411695 w 12192000"/>
                <a:gd name="connsiteY83" fmla="*/ 695012 h 1608850"/>
                <a:gd name="connsiteX84" fmla="*/ 1411695 w 12192000"/>
                <a:gd name="connsiteY84" fmla="*/ 687446 h 1608850"/>
                <a:gd name="connsiteX85" fmla="*/ 1413467 w 12192000"/>
                <a:gd name="connsiteY85" fmla="*/ 687446 h 1608850"/>
                <a:gd name="connsiteX86" fmla="*/ 1425881 w 12192000"/>
                <a:gd name="connsiteY86" fmla="*/ 687446 h 1608850"/>
                <a:gd name="connsiteX87" fmla="*/ 1425881 w 12192000"/>
                <a:gd name="connsiteY87" fmla="*/ 713387 h 1608850"/>
                <a:gd name="connsiteX88" fmla="*/ 1427909 w 12192000"/>
                <a:gd name="connsiteY88" fmla="*/ 713387 h 1608850"/>
                <a:gd name="connsiteX89" fmla="*/ 1442095 w 12192000"/>
                <a:gd name="connsiteY89" fmla="*/ 713387 h 1608850"/>
                <a:gd name="connsiteX90" fmla="*/ 1442095 w 12192000"/>
                <a:gd name="connsiteY90" fmla="*/ 715008 h 1608850"/>
                <a:gd name="connsiteX91" fmla="*/ 1442095 w 12192000"/>
                <a:gd name="connsiteY91" fmla="*/ 726358 h 1608850"/>
                <a:gd name="connsiteX92" fmla="*/ 1442855 w 12192000"/>
                <a:gd name="connsiteY92" fmla="*/ 726358 h 1608850"/>
                <a:gd name="connsiteX93" fmla="*/ 1448175 w 12192000"/>
                <a:gd name="connsiteY93" fmla="*/ 726358 h 1608850"/>
                <a:gd name="connsiteX94" fmla="*/ 1448175 w 12192000"/>
                <a:gd name="connsiteY94" fmla="*/ 725547 h 1608850"/>
                <a:gd name="connsiteX95" fmla="*/ 1448175 w 12192000"/>
                <a:gd name="connsiteY95" fmla="*/ 719872 h 1608850"/>
                <a:gd name="connsiteX96" fmla="*/ 1478575 w 12192000"/>
                <a:gd name="connsiteY96" fmla="*/ 719872 h 1608850"/>
                <a:gd name="connsiteX97" fmla="*/ 1478575 w 12192000"/>
                <a:gd name="connsiteY97" fmla="*/ 743652 h 1608850"/>
                <a:gd name="connsiteX98" fmla="*/ 1479589 w 12192000"/>
                <a:gd name="connsiteY98" fmla="*/ 743652 h 1608850"/>
                <a:gd name="connsiteX99" fmla="*/ 1486683 w 12192000"/>
                <a:gd name="connsiteY99" fmla="*/ 743652 h 1608850"/>
                <a:gd name="connsiteX100" fmla="*/ 1486683 w 12192000"/>
                <a:gd name="connsiteY100" fmla="*/ 744733 h 1608850"/>
                <a:gd name="connsiteX101" fmla="*/ 1486683 w 12192000"/>
                <a:gd name="connsiteY101" fmla="*/ 752299 h 1608850"/>
                <a:gd name="connsiteX102" fmla="*/ 1487443 w 12192000"/>
                <a:gd name="connsiteY102" fmla="*/ 752299 h 1608850"/>
                <a:gd name="connsiteX103" fmla="*/ 1492763 w 12192000"/>
                <a:gd name="connsiteY103" fmla="*/ 752299 h 1608850"/>
                <a:gd name="connsiteX104" fmla="*/ 1492763 w 12192000"/>
                <a:gd name="connsiteY104" fmla="*/ 750137 h 1608850"/>
                <a:gd name="connsiteX105" fmla="*/ 1492763 w 12192000"/>
                <a:gd name="connsiteY105" fmla="*/ 735005 h 1608850"/>
                <a:gd name="connsiteX106" fmla="*/ 1493775 w 12192000"/>
                <a:gd name="connsiteY106" fmla="*/ 735005 h 1608850"/>
                <a:gd name="connsiteX107" fmla="*/ 1500869 w 12192000"/>
                <a:gd name="connsiteY107" fmla="*/ 735005 h 1608850"/>
                <a:gd name="connsiteX108" fmla="*/ 1500869 w 12192000"/>
                <a:gd name="connsiteY108" fmla="*/ 736086 h 1608850"/>
                <a:gd name="connsiteX109" fmla="*/ 1500869 w 12192000"/>
                <a:gd name="connsiteY109" fmla="*/ 743652 h 1608850"/>
                <a:gd name="connsiteX110" fmla="*/ 1506189 w 12192000"/>
                <a:gd name="connsiteY110" fmla="*/ 741659 h 1608850"/>
                <a:gd name="connsiteX111" fmla="*/ 1506949 w 12192000"/>
                <a:gd name="connsiteY111" fmla="*/ 740679 h 1608850"/>
                <a:gd name="connsiteX112" fmla="*/ 1506949 w 12192000"/>
                <a:gd name="connsiteY112" fmla="*/ 735005 h 1608850"/>
                <a:gd name="connsiteX113" fmla="*/ 1545457 w 12192000"/>
                <a:gd name="connsiteY113" fmla="*/ 735005 h 1608850"/>
                <a:gd name="connsiteX114" fmla="*/ 1545457 w 12192000"/>
                <a:gd name="connsiteY114" fmla="*/ 758784 h 1608850"/>
                <a:gd name="connsiteX115" fmla="*/ 1547483 w 12192000"/>
                <a:gd name="connsiteY115" fmla="*/ 758784 h 1608850"/>
                <a:gd name="connsiteX116" fmla="*/ 1561669 w 12192000"/>
                <a:gd name="connsiteY116" fmla="*/ 758784 h 1608850"/>
                <a:gd name="connsiteX117" fmla="*/ 1561669 w 12192000"/>
                <a:gd name="connsiteY117" fmla="*/ 759865 h 1608850"/>
                <a:gd name="connsiteX118" fmla="*/ 1561669 w 12192000"/>
                <a:gd name="connsiteY118" fmla="*/ 767431 h 1608850"/>
                <a:gd name="connsiteX119" fmla="*/ 1563443 w 12192000"/>
                <a:gd name="connsiteY119" fmla="*/ 767431 h 1608850"/>
                <a:gd name="connsiteX120" fmla="*/ 1575857 w 12192000"/>
                <a:gd name="connsiteY120" fmla="*/ 767431 h 1608850"/>
                <a:gd name="connsiteX121" fmla="*/ 1575857 w 12192000"/>
                <a:gd name="connsiteY121" fmla="*/ 743652 h 1608850"/>
                <a:gd name="connsiteX122" fmla="*/ 1576869 w 12192000"/>
                <a:gd name="connsiteY122" fmla="*/ 743652 h 1608850"/>
                <a:gd name="connsiteX123" fmla="*/ 1583963 w 12192000"/>
                <a:gd name="connsiteY123" fmla="*/ 743652 h 1608850"/>
                <a:gd name="connsiteX124" fmla="*/ 1583963 w 12192000"/>
                <a:gd name="connsiteY124" fmla="*/ 711225 h 1608850"/>
                <a:gd name="connsiteX125" fmla="*/ 1584977 w 12192000"/>
                <a:gd name="connsiteY125" fmla="*/ 711225 h 1608850"/>
                <a:gd name="connsiteX126" fmla="*/ 1592071 w 12192000"/>
                <a:gd name="connsiteY126" fmla="*/ 711225 h 1608850"/>
                <a:gd name="connsiteX127" fmla="*/ 1592071 w 12192000"/>
                <a:gd name="connsiteY127" fmla="*/ 709334 h 1608850"/>
                <a:gd name="connsiteX128" fmla="*/ 1592071 w 12192000"/>
                <a:gd name="connsiteY128" fmla="*/ 696093 h 1608850"/>
                <a:gd name="connsiteX129" fmla="*/ 1590803 w 12192000"/>
                <a:gd name="connsiteY129" fmla="*/ 694471 h 1608850"/>
                <a:gd name="connsiteX130" fmla="*/ 1596123 w 12192000"/>
                <a:gd name="connsiteY130" fmla="*/ 683122 h 1608850"/>
                <a:gd name="connsiteX131" fmla="*/ 1604231 w 12192000"/>
                <a:gd name="connsiteY131" fmla="*/ 711225 h 1608850"/>
                <a:gd name="connsiteX132" fmla="*/ 1604991 w 12192000"/>
                <a:gd name="connsiteY132" fmla="*/ 711225 h 1608850"/>
                <a:gd name="connsiteX133" fmla="*/ 1610311 w 12192000"/>
                <a:gd name="connsiteY133" fmla="*/ 711225 h 1608850"/>
                <a:gd name="connsiteX134" fmla="*/ 1610311 w 12192000"/>
                <a:gd name="connsiteY134" fmla="*/ 605298 h 1608850"/>
                <a:gd name="connsiteX135" fmla="*/ 1611831 w 12192000"/>
                <a:gd name="connsiteY135" fmla="*/ 605298 h 1608850"/>
                <a:gd name="connsiteX136" fmla="*/ 1622471 w 12192000"/>
                <a:gd name="connsiteY136" fmla="*/ 605298 h 1608850"/>
                <a:gd name="connsiteX137" fmla="*/ 1622471 w 12192000"/>
                <a:gd name="connsiteY137" fmla="*/ 557739 h 1608850"/>
                <a:gd name="connsiteX138" fmla="*/ 1648817 w 12192000"/>
                <a:gd name="connsiteY138" fmla="*/ 557739 h 1608850"/>
                <a:gd name="connsiteX139" fmla="*/ 1648817 w 12192000"/>
                <a:gd name="connsiteY139" fmla="*/ 536121 h 1608850"/>
                <a:gd name="connsiteX140" fmla="*/ 1683271 w 12192000"/>
                <a:gd name="connsiteY140" fmla="*/ 536121 h 1608850"/>
                <a:gd name="connsiteX141" fmla="*/ 1683271 w 12192000"/>
                <a:gd name="connsiteY141" fmla="*/ 538553 h 1608850"/>
                <a:gd name="connsiteX142" fmla="*/ 1683271 w 12192000"/>
                <a:gd name="connsiteY142" fmla="*/ 555577 h 1608850"/>
                <a:gd name="connsiteX143" fmla="*/ 1685551 w 12192000"/>
                <a:gd name="connsiteY143" fmla="*/ 555577 h 1608850"/>
                <a:gd name="connsiteX144" fmla="*/ 1701511 w 12192000"/>
                <a:gd name="connsiteY144" fmla="*/ 555577 h 1608850"/>
                <a:gd name="connsiteX145" fmla="*/ 1701511 w 12192000"/>
                <a:gd name="connsiteY145" fmla="*/ 603136 h 1608850"/>
                <a:gd name="connsiteX146" fmla="*/ 1702525 w 12192000"/>
                <a:gd name="connsiteY146" fmla="*/ 603136 h 1608850"/>
                <a:gd name="connsiteX147" fmla="*/ 1709619 w 12192000"/>
                <a:gd name="connsiteY147" fmla="*/ 603136 h 1608850"/>
                <a:gd name="connsiteX148" fmla="*/ 1723805 w 12192000"/>
                <a:gd name="connsiteY148" fmla="*/ 607460 h 1608850"/>
                <a:gd name="connsiteX149" fmla="*/ 1723805 w 12192000"/>
                <a:gd name="connsiteY149" fmla="*/ 646372 h 1608850"/>
                <a:gd name="connsiteX150" fmla="*/ 1724819 w 12192000"/>
                <a:gd name="connsiteY150" fmla="*/ 646372 h 1608850"/>
                <a:gd name="connsiteX151" fmla="*/ 1731911 w 12192000"/>
                <a:gd name="connsiteY151" fmla="*/ 646372 h 1608850"/>
                <a:gd name="connsiteX152" fmla="*/ 1731911 w 12192000"/>
                <a:gd name="connsiteY152" fmla="*/ 647993 h 1608850"/>
                <a:gd name="connsiteX153" fmla="*/ 1731911 w 12192000"/>
                <a:gd name="connsiteY153" fmla="*/ 659342 h 1608850"/>
                <a:gd name="connsiteX154" fmla="*/ 1733939 w 12192000"/>
                <a:gd name="connsiteY154" fmla="*/ 659342 h 1608850"/>
                <a:gd name="connsiteX155" fmla="*/ 1748125 w 12192000"/>
                <a:gd name="connsiteY155" fmla="*/ 659342 h 1608850"/>
                <a:gd name="connsiteX156" fmla="*/ 1754205 w 12192000"/>
                <a:gd name="connsiteY156" fmla="*/ 665828 h 1608850"/>
                <a:gd name="connsiteX157" fmla="*/ 1754205 w 12192000"/>
                <a:gd name="connsiteY157" fmla="*/ 687446 h 1608850"/>
                <a:gd name="connsiteX158" fmla="*/ 1756485 w 12192000"/>
                <a:gd name="connsiteY158" fmla="*/ 687446 h 1608850"/>
                <a:gd name="connsiteX159" fmla="*/ 1772445 w 12192000"/>
                <a:gd name="connsiteY159" fmla="*/ 687446 h 1608850"/>
                <a:gd name="connsiteX160" fmla="*/ 1772445 w 12192000"/>
                <a:gd name="connsiteY160" fmla="*/ 688526 h 1608850"/>
                <a:gd name="connsiteX161" fmla="*/ 1772445 w 12192000"/>
                <a:gd name="connsiteY161" fmla="*/ 696093 h 1608850"/>
                <a:gd name="connsiteX162" fmla="*/ 1773713 w 12192000"/>
                <a:gd name="connsiteY162" fmla="*/ 696093 h 1608850"/>
                <a:gd name="connsiteX163" fmla="*/ 1782579 w 12192000"/>
                <a:gd name="connsiteY163" fmla="*/ 696093 h 1608850"/>
                <a:gd name="connsiteX164" fmla="*/ 1782579 w 12192000"/>
                <a:gd name="connsiteY164" fmla="*/ 698254 h 1608850"/>
                <a:gd name="connsiteX165" fmla="*/ 1782579 w 12192000"/>
                <a:gd name="connsiteY165" fmla="*/ 713387 h 1608850"/>
                <a:gd name="connsiteX166" fmla="*/ 1786633 w 12192000"/>
                <a:gd name="connsiteY166" fmla="*/ 711495 h 1608850"/>
                <a:gd name="connsiteX167" fmla="*/ 1786633 w 12192000"/>
                <a:gd name="connsiteY167" fmla="*/ 698254 h 1608850"/>
                <a:gd name="connsiteX168" fmla="*/ 1787645 w 12192000"/>
                <a:gd name="connsiteY168" fmla="*/ 698254 h 1608850"/>
                <a:gd name="connsiteX169" fmla="*/ 1794739 w 12192000"/>
                <a:gd name="connsiteY169" fmla="*/ 698254 h 1608850"/>
                <a:gd name="connsiteX170" fmla="*/ 1794739 w 12192000"/>
                <a:gd name="connsiteY170" fmla="*/ 699876 h 1608850"/>
                <a:gd name="connsiteX171" fmla="*/ 1794739 w 12192000"/>
                <a:gd name="connsiteY171" fmla="*/ 711225 h 1608850"/>
                <a:gd name="connsiteX172" fmla="*/ 1795499 w 12192000"/>
                <a:gd name="connsiteY172" fmla="*/ 711225 h 1608850"/>
                <a:gd name="connsiteX173" fmla="*/ 1800819 w 12192000"/>
                <a:gd name="connsiteY173" fmla="*/ 711225 h 1608850"/>
                <a:gd name="connsiteX174" fmla="*/ 1849459 w 12192000"/>
                <a:gd name="connsiteY174" fmla="*/ 706902 h 1608850"/>
                <a:gd name="connsiteX175" fmla="*/ 1849459 w 12192000"/>
                <a:gd name="connsiteY175" fmla="*/ 708253 h 1608850"/>
                <a:gd name="connsiteX176" fmla="*/ 1849459 w 12192000"/>
                <a:gd name="connsiteY176" fmla="*/ 717710 h 1608850"/>
                <a:gd name="connsiteX177" fmla="*/ 1850219 w 12192000"/>
                <a:gd name="connsiteY177" fmla="*/ 717710 h 1608850"/>
                <a:gd name="connsiteX178" fmla="*/ 1855541 w 12192000"/>
                <a:gd name="connsiteY178" fmla="*/ 717710 h 1608850"/>
                <a:gd name="connsiteX179" fmla="*/ 1855541 w 12192000"/>
                <a:gd name="connsiteY179" fmla="*/ 719872 h 1608850"/>
                <a:gd name="connsiteX180" fmla="*/ 1855541 w 12192000"/>
                <a:gd name="connsiteY180" fmla="*/ 735005 h 1608850"/>
                <a:gd name="connsiteX181" fmla="*/ 1857567 w 12192000"/>
                <a:gd name="connsiteY181" fmla="*/ 733654 h 1608850"/>
                <a:gd name="connsiteX182" fmla="*/ 1871753 w 12192000"/>
                <a:gd name="connsiteY182" fmla="*/ 724196 h 1608850"/>
                <a:gd name="connsiteX183" fmla="*/ 1877833 w 12192000"/>
                <a:gd name="connsiteY183" fmla="*/ 683122 h 1608850"/>
                <a:gd name="connsiteX184" fmla="*/ 1878593 w 12192000"/>
                <a:gd name="connsiteY184" fmla="*/ 682852 h 1608850"/>
                <a:gd name="connsiteX185" fmla="*/ 1883913 w 12192000"/>
                <a:gd name="connsiteY185" fmla="*/ 680960 h 1608850"/>
                <a:gd name="connsiteX186" fmla="*/ 1885941 w 12192000"/>
                <a:gd name="connsiteY186" fmla="*/ 611783 h 1608850"/>
                <a:gd name="connsiteX187" fmla="*/ 1887967 w 12192000"/>
                <a:gd name="connsiteY187" fmla="*/ 680960 h 1608850"/>
                <a:gd name="connsiteX188" fmla="*/ 1888727 w 12192000"/>
                <a:gd name="connsiteY188" fmla="*/ 681230 h 1608850"/>
                <a:gd name="connsiteX189" fmla="*/ 1894047 w 12192000"/>
                <a:gd name="connsiteY189" fmla="*/ 683122 h 1608850"/>
                <a:gd name="connsiteX190" fmla="*/ 1894047 w 12192000"/>
                <a:gd name="connsiteY190" fmla="*/ 596651 h 1608850"/>
                <a:gd name="connsiteX191" fmla="*/ 1898101 w 12192000"/>
                <a:gd name="connsiteY191" fmla="*/ 564224 h 1608850"/>
                <a:gd name="connsiteX192" fmla="*/ 1936607 w 12192000"/>
                <a:gd name="connsiteY192" fmla="*/ 564224 h 1608850"/>
                <a:gd name="connsiteX193" fmla="*/ 1936607 w 12192000"/>
                <a:gd name="connsiteY193" fmla="*/ 596651 h 1608850"/>
                <a:gd name="connsiteX194" fmla="*/ 1937367 w 12192000"/>
                <a:gd name="connsiteY194" fmla="*/ 596651 h 1608850"/>
                <a:gd name="connsiteX195" fmla="*/ 1942687 w 12192000"/>
                <a:gd name="connsiteY195" fmla="*/ 596651 h 1608850"/>
                <a:gd name="connsiteX196" fmla="*/ 1942687 w 12192000"/>
                <a:gd name="connsiteY196" fmla="*/ 514503 h 1608850"/>
                <a:gd name="connsiteX197" fmla="*/ 1944461 w 12192000"/>
                <a:gd name="connsiteY197" fmla="*/ 514503 h 1608850"/>
                <a:gd name="connsiteX198" fmla="*/ 1956875 w 12192000"/>
                <a:gd name="connsiteY198" fmla="*/ 514503 h 1608850"/>
                <a:gd name="connsiteX199" fmla="*/ 1956875 w 12192000"/>
                <a:gd name="connsiteY199" fmla="*/ 512612 h 1608850"/>
                <a:gd name="connsiteX200" fmla="*/ 1956875 w 12192000"/>
                <a:gd name="connsiteY200" fmla="*/ 499371 h 1608850"/>
                <a:gd name="connsiteX201" fmla="*/ 1979169 w 12192000"/>
                <a:gd name="connsiteY201" fmla="*/ 499371 h 1608850"/>
                <a:gd name="connsiteX202" fmla="*/ 1979169 w 12192000"/>
                <a:gd name="connsiteY202" fmla="*/ 498290 h 1608850"/>
                <a:gd name="connsiteX203" fmla="*/ 1979169 w 12192000"/>
                <a:gd name="connsiteY203" fmla="*/ 490724 h 1608850"/>
                <a:gd name="connsiteX204" fmla="*/ 1980941 w 12192000"/>
                <a:gd name="connsiteY204" fmla="*/ 490724 h 1608850"/>
                <a:gd name="connsiteX205" fmla="*/ 1993355 w 12192000"/>
                <a:gd name="connsiteY205" fmla="*/ 490724 h 1608850"/>
                <a:gd name="connsiteX206" fmla="*/ 1993355 w 12192000"/>
                <a:gd name="connsiteY206" fmla="*/ 491805 h 1608850"/>
                <a:gd name="connsiteX207" fmla="*/ 1993355 w 12192000"/>
                <a:gd name="connsiteY207" fmla="*/ 499371 h 1608850"/>
                <a:gd name="connsiteX208" fmla="*/ 1994115 w 12192000"/>
                <a:gd name="connsiteY208" fmla="*/ 499371 h 1608850"/>
                <a:gd name="connsiteX209" fmla="*/ 1999435 w 12192000"/>
                <a:gd name="connsiteY209" fmla="*/ 499371 h 1608850"/>
                <a:gd name="connsiteX210" fmla="*/ 2009569 w 12192000"/>
                <a:gd name="connsiteY210" fmla="*/ 495047 h 1608850"/>
                <a:gd name="connsiteX211" fmla="*/ 2013621 w 12192000"/>
                <a:gd name="connsiteY211" fmla="*/ 498290 h 1608850"/>
                <a:gd name="connsiteX212" fmla="*/ 2013621 w 12192000"/>
                <a:gd name="connsiteY212" fmla="*/ 490724 h 1608850"/>
                <a:gd name="connsiteX213" fmla="*/ 2015901 w 12192000"/>
                <a:gd name="connsiteY213" fmla="*/ 490724 h 1608850"/>
                <a:gd name="connsiteX214" fmla="*/ 2031863 w 12192000"/>
                <a:gd name="connsiteY214" fmla="*/ 490724 h 1608850"/>
                <a:gd name="connsiteX215" fmla="*/ 2031863 w 12192000"/>
                <a:gd name="connsiteY215" fmla="*/ 491805 h 1608850"/>
                <a:gd name="connsiteX216" fmla="*/ 2031863 w 12192000"/>
                <a:gd name="connsiteY216" fmla="*/ 499371 h 1608850"/>
                <a:gd name="connsiteX217" fmla="*/ 2062263 w 12192000"/>
                <a:gd name="connsiteY217" fmla="*/ 499371 h 1608850"/>
                <a:gd name="connsiteX218" fmla="*/ 2062263 w 12192000"/>
                <a:gd name="connsiteY218" fmla="*/ 500992 h 1608850"/>
                <a:gd name="connsiteX219" fmla="*/ 2062263 w 12192000"/>
                <a:gd name="connsiteY219" fmla="*/ 512342 h 1608850"/>
                <a:gd name="connsiteX220" fmla="*/ 2088609 w 12192000"/>
                <a:gd name="connsiteY220" fmla="*/ 512342 h 1608850"/>
                <a:gd name="connsiteX221" fmla="*/ 2088609 w 12192000"/>
                <a:gd name="connsiteY221" fmla="*/ 542606 h 1608850"/>
                <a:gd name="connsiteX222" fmla="*/ 2089369 w 12192000"/>
                <a:gd name="connsiteY222" fmla="*/ 542606 h 1608850"/>
                <a:gd name="connsiteX223" fmla="*/ 2094689 w 12192000"/>
                <a:gd name="connsiteY223" fmla="*/ 542606 h 1608850"/>
                <a:gd name="connsiteX224" fmla="*/ 2094689 w 12192000"/>
                <a:gd name="connsiteY224" fmla="*/ 543687 h 1608850"/>
                <a:gd name="connsiteX225" fmla="*/ 2094689 w 12192000"/>
                <a:gd name="connsiteY225" fmla="*/ 551254 h 1608850"/>
                <a:gd name="connsiteX226" fmla="*/ 2098743 w 12192000"/>
                <a:gd name="connsiteY226" fmla="*/ 581518 h 1608850"/>
                <a:gd name="connsiteX227" fmla="*/ 2099503 w 12192000"/>
                <a:gd name="connsiteY227" fmla="*/ 581518 h 1608850"/>
                <a:gd name="connsiteX228" fmla="*/ 2104823 w 12192000"/>
                <a:gd name="connsiteY228" fmla="*/ 581518 h 1608850"/>
                <a:gd name="connsiteX229" fmla="*/ 2104823 w 12192000"/>
                <a:gd name="connsiteY229" fmla="*/ 582329 h 1608850"/>
                <a:gd name="connsiteX230" fmla="*/ 2104823 w 12192000"/>
                <a:gd name="connsiteY230" fmla="*/ 588004 h 1608850"/>
                <a:gd name="connsiteX231" fmla="*/ 2105837 w 12192000"/>
                <a:gd name="connsiteY231" fmla="*/ 588004 h 1608850"/>
                <a:gd name="connsiteX232" fmla="*/ 2112929 w 12192000"/>
                <a:gd name="connsiteY232" fmla="*/ 588004 h 1608850"/>
                <a:gd name="connsiteX233" fmla="*/ 2112929 w 12192000"/>
                <a:gd name="connsiteY233" fmla="*/ 618269 h 1608850"/>
                <a:gd name="connsiteX234" fmla="*/ 2114957 w 12192000"/>
                <a:gd name="connsiteY234" fmla="*/ 618269 h 1608850"/>
                <a:gd name="connsiteX235" fmla="*/ 2129143 w 12192000"/>
                <a:gd name="connsiteY235" fmla="*/ 618269 h 1608850"/>
                <a:gd name="connsiteX236" fmla="*/ 2129143 w 12192000"/>
                <a:gd name="connsiteY236" fmla="*/ 642048 h 1608850"/>
                <a:gd name="connsiteX237" fmla="*/ 2131171 w 12192000"/>
                <a:gd name="connsiteY237" fmla="*/ 643669 h 1608850"/>
                <a:gd name="connsiteX238" fmla="*/ 2131171 w 12192000"/>
                <a:gd name="connsiteY238" fmla="*/ 655019 h 1608850"/>
                <a:gd name="connsiteX239" fmla="*/ 2131931 w 12192000"/>
                <a:gd name="connsiteY239" fmla="*/ 655019 h 1608850"/>
                <a:gd name="connsiteX240" fmla="*/ 2137251 w 12192000"/>
                <a:gd name="connsiteY240" fmla="*/ 655019 h 1608850"/>
                <a:gd name="connsiteX241" fmla="*/ 2137251 w 12192000"/>
                <a:gd name="connsiteY241" fmla="*/ 678798 h 1608850"/>
                <a:gd name="connsiteX242" fmla="*/ 2138517 w 12192000"/>
                <a:gd name="connsiteY242" fmla="*/ 678798 h 1608850"/>
                <a:gd name="connsiteX243" fmla="*/ 2147383 w 12192000"/>
                <a:gd name="connsiteY243" fmla="*/ 678798 h 1608850"/>
                <a:gd name="connsiteX244" fmla="*/ 2149411 w 12192000"/>
                <a:gd name="connsiteY244" fmla="*/ 682852 h 1608850"/>
                <a:gd name="connsiteX245" fmla="*/ 2149411 w 12192000"/>
                <a:gd name="connsiteY245" fmla="*/ 696093 h 1608850"/>
                <a:gd name="connsiteX246" fmla="*/ 2150931 w 12192000"/>
                <a:gd name="connsiteY246" fmla="*/ 694201 h 1608850"/>
                <a:gd name="connsiteX247" fmla="*/ 2161571 w 12192000"/>
                <a:gd name="connsiteY247" fmla="*/ 680960 h 1608850"/>
                <a:gd name="connsiteX248" fmla="*/ 2189945 w 12192000"/>
                <a:gd name="connsiteY248" fmla="*/ 680960 h 1608850"/>
                <a:gd name="connsiteX249" fmla="*/ 2189945 w 12192000"/>
                <a:gd name="connsiteY249" fmla="*/ 767431 h 1608850"/>
                <a:gd name="connsiteX250" fmla="*/ 2190705 w 12192000"/>
                <a:gd name="connsiteY250" fmla="*/ 767431 h 1608850"/>
                <a:gd name="connsiteX251" fmla="*/ 2196025 w 12192000"/>
                <a:gd name="connsiteY251" fmla="*/ 767431 h 1608850"/>
                <a:gd name="connsiteX252" fmla="*/ 2196785 w 12192000"/>
                <a:gd name="connsiteY252" fmla="*/ 766080 h 1608850"/>
                <a:gd name="connsiteX253" fmla="*/ 2202105 w 12192000"/>
                <a:gd name="connsiteY253" fmla="*/ 756622 h 1608850"/>
                <a:gd name="connsiteX254" fmla="*/ 2202105 w 12192000"/>
                <a:gd name="connsiteY254" fmla="*/ 758514 h 1608850"/>
                <a:gd name="connsiteX255" fmla="*/ 2202105 w 12192000"/>
                <a:gd name="connsiteY255" fmla="*/ 771755 h 1608850"/>
                <a:gd name="connsiteX256" fmla="*/ 2206157 w 12192000"/>
                <a:gd name="connsiteY256" fmla="*/ 726358 h 1608850"/>
                <a:gd name="connsiteX257" fmla="*/ 2206917 w 12192000"/>
                <a:gd name="connsiteY257" fmla="*/ 726358 h 1608850"/>
                <a:gd name="connsiteX258" fmla="*/ 2212237 w 12192000"/>
                <a:gd name="connsiteY258" fmla="*/ 726358 h 1608850"/>
                <a:gd name="connsiteX259" fmla="*/ 2212237 w 12192000"/>
                <a:gd name="connsiteY259" fmla="*/ 661504 h 1608850"/>
                <a:gd name="connsiteX260" fmla="*/ 2213251 w 12192000"/>
                <a:gd name="connsiteY260" fmla="*/ 661504 h 1608850"/>
                <a:gd name="connsiteX261" fmla="*/ 2220345 w 12192000"/>
                <a:gd name="connsiteY261" fmla="*/ 661504 h 1608850"/>
                <a:gd name="connsiteX262" fmla="*/ 2232505 w 12192000"/>
                <a:gd name="connsiteY262" fmla="*/ 618269 h 1608850"/>
                <a:gd name="connsiteX263" fmla="*/ 2233771 w 12192000"/>
                <a:gd name="connsiteY263" fmla="*/ 618269 h 1608850"/>
                <a:gd name="connsiteX264" fmla="*/ 2242639 w 12192000"/>
                <a:gd name="connsiteY264" fmla="*/ 618269 h 1608850"/>
                <a:gd name="connsiteX265" fmla="*/ 2252771 w 12192000"/>
                <a:gd name="connsiteY265" fmla="*/ 661504 h 1608850"/>
                <a:gd name="connsiteX266" fmla="*/ 2253785 w 12192000"/>
                <a:gd name="connsiteY266" fmla="*/ 661504 h 1608850"/>
                <a:gd name="connsiteX267" fmla="*/ 2260879 w 12192000"/>
                <a:gd name="connsiteY267" fmla="*/ 661504 h 1608850"/>
                <a:gd name="connsiteX268" fmla="*/ 2260879 w 12192000"/>
                <a:gd name="connsiteY268" fmla="*/ 700416 h 1608850"/>
                <a:gd name="connsiteX269" fmla="*/ 2262651 w 12192000"/>
                <a:gd name="connsiteY269" fmla="*/ 700416 h 1608850"/>
                <a:gd name="connsiteX270" fmla="*/ 2275065 w 12192000"/>
                <a:gd name="connsiteY270" fmla="*/ 700416 h 1608850"/>
                <a:gd name="connsiteX271" fmla="*/ 2275065 w 12192000"/>
                <a:gd name="connsiteY271" fmla="*/ 702578 h 1608850"/>
                <a:gd name="connsiteX272" fmla="*/ 2275065 w 12192000"/>
                <a:gd name="connsiteY272" fmla="*/ 717710 h 1608850"/>
                <a:gd name="connsiteX273" fmla="*/ 2279119 w 12192000"/>
                <a:gd name="connsiteY273" fmla="*/ 715549 h 1608850"/>
                <a:gd name="connsiteX274" fmla="*/ 2279119 w 12192000"/>
                <a:gd name="connsiteY274" fmla="*/ 700416 h 1608850"/>
                <a:gd name="connsiteX275" fmla="*/ 2280639 w 12192000"/>
                <a:gd name="connsiteY275" fmla="*/ 700416 h 1608850"/>
                <a:gd name="connsiteX276" fmla="*/ 2291279 w 12192000"/>
                <a:gd name="connsiteY276" fmla="*/ 700416 h 1608850"/>
                <a:gd name="connsiteX277" fmla="*/ 2291279 w 12192000"/>
                <a:gd name="connsiteY277" fmla="*/ 702037 h 1608850"/>
                <a:gd name="connsiteX278" fmla="*/ 2291279 w 12192000"/>
                <a:gd name="connsiteY278" fmla="*/ 713387 h 1608850"/>
                <a:gd name="connsiteX279" fmla="*/ 2321680 w 12192000"/>
                <a:gd name="connsiteY279" fmla="*/ 713387 h 1608850"/>
                <a:gd name="connsiteX280" fmla="*/ 2321680 w 12192000"/>
                <a:gd name="connsiteY280" fmla="*/ 676637 h 1608850"/>
                <a:gd name="connsiteX281" fmla="*/ 2322945 w 12192000"/>
                <a:gd name="connsiteY281" fmla="*/ 676637 h 1608850"/>
                <a:gd name="connsiteX282" fmla="*/ 2331813 w 12192000"/>
                <a:gd name="connsiteY282" fmla="*/ 676637 h 1608850"/>
                <a:gd name="connsiteX283" fmla="*/ 2331813 w 12192000"/>
                <a:gd name="connsiteY283" fmla="*/ 698254 h 1608850"/>
                <a:gd name="connsiteX284" fmla="*/ 2333840 w 12192000"/>
                <a:gd name="connsiteY284" fmla="*/ 665828 h 1608850"/>
                <a:gd name="connsiteX285" fmla="*/ 2356133 w 12192000"/>
                <a:gd name="connsiteY285" fmla="*/ 665828 h 1608850"/>
                <a:gd name="connsiteX286" fmla="*/ 2356133 w 12192000"/>
                <a:gd name="connsiteY286" fmla="*/ 664206 h 1608850"/>
                <a:gd name="connsiteX287" fmla="*/ 2356133 w 12192000"/>
                <a:gd name="connsiteY287" fmla="*/ 652857 h 1608850"/>
                <a:gd name="connsiteX288" fmla="*/ 2356893 w 12192000"/>
                <a:gd name="connsiteY288" fmla="*/ 652857 h 1608850"/>
                <a:gd name="connsiteX289" fmla="*/ 2362213 w 12192000"/>
                <a:gd name="connsiteY289" fmla="*/ 652857 h 1608850"/>
                <a:gd name="connsiteX290" fmla="*/ 2362213 w 12192000"/>
                <a:gd name="connsiteY290" fmla="*/ 650966 h 1608850"/>
                <a:gd name="connsiteX291" fmla="*/ 2362213 w 12192000"/>
                <a:gd name="connsiteY291" fmla="*/ 637725 h 1608850"/>
                <a:gd name="connsiteX292" fmla="*/ 2366267 w 12192000"/>
                <a:gd name="connsiteY292" fmla="*/ 644210 h 1608850"/>
                <a:gd name="connsiteX293" fmla="*/ 2368547 w 12192000"/>
                <a:gd name="connsiteY293" fmla="*/ 644210 h 1608850"/>
                <a:gd name="connsiteX294" fmla="*/ 2384507 w 12192000"/>
                <a:gd name="connsiteY294" fmla="*/ 644210 h 1608850"/>
                <a:gd name="connsiteX295" fmla="*/ 2384507 w 12192000"/>
                <a:gd name="connsiteY295" fmla="*/ 643399 h 1608850"/>
                <a:gd name="connsiteX296" fmla="*/ 2384507 w 12192000"/>
                <a:gd name="connsiteY296" fmla="*/ 637725 h 1608850"/>
                <a:gd name="connsiteX297" fmla="*/ 2385267 w 12192000"/>
                <a:gd name="connsiteY297" fmla="*/ 637725 h 1608850"/>
                <a:gd name="connsiteX298" fmla="*/ 2390587 w 12192000"/>
                <a:gd name="connsiteY298" fmla="*/ 637725 h 1608850"/>
                <a:gd name="connsiteX299" fmla="*/ 2390587 w 12192000"/>
                <a:gd name="connsiteY299" fmla="*/ 639076 h 1608850"/>
                <a:gd name="connsiteX300" fmla="*/ 2390587 w 12192000"/>
                <a:gd name="connsiteY300" fmla="*/ 648534 h 1608850"/>
                <a:gd name="connsiteX301" fmla="*/ 2429093 w 12192000"/>
                <a:gd name="connsiteY301" fmla="*/ 648534 h 1608850"/>
                <a:gd name="connsiteX302" fmla="*/ 2429093 w 12192000"/>
                <a:gd name="connsiteY302" fmla="*/ 786887 h 1608850"/>
                <a:gd name="connsiteX303" fmla="*/ 2430613 w 12192000"/>
                <a:gd name="connsiteY303" fmla="*/ 786887 h 1608850"/>
                <a:gd name="connsiteX304" fmla="*/ 2441254 w 12192000"/>
                <a:gd name="connsiteY304" fmla="*/ 786887 h 1608850"/>
                <a:gd name="connsiteX305" fmla="*/ 2441254 w 12192000"/>
                <a:gd name="connsiteY305" fmla="*/ 773917 h 1608850"/>
                <a:gd name="connsiteX306" fmla="*/ 2445307 w 12192000"/>
                <a:gd name="connsiteY306" fmla="*/ 773917 h 1608850"/>
                <a:gd name="connsiteX307" fmla="*/ 2445307 w 12192000"/>
                <a:gd name="connsiteY307" fmla="*/ 786887 h 1608850"/>
                <a:gd name="connsiteX308" fmla="*/ 2475707 w 12192000"/>
                <a:gd name="connsiteY308" fmla="*/ 786887 h 1608850"/>
                <a:gd name="connsiteX309" fmla="*/ 2475707 w 12192000"/>
                <a:gd name="connsiteY309" fmla="*/ 756622 h 1608850"/>
                <a:gd name="connsiteX310" fmla="*/ 2487867 w 12192000"/>
                <a:gd name="connsiteY310" fmla="*/ 756622 h 1608850"/>
                <a:gd name="connsiteX311" fmla="*/ 2500027 w 12192000"/>
                <a:gd name="connsiteY311" fmla="*/ 754461 h 1608850"/>
                <a:gd name="connsiteX312" fmla="*/ 2504082 w 12192000"/>
                <a:gd name="connsiteY312" fmla="*/ 756622 h 1608850"/>
                <a:gd name="connsiteX313" fmla="*/ 2514215 w 12192000"/>
                <a:gd name="connsiteY313" fmla="*/ 756622 h 1608850"/>
                <a:gd name="connsiteX314" fmla="*/ 2514215 w 12192000"/>
                <a:gd name="connsiteY314" fmla="*/ 786887 h 1608850"/>
                <a:gd name="connsiteX315" fmla="*/ 2522321 w 12192000"/>
                <a:gd name="connsiteY315" fmla="*/ 786887 h 1608850"/>
                <a:gd name="connsiteX316" fmla="*/ 2522321 w 12192000"/>
                <a:gd name="connsiteY316" fmla="*/ 804182 h 1608850"/>
                <a:gd name="connsiteX317" fmla="*/ 2531658 w 12192000"/>
                <a:gd name="connsiteY317" fmla="*/ 805087 h 1608850"/>
                <a:gd name="connsiteX318" fmla="*/ 2544615 w 12192000"/>
                <a:gd name="connsiteY318" fmla="*/ 805087 h 1608850"/>
                <a:gd name="connsiteX319" fmla="*/ 2544615 w 12192000"/>
                <a:gd name="connsiteY319" fmla="*/ 789049 h 1608850"/>
                <a:gd name="connsiteX320" fmla="*/ 2612571 w 12192000"/>
                <a:gd name="connsiteY320" fmla="*/ 789049 h 1608850"/>
                <a:gd name="connsiteX321" fmla="*/ 2612571 w 12192000"/>
                <a:gd name="connsiteY321" fmla="*/ 703796 h 1608850"/>
                <a:gd name="connsiteX322" fmla="*/ 2684579 w 12192000"/>
                <a:gd name="connsiteY322" fmla="*/ 703796 h 1608850"/>
                <a:gd name="connsiteX323" fmla="*/ 2684579 w 12192000"/>
                <a:gd name="connsiteY323" fmla="*/ 782564 h 1608850"/>
                <a:gd name="connsiteX324" fmla="*/ 2686483 w 12192000"/>
                <a:gd name="connsiteY324" fmla="*/ 782564 h 1608850"/>
                <a:gd name="connsiteX325" fmla="*/ 2687725 w 12192000"/>
                <a:gd name="connsiteY325" fmla="*/ 805087 h 1608850"/>
                <a:gd name="connsiteX326" fmla="*/ 2697401 w 12192000"/>
                <a:gd name="connsiteY326" fmla="*/ 805087 h 1608850"/>
                <a:gd name="connsiteX327" fmla="*/ 2698643 w 12192000"/>
                <a:gd name="connsiteY327" fmla="*/ 782564 h 1608850"/>
                <a:gd name="connsiteX328" fmla="*/ 2704723 w 12192000"/>
                <a:gd name="connsiteY328" fmla="*/ 782564 h 1608850"/>
                <a:gd name="connsiteX329" fmla="*/ 2705965 w 12192000"/>
                <a:gd name="connsiteY329" fmla="*/ 805087 h 1608850"/>
                <a:gd name="connsiteX330" fmla="*/ 2756588 w 12192000"/>
                <a:gd name="connsiteY330" fmla="*/ 805087 h 1608850"/>
                <a:gd name="connsiteX331" fmla="*/ 2756588 w 12192000"/>
                <a:gd name="connsiteY331" fmla="*/ 642059 h 1608850"/>
                <a:gd name="connsiteX332" fmla="*/ 2953915 w 12192000"/>
                <a:gd name="connsiteY332" fmla="*/ 642059 h 1608850"/>
                <a:gd name="connsiteX333" fmla="*/ 2953915 w 12192000"/>
                <a:gd name="connsiteY333" fmla="*/ 805087 h 1608850"/>
                <a:gd name="connsiteX334" fmla="*/ 2972611 w 12192000"/>
                <a:gd name="connsiteY334" fmla="*/ 805087 h 1608850"/>
                <a:gd name="connsiteX335" fmla="*/ 2972611 w 12192000"/>
                <a:gd name="connsiteY335" fmla="*/ 722394 h 1608850"/>
                <a:gd name="connsiteX336" fmla="*/ 3067731 w 12192000"/>
                <a:gd name="connsiteY336" fmla="*/ 722394 h 1608850"/>
                <a:gd name="connsiteX337" fmla="*/ 3079662 w 12192000"/>
                <a:gd name="connsiteY337" fmla="*/ 404253 h 1608850"/>
                <a:gd name="connsiteX338" fmla="*/ 3067502 w 12192000"/>
                <a:gd name="connsiteY338" fmla="*/ 382635 h 1608850"/>
                <a:gd name="connsiteX339" fmla="*/ 3061422 w 12192000"/>
                <a:gd name="connsiteY339" fmla="*/ 378311 h 1608850"/>
                <a:gd name="connsiteX340" fmla="*/ 3069529 w 12192000"/>
                <a:gd name="connsiteY340" fmla="*/ 354532 h 1608850"/>
                <a:gd name="connsiteX341" fmla="*/ 3069529 w 12192000"/>
                <a:gd name="connsiteY341" fmla="*/ 337238 h 1608850"/>
                <a:gd name="connsiteX342" fmla="*/ 3083715 w 12192000"/>
                <a:gd name="connsiteY342" fmla="*/ 337238 h 1608850"/>
                <a:gd name="connsiteX343" fmla="*/ 3083715 w 12192000"/>
                <a:gd name="connsiteY343" fmla="*/ 315620 h 1608850"/>
                <a:gd name="connsiteX344" fmla="*/ 3085742 w 12192000"/>
                <a:gd name="connsiteY344" fmla="*/ 311296 h 1608850"/>
                <a:gd name="connsiteX345" fmla="*/ 3085742 w 12192000"/>
                <a:gd name="connsiteY345" fmla="*/ 233472 h 1608850"/>
                <a:gd name="connsiteX346" fmla="*/ 3083715 w 12192000"/>
                <a:gd name="connsiteY346" fmla="*/ 226987 h 1608850"/>
                <a:gd name="connsiteX347" fmla="*/ 3089795 w 12192000"/>
                <a:gd name="connsiteY347" fmla="*/ 220501 h 1608850"/>
                <a:gd name="connsiteX348" fmla="*/ 3089795 w 12192000"/>
                <a:gd name="connsiteY348" fmla="*/ 162133 h 1608850"/>
                <a:gd name="connsiteX349" fmla="*/ 3091822 w 12192000"/>
                <a:gd name="connsiteY349" fmla="*/ 157810 h 1608850"/>
                <a:gd name="connsiteX350" fmla="*/ 3091822 w 12192000"/>
                <a:gd name="connsiteY350" fmla="*/ 101604 h 1608850"/>
                <a:gd name="connsiteX351" fmla="*/ 3093849 w 12192000"/>
                <a:gd name="connsiteY351" fmla="*/ 82148 h 1608850"/>
                <a:gd name="connsiteX352" fmla="*/ 3097902 w 12192000"/>
                <a:gd name="connsiteY352" fmla="*/ 99442 h 1608850"/>
                <a:gd name="connsiteX353" fmla="*/ 3099929 w 12192000"/>
                <a:gd name="connsiteY353" fmla="*/ 157810 h 1608850"/>
                <a:gd name="connsiteX354" fmla="*/ 3101955 w 12192000"/>
                <a:gd name="connsiteY354" fmla="*/ 220501 h 1608850"/>
                <a:gd name="connsiteX355" fmla="*/ 3108035 w 12192000"/>
                <a:gd name="connsiteY355" fmla="*/ 226987 h 1608850"/>
                <a:gd name="connsiteX356" fmla="*/ 3106009 w 12192000"/>
                <a:gd name="connsiteY356" fmla="*/ 233472 h 1608850"/>
                <a:gd name="connsiteX357" fmla="*/ 3106009 w 12192000"/>
                <a:gd name="connsiteY357" fmla="*/ 311296 h 1608850"/>
                <a:gd name="connsiteX358" fmla="*/ 3108035 w 12192000"/>
                <a:gd name="connsiteY358" fmla="*/ 315620 h 1608850"/>
                <a:gd name="connsiteX359" fmla="*/ 3108035 w 12192000"/>
                <a:gd name="connsiteY359" fmla="*/ 337238 h 1608850"/>
                <a:gd name="connsiteX360" fmla="*/ 3122222 w 12192000"/>
                <a:gd name="connsiteY360" fmla="*/ 337238 h 1608850"/>
                <a:gd name="connsiteX361" fmla="*/ 3122222 w 12192000"/>
                <a:gd name="connsiteY361" fmla="*/ 354532 h 1608850"/>
                <a:gd name="connsiteX362" fmla="*/ 3130330 w 12192000"/>
                <a:gd name="connsiteY362" fmla="*/ 378311 h 1608850"/>
                <a:gd name="connsiteX363" fmla="*/ 3124250 w 12192000"/>
                <a:gd name="connsiteY363" fmla="*/ 382635 h 1608850"/>
                <a:gd name="connsiteX364" fmla="*/ 3112089 w 12192000"/>
                <a:gd name="connsiteY364" fmla="*/ 404253 h 1608850"/>
                <a:gd name="connsiteX365" fmla="*/ 3120195 w 12192000"/>
                <a:gd name="connsiteY365" fmla="*/ 657181 h 1608850"/>
                <a:gd name="connsiteX366" fmla="*/ 3185050 w 12192000"/>
                <a:gd name="connsiteY366" fmla="*/ 657181 h 1608850"/>
                <a:gd name="connsiteX367" fmla="*/ 3185050 w 12192000"/>
                <a:gd name="connsiteY367" fmla="*/ 732843 h 1608850"/>
                <a:gd name="connsiteX368" fmla="*/ 3193157 w 12192000"/>
                <a:gd name="connsiteY368" fmla="*/ 732843 h 1608850"/>
                <a:gd name="connsiteX369" fmla="*/ 3195183 w 12192000"/>
                <a:gd name="connsiteY369" fmla="*/ 726358 h 1608850"/>
                <a:gd name="connsiteX370" fmla="*/ 3201263 w 12192000"/>
                <a:gd name="connsiteY370" fmla="*/ 726358 h 1608850"/>
                <a:gd name="connsiteX371" fmla="*/ 3203291 w 12192000"/>
                <a:gd name="connsiteY371" fmla="*/ 735005 h 1608850"/>
                <a:gd name="connsiteX372" fmla="*/ 3215451 w 12192000"/>
                <a:gd name="connsiteY372" fmla="*/ 735005 h 1608850"/>
                <a:gd name="connsiteX373" fmla="*/ 3215451 w 12192000"/>
                <a:gd name="connsiteY373" fmla="*/ 728519 h 1608850"/>
                <a:gd name="connsiteX374" fmla="*/ 3237744 w 12192000"/>
                <a:gd name="connsiteY374" fmla="*/ 728519 h 1608850"/>
                <a:gd name="connsiteX375" fmla="*/ 3237744 w 12192000"/>
                <a:gd name="connsiteY375" fmla="*/ 735005 h 1608850"/>
                <a:gd name="connsiteX376" fmla="*/ 3258011 w 12192000"/>
                <a:gd name="connsiteY376" fmla="*/ 735005 h 1608850"/>
                <a:gd name="connsiteX377" fmla="*/ 3258011 w 12192000"/>
                <a:gd name="connsiteY377" fmla="*/ 780402 h 1608850"/>
                <a:gd name="connsiteX378" fmla="*/ 3272198 w 12192000"/>
                <a:gd name="connsiteY378" fmla="*/ 780402 h 1608850"/>
                <a:gd name="connsiteX379" fmla="*/ 3272198 w 12192000"/>
                <a:gd name="connsiteY379" fmla="*/ 767431 h 1608850"/>
                <a:gd name="connsiteX380" fmla="*/ 3288412 w 12192000"/>
                <a:gd name="connsiteY380" fmla="*/ 767431 h 1608850"/>
                <a:gd name="connsiteX381" fmla="*/ 3288412 w 12192000"/>
                <a:gd name="connsiteY381" fmla="*/ 588004 h 1608850"/>
                <a:gd name="connsiteX382" fmla="*/ 3294492 w 12192000"/>
                <a:gd name="connsiteY382" fmla="*/ 581518 h 1608850"/>
                <a:gd name="connsiteX383" fmla="*/ 3367453 w 12192000"/>
                <a:gd name="connsiteY383" fmla="*/ 581518 h 1608850"/>
                <a:gd name="connsiteX384" fmla="*/ 3367453 w 12192000"/>
                <a:gd name="connsiteY384" fmla="*/ 590166 h 1608850"/>
                <a:gd name="connsiteX385" fmla="*/ 3377586 w 12192000"/>
                <a:gd name="connsiteY385" fmla="*/ 590166 h 1608850"/>
                <a:gd name="connsiteX386" fmla="*/ 3377586 w 12192000"/>
                <a:gd name="connsiteY386" fmla="*/ 704740 h 1608850"/>
                <a:gd name="connsiteX387" fmla="*/ 3399879 w 12192000"/>
                <a:gd name="connsiteY387" fmla="*/ 704740 h 1608850"/>
                <a:gd name="connsiteX388" fmla="*/ 3399879 w 12192000"/>
                <a:gd name="connsiteY388" fmla="*/ 637725 h 1608850"/>
                <a:gd name="connsiteX389" fmla="*/ 3426227 w 12192000"/>
                <a:gd name="connsiteY389" fmla="*/ 637725 h 1608850"/>
                <a:gd name="connsiteX390" fmla="*/ 3430279 w 12192000"/>
                <a:gd name="connsiteY390" fmla="*/ 633401 h 1608850"/>
                <a:gd name="connsiteX391" fmla="*/ 3438387 w 12192000"/>
                <a:gd name="connsiteY391" fmla="*/ 633401 h 1608850"/>
                <a:gd name="connsiteX392" fmla="*/ 3442439 w 12192000"/>
                <a:gd name="connsiteY392" fmla="*/ 637725 h 1608850"/>
                <a:gd name="connsiteX393" fmla="*/ 3464734 w 12192000"/>
                <a:gd name="connsiteY393" fmla="*/ 637725 h 1608850"/>
                <a:gd name="connsiteX394" fmla="*/ 3464734 w 12192000"/>
                <a:gd name="connsiteY394" fmla="*/ 520989 h 1608850"/>
                <a:gd name="connsiteX395" fmla="*/ 3521481 w 12192000"/>
                <a:gd name="connsiteY395" fmla="*/ 510180 h 1608850"/>
                <a:gd name="connsiteX396" fmla="*/ 3521481 w 12192000"/>
                <a:gd name="connsiteY396" fmla="*/ 511261 h 1608850"/>
                <a:gd name="connsiteX397" fmla="*/ 3521481 w 12192000"/>
                <a:gd name="connsiteY397" fmla="*/ 518827 h 1608850"/>
                <a:gd name="connsiteX398" fmla="*/ 3547828 w 12192000"/>
                <a:gd name="connsiteY398" fmla="*/ 518827 h 1608850"/>
                <a:gd name="connsiteX399" fmla="*/ 3547828 w 12192000"/>
                <a:gd name="connsiteY399" fmla="*/ 773917 h 1608850"/>
                <a:gd name="connsiteX400" fmla="*/ 3570122 w 12192000"/>
                <a:gd name="connsiteY400" fmla="*/ 773917 h 1608850"/>
                <a:gd name="connsiteX401" fmla="*/ 3570122 w 12192000"/>
                <a:gd name="connsiteY401" fmla="*/ 769593 h 1608850"/>
                <a:gd name="connsiteX402" fmla="*/ 3582282 w 12192000"/>
                <a:gd name="connsiteY402" fmla="*/ 769593 h 1608850"/>
                <a:gd name="connsiteX403" fmla="*/ 3582282 w 12192000"/>
                <a:gd name="connsiteY403" fmla="*/ 773917 h 1608850"/>
                <a:gd name="connsiteX404" fmla="*/ 3606602 w 12192000"/>
                <a:gd name="connsiteY404" fmla="*/ 773917 h 1608850"/>
                <a:gd name="connsiteX405" fmla="*/ 3606602 w 12192000"/>
                <a:gd name="connsiteY405" fmla="*/ 760946 h 1608850"/>
                <a:gd name="connsiteX406" fmla="*/ 3634975 w 12192000"/>
                <a:gd name="connsiteY406" fmla="*/ 760946 h 1608850"/>
                <a:gd name="connsiteX407" fmla="*/ 3647135 w 12192000"/>
                <a:gd name="connsiteY407" fmla="*/ 756622 h 1608850"/>
                <a:gd name="connsiteX408" fmla="*/ 3667403 w 12192000"/>
                <a:gd name="connsiteY408" fmla="*/ 760946 h 1608850"/>
                <a:gd name="connsiteX409" fmla="*/ 3667403 w 12192000"/>
                <a:gd name="connsiteY409" fmla="*/ 743652 h 1608850"/>
                <a:gd name="connsiteX410" fmla="*/ 3675510 w 12192000"/>
                <a:gd name="connsiteY410" fmla="*/ 743652 h 1608850"/>
                <a:gd name="connsiteX411" fmla="*/ 3675510 w 12192000"/>
                <a:gd name="connsiteY411" fmla="*/ 730681 h 1608850"/>
                <a:gd name="connsiteX412" fmla="*/ 3732257 w 12192000"/>
                <a:gd name="connsiteY412" fmla="*/ 730681 h 1608850"/>
                <a:gd name="connsiteX413" fmla="*/ 3732257 w 12192000"/>
                <a:gd name="connsiteY413" fmla="*/ 700416 h 1608850"/>
                <a:gd name="connsiteX414" fmla="*/ 3750497 w 12192000"/>
                <a:gd name="connsiteY414" fmla="*/ 700416 h 1608850"/>
                <a:gd name="connsiteX415" fmla="*/ 3750497 w 12192000"/>
                <a:gd name="connsiteY415" fmla="*/ 693931 h 1608850"/>
                <a:gd name="connsiteX416" fmla="*/ 3762657 w 12192000"/>
                <a:gd name="connsiteY416" fmla="*/ 693931 h 1608850"/>
                <a:gd name="connsiteX417" fmla="*/ 3762657 w 12192000"/>
                <a:gd name="connsiteY417" fmla="*/ 700416 h 1608850"/>
                <a:gd name="connsiteX418" fmla="*/ 3778870 w 12192000"/>
                <a:gd name="connsiteY418" fmla="*/ 700416 h 1608850"/>
                <a:gd name="connsiteX419" fmla="*/ 3778870 w 12192000"/>
                <a:gd name="connsiteY419" fmla="*/ 750137 h 1608850"/>
                <a:gd name="connsiteX420" fmla="*/ 3789470 w 12192000"/>
                <a:gd name="connsiteY420" fmla="*/ 750137 h 1608850"/>
                <a:gd name="connsiteX421" fmla="*/ 3789470 w 12192000"/>
                <a:gd name="connsiteY421" fmla="*/ 586174 h 1608850"/>
                <a:gd name="connsiteX422" fmla="*/ 3791390 w 12192000"/>
                <a:gd name="connsiteY422" fmla="*/ 586174 h 1608850"/>
                <a:gd name="connsiteX423" fmla="*/ 3791390 w 12192000"/>
                <a:gd name="connsiteY423" fmla="*/ 723865 h 1608850"/>
                <a:gd name="connsiteX424" fmla="*/ 3791390 w 12192000"/>
                <a:gd name="connsiteY424" fmla="*/ 750137 h 1608850"/>
                <a:gd name="connsiteX425" fmla="*/ 3806350 w 12192000"/>
                <a:gd name="connsiteY425" fmla="*/ 750137 h 1608850"/>
                <a:gd name="connsiteX426" fmla="*/ 3806350 w 12192000"/>
                <a:gd name="connsiteY426" fmla="*/ 742023 h 1608850"/>
                <a:gd name="connsiteX427" fmla="*/ 3811298 w 12192000"/>
                <a:gd name="connsiteY427" fmla="*/ 742023 h 1608850"/>
                <a:gd name="connsiteX428" fmla="*/ 3811298 w 12192000"/>
                <a:gd name="connsiteY428" fmla="*/ 724196 h 1608850"/>
                <a:gd name="connsiteX429" fmla="*/ 3849805 w 12192000"/>
                <a:gd name="connsiteY429" fmla="*/ 724196 h 1608850"/>
                <a:gd name="connsiteX430" fmla="*/ 3849805 w 12192000"/>
                <a:gd name="connsiteY430" fmla="*/ 693931 h 1608850"/>
                <a:gd name="connsiteX431" fmla="*/ 3888823 w 12192000"/>
                <a:gd name="connsiteY431" fmla="*/ 693931 h 1608850"/>
                <a:gd name="connsiteX432" fmla="*/ 3888823 w 12192000"/>
                <a:gd name="connsiteY432" fmla="*/ 690579 h 1608850"/>
                <a:gd name="connsiteX433" fmla="*/ 3887708 w 12192000"/>
                <a:gd name="connsiteY433" fmla="*/ 690579 h 1608850"/>
                <a:gd name="connsiteX434" fmla="*/ 3879906 w 12192000"/>
                <a:gd name="connsiteY434" fmla="*/ 690579 h 1608850"/>
                <a:gd name="connsiteX435" fmla="*/ 3879906 w 12192000"/>
                <a:gd name="connsiteY435" fmla="*/ 689443 h 1608850"/>
                <a:gd name="connsiteX436" fmla="*/ 3879906 w 12192000"/>
                <a:gd name="connsiteY436" fmla="*/ 681500 h 1608850"/>
                <a:gd name="connsiteX437" fmla="*/ 3881022 w 12192000"/>
                <a:gd name="connsiteY437" fmla="*/ 681500 h 1608850"/>
                <a:gd name="connsiteX438" fmla="*/ 3888823 w 12192000"/>
                <a:gd name="connsiteY438" fmla="*/ 681500 h 1608850"/>
                <a:gd name="connsiteX439" fmla="*/ 3888823 w 12192000"/>
                <a:gd name="connsiteY439" fmla="*/ 679986 h 1608850"/>
                <a:gd name="connsiteX440" fmla="*/ 3888823 w 12192000"/>
                <a:gd name="connsiteY440" fmla="*/ 669395 h 1608850"/>
                <a:gd name="connsiteX441" fmla="*/ 3887708 w 12192000"/>
                <a:gd name="connsiteY441" fmla="*/ 669395 h 1608850"/>
                <a:gd name="connsiteX442" fmla="*/ 3879906 w 12192000"/>
                <a:gd name="connsiteY442" fmla="*/ 669395 h 1608850"/>
                <a:gd name="connsiteX443" fmla="*/ 3879906 w 12192000"/>
                <a:gd name="connsiteY443" fmla="*/ 667882 h 1608850"/>
                <a:gd name="connsiteX444" fmla="*/ 3879906 w 12192000"/>
                <a:gd name="connsiteY444" fmla="*/ 657290 h 1608850"/>
                <a:gd name="connsiteX445" fmla="*/ 3881022 w 12192000"/>
                <a:gd name="connsiteY445" fmla="*/ 657290 h 1608850"/>
                <a:gd name="connsiteX446" fmla="*/ 3888823 w 12192000"/>
                <a:gd name="connsiteY446" fmla="*/ 657290 h 1608850"/>
                <a:gd name="connsiteX447" fmla="*/ 3888823 w 12192000"/>
                <a:gd name="connsiteY447" fmla="*/ 656156 h 1608850"/>
                <a:gd name="connsiteX448" fmla="*/ 3888823 w 12192000"/>
                <a:gd name="connsiteY448" fmla="*/ 648212 h 1608850"/>
                <a:gd name="connsiteX449" fmla="*/ 3887708 w 12192000"/>
                <a:gd name="connsiteY449" fmla="*/ 648212 h 1608850"/>
                <a:gd name="connsiteX450" fmla="*/ 3879906 w 12192000"/>
                <a:gd name="connsiteY450" fmla="*/ 648212 h 1608850"/>
                <a:gd name="connsiteX451" fmla="*/ 3879906 w 12192000"/>
                <a:gd name="connsiteY451" fmla="*/ 646698 h 1608850"/>
                <a:gd name="connsiteX452" fmla="*/ 3879906 w 12192000"/>
                <a:gd name="connsiteY452" fmla="*/ 636107 h 1608850"/>
                <a:gd name="connsiteX453" fmla="*/ 3881022 w 12192000"/>
                <a:gd name="connsiteY453" fmla="*/ 636107 h 1608850"/>
                <a:gd name="connsiteX454" fmla="*/ 3888823 w 12192000"/>
                <a:gd name="connsiteY454" fmla="*/ 636107 h 1608850"/>
                <a:gd name="connsiteX455" fmla="*/ 3888823 w 12192000"/>
                <a:gd name="connsiteY455" fmla="*/ 634594 h 1608850"/>
                <a:gd name="connsiteX456" fmla="*/ 3888823 w 12192000"/>
                <a:gd name="connsiteY456" fmla="*/ 624002 h 1608850"/>
                <a:gd name="connsiteX457" fmla="*/ 3887708 w 12192000"/>
                <a:gd name="connsiteY457" fmla="*/ 624002 h 1608850"/>
                <a:gd name="connsiteX458" fmla="*/ 3879906 w 12192000"/>
                <a:gd name="connsiteY458" fmla="*/ 624002 h 1608850"/>
                <a:gd name="connsiteX459" fmla="*/ 3879906 w 12192000"/>
                <a:gd name="connsiteY459" fmla="*/ 622489 h 1608850"/>
                <a:gd name="connsiteX460" fmla="*/ 3879906 w 12192000"/>
                <a:gd name="connsiteY460" fmla="*/ 611898 h 1608850"/>
                <a:gd name="connsiteX461" fmla="*/ 3881022 w 12192000"/>
                <a:gd name="connsiteY461" fmla="*/ 611898 h 1608850"/>
                <a:gd name="connsiteX462" fmla="*/ 3888823 w 12192000"/>
                <a:gd name="connsiteY462" fmla="*/ 611898 h 1608850"/>
                <a:gd name="connsiteX463" fmla="*/ 3888823 w 12192000"/>
                <a:gd name="connsiteY463" fmla="*/ 610763 h 1608850"/>
                <a:gd name="connsiteX464" fmla="*/ 3888823 w 12192000"/>
                <a:gd name="connsiteY464" fmla="*/ 602819 h 1608850"/>
                <a:gd name="connsiteX465" fmla="*/ 3887708 w 12192000"/>
                <a:gd name="connsiteY465" fmla="*/ 602819 h 1608850"/>
                <a:gd name="connsiteX466" fmla="*/ 3879906 w 12192000"/>
                <a:gd name="connsiteY466" fmla="*/ 602819 h 1608850"/>
                <a:gd name="connsiteX467" fmla="*/ 3879906 w 12192000"/>
                <a:gd name="connsiteY467" fmla="*/ 601307 h 1608850"/>
                <a:gd name="connsiteX468" fmla="*/ 3879906 w 12192000"/>
                <a:gd name="connsiteY468" fmla="*/ 590714 h 1608850"/>
                <a:gd name="connsiteX469" fmla="*/ 3881022 w 12192000"/>
                <a:gd name="connsiteY469" fmla="*/ 590714 h 1608850"/>
                <a:gd name="connsiteX470" fmla="*/ 3888823 w 12192000"/>
                <a:gd name="connsiteY470" fmla="*/ 590714 h 1608850"/>
                <a:gd name="connsiteX471" fmla="*/ 3888823 w 12192000"/>
                <a:gd name="connsiteY471" fmla="*/ 589202 h 1608850"/>
                <a:gd name="connsiteX472" fmla="*/ 3888823 w 12192000"/>
                <a:gd name="connsiteY472" fmla="*/ 578610 h 1608850"/>
                <a:gd name="connsiteX473" fmla="*/ 3887708 w 12192000"/>
                <a:gd name="connsiteY473" fmla="*/ 578610 h 1608850"/>
                <a:gd name="connsiteX474" fmla="*/ 3879906 w 12192000"/>
                <a:gd name="connsiteY474" fmla="*/ 578610 h 1608850"/>
                <a:gd name="connsiteX475" fmla="*/ 3879906 w 12192000"/>
                <a:gd name="connsiteY475" fmla="*/ 577096 h 1608850"/>
                <a:gd name="connsiteX476" fmla="*/ 3879906 w 12192000"/>
                <a:gd name="connsiteY476" fmla="*/ 566505 h 1608850"/>
                <a:gd name="connsiteX477" fmla="*/ 3881022 w 12192000"/>
                <a:gd name="connsiteY477" fmla="*/ 566505 h 1608850"/>
                <a:gd name="connsiteX478" fmla="*/ 3888823 w 12192000"/>
                <a:gd name="connsiteY478" fmla="*/ 566505 h 1608850"/>
                <a:gd name="connsiteX479" fmla="*/ 3888823 w 12192000"/>
                <a:gd name="connsiteY479" fmla="*/ 565370 h 1608850"/>
                <a:gd name="connsiteX480" fmla="*/ 3888823 w 12192000"/>
                <a:gd name="connsiteY480" fmla="*/ 557427 h 1608850"/>
                <a:gd name="connsiteX481" fmla="*/ 3887708 w 12192000"/>
                <a:gd name="connsiteY481" fmla="*/ 557427 h 1608850"/>
                <a:gd name="connsiteX482" fmla="*/ 3879906 w 12192000"/>
                <a:gd name="connsiteY482" fmla="*/ 557427 h 1608850"/>
                <a:gd name="connsiteX483" fmla="*/ 3879906 w 12192000"/>
                <a:gd name="connsiteY483" fmla="*/ 555914 h 1608850"/>
                <a:gd name="connsiteX484" fmla="*/ 3879906 w 12192000"/>
                <a:gd name="connsiteY484" fmla="*/ 545322 h 1608850"/>
                <a:gd name="connsiteX485" fmla="*/ 3881022 w 12192000"/>
                <a:gd name="connsiteY485" fmla="*/ 545322 h 1608850"/>
                <a:gd name="connsiteX486" fmla="*/ 3888823 w 12192000"/>
                <a:gd name="connsiteY486" fmla="*/ 545322 h 1608850"/>
                <a:gd name="connsiteX487" fmla="*/ 3887708 w 12192000"/>
                <a:gd name="connsiteY487" fmla="*/ 543053 h 1608850"/>
                <a:gd name="connsiteX488" fmla="*/ 3879906 w 12192000"/>
                <a:gd name="connsiteY488" fmla="*/ 527166 h 1608850"/>
                <a:gd name="connsiteX489" fmla="*/ 3879906 w 12192000"/>
                <a:gd name="connsiteY489" fmla="*/ 478746 h 1608850"/>
                <a:gd name="connsiteX490" fmla="*/ 4029251 w 12192000"/>
                <a:gd name="connsiteY490" fmla="*/ 478746 h 1608850"/>
                <a:gd name="connsiteX491" fmla="*/ 4042623 w 12192000"/>
                <a:gd name="connsiteY491" fmla="*/ 505982 h 1608850"/>
                <a:gd name="connsiteX492" fmla="*/ 4042623 w 12192000"/>
                <a:gd name="connsiteY492" fmla="*/ 566505 h 1608850"/>
                <a:gd name="connsiteX493" fmla="*/ 4041510 w 12192000"/>
                <a:gd name="connsiteY493" fmla="*/ 566505 h 1608850"/>
                <a:gd name="connsiteX494" fmla="*/ 4033708 w 12192000"/>
                <a:gd name="connsiteY494" fmla="*/ 566505 h 1608850"/>
                <a:gd name="connsiteX495" fmla="*/ 4033708 w 12192000"/>
                <a:gd name="connsiteY495" fmla="*/ 568018 h 1608850"/>
                <a:gd name="connsiteX496" fmla="*/ 4033708 w 12192000"/>
                <a:gd name="connsiteY496" fmla="*/ 578610 h 1608850"/>
                <a:gd name="connsiteX497" fmla="*/ 4034823 w 12192000"/>
                <a:gd name="connsiteY497" fmla="*/ 578610 h 1608850"/>
                <a:gd name="connsiteX498" fmla="*/ 4042623 w 12192000"/>
                <a:gd name="connsiteY498" fmla="*/ 578610 h 1608850"/>
                <a:gd name="connsiteX499" fmla="*/ 4042623 w 12192000"/>
                <a:gd name="connsiteY499" fmla="*/ 580123 h 1608850"/>
                <a:gd name="connsiteX500" fmla="*/ 4042623 w 12192000"/>
                <a:gd name="connsiteY500" fmla="*/ 590714 h 1608850"/>
                <a:gd name="connsiteX501" fmla="*/ 4041510 w 12192000"/>
                <a:gd name="connsiteY501" fmla="*/ 590714 h 1608850"/>
                <a:gd name="connsiteX502" fmla="*/ 4033708 w 12192000"/>
                <a:gd name="connsiteY502" fmla="*/ 590714 h 1608850"/>
                <a:gd name="connsiteX503" fmla="*/ 4033708 w 12192000"/>
                <a:gd name="connsiteY503" fmla="*/ 592227 h 1608850"/>
                <a:gd name="connsiteX504" fmla="*/ 4033708 w 12192000"/>
                <a:gd name="connsiteY504" fmla="*/ 602819 h 1608850"/>
                <a:gd name="connsiteX505" fmla="*/ 4034823 w 12192000"/>
                <a:gd name="connsiteY505" fmla="*/ 602819 h 1608850"/>
                <a:gd name="connsiteX506" fmla="*/ 4042623 w 12192000"/>
                <a:gd name="connsiteY506" fmla="*/ 602819 h 1608850"/>
                <a:gd name="connsiteX507" fmla="*/ 4042623 w 12192000"/>
                <a:gd name="connsiteY507" fmla="*/ 603955 h 1608850"/>
                <a:gd name="connsiteX508" fmla="*/ 4042623 w 12192000"/>
                <a:gd name="connsiteY508" fmla="*/ 611898 h 1608850"/>
                <a:gd name="connsiteX509" fmla="*/ 4041510 w 12192000"/>
                <a:gd name="connsiteY509" fmla="*/ 611898 h 1608850"/>
                <a:gd name="connsiteX510" fmla="*/ 4033708 w 12192000"/>
                <a:gd name="connsiteY510" fmla="*/ 611898 h 1608850"/>
                <a:gd name="connsiteX511" fmla="*/ 4033708 w 12192000"/>
                <a:gd name="connsiteY511" fmla="*/ 613411 h 1608850"/>
                <a:gd name="connsiteX512" fmla="*/ 4033708 w 12192000"/>
                <a:gd name="connsiteY512" fmla="*/ 624002 h 1608850"/>
                <a:gd name="connsiteX513" fmla="*/ 4034823 w 12192000"/>
                <a:gd name="connsiteY513" fmla="*/ 624002 h 1608850"/>
                <a:gd name="connsiteX514" fmla="*/ 4042623 w 12192000"/>
                <a:gd name="connsiteY514" fmla="*/ 624002 h 1608850"/>
                <a:gd name="connsiteX515" fmla="*/ 4042623 w 12192000"/>
                <a:gd name="connsiteY515" fmla="*/ 625516 h 1608850"/>
                <a:gd name="connsiteX516" fmla="*/ 4042623 w 12192000"/>
                <a:gd name="connsiteY516" fmla="*/ 636107 h 1608850"/>
                <a:gd name="connsiteX517" fmla="*/ 4041510 w 12192000"/>
                <a:gd name="connsiteY517" fmla="*/ 636107 h 1608850"/>
                <a:gd name="connsiteX518" fmla="*/ 4033708 w 12192000"/>
                <a:gd name="connsiteY518" fmla="*/ 636107 h 1608850"/>
                <a:gd name="connsiteX519" fmla="*/ 4033708 w 12192000"/>
                <a:gd name="connsiteY519" fmla="*/ 637620 h 1608850"/>
                <a:gd name="connsiteX520" fmla="*/ 4033708 w 12192000"/>
                <a:gd name="connsiteY520" fmla="*/ 648212 h 1608850"/>
                <a:gd name="connsiteX521" fmla="*/ 4034823 w 12192000"/>
                <a:gd name="connsiteY521" fmla="*/ 648212 h 1608850"/>
                <a:gd name="connsiteX522" fmla="*/ 4042623 w 12192000"/>
                <a:gd name="connsiteY522" fmla="*/ 648212 h 1608850"/>
                <a:gd name="connsiteX523" fmla="*/ 4042623 w 12192000"/>
                <a:gd name="connsiteY523" fmla="*/ 649346 h 1608850"/>
                <a:gd name="connsiteX524" fmla="*/ 4042623 w 12192000"/>
                <a:gd name="connsiteY524" fmla="*/ 657290 h 1608850"/>
                <a:gd name="connsiteX525" fmla="*/ 4041510 w 12192000"/>
                <a:gd name="connsiteY525" fmla="*/ 657290 h 1608850"/>
                <a:gd name="connsiteX526" fmla="*/ 4033708 w 12192000"/>
                <a:gd name="connsiteY526" fmla="*/ 657290 h 1608850"/>
                <a:gd name="connsiteX527" fmla="*/ 4033708 w 12192000"/>
                <a:gd name="connsiteY527" fmla="*/ 658804 h 1608850"/>
                <a:gd name="connsiteX528" fmla="*/ 4033708 w 12192000"/>
                <a:gd name="connsiteY528" fmla="*/ 669395 h 1608850"/>
                <a:gd name="connsiteX529" fmla="*/ 4034823 w 12192000"/>
                <a:gd name="connsiteY529" fmla="*/ 669395 h 1608850"/>
                <a:gd name="connsiteX530" fmla="*/ 4042623 w 12192000"/>
                <a:gd name="connsiteY530" fmla="*/ 669395 h 1608850"/>
                <a:gd name="connsiteX531" fmla="*/ 4042623 w 12192000"/>
                <a:gd name="connsiteY531" fmla="*/ 670908 h 1608850"/>
                <a:gd name="connsiteX532" fmla="*/ 4042623 w 12192000"/>
                <a:gd name="connsiteY532" fmla="*/ 681500 h 1608850"/>
                <a:gd name="connsiteX533" fmla="*/ 4041510 w 12192000"/>
                <a:gd name="connsiteY533" fmla="*/ 681500 h 1608850"/>
                <a:gd name="connsiteX534" fmla="*/ 4033708 w 12192000"/>
                <a:gd name="connsiteY534" fmla="*/ 681500 h 1608850"/>
                <a:gd name="connsiteX535" fmla="*/ 4033708 w 12192000"/>
                <a:gd name="connsiteY535" fmla="*/ 682634 h 1608850"/>
                <a:gd name="connsiteX536" fmla="*/ 4033708 w 12192000"/>
                <a:gd name="connsiteY536" fmla="*/ 690579 h 1608850"/>
                <a:gd name="connsiteX537" fmla="*/ 4034823 w 12192000"/>
                <a:gd name="connsiteY537" fmla="*/ 690579 h 1608850"/>
                <a:gd name="connsiteX538" fmla="*/ 4042623 w 12192000"/>
                <a:gd name="connsiteY538" fmla="*/ 690579 h 1608850"/>
                <a:gd name="connsiteX539" fmla="*/ 4042623 w 12192000"/>
                <a:gd name="connsiteY539" fmla="*/ 692091 h 1608850"/>
                <a:gd name="connsiteX540" fmla="*/ 4042623 w 12192000"/>
                <a:gd name="connsiteY540" fmla="*/ 702682 h 1608850"/>
                <a:gd name="connsiteX541" fmla="*/ 4041510 w 12192000"/>
                <a:gd name="connsiteY541" fmla="*/ 702682 h 1608850"/>
                <a:gd name="connsiteX542" fmla="*/ 4033708 w 12192000"/>
                <a:gd name="connsiteY542" fmla="*/ 702682 h 1608850"/>
                <a:gd name="connsiteX543" fmla="*/ 4033708 w 12192000"/>
                <a:gd name="connsiteY543" fmla="*/ 704195 h 1608850"/>
                <a:gd name="connsiteX544" fmla="*/ 4033708 w 12192000"/>
                <a:gd name="connsiteY544" fmla="*/ 714788 h 1608850"/>
                <a:gd name="connsiteX545" fmla="*/ 4034823 w 12192000"/>
                <a:gd name="connsiteY545" fmla="*/ 714788 h 1608850"/>
                <a:gd name="connsiteX546" fmla="*/ 4042623 w 12192000"/>
                <a:gd name="connsiteY546" fmla="*/ 714788 h 1608850"/>
                <a:gd name="connsiteX547" fmla="*/ 4042623 w 12192000"/>
                <a:gd name="connsiteY547" fmla="*/ 716300 h 1608850"/>
                <a:gd name="connsiteX548" fmla="*/ 4042623 w 12192000"/>
                <a:gd name="connsiteY548" fmla="*/ 726892 h 1608850"/>
                <a:gd name="connsiteX549" fmla="*/ 4041510 w 12192000"/>
                <a:gd name="connsiteY549" fmla="*/ 726892 h 1608850"/>
                <a:gd name="connsiteX550" fmla="*/ 4033708 w 12192000"/>
                <a:gd name="connsiteY550" fmla="*/ 726892 h 1608850"/>
                <a:gd name="connsiteX551" fmla="*/ 4033708 w 12192000"/>
                <a:gd name="connsiteY551" fmla="*/ 728027 h 1608850"/>
                <a:gd name="connsiteX552" fmla="*/ 4033708 w 12192000"/>
                <a:gd name="connsiteY552" fmla="*/ 735970 h 1608850"/>
                <a:gd name="connsiteX553" fmla="*/ 4034823 w 12192000"/>
                <a:gd name="connsiteY553" fmla="*/ 735970 h 1608850"/>
                <a:gd name="connsiteX554" fmla="*/ 4042623 w 12192000"/>
                <a:gd name="connsiteY554" fmla="*/ 735970 h 1608850"/>
                <a:gd name="connsiteX555" fmla="*/ 4042623 w 12192000"/>
                <a:gd name="connsiteY555" fmla="*/ 737484 h 1608850"/>
                <a:gd name="connsiteX556" fmla="*/ 4042623 w 12192000"/>
                <a:gd name="connsiteY556" fmla="*/ 748075 h 1608850"/>
                <a:gd name="connsiteX557" fmla="*/ 4041510 w 12192000"/>
                <a:gd name="connsiteY557" fmla="*/ 748075 h 1608850"/>
                <a:gd name="connsiteX558" fmla="*/ 4033708 w 12192000"/>
                <a:gd name="connsiteY558" fmla="*/ 748075 h 1608850"/>
                <a:gd name="connsiteX559" fmla="*/ 4033708 w 12192000"/>
                <a:gd name="connsiteY559" fmla="*/ 749588 h 1608850"/>
                <a:gd name="connsiteX560" fmla="*/ 4033708 w 12192000"/>
                <a:gd name="connsiteY560" fmla="*/ 760181 h 1608850"/>
                <a:gd name="connsiteX561" fmla="*/ 4034823 w 12192000"/>
                <a:gd name="connsiteY561" fmla="*/ 760181 h 1608850"/>
                <a:gd name="connsiteX562" fmla="*/ 4042623 w 12192000"/>
                <a:gd name="connsiteY562" fmla="*/ 760181 h 1608850"/>
                <a:gd name="connsiteX563" fmla="*/ 4042623 w 12192000"/>
                <a:gd name="connsiteY563" fmla="*/ 761314 h 1608850"/>
                <a:gd name="connsiteX564" fmla="*/ 4042623 w 12192000"/>
                <a:gd name="connsiteY564" fmla="*/ 769258 h 1608850"/>
                <a:gd name="connsiteX565" fmla="*/ 4041510 w 12192000"/>
                <a:gd name="connsiteY565" fmla="*/ 769258 h 1608850"/>
                <a:gd name="connsiteX566" fmla="*/ 4033708 w 12192000"/>
                <a:gd name="connsiteY566" fmla="*/ 769258 h 1608850"/>
                <a:gd name="connsiteX567" fmla="*/ 4033708 w 12192000"/>
                <a:gd name="connsiteY567" fmla="*/ 770772 h 1608850"/>
                <a:gd name="connsiteX568" fmla="*/ 4033708 w 12192000"/>
                <a:gd name="connsiteY568" fmla="*/ 781363 h 1608850"/>
                <a:gd name="connsiteX569" fmla="*/ 4034823 w 12192000"/>
                <a:gd name="connsiteY569" fmla="*/ 781363 h 1608850"/>
                <a:gd name="connsiteX570" fmla="*/ 4042623 w 12192000"/>
                <a:gd name="connsiteY570" fmla="*/ 781363 h 1608850"/>
                <a:gd name="connsiteX571" fmla="*/ 4042623 w 12192000"/>
                <a:gd name="connsiteY571" fmla="*/ 782876 h 1608850"/>
                <a:gd name="connsiteX572" fmla="*/ 4042623 w 12192000"/>
                <a:gd name="connsiteY572" fmla="*/ 793468 h 1608850"/>
                <a:gd name="connsiteX573" fmla="*/ 4041510 w 12192000"/>
                <a:gd name="connsiteY573" fmla="*/ 793468 h 1608850"/>
                <a:gd name="connsiteX574" fmla="*/ 4033708 w 12192000"/>
                <a:gd name="connsiteY574" fmla="*/ 793468 h 1608850"/>
                <a:gd name="connsiteX575" fmla="*/ 4033708 w 12192000"/>
                <a:gd name="connsiteY575" fmla="*/ 794981 h 1608850"/>
                <a:gd name="connsiteX576" fmla="*/ 4033708 w 12192000"/>
                <a:gd name="connsiteY576" fmla="*/ 805572 h 1608850"/>
                <a:gd name="connsiteX577" fmla="*/ 4034823 w 12192000"/>
                <a:gd name="connsiteY577" fmla="*/ 805572 h 1608850"/>
                <a:gd name="connsiteX578" fmla="*/ 4042623 w 12192000"/>
                <a:gd name="connsiteY578" fmla="*/ 805572 h 1608850"/>
                <a:gd name="connsiteX579" fmla="*/ 4042623 w 12192000"/>
                <a:gd name="connsiteY579" fmla="*/ 806707 h 1608850"/>
                <a:gd name="connsiteX580" fmla="*/ 4042623 w 12192000"/>
                <a:gd name="connsiteY580" fmla="*/ 814651 h 1608850"/>
                <a:gd name="connsiteX581" fmla="*/ 4041510 w 12192000"/>
                <a:gd name="connsiteY581" fmla="*/ 814651 h 1608850"/>
                <a:gd name="connsiteX582" fmla="*/ 4033708 w 12192000"/>
                <a:gd name="connsiteY582" fmla="*/ 814651 h 1608850"/>
                <a:gd name="connsiteX583" fmla="*/ 4033708 w 12192000"/>
                <a:gd name="connsiteY583" fmla="*/ 816163 h 1608850"/>
                <a:gd name="connsiteX584" fmla="*/ 4033708 w 12192000"/>
                <a:gd name="connsiteY584" fmla="*/ 826756 h 1608850"/>
                <a:gd name="connsiteX585" fmla="*/ 4058227 w 12192000"/>
                <a:gd name="connsiteY585" fmla="*/ 853992 h 1608850"/>
                <a:gd name="connsiteX586" fmla="*/ 4057113 w 12192000"/>
                <a:gd name="connsiteY586" fmla="*/ 860044 h 1608850"/>
                <a:gd name="connsiteX587" fmla="*/ 4049311 w 12192000"/>
                <a:gd name="connsiteY587" fmla="*/ 860044 h 1608850"/>
                <a:gd name="connsiteX588" fmla="*/ 4049311 w 12192000"/>
                <a:gd name="connsiteY588" fmla="*/ 893331 h 1608850"/>
                <a:gd name="connsiteX589" fmla="*/ 4050427 w 12192000"/>
                <a:gd name="connsiteY589" fmla="*/ 893331 h 1608850"/>
                <a:gd name="connsiteX590" fmla="*/ 4058227 w 12192000"/>
                <a:gd name="connsiteY590" fmla="*/ 893331 h 1608850"/>
                <a:gd name="connsiteX591" fmla="*/ 4058227 w 12192000"/>
                <a:gd name="connsiteY591" fmla="*/ 891440 h 1608850"/>
                <a:gd name="connsiteX592" fmla="*/ 4058227 w 12192000"/>
                <a:gd name="connsiteY592" fmla="*/ 878201 h 1608850"/>
                <a:gd name="connsiteX593" fmla="*/ 4059342 w 12192000"/>
                <a:gd name="connsiteY593" fmla="*/ 877444 h 1608850"/>
                <a:gd name="connsiteX594" fmla="*/ 4067142 w 12192000"/>
                <a:gd name="connsiteY594" fmla="*/ 872149 h 1608850"/>
                <a:gd name="connsiteX595" fmla="*/ 4069094 w 12192000"/>
                <a:gd name="connsiteY595" fmla="*/ 872149 h 1608850"/>
                <a:gd name="connsiteX596" fmla="*/ 4082747 w 12192000"/>
                <a:gd name="connsiteY596" fmla="*/ 872149 h 1608850"/>
                <a:gd name="connsiteX597" fmla="*/ 4082747 w 12192000"/>
                <a:gd name="connsiteY597" fmla="*/ 873661 h 1608850"/>
                <a:gd name="connsiteX598" fmla="*/ 4082747 w 12192000"/>
                <a:gd name="connsiteY598" fmla="*/ 884253 h 1608850"/>
                <a:gd name="connsiteX599" fmla="*/ 4084419 w 12192000"/>
                <a:gd name="connsiteY599" fmla="*/ 884253 h 1608850"/>
                <a:gd name="connsiteX600" fmla="*/ 4096121 w 12192000"/>
                <a:gd name="connsiteY600" fmla="*/ 884253 h 1608850"/>
                <a:gd name="connsiteX601" fmla="*/ 4097235 w 12192000"/>
                <a:gd name="connsiteY601" fmla="*/ 890305 h 1608850"/>
                <a:gd name="connsiteX602" fmla="*/ 4105038 w 12192000"/>
                <a:gd name="connsiteY602" fmla="*/ 890305 h 1608850"/>
                <a:gd name="connsiteX603" fmla="*/ 4129555 w 12192000"/>
                <a:gd name="connsiteY603" fmla="*/ 932671 h 1608850"/>
                <a:gd name="connsiteX604" fmla="*/ 4129555 w 12192000"/>
                <a:gd name="connsiteY604" fmla="*/ 951821 h 1608850"/>
                <a:gd name="connsiteX605" fmla="*/ 4129555 w 12192000"/>
                <a:gd name="connsiteY605" fmla="*/ 970823 h 1608850"/>
                <a:gd name="connsiteX606" fmla="*/ 4138472 w 12192000"/>
                <a:gd name="connsiteY606" fmla="*/ 970823 h 1608850"/>
                <a:gd name="connsiteX607" fmla="*/ 4138472 w 12192000"/>
                <a:gd name="connsiteY607" fmla="*/ 956881 h 1608850"/>
                <a:gd name="connsiteX608" fmla="*/ 4139308 w 12192000"/>
                <a:gd name="connsiteY608" fmla="*/ 956881 h 1608850"/>
                <a:gd name="connsiteX609" fmla="*/ 4145159 w 12192000"/>
                <a:gd name="connsiteY609" fmla="*/ 956881 h 1608850"/>
                <a:gd name="connsiteX610" fmla="*/ 4145159 w 12192000"/>
                <a:gd name="connsiteY610" fmla="*/ 958394 h 1608850"/>
                <a:gd name="connsiteX611" fmla="*/ 4145159 w 12192000"/>
                <a:gd name="connsiteY611" fmla="*/ 968985 h 1608850"/>
                <a:gd name="connsiteX612" fmla="*/ 4154075 w 12192000"/>
                <a:gd name="connsiteY612" fmla="*/ 905436 h 1608850"/>
                <a:gd name="connsiteX613" fmla="*/ 4191968 w 12192000"/>
                <a:gd name="connsiteY613" fmla="*/ 905436 h 1608850"/>
                <a:gd name="connsiteX614" fmla="*/ 4191968 w 12192000"/>
                <a:gd name="connsiteY614" fmla="*/ 808599 h 1608850"/>
                <a:gd name="connsiteX615" fmla="*/ 4227631 w 12192000"/>
                <a:gd name="connsiteY615" fmla="*/ 808599 h 1608850"/>
                <a:gd name="connsiteX616" fmla="*/ 4227631 w 12192000"/>
                <a:gd name="connsiteY616" fmla="*/ 807464 h 1608850"/>
                <a:gd name="connsiteX617" fmla="*/ 4227631 w 12192000"/>
                <a:gd name="connsiteY617" fmla="*/ 799520 h 1608850"/>
                <a:gd name="connsiteX618" fmla="*/ 4249922 w 12192000"/>
                <a:gd name="connsiteY618" fmla="*/ 799520 h 1608850"/>
                <a:gd name="connsiteX619" fmla="*/ 4249922 w 12192000"/>
                <a:gd name="connsiteY619" fmla="*/ 748075 h 1608850"/>
                <a:gd name="connsiteX620" fmla="*/ 4245463 w 12192000"/>
                <a:gd name="connsiteY620" fmla="*/ 745805 h 1608850"/>
                <a:gd name="connsiteX621" fmla="*/ 4245463 w 12192000"/>
                <a:gd name="connsiteY621" fmla="*/ 729918 h 1608850"/>
                <a:gd name="connsiteX622" fmla="*/ 4249922 w 12192000"/>
                <a:gd name="connsiteY622" fmla="*/ 732945 h 1608850"/>
                <a:gd name="connsiteX623" fmla="*/ 4254381 w 12192000"/>
                <a:gd name="connsiteY623" fmla="*/ 702682 h 1608850"/>
                <a:gd name="connsiteX624" fmla="*/ 4258839 w 12192000"/>
                <a:gd name="connsiteY624" fmla="*/ 732945 h 1608850"/>
                <a:gd name="connsiteX625" fmla="*/ 4261346 w 12192000"/>
                <a:gd name="connsiteY625" fmla="*/ 728783 h 1608850"/>
                <a:gd name="connsiteX626" fmla="*/ 4263297 w 12192000"/>
                <a:gd name="connsiteY626" fmla="*/ 720840 h 1608850"/>
                <a:gd name="connsiteX627" fmla="*/ 4263853 w 12192000"/>
                <a:gd name="connsiteY627" fmla="*/ 719327 h 1608850"/>
                <a:gd name="connsiteX628" fmla="*/ 4267754 w 12192000"/>
                <a:gd name="connsiteY628" fmla="*/ 708734 h 1608850"/>
                <a:gd name="connsiteX629" fmla="*/ 4268311 w 12192000"/>
                <a:gd name="connsiteY629" fmla="*/ 707222 h 1608850"/>
                <a:gd name="connsiteX630" fmla="*/ 4272213 w 12192000"/>
                <a:gd name="connsiteY630" fmla="*/ 696631 h 1608850"/>
                <a:gd name="connsiteX631" fmla="*/ 4273605 w 12192000"/>
                <a:gd name="connsiteY631" fmla="*/ 695495 h 1608850"/>
                <a:gd name="connsiteX632" fmla="*/ 4283357 w 12192000"/>
                <a:gd name="connsiteY632" fmla="*/ 687552 h 1608850"/>
                <a:gd name="connsiteX633" fmla="*/ 4285030 w 12192000"/>
                <a:gd name="connsiteY633" fmla="*/ 686039 h 1608850"/>
                <a:gd name="connsiteX634" fmla="*/ 4296732 w 12192000"/>
                <a:gd name="connsiteY634" fmla="*/ 675447 h 1608850"/>
                <a:gd name="connsiteX635" fmla="*/ 4297568 w 12192000"/>
                <a:gd name="connsiteY635" fmla="*/ 673934 h 1608850"/>
                <a:gd name="connsiteX636" fmla="*/ 4303418 w 12192000"/>
                <a:gd name="connsiteY636" fmla="*/ 663343 h 1608850"/>
                <a:gd name="connsiteX637" fmla="*/ 4303976 w 12192000"/>
                <a:gd name="connsiteY637" fmla="*/ 660695 h 1608850"/>
                <a:gd name="connsiteX638" fmla="*/ 4307877 w 12192000"/>
                <a:gd name="connsiteY638" fmla="*/ 642159 h 1608850"/>
                <a:gd name="connsiteX639" fmla="*/ 4308435 w 12192000"/>
                <a:gd name="connsiteY639" fmla="*/ 644807 h 1608850"/>
                <a:gd name="connsiteX640" fmla="*/ 4312335 w 12192000"/>
                <a:gd name="connsiteY640" fmla="*/ 663343 h 1608850"/>
                <a:gd name="connsiteX641" fmla="*/ 4312893 w 12192000"/>
                <a:gd name="connsiteY641" fmla="*/ 664477 h 1608850"/>
                <a:gd name="connsiteX642" fmla="*/ 4316793 w 12192000"/>
                <a:gd name="connsiteY642" fmla="*/ 672421 h 1608850"/>
                <a:gd name="connsiteX643" fmla="*/ 4318186 w 12192000"/>
                <a:gd name="connsiteY643" fmla="*/ 673934 h 1608850"/>
                <a:gd name="connsiteX644" fmla="*/ 4327938 w 12192000"/>
                <a:gd name="connsiteY644" fmla="*/ 684525 h 1608850"/>
                <a:gd name="connsiteX645" fmla="*/ 4329054 w 12192000"/>
                <a:gd name="connsiteY645" fmla="*/ 686039 h 1608850"/>
                <a:gd name="connsiteX646" fmla="*/ 4336853 w 12192000"/>
                <a:gd name="connsiteY646" fmla="*/ 696631 h 1608850"/>
                <a:gd name="connsiteX647" fmla="*/ 4337969 w 12192000"/>
                <a:gd name="connsiteY647" fmla="*/ 698143 h 1608850"/>
                <a:gd name="connsiteX648" fmla="*/ 4345771 w 12192000"/>
                <a:gd name="connsiteY648" fmla="*/ 708734 h 1608850"/>
                <a:gd name="connsiteX649" fmla="*/ 4346049 w 12192000"/>
                <a:gd name="connsiteY649" fmla="*/ 710248 h 1608850"/>
                <a:gd name="connsiteX650" fmla="*/ 4347998 w 12192000"/>
                <a:gd name="connsiteY650" fmla="*/ 720840 h 1608850"/>
                <a:gd name="connsiteX651" fmla="*/ 4348277 w 12192000"/>
                <a:gd name="connsiteY651" fmla="*/ 722352 h 1608850"/>
                <a:gd name="connsiteX652" fmla="*/ 4350228 w 12192000"/>
                <a:gd name="connsiteY652" fmla="*/ 732945 h 1608850"/>
                <a:gd name="connsiteX653" fmla="*/ 4356914 w 12192000"/>
                <a:gd name="connsiteY653" fmla="*/ 702682 h 1608850"/>
                <a:gd name="connsiteX654" fmla="*/ 4361373 w 12192000"/>
                <a:gd name="connsiteY654" fmla="*/ 732945 h 1608850"/>
                <a:gd name="connsiteX655" fmla="*/ 4365830 w 12192000"/>
                <a:gd name="connsiteY655" fmla="*/ 735214 h 1608850"/>
                <a:gd name="connsiteX656" fmla="*/ 4365830 w 12192000"/>
                <a:gd name="connsiteY656" fmla="*/ 751102 h 1608850"/>
                <a:gd name="connsiteX657" fmla="*/ 4361373 w 12192000"/>
                <a:gd name="connsiteY657" fmla="*/ 793468 h 1608850"/>
                <a:gd name="connsiteX658" fmla="*/ 4362489 w 12192000"/>
                <a:gd name="connsiteY658" fmla="*/ 793468 h 1608850"/>
                <a:gd name="connsiteX659" fmla="*/ 4370289 w 12192000"/>
                <a:gd name="connsiteY659" fmla="*/ 793468 h 1608850"/>
                <a:gd name="connsiteX660" fmla="*/ 4371126 w 12192000"/>
                <a:gd name="connsiteY660" fmla="*/ 799520 h 1608850"/>
                <a:gd name="connsiteX661" fmla="*/ 4376976 w 12192000"/>
                <a:gd name="connsiteY661" fmla="*/ 799520 h 1608850"/>
                <a:gd name="connsiteX662" fmla="*/ 4376976 w 12192000"/>
                <a:gd name="connsiteY662" fmla="*/ 798007 h 1608850"/>
                <a:gd name="connsiteX663" fmla="*/ 4376976 w 12192000"/>
                <a:gd name="connsiteY663" fmla="*/ 787415 h 1608850"/>
                <a:gd name="connsiteX664" fmla="*/ 4379206 w 12192000"/>
                <a:gd name="connsiteY664" fmla="*/ 787415 h 1608850"/>
                <a:gd name="connsiteX665" fmla="*/ 4394808 w 12192000"/>
                <a:gd name="connsiteY665" fmla="*/ 787415 h 1608850"/>
                <a:gd name="connsiteX666" fmla="*/ 4394808 w 12192000"/>
                <a:gd name="connsiteY666" fmla="*/ 784767 h 1608850"/>
                <a:gd name="connsiteX667" fmla="*/ 4394808 w 12192000"/>
                <a:gd name="connsiteY667" fmla="*/ 766232 h 1608850"/>
                <a:gd name="connsiteX668" fmla="*/ 4432702 w 12192000"/>
                <a:gd name="connsiteY668" fmla="*/ 766232 h 1608850"/>
                <a:gd name="connsiteX669" fmla="*/ 4432702 w 12192000"/>
                <a:gd name="connsiteY669" fmla="*/ 768124 h 1608850"/>
                <a:gd name="connsiteX670" fmla="*/ 4432702 w 12192000"/>
                <a:gd name="connsiteY670" fmla="*/ 781363 h 1608850"/>
                <a:gd name="connsiteX671" fmla="*/ 4452762 w 12192000"/>
                <a:gd name="connsiteY671" fmla="*/ 781363 h 1608850"/>
                <a:gd name="connsiteX672" fmla="*/ 4452762 w 12192000"/>
                <a:gd name="connsiteY672" fmla="*/ 784390 h 1608850"/>
                <a:gd name="connsiteX673" fmla="*/ 4452762 w 12192000"/>
                <a:gd name="connsiteY673" fmla="*/ 805572 h 1608850"/>
                <a:gd name="connsiteX674" fmla="*/ 4448306 w 12192000"/>
                <a:gd name="connsiteY674" fmla="*/ 806707 h 1608850"/>
                <a:gd name="connsiteX675" fmla="*/ 4448306 w 12192000"/>
                <a:gd name="connsiteY675" fmla="*/ 814651 h 1608850"/>
                <a:gd name="connsiteX676" fmla="*/ 4452762 w 12192000"/>
                <a:gd name="connsiteY676" fmla="*/ 816921 h 1608850"/>
                <a:gd name="connsiteX677" fmla="*/ 4452762 w 12192000"/>
                <a:gd name="connsiteY677" fmla="*/ 832808 h 1608850"/>
                <a:gd name="connsiteX678" fmla="*/ 4448306 w 12192000"/>
                <a:gd name="connsiteY678" fmla="*/ 838860 h 1608850"/>
                <a:gd name="connsiteX679" fmla="*/ 4448306 w 12192000"/>
                <a:gd name="connsiteY679" fmla="*/ 911488 h 1608850"/>
                <a:gd name="connsiteX680" fmla="*/ 4450255 w 12192000"/>
                <a:gd name="connsiteY680" fmla="*/ 911488 h 1608850"/>
                <a:gd name="connsiteX681" fmla="*/ 4463908 w 12192000"/>
                <a:gd name="connsiteY681" fmla="*/ 911488 h 1608850"/>
                <a:gd name="connsiteX682" fmla="*/ 4465579 w 12192000"/>
                <a:gd name="connsiteY682" fmla="*/ 917540 h 1608850"/>
                <a:gd name="connsiteX683" fmla="*/ 4477282 w 12192000"/>
                <a:gd name="connsiteY683" fmla="*/ 917540 h 1608850"/>
                <a:gd name="connsiteX684" fmla="*/ 4477282 w 12192000"/>
                <a:gd name="connsiteY684" fmla="*/ 920188 h 1608850"/>
                <a:gd name="connsiteX685" fmla="*/ 4477282 w 12192000"/>
                <a:gd name="connsiteY685" fmla="*/ 938724 h 1608850"/>
                <a:gd name="connsiteX686" fmla="*/ 4478955 w 12192000"/>
                <a:gd name="connsiteY686" fmla="*/ 938724 h 1608850"/>
                <a:gd name="connsiteX687" fmla="*/ 4490656 w 12192000"/>
                <a:gd name="connsiteY687" fmla="*/ 938724 h 1608850"/>
                <a:gd name="connsiteX688" fmla="*/ 4490656 w 12192000"/>
                <a:gd name="connsiteY688" fmla="*/ 936076 h 1608850"/>
                <a:gd name="connsiteX689" fmla="*/ 4490656 w 12192000"/>
                <a:gd name="connsiteY689" fmla="*/ 917540 h 1608850"/>
                <a:gd name="connsiteX690" fmla="*/ 4492605 w 12192000"/>
                <a:gd name="connsiteY690" fmla="*/ 916028 h 1608850"/>
                <a:gd name="connsiteX691" fmla="*/ 4506258 w 12192000"/>
                <a:gd name="connsiteY691" fmla="*/ 905436 h 1608850"/>
                <a:gd name="connsiteX692" fmla="*/ 4506258 w 12192000"/>
                <a:gd name="connsiteY692" fmla="*/ 878201 h 1608850"/>
                <a:gd name="connsiteX693" fmla="*/ 4501802 w 12192000"/>
                <a:gd name="connsiteY693" fmla="*/ 847938 h 1608850"/>
                <a:gd name="connsiteX694" fmla="*/ 4502914 w 12192000"/>
                <a:gd name="connsiteY694" fmla="*/ 847938 h 1608850"/>
                <a:gd name="connsiteX695" fmla="*/ 4510717 w 12192000"/>
                <a:gd name="connsiteY695" fmla="*/ 847938 h 1608850"/>
                <a:gd name="connsiteX696" fmla="*/ 4530778 w 12192000"/>
                <a:gd name="connsiteY696" fmla="*/ 844913 h 1608850"/>
                <a:gd name="connsiteX697" fmla="*/ 4530778 w 12192000"/>
                <a:gd name="connsiteY697" fmla="*/ 843399 h 1608850"/>
                <a:gd name="connsiteX698" fmla="*/ 4530778 w 12192000"/>
                <a:gd name="connsiteY698" fmla="*/ 832808 h 1608850"/>
                <a:gd name="connsiteX699" fmla="*/ 4532451 w 12192000"/>
                <a:gd name="connsiteY699" fmla="*/ 832808 h 1608850"/>
                <a:gd name="connsiteX700" fmla="*/ 4544152 w 12192000"/>
                <a:gd name="connsiteY700" fmla="*/ 832808 h 1608850"/>
                <a:gd name="connsiteX701" fmla="*/ 4544152 w 12192000"/>
                <a:gd name="connsiteY701" fmla="*/ 681500 h 1608850"/>
                <a:gd name="connsiteX702" fmla="*/ 4545267 w 12192000"/>
                <a:gd name="connsiteY702" fmla="*/ 681500 h 1608850"/>
                <a:gd name="connsiteX703" fmla="*/ 4553068 w 12192000"/>
                <a:gd name="connsiteY703" fmla="*/ 681500 h 1608850"/>
                <a:gd name="connsiteX704" fmla="*/ 4553068 w 12192000"/>
                <a:gd name="connsiteY704" fmla="*/ 678473 h 1608850"/>
                <a:gd name="connsiteX705" fmla="*/ 4553068 w 12192000"/>
                <a:gd name="connsiteY705" fmla="*/ 657290 h 1608850"/>
                <a:gd name="connsiteX706" fmla="*/ 4555298 w 12192000"/>
                <a:gd name="connsiteY706" fmla="*/ 596766 h 1608850"/>
                <a:gd name="connsiteX707" fmla="*/ 4556412 w 12192000"/>
                <a:gd name="connsiteY707" fmla="*/ 596766 h 1608850"/>
                <a:gd name="connsiteX708" fmla="*/ 4564213 w 12192000"/>
                <a:gd name="connsiteY708" fmla="*/ 596766 h 1608850"/>
                <a:gd name="connsiteX709" fmla="*/ 4564213 w 12192000"/>
                <a:gd name="connsiteY709" fmla="*/ 598280 h 1608850"/>
                <a:gd name="connsiteX710" fmla="*/ 4564213 w 12192000"/>
                <a:gd name="connsiteY710" fmla="*/ 608871 h 1608850"/>
                <a:gd name="connsiteX711" fmla="*/ 4568671 w 12192000"/>
                <a:gd name="connsiteY711" fmla="*/ 605845 h 1608850"/>
                <a:gd name="connsiteX712" fmla="*/ 4568671 w 12192000"/>
                <a:gd name="connsiteY712" fmla="*/ 584662 h 1608850"/>
                <a:gd name="connsiteX713" fmla="*/ 4570065 w 12192000"/>
                <a:gd name="connsiteY713" fmla="*/ 583906 h 1608850"/>
                <a:gd name="connsiteX714" fmla="*/ 4579816 w 12192000"/>
                <a:gd name="connsiteY714" fmla="*/ 578610 h 1608850"/>
                <a:gd name="connsiteX715" fmla="*/ 4580930 w 12192000"/>
                <a:gd name="connsiteY715" fmla="*/ 579367 h 1608850"/>
                <a:gd name="connsiteX716" fmla="*/ 4588733 w 12192000"/>
                <a:gd name="connsiteY716" fmla="*/ 584662 h 1608850"/>
                <a:gd name="connsiteX717" fmla="*/ 4590404 w 12192000"/>
                <a:gd name="connsiteY717" fmla="*/ 584662 h 1608850"/>
                <a:gd name="connsiteX718" fmla="*/ 4602107 w 12192000"/>
                <a:gd name="connsiteY718" fmla="*/ 584662 h 1608850"/>
                <a:gd name="connsiteX719" fmla="*/ 4602107 w 12192000"/>
                <a:gd name="connsiteY719" fmla="*/ 545322 h 1608850"/>
                <a:gd name="connsiteX720" fmla="*/ 4603221 w 12192000"/>
                <a:gd name="connsiteY720" fmla="*/ 545322 h 1608850"/>
                <a:gd name="connsiteX721" fmla="*/ 4611021 w 12192000"/>
                <a:gd name="connsiteY721" fmla="*/ 545322 h 1608850"/>
                <a:gd name="connsiteX722" fmla="*/ 4612414 w 12192000"/>
                <a:gd name="connsiteY722" fmla="*/ 551375 h 1608850"/>
                <a:gd name="connsiteX723" fmla="*/ 4622169 w 12192000"/>
                <a:gd name="connsiteY723" fmla="*/ 551375 h 1608850"/>
                <a:gd name="connsiteX724" fmla="*/ 4623282 w 12192000"/>
                <a:gd name="connsiteY724" fmla="*/ 545322 h 1608850"/>
                <a:gd name="connsiteX725" fmla="*/ 4631084 w 12192000"/>
                <a:gd name="connsiteY725" fmla="*/ 545322 h 1608850"/>
                <a:gd name="connsiteX726" fmla="*/ 4631084 w 12192000"/>
                <a:gd name="connsiteY726" fmla="*/ 590714 h 1608850"/>
                <a:gd name="connsiteX727" fmla="*/ 4632477 w 12192000"/>
                <a:gd name="connsiteY727" fmla="*/ 592227 h 1608850"/>
                <a:gd name="connsiteX728" fmla="*/ 4642230 w 12192000"/>
                <a:gd name="connsiteY728" fmla="*/ 602819 h 1608850"/>
                <a:gd name="connsiteX729" fmla="*/ 4664518 w 12192000"/>
                <a:gd name="connsiteY729" fmla="*/ 611898 h 1608850"/>
                <a:gd name="connsiteX730" fmla="*/ 4664518 w 12192000"/>
                <a:gd name="connsiteY730" fmla="*/ 610007 h 1608850"/>
                <a:gd name="connsiteX731" fmla="*/ 4664518 w 12192000"/>
                <a:gd name="connsiteY731" fmla="*/ 596766 h 1608850"/>
                <a:gd name="connsiteX732" fmla="*/ 4693496 w 12192000"/>
                <a:gd name="connsiteY732" fmla="*/ 584662 h 1608850"/>
                <a:gd name="connsiteX733" fmla="*/ 4693496 w 12192000"/>
                <a:gd name="connsiteY733" fmla="*/ 583150 h 1608850"/>
                <a:gd name="connsiteX734" fmla="*/ 4693496 w 12192000"/>
                <a:gd name="connsiteY734" fmla="*/ 572557 h 1608850"/>
                <a:gd name="connsiteX735" fmla="*/ 4694332 w 12192000"/>
                <a:gd name="connsiteY735" fmla="*/ 572557 h 1608850"/>
                <a:gd name="connsiteX736" fmla="*/ 4700182 w 12192000"/>
                <a:gd name="connsiteY736" fmla="*/ 572557 h 1608850"/>
                <a:gd name="connsiteX737" fmla="*/ 4700182 w 12192000"/>
                <a:gd name="connsiteY737" fmla="*/ 571423 h 1608850"/>
                <a:gd name="connsiteX738" fmla="*/ 4700182 w 12192000"/>
                <a:gd name="connsiteY738" fmla="*/ 563479 h 1608850"/>
                <a:gd name="connsiteX739" fmla="*/ 4702412 w 12192000"/>
                <a:gd name="connsiteY739" fmla="*/ 563479 h 1608850"/>
                <a:gd name="connsiteX740" fmla="*/ 4718014 w 12192000"/>
                <a:gd name="connsiteY740" fmla="*/ 563479 h 1608850"/>
                <a:gd name="connsiteX741" fmla="*/ 4718014 w 12192000"/>
                <a:gd name="connsiteY741" fmla="*/ 564614 h 1608850"/>
                <a:gd name="connsiteX742" fmla="*/ 4718014 w 12192000"/>
                <a:gd name="connsiteY742" fmla="*/ 572557 h 1608850"/>
                <a:gd name="connsiteX743" fmla="*/ 4719686 w 12192000"/>
                <a:gd name="connsiteY743" fmla="*/ 572557 h 1608850"/>
                <a:gd name="connsiteX744" fmla="*/ 4731390 w 12192000"/>
                <a:gd name="connsiteY744" fmla="*/ 572557 h 1608850"/>
                <a:gd name="connsiteX745" fmla="*/ 4731390 w 12192000"/>
                <a:gd name="connsiteY745" fmla="*/ 574828 h 1608850"/>
                <a:gd name="connsiteX746" fmla="*/ 4731390 w 12192000"/>
                <a:gd name="connsiteY746" fmla="*/ 590714 h 1608850"/>
                <a:gd name="connsiteX747" fmla="*/ 4755908 w 12192000"/>
                <a:gd name="connsiteY747" fmla="*/ 590714 h 1608850"/>
                <a:gd name="connsiteX748" fmla="*/ 4755908 w 12192000"/>
                <a:gd name="connsiteY748" fmla="*/ 589202 h 1608850"/>
                <a:gd name="connsiteX749" fmla="*/ 4755908 w 12192000"/>
                <a:gd name="connsiteY749" fmla="*/ 578610 h 1608850"/>
                <a:gd name="connsiteX750" fmla="*/ 4757302 w 12192000"/>
                <a:gd name="connsiteY750" fmla="*/ 578610 h 1608850"/>
                <a:gd name="connsiteX751" fmla="*/ 4767053 w 12192000"/>
                <a:gd name="connsiteY751" fmla="*/ 578610 h 1608850"/>
                <a:gd name="connsiteX752" fmla="*/ 4767053 w 12192000"/>
                <a:gd name="connsiteY752" fmla="*/ 577096 h 1608850"/>
                <a:gd name="connsiteX753" fmla="*/ 4767053 w 12192000"/>
                <a:gd name="connsiteY753" fmla="*/ 566505 h 1608850"/>
                <a:gd name="connsiteX754" fmla="*/ 4768725 w 12192000"/>
                <a:gd name="connsiteY754" fmla="*/ 566505 h 1608850"/>
                <a:gd name="connsiteX755" fmla="*/ 4780426 w 12192000"/>
                <a:gd name="connsiteY755" fmla="*/ 566505 h 1608850"/>
                <a:gd name="connsiteX756" fmla="*/ 4780426 w 12192000"/>
                <a:gd name="connsiteY756" fmla="*/ 568018 h 1608850"/>
                <a:gd name="connsiteX757" fmla="*/ 4780426 w 12192000"/>
                <a:gd name="connsiteY757" fmla="*/ 578610 h 1608850"/>
                <a:gd name="connsiteX758" fmla="*/ 4784886 w 12192000"/>
                <a:gd name="connsiteY758" fmla="*/ 505982 h 1608850"/>
                <a:gd name="connsiteX759" fmla="*/ 4885191 w 12192000"/>
                <a:gd name="connsiteY759" fmla="*/ 505982 h 1608850"/>
                <a:gd name="connsiteX760" fmla="*/ 4885191 w 12192000"/>
                <a:gd name="connsiteY760" fmla="*/ 602819 h 1608850"/>
                <a:gd name="connsiteX761" fmla="*/ 4887420 w 12192000"/>
                <a:gd name="connsiteY761" fmla="*/ 602819 h 1608850"/>
                <a:gd name="connsiteX762" fmla="*/ 4903022 w 12192000"/>
                <a:gd name="connsiteY762" fmla="*/ 602819 h 1608850"/>
                <a:gd name="connsiteX763" fmla="*/ 4903022 w 12192000"/>
                <a:gd name="connsiteY763" fmla="*/ 493877 h 1608850"/>
                <a:gd name="connsiteX764" fmla="*/ 4925313 w 12192000"/>
                <a:gd name="connsiteY764" fmla="*/ 478746 h 1608850"/>
                <a:gd name="connsiteX765" fmla="*/ 4954291 w 12192000"/>
                <a:gd name="connsiteY765" fmla="*/ 478746 h 1608850"/>
                <a:gd name="connsiteX766" fmla="*/ 4956242 w 12192000"/>
                <a:gd name="connsiteY766" fmla="*/ 476477 h 1608850"/>
                <a:gd name="connsiteX767" fmla="*/ 4969893 w 12192000"/>
                <a:gd name="connsiteY767" fmla="*/ 460589 h 1608850"/>
                <a:gd name="connsiteX768" fmla="*/ 5007787 w 12192000"/>
                <a:gd name="connsiteY768" fmla="*/ 460589 h 1608850"/>
                <a:gd name="connsiteX769" fmla="*/ 5007787 w 12192000"/>
                <a:gd name="connsiteY769" fmla="*/ 462859 h 1608850"/>
                <a:gd name="connsiteX770" fmla="*/ 5007787 w 12192000"/>
                <a:gd name="connsiteY770" fmla="*/ 478746 h 1608850"/>
                <a:gd name="connsiteX771" fmla="*/ 5045681 w 12192000"/>
                <a:gd name="connsiteY771" fmla="*/ 478746 h 1608850"/>
                <a:gd name="connsiteX772" fmla="*/ 5045681 w 12192000"/>
                <a:gd name="connsiteY772" fmla="*/ 596766 h 1608850"/>
                <a:gd name="connsiteX773" fmla="*/ 5047073 w 12192000"/>
                <a:gd name="connsiteY773" fmla="*/ 596766 h 1608850"/>
                <a:gd name="connsiteX774" fmla="*/ 5056825 w 12192000"/>
                <a:gd name="connsiteY774" fmla="*/ 596766 h 1608850"/>
                <a:gd name="connsiteX775" fmla="*/ 5056825 w 12192000"/>
                <a:gd name="connsiteY775" fmla="*/ 769258 h 1608850"/>
                <a:gd name="connsiteX776" fmla="*/ 5059053 w 12192000"/>
                <a:gd name="connsiteY776" fmla="*/ 769258 h 1608850"/>
                <a:gd name="connsiteX777" fmla="*/ 5074657 w 12192000"/>
                <a:gd name="connsiteY777" fmla="*/ 769258 h 1608850"/>
                <a:gd name="connsiteX778" fmla="*/ 5074657 w 12192000"/>
                <a:gd name="connsiteY778" fmla="*/ 657290 h 1608850"/>
                <a:gd name="connsiteX779" fmla="*/ 5075493 w 12192000"/>
                <a:gd name="connsiteY779" fmla="*/ 656533 h 1608850"/>
                <a:gd name="connsiteX780" fmla="*/ 5081344 w 12192000"/>
                <a:gd name="connsiteY780" fmla="*/ 651238 h 1608850"/>
                <a:gd name="connsiteX781" fmla="*/ 5085802 w 12192000"/>
                <a:gd name="connsiteY781" fmla="*/ 652750 h 1608850"/>
                <a:gd name="connsiteX782" fmla="*/ 5085802 w 12192000"/>
                <a:gd name="connsiteY782" fmla="*/ 663343 h 1608850"/>
                <a:gd name="connsiteX783" fmla="*/ 5088030 w 12192000"/>
                <a:gd name="connsiteY783" fmla="*/ 661829 h 1608850"/>
                <a:gd name="connsiteX784" fmla="*/ 5103634 w 12192000"/>
                <a:gd name="connsiteY784" fmla="*/ 651238 h 1608850"/>
                <a:gd name="connsiteX785" fmla="*/ 5105585 w 12192000"/>
                <a:gd name="connsiteY785" fmla="*/ 651238 h 1608850"/>
                <a:gd name="connsiteX786" fmla="*/ 5119237 w 12192000"/>
                <a:gd name="connsiteY786" fmla="*/ 651238 h 1608850"/>
                <a:gd name="connsiteX787" fmla="*/ 5119237 w 12192000"/>
                <a:gd name="connsiteY787" fmla="*/ 857017 h 1608850"/>
                <a:gd name="connsiteX788" fmla="*/ 5150444 w 12192000"/>
                <a:gd name="connsiteY788" fmla="*/ 863070 h 1608850"/>
                <a:gd name="connsiteX789" fmla="*/ 5150444 w 12192000"/>
                <a:gd name="connsiteY789" fmla="*/ 853992 h 1608850"/>
                <a:gd name="connsiteX790" fmla="*/ 5183878 w 12192000"/>
                <a:gd name="connsiteY790" fmla="*/ 853992 h 1608850"/>
                <a:gd name="connsiteX791" fmla="*/ 5183878 w 12192000"/>
                <a:gd name="connsiteY791" fmla="*/ 814651 h 1608850"/>
                <a:gd name="connsiteX792" fmla="*/ 5192794 w 12192000"/>
                <a:gd name="connsiteY792" fmla="*/ 814651 h 1608850"/>
                <a:gd name="connsiteX793" fmla="*/ 5192794 w 12192000"/>
                <a:gd name="connsiteY793" fmla="*/ 763206 h 1608850"/>
                <a:gd name="connsiteX794" fmla="*/ 5199482 w 12192000"/>
                <a:gd name="connsiteY794" fmla="*/ 763206 h 1608850"/>
                <a:gd name="connsiteX795" fmla="*/ 5199482 w 12192000"/>
                <a:gd name="connsiteY795" fmla="*/ 711761 h 1608850"/>
                <a:gd name="connsiteX796" fmla="*/ 5215086 w 12192000"/>
                <a:gd name="connsiteY796" fmla="*/ 711761 h 1608850"/>
                <a:gd name="connsiteX797" fmla="*/ 5264122 w 12192000"/>
                <a:gd name="connsiteY797" fmla="*/ 684525 h 1608850"/>
                <a:gd name="connsiteX798" fmla="*/ 5266352 w 12192000"/>
                <a:gd name="connsiteY798" fmla="*/ 657290 h 1608850"/>
                <a:gd name="connsiteX799" fmla="*/ 5270810 w 12192000"/>
                <a:gd name="connsiteY799" fmla="*/ 684525 h 1608850"/>
                <a:gd name="connsiteX800" fmla="*/ 5322078 w 12192000"/>
                <a:gd name="connsiteY800" fmla="*/ 720840 h 1608850"/>
                <a:gd name="connsiteX801" fmla="*/ 5322078 w 12192000"/>
                <a:gd name="connsiteY801" fmla="*/ 714788 h 1608850"/>
                <a:gd name="connsiteX802" fmla="*/ 5335452 w 12192000"/>
                <a:gd name="connsiteY802" fmla="*/ 714788 h 1608850"/>
                <a:gd name="connsiteX803" fmla="*/ 5335452 w 12192000"/>
                <a:gd name="connsiteY803" fmla="*/ 763206 h 1608850"/>
                <a:gd name="connsiteX804" fmla="*/ 5342138 w 12192000"/>
                <a:gd name="connsiteY804" fmla="*/ 763206 h 1608850"/>
                <a:gd name="connsiteX805" fmla="*/ 5342138 w 12192000"/>
                <a:gd name="connsiteY805" fmla="*/ 801467 h 1608850"/>
                <a:gd name="connsiteX806" fmla="*/ 5377917 w 12192000"/>
                <a:gd name="connsiteY806" fmla="*/ 790806 h 1608850"/>
                <a:gd name="connsiteX807" fmla="*/ 5478973 w 12192000"/>
                <a:gd name="connsiteY807" fmla="*/ 790806 h 1608850"/>
                <a:gd name="connsiteX808" fmla="*/ 5478973 w 12192000"/>
                <a:gd name="connsiteY808" fmla="*/ 596233 h 1608850"/>
                <a:gd name="connsiteX809" fmla="*/ 5507479 w 12192000"/>
                <a:gd name="connsiteY809" fmla="*/ 582720 h 1608850"/>
                <a:gd name="connsiteX810" fmla="*/ 5631857 w 12192000"/>
                <a:gd name="connsiteY810" fmla="*/ 561101 h 1608850"/>
                <a:gd name="connsiteX811" fmla="*/ 5675909 w 12192000"/>
                <a:gd name="connsiteY811" fmla="*/ 574613 h 1608850"/>
                <a:gd name="connsiteX812" fmla="*/ 5683682 w 12192000"/>
                <a:gd name="connsiteY812" fmla="*/ 582720 h 1608850"/>
                <a:gd name="connsiteX813" fmla="*/ 5683682 w 12192000"/>
                <a:gd name="connsiteY813" fmla="*/ 833084 h 1608850"/>
                <a:gd name="connsiteX814" fmla="*/ 5701821 w 12192000"/>
                <a:gd name="connsiteY814" fmla="*/ 873985 h 1608850"/>
                <a:gd name="connsiteX815" fmla="*/ 5701821 w 12192000"/>
                <a:gd name="connsiteY815" fmla="*/ 798914 h 1608850"/>
                <a:gd name="connsiteX816" fmla="*/ 5717369 w 12192000"/>
                <a:gd name="connsiteY816" fmla="*/ 798914 h 1608850"/>
                <a:gd name="connsiteX817" fmla="*/ 5717369 w 12192000"/>
                <a:gd name="connsiteY817" fmla="*/ 785402 h 1608850"/>
                <a:gd name="connsiteX818" fmla="*/ 5732917 w 12192000"/>
                <a:gd name="connsiteY818" fmla="*/ 777295 h 1608850"/>
                <a:gd name="connsiteX819" fmla="*/ 5745871 w 12192000"/>
                <a:gd name="connsiteY819" fmla="*/ 777295 h 1608850"/>
                <a:gd name="connsiteX820" fmla="*/ 5745871 w 12192000"/>
                <a:gd name="connsiteY820" fmla="*/ 763783 h 1608850"/>
                <a:gd name="connsiteX821" fmla="*/ 5756236 w 12192000"/>
                <a:gd name="connsiteY821" fmla="*/ 755675 h 1608850"/>
                <a:gd name="connsiteX822" fmla="*/ 5782151 w 12192000"/>
                <a:gd name="connsiteY822" fmla="*/ 755675 h 1608850"/>
                <a:gd name="connsiteX823" fmla="*/ 5782151 w 12192000"/>
                <a:gd name="connsiteY823" fmla="*/ 798914 h 1608850"/>
                <a:gd name="connsiteX824" fmla="*/ 5836566 w 12192000"/>
                <a:gd name="connsiteY824" fmla="*/ 798914 h 1608850"/>
                <a:gd name="connsiteX825" fmla="*/ 5836566 w 12192000"/>
                <a:gd name="connsiteY825" fmla="*/ 950250 h 1608850"/>
                <a:gd name="connsiteX826" fmla="*/ 5857295 w 12192000"/>
                <a:gd name="connsiteY826" fmla="*/ 950250 h 1608850"/>
                <a:gd name="connsiteX827" fmla="*/ 5878025 w 12192000"/>
                <a:gd name="connsiteY827" fmla="*/ 942143 h 1608850"/>
                <a:gd name="connsiteX828" fmla="*/ 5878025 w 12192000"/>
                <a:gd name="connsiteY828" fmla="*/ 931332 h 1608850"/>
                <a:gd name="connsiteX829" fmla="*/ 5870253 w 12192000"/>
                <a:gd name="connsiteY829" fmla="*/ 928630 h 1608850"/>
                <a:gd name="connsiteX830" fmla="*/ 5870253 w 12192000"/>
                <a:gd name="connsiteY830" fmla="*/ 920522 h 1608850"/>
                <a:gd name="connsiteX831" fmla="*/ 5878025 w 12192000"/>
                <a:gd name="connsiteY831" fmla="*/ 915118 h 1608850"/>
                <a:gd name="connsiteX832" fmla="*/ 5878025 w 12192000"/>
                <a:gd name="connsiteY832" fmla="*/ 855665 h 1608850"/>
                <a:gd name="connsiteX833" fmla="*/ 5870253 w 12192000"/>
                <a:gd name="connsiteY833" fmla="*/ 852962 h 1608850"/>
                <a:gd name="connsiteX834" fmla="*/ 5870253 w 12192000"/>
                <a:gd name="connsiteY834" fmla="*/ 844855 h 1608850"/>
                <a:gd name="connsiteX835" fmla="*/ 5878025 w 12192000"/>
                <a:gd name="connsiteY835" fmla="*/ 839450 h 1608850"/>
                <a:gd name="connsiteX836" fmla="*/ 5883208 w 12192000"/>
                <a:gd name="connsiteY836" fmla="*/ 834046 h 1608850"/>
                <a:gd name="connsiteX837" fmla="*/ 5883208 w 12192000"/>
                <a:gd name="connsiteY837" fmla="*/ 823236 h 1608850"/>
                <a:gd name="connsiteX838" fmla="*/ 5878025 w 12192000"/>
                <a:gd name="connsiteY838" fmla="*/ 823236 h 1608850"/>
                <a:gd name="connsiteX839" fmla="*/ 5878025 w 12192000"/>
                <a:gd name="connsiteY839" fmla="*/ 815128 h 1608850"/>
                <a:gd name="connsiteX840" fmla="*/ 5885800 w 12192000"/>
                <a:gd name="connsiteY840" fmla="*/ 809724 h 1608850"/>
                <a:gd name="connsiteX841" fmla="*/ 5927259 w 12192000"/>
                <a:gd name="connsiteY841" fmla="*/ 734056 h 1608850"/>
                <a:gd name="connsiteX842" fmla="*/ 5922077 w 12192000"/>
                <a:gd name="connsiteY842" fmla="*/ 731353 h 1608850"/>
                <a:gd name="connsiteX843" fmla="*/ 5922077 w 12192000"/>
                <a:gd name="connsiteY843" fmla="*/ 723246 h 1608850"/>
                <a:gd name="connsiteX844" fmla="*/ 5929850 w 12192000"/>
                <a:gd name="connsiteY844" fmla="*/ 720543 h 1608850"/>
                <a:gd name="connsiteX845" fmla="*/ 5929850 w 12192000"/>
                <a:gd name="connsiteY845" fmla="*/ 709734 h 1608850"/>
                <a:gd name="connsiteX846" fmla="*/ 5935033 w 12192000"/>
                <a:gd name="connsiteY846" fmla="*/ 709734 h 1608850"/>
                <a:gd name="connsiteX847" fmla="*/ 5935033 w 12192000"/>
                <a:gd name="connsiteY847" fmla="*/ 685412 h 1608850"/>
                <a:gd name="connsiteX848" fmla="*/ 5929850 w 12192000"/>
                <a:gd name="connsiteY848" fmla="*/ 685412 h 1608850"/>
                <a:gd name="connsiteX849" fmla="*/ 5929850 w 12192000"/>
                <a:gd name="connsiteY849" fmla="*/ 680008 h 1608850"/>
                <a:gd name="connsiteX850" fmla="*/ 5935033 w 12192000"/>
                <a:gd name="connsiteY850" fmla="*/ 677305 h 1608850"/>
                <a:gd name="connsiteX851" fmla="*/ 5947989 w 12192000"/>
                <a:gd name="connsiteY851" fmla="*/ 658388 h 1608850"/>
                <a:gd name="connsiteX852" fmla="*/ 5950579 w 12192000"/>
                <a:gd name="connsiteY852" fmla="*/ 647579 h 1608850"/>
                <a:gd name="connsiteX853" fmla="*/ 5950579 w 12192000"/>
                <a:gd name="connsiteY853" fmla="*/ 617852 h 1608850"/>
                <a:gd name="connsiteX854" fmla="*/ 5950904 w 12192000"/>
                <a:gd name="connsiteY854" fmla="*/ 616838 h 1608850"/>
                <a:gd name="connsiteX855" fmla="*/ 5953171 w 12192000"/>
                <a:gd name="connsiteY855" fmla="*/ 609745 h 1608850"/>
                <a:gd name="connsiteX856" fmla="*/ 5953495 w 12192000"/>
                <a:gd name="connsiteY856" fmla="*/ 610759 h 1608850"/>
                <a:gd name="connsiteX857" fmla="*/ 5955763 w 12192000"/>
                <a:gd name="connsiteY857" fmla="*/ 617852 h 1608850"/>
                <a:gd name="connsiteX858" fmla="*/ 5958354 w 12192000"/>
                <a:gd name="connsiteY858" fmla="*/ 647579 h 1608850"/>
                <a:gd name="connsiteX859" fmla="*/ 5958354 w 12192000"/>
                <a:gd name="connsiteY859" fmla="*/ 655686 h 1608850"/>
                <a:gd name="connsiteX860" fmla="*/ 5971311 w 12192000"/>
                <a:gd name="connsiteY860" fmla="*/ 677305 h 1608850"/>
                <a:gd name="connsiteX861" fmla="*/ 5976494 w 12192000"/>
                <a:gd name="connsiteY861" fmla="*/ 680008 h 1608850"/>
                <a:gd name="connsiteX862" fmla="*/ 5976494 w 12192000"/>
                <a:gd name="connsiteY862" fmla="*/ 685412 h 1608850"/>
                <a:gd name="connsiteX863" fmla="*/ 5973903 w 12192000"/>
                <a:gd name="connsiteY863" fmla="*/ 709734 h 1608850"/>
                <a:gd name="connsiteX864" fmla="*/ 5979084 w 12192000"/>
                <a:gd name="connsiteY864" fmla="*/ 720543 h 1608850"/>
                <a:gd name="connsiteX865" fmla="*/ 5984268 w 12192000"/>
                <a:gd name="connsiteY865" fmla="*/ 723246 h 1608850"/>
                <a:gd name="connsiteX866" fmla="*/ 5984268 w 12192000"/>
                <a:gd name="connsiteY866" fmla="*/ 731353 h 1608850"/>
                <a:gd name="connsiteX867" fmla="*/ 5979084 w 12192000"/>
                <a:gd name="connsiteY867" fmla="*/ 734056 h 1608850"/>
                <a:gd name="connsiteX868" fmla="*/ 5999269 w 12192000"/>
                <a:gd name="connsiteY868" fmla="*/ 755105 h 1608850"/>
                <a:gd name="connsiteX869" fmla="*/ 5999269 w 12192000"/>
                <a:gd name="connsiteY869" fmla="*/ 627662 h 1608850"/>
                <a:gd name="connsiteX870" fmla="*/ 5999299 w 12192000"/>
                <a:gd name="connsiteY870" fmla="*/ 627662 h 1608850"/>
                <a:gd name="connsiteX871" fmla="*/ 6037948 w 12192000"/>
                <a:gd name="connsiteY871" fmla="*/ 627662 h 1608850"/>
                <a:gd name="connsiteX872" fmla="*/ 6037948 w 12192000"/>
                <a:gd name="connsiteY872" fmla="*/ 626311 h 1608850"/>
                <a:gd name="connsiteX873" fmla="*/ 6037948 w 12192000"/>
                <a:gd name="connsiteY873" fmla="*/ 616853 h 1608850"/>
                <a:gd name="connsiteX874" fmla="*/ 6038962 w 12192000"/>
                <a:gd name="connsiteY874" fmla="*/ 616853 h 1608850"/>
                <a:gd name="connsiteX875" fmla="*/ 6046055 w 12192000"/>
                <a:gd name="connsiteY875" fmla="*/ 616853 h 1608850"/>
                <a:gd name="connsiteX876" fmla="*/ 6046055 w 12192000"/>
                <a:gd name="connsiteY876" fmla="*/ 614962 h 1608850"/>
                <a:gd name="connsiteX877" fmla="*/ 6046055 w 12192000"/>
                <a:gd name="connsiteY877" fmla="*/ 601721 h 1608850"/>
                <a:gd name="connsiteX878" fmla="*/ 6046815 w 12192000"/>
                <a:gd name="connsiteY878" fmla="*/ 601721 h 1608850"/>
                <a:gd name="connsiteX879" fmla="*/ 6052135 w 12192000"/>
                <a:gd name="connsiteY879" fmla="*/ 601721 h 1608850"/>
                <a:gd name="connsiteX880" fmla="*/ 6052135 w 12192000"/>
                <a:gd name="connsiteY880" fmla="*/ 600640 h 1608850"/>
                <a:gd name="connsiteX881" fmla="*/ 6052135 w 12192000"/>
                <a:gd name="connsiteY881" fmla="*/ 593073 h 1608850"/>
                <a:gd name="connsiteX882" fmla="*/ 6054163 w 12192000"/>
                <a:gd name="connsiteY882" fmla="*/ 593073 h 1608850"/>
                <a:gd name="connsiteX883" fmla="*/ 6068350 w 12192000"/>
                <a:gd name="connsiteY883" fmla="*/ 593073 h 1608850"/>
                <a:gd name="connsiteX884" fmla="*/ 6068350 w 12192000"/>
                <a:gd name="connsiteY884" fmla="*/ 594154 h 1608850"/>
                <a:gd name="connsiteX885" fmla="*/ 6068350 w 12192000"/>
                <a:gd name="connsiteY885" fmla="*/ 601721 h 1608850"/>
                <a:gd name="connsiteX886" fmla="*/ 6090642 w 12192000"/>
                <a:gd name="connsiteY886" fmla="*/ 601721 h 1608850"/>
                <a:gd name="connsiteX887" fmla="*/ 6090642 w 12192000"/>
                <a:gd name="connsiteY887" fmla="*/ 599829 h 1608850"/>
                <a:gd name="connsiteX888" fmla="*/ 6090642 w 12192000"/>
                <a:gd name="connsiteY888" fmla="*/ 586588 h 1608850"/>
                <a:gd name="connsiteX889" fmla="*/ 6092416 w 12192000"/>
                <a:gd name="connsiteY889" fmla="*/ 586588 h 1608850"/>
                <a:gd name="connsiteX890" fmla="*/ 6104829 w 12192000"/>
                <a:gd name="connsiteY890" fmla="*/ 586588 h 1608850"/>
                <a:gd name="connsiteX891" fmla="*/ 6104829 w 12192000"/>
                <a:gd name="connsiteY891" fmla="*/ 610368 h 1608850"/>
                <a:gd name="connsiteX892" fmla="*/ 6105843 w 12192000"/>
                <a:gd name="connsiteY892" fmla="*/ 610368 h 1608850"/>
                <a:gd name="connsiteX893" fmla="*/ 6112936 w 12192000"/>
                <a:gd name="connsiteY893" fmla="*/ 610368 h 1608850"/>
                <a:gd name="connsiteX894" fmla="*/ 6112936 w 12192000"/>
                <a:gd name="connsiteY894" fmla="*/ 609287 h 1608850"/>
                <a:gd name="connsiteX895" fmla="*/ 6112936 w 12192000"/>
                <a:gd name="connsiteY895" fmla="*/ 601721 h 1608850"/>
                <a:gd name="connsiteX896" fmla="*/ 6114709 w 12192000"/>
                <a:gd name="connsiteY896" fmla="*/ 601721 h 1608850"/>
                <a:gd name="connsiteX897" fmla="*/ 6127123 w 12192000"/>
                <a:gd name="connsiteY897" fmla="*/ 601721 h 1608850"/>
                <a:gd name="connsiteX898" fmla="*/ 6127123 w 12192000"/>
                <a:gd name="connsiteY898" fmla="*/ 627662 h 1608850"/>
                <a:gd name="connsiteX899" fmla="*/ 6129150 w 12192000"/>
                <a:gd name="connsiteY899" fmla="*/ 627662 h 1608850"/>
                <a:gd name="connsiteX900" fmla="*/ 6143336 w 12192000"/>
                <a:gd name="connsiteY900" fmla="*/ 627662 h 1608850"/>
                <a:gd name="connsiteX901" fmla="*/ 6143336 w 12192000"/>
                <a:gd name="connsiteY901" fmla="*/ 629283 h 1608850"/>
                <a:gd name="connsiteX902" fmla="*/ 6143336 w 12192000"/>
                <a:gd name="connsiteY902" fmla="*/ 640633 h 1608850"/>
                <a:gd name="connsiteX903" fmla="*/ 6144096 w 12192000"/>
                <a:gd name="connsiteY903" fmla="*/ 640633 h 1608850"/>
                <a:gd name="connsiteX904" fmla="*/ 6149417 w 12192000"/>
                <a:gd name="connsiteY904" fmla="*/ 640633 h 1608850"/>
                <a:gd name="connsiteX905" fmla="*/ 6149417 w 12192000"/>
                <a:gd name="connsiteY905" fmla="*/ 639822 h 1608850"/>
                <a:gd name="connsiteX906" fmla="*/ 6149417 w 12192000"/>
                <a:gd name="connsiteY906" fmla="*/ 634147 h 1608850"/>
                <a:gd name="connsiteX907" fmla="*/ 6179817 w 12192000"/>
                <a:gd name="connsiteY907" fmla="*/ 634147 h 1608850"/>
                <a:gd name="connsiteX908" fmla="*/ 6179817 w 12192000"/>
                <a:gd name="connsiteY908" fmla="*/ 657927 h 1608850"/>
                <a:gd name="connsiteX909" fmla="*/ 6180830 w 12192000"/>
                <a:gd name="connsiteY909" fmla="*/ 657927 h 1608850"/>
                <a:gd name="connsiteX910" fmla="*/ 6187924 w 12192000"/>
                <a:gd name="connsiteY910" fmla="*/ 657927 h 1608850"/>
                <a:gd name="connsiteX911" fmla="*/ 6187924 w 12192000"/>
                <a:gd name="connsiteY911" fmla="*/ 659008 h 1608850"/>
                <a:gd name="connsiteX912" fmla="*/ 6187924 w 12192000"/>
                <a:gd name="connsiteY912" fmla="*/ 666574 h 1608850"/>
                <a:gd name="connsiteX913" fmla="*/ 6188684 w 12192000"/>
                <a:gd name="connsiteY913" fmla="*/ 666574 h 1608850"/>
                <a:gd name="connsiteX914" fmla="*/ 6194004 w 12192000"/>
                <a:gd name="connsiteY914" fmla="*/ 666574 h 1608850"/>
                <a:gd name="connsiteX915" fmla="*/ 6194004 w 12192000"/>
                <a:gd name="connsiteY915" fmla="*/ 664412 h 1608850"/>
                <a:gd name="connsiteX916" fmla="*/ 6194004 w 12192000"/>
                <a:gd name="connsiteY916" fmla="*/ 649280 h 1608850"/>
                <a:gd name="connsiteX917" fmla="*/ 6195017 w 12192000"/>
                <a:gd name="connsiteY917" fmla="*/ 649280 h 1608850"/>
                <a:gd name="connsiteX918" fmla="*/ 6202111 w 12192000"/>
                <a:gd name="connsiteY918" fmla="*/ 649280 h 1608850"/>
                <a:gd name="connsiteX919" fmla="*/ 6202111 w 12192000"/>
                <a:gd name="connsiteY919" fmla="*/ 650361 h 1608850"/>
                <a:gd name="connsiteX920" fmla="*/ 6202111 w 12192000"/>
                <a:gd name="connsiteY920" fmla="*/ 657927 h 1608850"/>
                <a:gd name="connsiteX921" fmla="*/ 6207431 w 12192000"/>
                <a:gd name="connsiteY921" fmla="*/ 655934 h 1608850"/>
                <a:gd name="connsiteX922" fmla="*/ 6208191 w 12192000"/>
                <a:gd name="connsiteY922" fmla="*/ 654954 h 1608850"/>
                <a:gd name="connsiteX923" fmla="*/ 6208191 w 12192000"/>
                <a:gd name="connsiteY923" fmla="*/ 649280 h 1608850"/>
                <a:gd name="connsiteX924" fmla="*/ 6246698 w 12192000"/>
                <a:gd name="connsiteY924" fmla="*/ 649280 h 1608850"/>
                <a:gd name="connsiteX925" fmla="*/ 6246698 w 12192000"/>
                <a:gd name="connsiteY925" fmla="*/ 673059 h 1608850"/>
                <a:gd name="connsiteX926" fmla="*/ 6248724 w 12192000"/>
                <a:gd name="connsiteY926" fmla="*/ 673059 h 1608850"/>
                <a:gd name="connsiteX927" fmla="*/ 6262911 w 12192000"/>
                <a:gd name="connsiteY927" fmla="*/ 673059 h 1608850"/>
                <a:gd name="connsiteX928" fmla="*/ 6262911 w 12192000"/>
                <a:gd name="connsiteY928" fmla="*/ 674140 h 1608850"/>
                <a:gd name="connsiteX929" fmla="*/ 6262911 w 12192000"/>
                <a:gd name="connsiteY929" fmla="*/ 681706 h 1608850"/>
                <a:gd name="connsiteX930" fmla="*/ 6264685 w 12192000"/>
                <a:gd name="connsiteY930" fmla="*/ 681706 h 1608850"/>
                <a:gd name="connsiteX931" fmla="*/ 6277098 w 12192000"/>
                <a:gd name="connsiteY931" fmla="*/ 681706 h 1608850"/>
                <a:gd name="connsiteX932" fmla="*/ 6277098 w 12192000"/>
                <a:gd name="connsiteY932" fmla="*/ 657927 h 1608850"/>
                <a:gd name="connsiteX933" fmla="*/ 6278111 w 12192000"/>
                <a:gd name="connsiteY933" fmla="*/ 657927 h 1608850"/>
                <a:gd name="connsiteX934" fmla="*/ 6285205 w 12192000"/>
                <a:gd name="connsiteY934" fmla="*/ 657927 h 1608850"/>
                <a:gd name="connsiteX935" fmla="*/ 6285205 w 12192000"/>
                <a:gd name="connsiteY935" fmla="*/ 625500 h 1608850"/>
                <a:gd name="connsiteX936" fmla="*/ 6286218 w 12192000"/>
                <a:gd name="connsiteY936" fmla="*/ 625500 h 1608850"/>
                <a:gd name="connsiteX937" fmla="*/ 6293312 w 12192000"/>
                <a:gd name="connsiteY937" fmla="*/ 625500 h 1608850"/>
                <a:gd name="connsiteX938" fmla="*/ 6293312 w 12192000"/>
                <a:gd name="connsiteY938" fmla="*/ 623609 h 1608850"/>
                <a:gd name="connsiteX939" fmla="*/ 6293312 w 12192000"/>
                <a:gd name="connsiteY939" fmla="*/ 610368 h 1608850"/>
                <a:gd name="connsiteX940" fmla="*/ 6292045 w 12192000"/>
                <a:gd name="connsiteY940" fmla="*/ 608746 h 1608850"/>
                <a:gd name="connsiteX941" fmla="*/ 6297365 w 12192000"/>
                <a:gd name="connsiteY941" fmla="*/ 597397 h 1608850"/>
                <a:gd name="connsiteX942" fmla="*/ 6305472 w 12192000"/>
                <a:gd name="connsiteY942" fmla="*/ 625500 h 1608850"/>
                <a:gd name="connsiteX943" fmla="*/ 6306232 w 12192000"/>
                <a:gd name="connsiteY943" fmla="*/ 625500 h 1608850"/>
                <a:gd name="connsiteX944" fmla="*/ 6311552 w 12192000"/>
                <a:gd name="connsiteY944" fmla="*/ 625500 h 1608850"/>
                <a:gd name="connsiteX945" fmla="*/ 6311552 w 12192000"/>
                <a:gd name="connsiteY945" fmla="*/ 519573 h 1608850"/>
                <a:gd name="connsiteX946" fmla="*/ 6313072 w 12192000"/>
                <a:gd name="connsiteY946" fmla="*/ 519573 h 1608850"/>
                <a:gd name="connsiteX947" fmla="*/ 6323712 w 12192000"/>
                <a:gd name="connsiteY947" fmla="*/ 519573 h 1608850"/>
                <a:gd name="connsiteX948" fmla="*/ 6323712 w 12192000"/>
                <a:gd name="connsiteY948" fmla="*/ 472014 h 1608850"/>
                <a:gd name="connsiteX949" fmla="*/ 6350059 w 12192000"/>
                <a:gd name="connsiteY949" fmla="*/ 472014 h 1608850"/>
                <a:gd name="connsiteX950" fmla="*/ 6350059 w 12192000"/>
                <a:gd name="connsiteY950" fmla="*/ 450396 h 1608850"/>
                <a:gd name="connsiteX951" fmla="*/ 6384513 w 12192000"/>
                <a:gd name="connsiteY951" fmla="*/ 450396 h 1608850"/>
                <a:gd name="connsiteX952" fmla="*/ 6384513 w 12192000"/>
                <a:gd name="connsiteY952" fmla="*/ 452828 h 1608850"/>
                <a:gd name="connsiteX953" fmla="*/ 6384513 w 12192000"/>
                <a:gd name="connsiteY953" fmla="*/ 469852 h 1608850"/>
                <a:gd name="connsiteX954" fmla="*/ 6386793 w 12192000"/>
                <a:gd name="connsiteY954" fmla="*/ 469852 h 1608850"/>
                <a:gd name="connsiteX955" fmla="*/ 6402753 w 12192000"/>
                <a:gd name="connsiteY955" fmla="*/ 469852 h 1608850"/>
                <a:gd name="connsiteX956" fmla="*/ 6402753 w 12192000"/>
                <a:gd name="connsiteY956" fmla="*/ 517411 h 1608850"/>
                <a:gd name="connsiteX957" fmla="*/ 6403766 w 12192000"/>
                <a:gd name="connsiteY957" fmla="*/ 517411 h 1608850"/>
                <a:gd name="connsiteX958" fmla="*/ 6410860 w 12192000"/>
                <a:gd name="connsiteY958" fmla="*/ 517411 h 1608850"/>
                <a:gd name="connsiteX959" fmla="*/ 6425047 w 12192000"/>
                <a:gd name="connsiteY959" fmla="*/ 521735 h 1608850"/>
                <a:gd name="connsiteX960" fmla="*/ 6425047 w 12192000"/>
                <a:gd name="connsiteY960" fmla="*/ 560647 h 1608850"/>
                <a:gd name="connsiteX961" fmla="*/ 6426060 w 12192000"/>
                <a:gd name="connsiteY961" fmla="*/ 560647 h 1608850"/>
                <a:gd name="connsiteX962" fmla="*/ 6433153 w 12192000"/>
                <a:gd name="connsiteY962" fmla="*/ 560647 h 1608850"/>
                <a:gd name="connsiteX963" fmla="*/ 6433153 w 12192000"/>
                <a:gd name="connsiteY963" fmla="*/ 562268 h 1608850"/>
                <a:gd name="connsiteX964" fmla="*/ 6433153 w 12192000"/>
                <a:gd name="connsiteY964" fmla="*/ 573617 h 1608850"/>
                <a:gd name="connsiteX965" fmla="*/ 6435180 w 12192000"/>
                <a:gd name="connsiteY965" fmla="*/ 573617 h 1608850"/>
                <a:gd name="connsiteX966" fmla="*/ 6449367 w 12192000"/>
                <a:gd name="connsiteY966" fmla="*/ 573617 h 1608850"/>
                <a:gd name="connsiteX967" fmla="*/ 6455447 w 12192000"/>
                <a:gd name="connsiteY967" fmla="*/ 580103 h 1608850"/>
                <a:gd name="connsiteX968" fmla="*/ 6455447 w 12192000"/>
                <a:gd name="connsiteY968" fmla="*/ 601721 h 1608850"/>
                <a:gd name="connsiteX969" fmla="*/ 6457727 w 12192000"/>
                <a:gd name="connsiteY969" fmla="*/ 601721 h 1608850"/>
                <a:gd name="connsiteX970" fmla="*/ 6473687 w 12192000"/>
                <a:gd name="connsiteY970" fmla="*/ 601721 h 1608850"/>
                <a:gd name="connsiteX971" fmla="*/ 6473687 w 12192000"/>
                <a:gd name="connsiteY971" fmla="*/ 602801 h 1608850"/>
                <a:gd name="connsiteX972" fmla="*/ 6473687 w 12192000"/>
                <a:gd name="connsiteY972" fmla="*/ 610368 h 1608850"/>
                <a:gd name="connsiteX973" fmla="*/ 6474954 w 12192000"/>
                <a:gd name="connsiteY973" fmla="*/ 610368 h 1608850"/>
                <a:gd name="connsiteX974" fmla="*/ 6483821 w 12192000"/>
                <a:gd name="connsiteY974" fmla="*/ 610368 h 1608850"/>
                <a:gd name="connsiteX975" fmla="*/ 6483821 w 12192000"/>
                <a:gd name="connsiteY975" fmla="*/ 612529 h 1608850"/>
                <a:gd name="connsiteX976" fmla="*/ 6483821 w 12192000"/>
                <a:gd name="connsiteY976" fmla="*/ 627662 h 1608850"/>
                <a:gd name="connsiteX977" fmla="*/ 6487874 w 12192000"/>
                <a:gd name="connsiteY977" fmla="*/ 625770 h 1608850"/>
                <a:gd name="connsiteX978" fmla="*/ 6487874 w 12192000"/>
                <a:gd name="connsiteY978" fmla="*/ 612529 h 1608850"/>
                <a:gd name="connsiteX979" fmla="*/ 6488887 w 12192000"/>
                <a:gd name="connsiteY979" fmla="*/ 612529 h 1608850"/>
                <a:gd name="connsiteX980" fmla="*/ 6495981 w 12192000"/>
                <a:gd name="connsiteY980" fmla="*/ 612529 h 1608850"/>
                <a:gd name="connsiteX981" fmla="*/ 6495981 w 12192000"/>
                <a:gd name="connsiteY981" fmla="*/ 614151 h 1608850"/>
                <a:gd name="connsiteX982" fmla="*/ 6495981 w 12192000"/>
                <a:gd name="connsiteY982" fmla="*/ 625500 h 1608850"/>
                <a:gd name="connsiteX983" fmla="*/ 6496741 w 12192000"/>
                <a:gd name="connsiteY983" fmla="*/ 625500 h 1608850"/>
                <a:gd name="connsiteX984" fmla="*/ 6502061 w 12192000"/>
                <a:gd name="connsiteY984" fmla="*/ 625500 h 1608850"/>
                <a:gd name="connsiteX985" fmla="*/ 6550701 w 12192000"/>
                <a:gd name="connsiteY985" fmla="*/ 621177 h 1608850"/>
                <a:gd name="connsiteX986" fmla="*/ 6550701 w 12192000"/>
                <a:gd name="connsiteY986" fmla="*/ 622528 h 1608850"/>
                <a:gd name="connsiteX987" fmla="*/ 6550701 w 12192000"/>
                <a:gd name="connsiteY987" fmla="*/ 631985 h 1608850"/>
                <a:gd name="connsiteX988" fmla="*/ 6551461 w 12192000"/>
                <a:gd name="connsiteY988" fmla="*/ 631985 h 1608850"/>
                <a:gd name="connsiteX989" fmla="*/ 6556782 w 12192000"/>
                <a:gd name="connsiteY989" fmla="*/ 631985 h 1608850"/>
                <a:gd name="connsiteX990" fmla="*/ 6556782 w 12192000"/>
                <a:gd name="connsiteY990" fmla="*/ 634147 h 1608850"/>
                <a:gd name="connsiteX991" fmla="*/ 6556782 w 12192000"/>
                <a:gd name="connsiteY991" fmla="*/ 649280 h 1608850"/>
                <a:gd name="connsiteX992" fmla="*/ 6558808 w 12192000"/>
                <a:gd name="connsiteY992" fmla="*/ 647929 h 1608850"/>
                <a:gd name="connsiteX993" fmla="*/ 6572995 w 12192000"/>
                <a:gd name="connsiteY993" fmla="*/ 638471 h 1608850"/>
                <a:gd name="connsiteX994" fmla="*/ 6579075 w 12192000"/>
                <a:gd name="connsiteY994" fmla="*/ 597397 h 1608850"/>
                <a:gd name="connsiteX995" fmla="*/ 6579835 w 12192000"/>
                <a:gd name="connsiteY995" fmla="*/ 597127 h 1608850"/>
                <a:gd name="connsiteX996" fmla="*/ 6585155 w 12192000"/>
                <a:gd name="connsiteY996" fmla="*/ 595235 h 1608850"/>
                <a:gd name="connsiteX997" fmla="*/ 6587182 w 12192000"/>
                <a:gd name="connsiteY997" fmla="*/ 526058 h 1608850"/>
                <a:gd name="connsiteX998" fmla="*/ 6589209 w 12192000"/>
                <a:gd name="connsiteY998" fmla="*/ 595235 h 1608850"/>
                <a:gd name="connsiteX999" fmla="*/ 6589969 w 12192000"/>
                <a:gd name="connsiteY999" fmla="*/ 595505 h 1608850"/>
                <a:gd name="connsiteX1000" fmla="*/ 6595289 w 12192000"/>
                <a:gd name="connsiteY1000" fmla="*/ 597397 h 1608850"/>
                <a:gd name="connsiteX1001" fmla="*/ 6595289 w 12192000"/>
                <a:gd name="connsiteY1001" fmla="*/ 510926 h 1608850"/>
                <a:gd name="connsiteX1002" fmla="*/ 6599342 w 12192000"/>
                <a:gd name="connsiteY1002" fmla="*/ 478499 h 1608850"/>
                <a:gd name="connsiteX1003" fmla="*/ 6637849 w 12192000"/>
                <a:gd name="connsiteY1003" fmla="*/ 478499 h 1608850"/>
                <a:gd name="connsiteX1004" fmla="*/ 6637849 w 12192000"/>
                <a:gd name="connsiteY1004" fmla="*/ 510926 h 1608850"/>
                <a:gd name="connsiteX1005" fmla="*/ 6638609 w 12192000"/>
                <a:gd name="connsiteY1005" fmla="*/ 510926 h 1608850"/>
                <a:gd name="connsiteX1006" fmla="*/ 6643929 w 12192000"/>
                <a:gd name="connsiteY1006" fmla="*/ 510926 h 1608850"/>
                <a:gd name="connsiteX1007" fmla="*/ 6643929 w 12192000"/>
                <a:gd name="connsiteY1007" fmla="*/ 428778 h 1608850"/>
                <a:gd name="connsiteX1008" fmla="*/ 6645703 w 12192000"/>
                <a:gd name="connsiteY1008" fmla="*/ 428778 h 1608850"/>
                <a:gd name="connsiteX1009" fmla="*/ 6658116 w 12192000"/>
                <a:gd name="connsiteY1009" fmla="*/ 428778 h 1608850"/>
                <a:gd name="connsiteX1010" fmla="*/ 6658116 w 12192000"/>
                <a:gd name="connsiteY1010" fmla="*/ 426887 h 1608850"/>
                <a:gd name="connsiteX1011" fmla="*/ 6658116 w 12192000"/>
                <a:gd name="connsiteY1011" fmla="*/ 413646 h 1608850"/>
                <a:gd name="connsiteX1012" fmla="*/ 6680410 w 12192000"/>
                <a:gd name="connsiteY1012" fmla="*/ 413646 h 1608850"/>
                <a:gd name="connsiteX1013" fmla="*/ 6680410 w 12192000"/>
                <a:gd name="connsiteY1013" fmla="*/ 412565 h 1608850"/>
                <a:gd name="connsiteX1014" fmla="*/ 6680410 w 12192000"/>
                <a:gd name="connsiteY1014" fmla="*/ 404999 h 1608850"/>
                <a:gd name="connsiteX1015" fmla="*/ 6682183 w 12192000"/>
                <a:gd name="connsiteY1015" fmla="*/ 404999 h 1608850"/>
                <a:gd name="connsiteX1016" fmla="*/ 6694597 w 12192000"/>
                <a:gd name="connsiteY1016" fmla="*/ 404999 h 1608850"/>
                <a:gd name="connsiteX1017" fmla="*/ 6694597 w 12192000"/>
                <a:gd name="connsiteY1017" fmla="*/ 406080 h 1608850"/>
                <a:gd name="connsiteX1018" fmla="*/ 6694597 w 12192000"/>
                <a:gd name="connsiteY1018" fmla="*/ 413646 h 1608850"/>
                <a:gd name="connsiteX1019" fmla="*/ 6695357 w 12192000"/>
                <a:gd name="connsiteY1019" fmla="*/ 413646 h 1608850"/>
                <a:gd name="connsiteX1020" fmla="*/ 6700677 w 12192000"/>
                <a:gd name="connsiteY1020" fmla="*/ 413646 h 1608850"/>
                <a:gd name="connsiteX1021" fmla="*/ 6710810 w 12192000"/>
                <a:gd name="connsiteY1021" fmla="*/ 409322 h 1608850"/>
                <a:gd name="connsiteX1022" fmla="*/ 6714863 w 12192000"/>
                <a:gd name="connsiteY1022" fmla="*/ 412565 h 1608850"/>
                <a:gd name="connsiteX1023" fmla="*/ 6714863 w 12192000"/>
                <a:gd name="connsiteY1023" fmla="*/ 404999 h 1608850"/>
                <a:gd name="connsiteX1024" fmla="*/ 6717143 w 12192000"/>
                <a:gd name="connsiteY1024" fmla="*/ 404999 h 1608850"/>
                <a:gd name="connsiteX1025" fmla="*/ 6733104 w 12192000"/>
                <a:gd name="connsiteY1025" fmla="*/ 404999 h 1608850"/>
                <a:gd name="connsiteX1026" fmla="*/ 6733104 w 12192000"/>
                <a:gd name="connsiteY1026" fmla="*/ 406080 h 1608850"/>
                <a:gd name="connsiteX1027" fmla="*/ 6733104 w 12192000"/>
                <a:gd name="connsiteY1027" fmla="*/ 413646 h 1608850"/>
                <a:gd name="connsiteX1028" fmla="*/ 6763504 w 12192000"/>
                <a:gd name="connsiteY1028" fmla="*/ 413646 h 1608850"/>
                <a:gd name="connsiteX1029" fmla="*/ 6763504 w 12192000"/>
                <a:gd name="connsiteY1029" fmla="*/ 415267 h 1608850"/>
                <a:gd name="connsiteX1030" fmla="*/ 6763504 w 12192000"/>
                <a:gd name="connsiteY1030" fmla="*/ 426617 h 1608850"/>
                <a:gd name="connsiteX1031" fmla="*/ 6789851 w 12192000"/>
                <a:gd name="connsiteY1031" fmla="*/ 426617 h 1608850"/>
                <a:gd name="connsiteX1032" fmla="*/ 6789851 w 12192000"/>
                <a:gd name="connsiteY1032" fmla="*/ 456881 h 1608850"/>
                <a:gd name="connsiteX1033" fmla="*/ 6790611 w 12192000"/>
                <a:gd name="connsiteY1033" fmla="*/ 456881 h 1608850"/>
                <a:gd name="connsiteX1034" fmla="*/ 6795931 w 12192000"/>
                <a:gd name="connsiteY1034" fmla="*/ 456881 h 1608850"/>
                <a:gd name="connsiteX1035" fmla="*/ 6795931 w 12192000"/>
                <a:gd name="connsiteY1035" fmla="*/ 457962 h 1608850"/>
                <a:gd name="connsiteX1036" fmla="*/ 6795931 w 12192000"/>
                <a:gd name="connsiteY1036" fmla="*/ 465529 h 1608850"/>
                <a:gd name="connsiteX1037" fmla="*/ 6799985 w 12192000"/>
                <a:gd name="connsiteY1037" fmla="*/ 495793 h 1608850"/>
                <a:gd name="connsiteX1038" fmla="*/ 6800745 w 12192000"/>
                <a:gd name="connsiteY1038" fmla="*/ 495793 h 1608850"/>
                <a:gd name="connsiteX1039" fmla="*/ 6806065 w 12192000"/>
                <a:gd name="connsiteY1039" fmla="*/ 495793 h 1608850"/>
                <a:gd name="connsiteX1040" fmla="*/ 6806065 w 12192000"/>
                <a:gd name="connsiteY1040" fmla="*/ 496604 h 1608850"/>
                <a:gd name="connsiteX1041" fmla="*/ 6806065 w 12192000"/>
                <a:gd name="connsiteY1041" fmla="*/ 502279 h 1608850"/>
                <a:gd name="connsiteX1042" fmla="*/ 6807078 w 12192000"/>
                <a:gd name="connsiteY1042" fmla="*/ 502279 h 1608850"/>
                <a:gd name="connsiteX1043" fmla="*/ 6814171 w 12192000"/>
                <a:gd name="connsiteY1043" fmla="*/ 502279 h 1608850"/>
                <a:gd name="connsiteX1044" fmla="*/ 6814171 w 12192000"/>
                <a:gd name="connsiteY1044" fmla="*/ 532544 h 1608850"/>
                <a:gd name="connsiteX1045" fmla="*/ 6816198 w 12192000"/>
                <a:gd name="connsiteY1045" fmla="*/ 532544 h 1608850"/>
                <a:gd name="connsiteX1046" fmla="*/ 6830385 w 12192000"/>
                <a:gd name="connsiteY1046" fmla="*/ 532544 h 1608850"/>
                <a:gd name="connsiteX1047" fmla="*/ 6830385 w 12192000"/>
                <a:gd name="connsiteY1047" fmla="*/ 556323 h 1608850"/>
                <a:gd name="connsiteX1048" fmla="*/ 6832412 w 12192000"/>
                <a:gd name="connsiteY1048" fmla="*/ 557944 h 1608850"/>
                <a:gd name="connsiteX1049" fmla="*/ 6832412 w 12192000"/>
                <a:gd name="connsiteY1049" fmla="*/ 569294 h 1608850"/>
                <a:gd name="connsiteX1050" fmla="*/ 6833172 w 12192000"/>
                <a:gd name="connsiteY1050" fmla="*/ 569294 h 1608850"/>
                <a:gd name="connsiteX1051" fmla="*/ 6838492 w 12192000"/>
                <a:gd name="connsiteY1051" fmla="*/ 569294 h 1608850"/>
                <a:gd name="connsiteX1052" fmla="*/ 6838492 w 12192000"/>
                <a:gd name="connsiteY1052" fmla="*/ 593073 h 1608850"/>
                <a:gd name="connsiteX1053" fmla="*/ 6839758 w 12192000"/>
                <a:gd name="connsiteY1053" fmla="*/ 593073 h 1608850"/>
                <a:gd name="connsiteX1054" fmla="*/ 6848625 w 12192000"/>
                <a:gd name="connsiteY1054" fmla="*/ 593073 h 1608850"/>
                <a:gd name="connsiteX1055" fmla="*/ 6850652 w 12192000"/>
                <a:gd name="connsiteY1055" fmla="*/ 597127 h 1608850"/>
                <a:gd name="connsiteX1056" fmla="*/ 6850652 w 12192000"/>
                <a:gd name="connsiteY1056" fmla="*/ 610368 h 1608850"/>
                <a:gd name="connsiteX1057" fmla="*/ 6852172 w 12192000"/>
                <a:gd name="connsiteY1057" fmla="*/ 608476 h 1608850"/>
                <a:gd name="connsiteX1058" fmla="*/ 6862812 w 12192000"/>
                <a:gd name="connsiteY1058" fmla="*/ 595235 h 1608850"/>
                <a:gd name="connsiteX1059" fmla="*/ 6891186 w 12192000"/>
                <a:gd name="connsiteY1059" fmla="*/ 595235 h 1608850"/>
                <a:gd name="connsiteX1060" fmla="*/ 6891186 w 12192000"/>
                <a:gd name="connsiteY1060" fmla="*/ 681706 h 1608850"/>
                <a:gd name="connsiteX1061" fmla="*/ 6891946 w 12192000"/>
                <a:gd name="connsiteY1061" fmla="*/ 681706 h 1608850"/>
                <a:gd name="connsiteX1062" fmla="*/ 6897266 w 12192000"/>
                <a:gd name="connsiteY1062" fmla="*/ 681706 h 1608850"/>
                <a:gd name="connsiteX1063" fmla="*/ 6898026 w 12192000"/>
                <a:gd name="connsiteY1063" fmla="*/ 680355 h 1608850"/>
                <a:gd name="connsiteX1064" fmla="*/ 6903346 w 12192000"/>
                <a:gd name="connsiteY1064" fmla="*/ 670897 h 1608850"/>
                <a:gd name="connsiteX1065" fmla="*/ 6903346 w 12192000"/>
                <a:gd name="connsiteY1065" fmla="*/ 672789 h 1608850"/>
                <a:gd name="connsiteX1066" fmla="*/ 6903346 w 12192000"/>
                <a:gd name="connsiteY1066" fmla="*/ 686030 h 1608850"/>
                <a:gd name="connsiteX1067" fmla="*/ 6907399 w 12192000"/>
                <a:gd name="connsiteY1067" fmla="*/ 640633 h 1608850"/>
                <a:gd name="connsiteX1068" fmla="*/ 6908159 w 12192000"/>
                <a:gd name="connsiteY1068" fmla="*/ 640633 h 1608850"/>
                <a:gd name="connsiteX1069" fmla="*/ 6913479 w 12192000"/>
                <a:gd name="connsiteY1069" fmla="*/ 640633 h 1608850"/>
                <a:gd name="connsiteX1070" fmla="*/ 6913479 w 12192000"/>
                <a:gd name="connsiteY1070" fmla="*/ 575779 h 1608850"/>
                <a:gd name="connsiteX1071" fmla="*/ 6914493 w 12192000"/>
                <a:gd name="connsiteY1071" fmla="*/ 575779 h 1608850"/>
                <a:gd name="connsiteX1072" fmla="*/ 6921586 w 12192000"/>
                <a:gd name="connsiteY1072" fmla="*/ 575779 h 1608850"/>
                <a:gd name="connsiteX1073" fmla="*/ 6933746 w 12192000"/>
                <a:gd name="connsiteY1073" fmla="*/ 532544 h 1608850"/>
                <a:gd name="connsiteX1074" fmla="*/ 6935013 w 12192000"/>
                <a:gd name="connsiteY1074" fmla="*/ 532544 h 1608850"/>
                <a:gd name="connsiteX1075" fmla="*/ 6943880 w 12192000"/>
                <a:gd name="connsiteY1075" fmla="*/ 532544 h 1608850"/>
                <a:gd name="connsiteX1076" fmla="*/ 6954013 w 12192000"/>
                <a:gd name="connsiteY1076" fmla="*/ 575779 h 1608850"/>
                <a:gd name="connsiteX1077" fmla="*/ 6955026 w 12192000"/>
                <a:gd name="connsiteY1077" fmla="*/ 575779 h 1608850"/>
                <a:gd name="connsiteX1078" fmla="*/ 6962120 w 12192000"/>
                <a:gd name="connsiteY1078" fmla="*/ 575779 h 1608850"/>
                <a:gd name="connsiteX1079" fmla="*/ 6962120 w 12192000"/>
                <a:gd name="connsiteY1079" fmla="*/ 614691 h 1608850"/>
                <a:gd name="connsiteX1080" fmla="*/ 6963893 w 12192000"/>
                <a:gd name="connsiteY1080" fmla="*/ 614691 h 1608850"/>
                <a:gd name="connsiteX1081" fmla="*/ 6976307 w 12192000"/>
                <a:gd name="connsiteY1081" fmla="*/ 614691 h 1608850"/>
                <a:gd name="connsiteX1082" fmla="*/ 6976307 w 12192000"/>
                <a:gd name="connsiteY1082" fmla="*/ 616853 h 1608850"/>
                <a:gd name="connsiteX1083" fmla="*/ 6976307 w 12192000"/>
                <a:gd name="connsiteY1083" fmla="*/ 631985 h 1608850"/>
                <a:gd name="connsiteX1084" fmla="*/ 6980360 w 12192000"/>
                <a:gd name="connsiteY1084" fmla="*/ 629824 h 1608850"/>
                <a:gd name="connsiteX1085" fmla="*/ 6980360 w 12192000"/>
                <a:gd name="connsiteY1085" fmla="*/ 614691 h 1608850"/>
                <a:gd name="connsiteX1086" fmla="*/ 6981880 w 12192000"/>
                <a:gd name="connsiteY1086" fmla="*/ 614691 h 1608850"/>
                <a:gd name="connsiteX1087" fmla="*/ 6992520 w 12192000"/>
                <a:gd name="connsiteY1087" fmla="*/ 614691 h 1608850"/>
                <a:gd name="connsiteX1088" fmla="*/ 6992520 w 12192000"/>
                <a:gd name="connsiteY1088" fmla="*/ 616312 h 1608850"/>
                <a:gd name="connsiteX1089" fmla="*/ 6992520 w 12192000"/>
                <a:gd name="connsiteY1089" fmla="*/ 627662 h 1608850"/>
                <a:gd name="connsiteX1090" fmla="*/ 7022921 w 12192000"/>
                <a:gd name="connsiteY1090" fmla="*/ 627662 h 1608850"/>
                <a:gd name="connsiteX1091" fmla="*/ 7022921 w 12192000"/>
                <a:gd name="connsiteY1091" fmla="*/ 590912 h 1608850"/>
                <a:gd name="connsiteX1092" fmla="*/ 7024187 w 12192000"/>
                <a:gd name="connsiteY1092" fmla="*/ 590912 h 1608850"/>
                <a:gd name="connsiteX1093" fmla="*/ 7033054 w 12192000"/>
                <a:gd name="connsiteY1093" fmla="*/ 590912 h 1608850"/>
                <a:gd name="connsiteX1094" fmla="*/ 7033054 w 12192000"/>
                <a:gd name="connsiteY1094" fmla="*/ 612529 h 1608850"/>
                <a:gd name="connsiteX1095" fmla="*/ 7035081 w 12192000"/>
                <a:gd name="connsiteY1095" fmla="*/ 580103 h 1608850"/>
                <a:gd name="connsiteX1096" fmla="*/ 7057374 w 12192000"/>
                <a:gd name="connsiteY1096" fmla="*/ 580103 h 1608850"/>
                <a:gd name="connsiteX1097" fmla="*/ 7057374 w 12192000"/>
                <a:gd name="connsiteY1097" fmla="*/ 578481 h 1608850"/>
                <a:gd name="connsiteX1098" fmla="*/ 7057374 w 12192000"/>
                <a:gd name="connsiteY1098" fmla="*/ 567132 h 1608850"/>
                <a:gd name="connsiteX1099" fmla="*/ 7058134 w 12192000"/>
                <a:gd name="connsiteY1099" fmla="*/ 567132 h 1608850"/>
                <a:gd name="connsiteX1100" fmla="*/ 7063454 w 12192000"/>
                <a:gd name="connsiteY1100" fmla="*/ 567132 h 1608850"/>
                <a:gd name="connsiteX1101" fmla="*/ 7063454 w 12192000"/>
                <a:gd name="connsiteY1101" fmla="*/ 565241 h 1608850"/>
                <a:gd name="connsiteX1102" fmla="*/ 7063454 w 12192000"/>
                <a:gd name="connsiteY1102" fmla="*/ 552000 h 1608850"/>
                <a:gd name="connsiteX1103" fmla="*/ 7067508 w 12192000"/>
                <a:gd name="connsiteY1103" fmla="*/ 558485 h 1608850"/>
                <a:gd name="connsiteX1104" fmla="*/ 7069788 w 12192000"/>
                <a:gd name="connsiteY1104" fmla="*/ 558485 h 1608850"/>
                <a:gd name="connsiteX1105" fmla="*/ 7085748 w 12192000"/>
                <a:gd name="connsiteY1105" fmla="*/ 558485 h 1608850"/>
                <a:gd name="connsiteX1106" fmla="*/ 7085748 w 12192000"/>
                <a:gd name="connsiteY1106" fmla="*/ 557674 h 1608850"/>
                <a:gd name="connsiteX1107" fmla="*/ 7085748 w 12192000"/>
                <a:gd name="connsiteY1107" fmla="*/ 552000 h 1608850"/>
                <a:gd name="connsiteX1108" fmla="*/ 7086508 w 12192000"/>
                <a:gd name="connsiteY1108" fmla="*/ 552000 h 1608850"/>
                <a:gd name="connsiteX1109" fmla="*/ 7091828 w 12192000"/>
                <a:gd name="connsiteY1109" fmla="*/ 552000 h 1608850"/>
                <a:gd name="connsiteX1110" fmla="*/ 7091828 w 12192000"/>
                <a:gd name="connsiteY1110" fmla="*/ 553351 h 1608850"/>
                <a:gd name="connsiteX1111" fmla="*/ 7091828 w 12192000"/>
                <a:gd name="connsiteY1111" fmla="*/ 562809 h 1608850"/>
                <a:gd name="connsiteX1112" fmla="*/ 7130335 w 12192000"/>
                <a:gd name="connsiteY1112" fmla="*/ 562809 h 1608850"/>
                <a:gd name="connsiteX1113" fmla="*/ 7130335 w 12192000"/>
                <a:gd name="connsiteY1113" fmla="*/ 701162 h 1608850"/>
                <a:gd name="connsiteX1114" fmla="*/ 7131855 w 12192000"/>
                <a:gd name="connsiteY1114" fmla="*/ 701162 h 1608850"/>
                <a:gd name="connsiteX1115" fmla="*/ 7142495 w 12192000"/>
                <a:gd name="connsiteY1115" fmla="*/ 701162 h 1608850"/>
                <a:gd name="connsiteX1116" fmla="*/ 7142495 w 12192000"/>
                <a:gd name="connsiteY1116" fmla="*/ 688192 h 1608850"/>
                <a:gd name="connsiteX1117" fmla="*/ 7146549 w 12192000"/>
                <a:gd name="connsiteY1117" fmla="*/ 688192 h 1608850"/>
                <a:gd name="connsiteX1118" fmla="*/ 7146549 w 12192000"/>
                <a:gd name="connsiteY1118" fmla="*/ 701162 h 1608850"/>
                <a:gd name="connsiteX1119" fmla="*/ 7176949 w 12192000"/>
                <a:gd name="connsiteY1119" fmla="*/ 701162 h 1608850"/>
                <a:gd name="connsiteX1120" fmla="*/ 7176949 w 12192000"/>
                <a:gd name="connsiteY1120" fmla="*/ 670897 h 1608850"/>
                <a:gd name="connsiteX1121" fmla="*/ 7189109 w 12192000"/>
                <a:gd name="connsiteY1121" fmla="*/ 670897 h 1608850"/>
                <a:gd name="connsiteX1122" fmla="*/ 7201269 w 12192000"/>
                <a:gd name="connsiteY1122" fmla="*/ 668736 h 1608850"/>
                <a:gd name="connsiteX1123" fmla="*/ 7205323 w 12192000"/>
                <a:gd name="connsiteY1123" fmla="*/ 670897 h 1608850"/>
                <a:gd name="connsiteX1124" fmla="*/ 7215456 w 12192000"/>
                <a:gd name="connsiteY1124" fmla="*/ 670897 h 1608850"/>
                <a:gd name="connsiteX1125" fmla="*/ 7215456 w 12192000"/>
                <a:gd name="connsiteY1125" fmla="*/ 701162 h 1608850"/>
                <a:gd name="connsiteX1126" fmla="*/ 7223563 w 12192000"/>
                <a:gd name="connsiteY1126" fmla="*/ 701162 h 1608850"/>
                <a:gd name="connsiteX1127" fmla="*/ 7223563 w 12192000"/>
                <a:gd name="connsiteY1127" fmla="*/ 718457 h 1608850"/>
                <a:gd name="connsiteX1128" fmla="*/ 7232899 w 12192000"/>
                <a:gd name="connsiteY1128" fmla="*/ 719362 h 1608850"/>
                <a:gd name="connsiteX1129" fmla="*/ 7245857 w 12192000"/>
                <a:gd name="connsiteY1129" fmla="*/ 719362 h 1608850"/>
                <a:gd name="connsiteX1130" fmla="*/ 7245857 w 12192000"/>
                <a:gd name="connsiteY1130" fmla="*/ 703324 h 1608850"/>
                <a:gd name="connsiteX1131" fmla="*/ 7313813 w 12192000"/>
                <a:gd name="connsiteY1131" fmla="*/ 703324 h 1608850"/>
                <a:gd name="connsiteX1132" fmla="*/ 7313813 w 12192000"/>
                <a:gd name="connsiteY1132" fmla="*/ 618071 h 1608850"/>
                <a:gd name="connsiteX1133" fmla="*/ 7385821 w 12192000"/>
                <a:gd name="connsiteY1133" fmla="*/ 618071 h 1608850"/>
                <a:gd name="connsiteX1134" fmla="*/ 7385821 w 12192000"/>
                <a:gd name="connsiteY1134" fmla="*/ 696839 h 1608850"/>
                <a:gd name="connsiteX1135" fmla="*/ 7387725 w 12192000"/>
                <a:gd name="connsiteY1135" fmla="*/ 696839 h 1608850"/>
                <a:gd name="connsiteX1136" fmla="*/ 7388967 w 12192000"/>
                <a:gd name="connsiteY1136" fmla="*/ 719362 h 1608850"/>
                <a:gd name="connsiteX1137" fmla="*/ 7398643 w 12192000"/>
                <a:gd name="connsiteY1137" fmla="*/ 719362 h 1608850"/>
                <a:gd name="connsiteX1138" fmla="*/ 7399885 w 12192000"/>
                <a:gd name="connsiteY1138" fmla="*/ 696839 h 1608850"/>
                <a:gd name="connsiteX1139" fmla="*/ 7405965 w 12192000"/>
                <a:gd name="connsiteY1139" fmla="*/ 696839 h 1608850"/>
                <a:gd name="connsiteX1140" fmla="*/ 7407207 w 12192000"/>
                <a:gd name="connsiteY1140" fmla="*/ 719362 h 1608850"/>
                <a:gd name="connsiteX1141" fmla="*/ 7457829 w 12192000"/>
                <a:gd name="connsiteY1141" fmla="*/ 719362 h 1608850"/>
                <a:gd name="connsiteX1142" fmla="*/ 7457829 w 12192000"/>
                <a:gd name="connsiteY1142" fmla="*/ 556334 h 1608850"/>
                <a:gd name="connsiteX1143" fmla="*/ 7655156 w 12192000"/>
                <a:gd name="connsiteY1143" fmla="*/ 556334 h 1608850"/>
                <a:gd name="connsiteX1144" fmla="*/ 7655156 w 12192000"/>
                <a:gd name="connsiteY1144" fmla="*/ 719362 h 1608850"/>
                <a:gd name="connsiteX1145" fmla="*/ 7673853 w 12192000"/>
                <a:gd name="connsiteY1145" fmla="*/ 719362 h 1608850"/>
                <a:gd name="connsiteX1146" fmla="*/ 7673853 w 12192000"/>
                <a:gd name="connsiteY1146" fmla="*/ 636669 h 1608850"/>
                <a:gd name="connsiteX1147" fmla="*/ 7768973 w 12192000"/>
                <a:gd name="connsiteY1147" fmla="*/ 636669 h 1608850"/>
                <a:gd name="connsiteX1148" fmla="*/ 7773382 w 12192000"/>
                <a:gd name="connsiteY1148" fmla="*/ 519115 h 1608850"/>
                <a:gd name="connsiteX1149" fmla="*/ 7819759 w 12192000"/>
                <a:gd name="connsiteY1149" fmla="*/ 519115 h 1608850"/>
                <a:gd name="connsiteX1150" fmla="*/ 7821437 w 12192000"/>
                <a:gd name="connsiteY1150" fmla="*/ 571456 h 1608850"/>
                <a:gd name="connsiteX1151" fmla="*/ 7886292 w 12192000"/>
                <a:gd name="connsiteY1151" fmla="*/ 571456 h 1608850"/>
                <a:gd name="connsiteX1152" fmla="*/ 7886292 w 12192000"/>
                <a:gd name="connsiteY1152" fmla="*/ 647118 h 1608850"/>
                <a:gd name="connsiteX1153" fmla="*/ 7894398 w 12192000"/>
                <a:gd name="connsiteY1153" fmla="*/ 647118 h 1608850"/>
                <a:gd name="connsiteX1154" fmla="*/ 7896425 w 12192000"/>
                <a:gd name="connsiteY1154" fmla="*/ 640633 h 1608850"/>
                <a:gd name="connsiteX1155" fmla="*/ 7902505 w 12192000"/>
                <a:gd name="connsiteY1155" fmla="*/ 640633 h 1608850"/>
                <a:gd name="connsiteX1156" fmla="*/ 7904533 w 12192000"/>
                <a:gd name="connsiteY1156" fmla="*/ 649280 h 1608850"/>
                <a:gd name="connsiteX1157" fmla="*/ 7916693 w 12192000"/>
                <a:gd name="connsiteY1157" fmla="*/ 649280 h 1608850"/>
                <a:gd name="connsiteX1158" fmla="*/ 7916693 w 12192000"/>
                <a:gd name="connsiteY1158" fmla="*/ 642794 h 1608850"/>
                <a:gd name="connsiteX1159" fmla="*/ 7938985 w 12192000"/>
                <a:gd name="connsiteY1159" fmla="*/ 642794 h 1608850"/>
                <a:gd name="connsiteX1160" fmla="*/ 7938985 w 12192000"/>
                <a:gd name="connsiteY1160" fmla="*/ 649280 h 1608850"/>
                <a:gd name="connsiteX1161" fmla="*/ 7959253 w 12192000"/>
                <a:gd name="connsiteY1161" fmla="*/ 649280 h 1608850"/>
                <a:gd name="connsiteX1162" fmla="*/ 7959253 w 12192000"/>
                <a:gd name="connsiteY1162" fmla="*/ 694677 h 1608850"/>
                <a:gd name="connsiteX1163" fmla="*/ 7973440 w 12192000"/>
                <a:gd name="connsiteY1163" fmla="*/ 694677 h 1608850"/>
                <a:gd name="connsiteX1164" fmla="*/ 7973440 w 12192000"/>
                <a:gd name="connsiteY1164" fmla="*/ 681706 h 1608850"/>
                <a:gd name="connsiteX1165" fmla="*/ 7989653 w 12192000"/>
                <a:gd name="connsiteY1165" fmla="*/ 681706 h 1608850"/>
                <a:gd name="connsiteX1166" fmla="*/ 7989653 w 12192000"/>
                <a:gd name="connsiteY1166" fmla="*/ 502279 h 1608850"/>
                <a:gd name="connsiteX1167" fmla="*/ 7995733 w 12192000"/>
                <a:gd name="connsiteY1167" fmla="*/ 495793 h 1608850"/>
                <a:gd name="connsiteX1168" fmla="*/ 8068694 w 12192000"/>
                <a:gd name="connsiteY1168" fmla="*/ 495793 h 1608850"/>
                <a:gd name="connsiteX1169" fmla="*/ 8068694 w 12192000"/>
                <a:gd name="connsiteY1169" fmla="*/ 504441 h 1608850"/>
                <a:gd name="connsiteX1170" fmla="*/ 8078828 w 12192000"/>
                <a:gd name="connsiteY1170" fmla="*/ 504441 h 1608850"/>
                <a:gd name="connsiteX1171" fmla="*/ 8078828 w 12192000"/>
                <a:gd name="connsiteY1171" fmla="*/ 619015 h 1608850"/>
                <a:gd name="connsiteX1172" fmla="*/ 8101121 w 12192000"/>
                <a:gd name="connsiteY1172" fmla="*/ 619015 h 1608850"/>
                <a:gd name="connsiteX1173" fmla="*/ 8101121 w 12192000"/>
                <a:gd name="connsiteY1173" fmla="*/ 552000 h 1608850"/>
                <a:gd name="connsiteX1174" fmla="*/ 8127469 w 12192000"/>
                <a:gd name="connsiteY1174" fmla="*/ 552000 h 1608850"/>
                <a:gd name="connsiteX1175" fmla="*/ 8131521 w 12192000"/>
                <a:gd name="connsiteY1175" fmla="*/ 547676 h 1608850"/>
                <a:gd name="connsiteX1176" fmla="*/ 8139629 w 12192000"/>
                <a:gd name="connsiteY1176" fmla="*/ 547676 h 1608850"/>
                <a:gd name="connsiteX1177" fmla="*/ 8143681 w 12192000"/>
                <a:gd name="connsiteY1177" fmla="*/ 552000 h 1608850"/>
                <a:gd name="connsiteX1178" fmla="*/ 8165976 w 12192000"/>
                <a:gd name="connsiteY1178" fmla="*/ 552000 h 1608850"/>
                <a:gd name="connsiteX1179" fmla="*/ 8165976 w 12192000"/>
                <a:gd name="connsiteY1179" fmla="*/ 435264 h 1608850"/>
                <a:gd name="connsiteX1180" fmla="*/ 8222722 w 12192000"/>
                <a:gd name="connsiteY1180" fmla="*/ 424455 h 1608850"/>
                <a:gd name="connsiteX1181" fmla="*/ 8222722 w 12192000"/>
                <a:gd name="connsiteY1181" fmla="*/ 425536 h 1608850"/>
                <a:gd name="connsiteX1182" fmla="*/ 8222722 w 12192000"/>
                <a:gd name="connsiteY1182" fmla="*/ 433102 h 1608850"/>
                <a:gd name="connsiteX1183" fmla="*/ 8249069 w 12192000"/>
                <a:gd name="connsiteY1183" fmla="*/ 433102 h 1608850"/>
                <a:gd name="connsiteX1184" fmla="*/ 8249069 w 12192000"/>
                <a:gd name="connsiteY1184" fmla="*/ 688192 h 1608850"/>
                <a:gd name="connsiteX1185" fmla="*/ 8271364 w 12192000"/>
                <a:gd name="connsiteY1185" fmla="*/ 688192 h 1608850"/>
                <a:gd name="connsiteX1186" fmla="*/ 8271364 w 12192000"/>
                <a:gd name="connsiteY1186" fmla="*/ 683868 h 1608850"/>
                <a:gd name="connsiteX1187" fmla="*/ 8283524 w 12192000"/>
                <a:gd name="connsiteY1187" fmla="*/ 683868 h 1608850"/>
                <a:gd name="connsiteX1188" fmla="*/ 8283524 w 12192000"/>
                <a:gd name="connsiteY1188" fmla="*/ 688192 h 1608850"/>
                <a:gd name="connsiteX1189" fmla="*/ 8307844 w 12192000"/>
                <a:gd name="connsiteY1189" fmla="*/ 688192 h 1608850"/>
                <a:gd name="connsiteX1190" fmla="*/ 8307844 w 12192000"/>
                <a:gd name="connsiteY1190" fmla="*/ 675221 h 1608850"/>
                <a:gd name="connsiteX1191" fmla="*/ 8336217 w 12192000"/>
                <a:gd name="connsiteY1191" fmla="*/ 675221 h 1608850"/>
                <a:gd name="connsiteX1192" fmla="*/ 8348377 w 12192000"/>
                <a:gd name="connsiteY1192" fmla="*/ 670897 h 1608850"/>
                <a:gd name="connsiteX1193" fmla="*/ 8368645 w 12192000"/>
                <a:gd name="connsiteY1193" fmla="*/ 675221 h 1608850"/>
                <a:gd name="connsiteX1194" fmla="*/ 8368645 w 12192000"/>
                <a:gd name="connsiteY1194" fmla="*/ 657927 h 1608850"/>
                <a:gd name="connsiteX1195" fmla="*/ 8376752 w 12192000"/>
                <a:gd name="connsiteY1195" fmla="*/ 657927 h 1608850"/>
                <a:gd name="connsiteX1196" fmla="*/ 8376752 w 12192000"/>
                <a:gd name="connsiteY1196" fmla="*/ 644956 h 1608850"/>
                <a:gd name="connsiteX1197" fmla="*/ 8433498 w 12192000"/>
                <a:gd name="connsiteY1197" fmla="*/ 644956 h 1608850"/>
                <a:gd name="connsiteX1198" fmla="*/ 8433498 w 12192000"/>
                <a:gd name="connsiteY1198" fmla="*/ 614691 h 1608850"/>
                <a:gd name="connsiteX1199" fmla="*/ 8451738 w 12192000"/>
                <a:gd name="connsiteY1199" fmla="*/ 614691 h 1608850"/>
                <a:gd name="connsiteX1200" fmla="*/ 8451738 w 12192000"/>
                <a:gd name="connsiteY1200" fmla="*/ 608206 h 1608850"/>
                <a:gd name="connsiteX1201" fmla="*/ 8463898 w 12192000"/>
                <a:gd name="connsiteY1201" fmla="*/ 608206 h 1608850"/>
                <a:gd name="connsiteX1202" fmla="*/ 8463898 w 12192000"/>
                <a:gd name="connsiteY1202" fmla="*/ 614691 h 1608850"/>
                <a:gd name="connsiteX1203" fmla="*/ 8480112 w 12192000"/>
                <a:gd name="connsiteY1203" fmla="*/ 614691 h 1608850"/>
                <a:gd name="connsiteX1204" fmla="*/ 8480112 w 12192000"/>
                <a:gd name="connsiteY1204" fmla="*/ 664412 h 1608850"/>
                <a:gd name="connsiteX1205" fmla="*/ 8512540 w 12192000"/>
                <a:gd name="connsiteY1205" fmla="*/ 664412 h 1608850"/>
                <a:gd name="connsiteX1206" fmla="*/ 8512540 w 12192000"/>
                <a:gd name="connsiteY1206" fmla="*/ 638471 h 1608850"/>
                <a:gd name="connsiteX1207" fmla="*/ 8551046 w 12192000"/>
                <a:gd name="connsiteY1207" fmla="*/ 638471 h 1608850"/>
                <a:gd name="connsiteX1208" fmla="*/ 8551046 w 12192000"/>
                <a:gd name="connsiteY1208" fmla="*/ 608206 h 1608850"/>
                <a:gd name="connsiteX1209" fmla="*/ 8599688 w 12192000"/>
                <a:gd name="connsiteY1209" fmla="*/ 608206 h 1608850"/>
                <a:gd name="connsiteX1210" fmla="*/ 8599688 w 12192000"/>
                <a:gd name="connsiteY1210" fmla="*/ 719362 h 1608850"/>
                <a:gd name="connsiteX1211" fmla="*/ 8599688 w 12192000"/>
                <a:gd name="connsiteY1211" fmla="*/ 733141 h 1608850"/>
                <a:gd name="connsiteX1212" fmla="*/ 8665562 w 12192000"/>
                <a:gd name="connsiteY1212" fmla="*/ 733141 h 1608850"/>
                <a:gd name="connsiteX1213" fmla="*/ 8665562 w 12192000"/>
                <a:gd name="connsiteY1213" fmla="*/ 838913 h 1608850"/>
                <a:gd name="connsiteX1214" fmla="*/ 8665562 w 12192000"/>
                <a:gd name="connsiteY1214" fmla="*/ 862160 h 1608850"/>
                <a:gd name="connsiteX1215" fmla="*/ 8680522 w 12192000"/>
                <a:gd name="connsiteY1215" fmla="*/ 862160 h 1608850"/>
                <a:gd name="connsiteX1216" fmla="*/ 8680522 w 12192000"/>
                <a:gd name="connsiteY1216" fmla="*/ 860998 h 1608850"/>
                <a:gd name="connsiteX1217" fmla="*/ 8680522 w 12192000"/>
                <a:gd name="connsiteY1217" fmla="*/ 852862 h 1608850"/>
                <a:gd name="connsiteX1218" fmla="*/ 8725102 w 12192000"/>
                <a:gd name="connsiteY1218" fmla="*/ 852862 h 1608850"/>
                <a:gd name="connsiteX1219" fmla="*/ 8725102 w 12192000"/>
                <a:gd name="connsiteY1219" fmla="*/ 855477 h 1608850"/>
                <a:gd name="connsiteX1220" fmla="*/ 8725102 w 12192000"/>
                <a:gd name="connsiteY1220" fmla="*/ 861131 h 1608850"/>
                <a:gd name="connsiteX1221" fmla="*/ 8733569 w 12192000"/>
                <a:gd name="connsiteY1221" fmla="*/ 852574 h 1608850"/>
                <a:gd name="connsiteX1222" fmla="*/ 8729111 w 12192000"/>
                <a:gd name="connsiteY1222" fmla="*/ 850249 h 1608850"/>
                <a:gd name="connsiteX1223" fmla="*/ 8729111 w 12192000"/>
                <a:gd name="connsiteY1223" fmla="*/ 843275 h 1608850"/>
                <a:gd name="connsiteX1224" fmla="*/ 8735797 w 12192000"/>
                <a:gd name="connsiteY1224" fmla="*/ 840950 h 1608850"/>
                <a:gd name="connsiteX1225" fmla="*/ 8735797 w 12192000"/>
                <a:gd name="connsiteY1225" fmla="*/ 831652 h 1608850"/>
                <a:gd name="connsiteX1226" fmla="*/ 8740256 w 12192000"/>
                <a:gd name="connsiteY1226" fmla="*/ 831652 h 1608850"/>
                <a:gd name="connsiteX1227" fmla="*/ 8740256 w 12192000"/>
                <a:gd name="connsiteY1227" fmla="*/ 810730 h 1608850"/>
                <a:gd name="connsiteX1228" fmla="*/ 8735797 w 12192000"/>
                <a:gd name="connsiteY1228" fmla="*/ 810730 h 1608850"/>
                <a:gd name="connsiteX1229" fmla="*/ 8735797 w 12192000"/>
                <a:gd name="connsiteY1229" fmla="*/ 806081 h 1608850"/>
                <a:gd name="connsiteX1230" fmla="*/ 8740256 w 12192000"/>
                <a:gd name="connsiteY1230" fmla="*/ 803756 h 1608850"/>
                <a:gd name="connsiteX1231" fmla="*/ 8751401 w 12192000"/>
                <a:gd name="connsiteY1231" fmla="*/ 787483 h 1608850"/>
                <a:gd name="connsiteX1232" fmla="*/ 8753629 w 12192000"/>
                <a:gd name="connsiteY1232" fmla="*/ 778185 h 1608850"/>
                <a:gd name="connsiteX1233" fmla="*/ 8753629 w 12192000"/>
                <a:gd name="connsiteY1233" fmla="*/ 752614 h 1608850"/>
                <a:gd name="connsiteX1234" fmla="*/ 8753909 w 12192000"/>
                <a:gd name="connsiteY1234" fmla="*/ 751742 h 1608850"/>
                <a:gd name="connsiteX1235" fmla="*/ 8755767 w 12192000"/>
                <a:gd name="connsiteY1235" fmla="*/ 745928 h 1608850"/>
                <a:gd name="connsiteX1236" fmla="*/ 8754080 w 12192000"/>
                <a:gd name="connsiteY1236" fmla="*/ 745928 h 1608850"/>
                <a:gd name="connsiteX1237" fmla="*/ 8754080 w 12192000"/>
                <a:gd name="connsiteY1237" fmla="*/ 744766 h 1608850"/>
                <a:gd name="connsiteX1238" fmla="*/ 8754080 w 12192000"/>
                <a:gd name="connsiteY1238" fmla="*/ 736629 h 1608850"/>
                <a:gd name="connsiteX1239" fmla="*/ 8755194 w 12192000"/>
                <a:gd name="connsiteY1239" fmla="*/ 736629 h 1608850"/>
                <a:gd name="connsiteX1240" fmla="*/ 8762996 w 12192000"/>
                <a:gd name="connsiteY1240" fmla="*/ 736629 h 1608850"/>
                <a:gd name="connsiteX1241" fmla="*/ 8762996 w 12192000"/>
                <a:gd name="connsiteY1241" fmla="*/ 735467 h 1608850"/>
                <a:gd name="connsiteX1242" fmla="*/ 8762996 w 12192000"/>
                <a:gd name="connsiteY1242" fmla="*/ 727331 h 1608850"/>
                <a:gd name="connsiteX1243" fmla="*/ 8761881 w 12192000"/>
                <a:gd name="connsiteY1243" fmla="*/ 727331 h 1608850"/>
                <a:gd name="connsiteX1244" fmla="*/ 8754080 w 12192000"/>
                <a:gd name="connsiteY1244" fmla="*/ 727331 h 1608850"/>
                <a:gd name="connsiteX1245" fmla="*/ 8754080 w 12192000"/>
                <a:gd name="connsiteY1245" fmla="*/ 726168 h 1608850"/>
                <a:gd name="connsiteX1246" fmla="*/ 8754080 w 12192000"/>
                <a:gd name="connsiteY1246" fmla="*/ 718032 h 1608850"/>
                <a:gd name="connsiteX1247" fmla="*/ 8755194 w 12192000"/>
                <a:gd name="connsiteY1247" fmla="*/ 718032 h 1608850"/>
                <a:gd name="connsiteX1248" fmla="*/ 8762996 w 12192000"/>
                <a:gd name="connsiteY1248" fmla="*/ 718032 h 1608850"/>
                <a:gd name="connsiteX1249" fmla="*/ 8762996 w 12192000"/>
                <a:gd name="connsiteY1249" fmla="*/ 717160 h 1608850"/>
                <a:gd name="connsiteX1250" fmla="*/ 8762996 w 12192000"/>
                <a:gd name="connsiteY1250" fmla="*/ 711058 h 1608850"/>
                <a:gd name="connsiteX1251" fmla="*/ 8761881 w 12192000"/>
                <a:gd name="connsiteY1251" fmla="*/ 711058 h 1608850"/>
                <a:gd name="connsiteX1252" fmla="*/ 8754080 w 12192000"/>
                <a:gd name="connsiteY1252" fmla="*/ 711058 h 1608850"/>
                <a:gd name="connsiteX1253" fmla="*/ 8754080 w 12192000"/>
                <a:gd name="connsiteY1253" fmla="*/ 709896 h 1608850"/>
                <a:gd name="connsiteX1254" fmla="*/ 8754080 w 12192000"/>
                <a:gd name="connsiteY1254" fmla="*/ 701759 h 1608850"/>
                <a:gd name="connsiteX1255" fmla="*/ 8755194 w 12192000"/>
                <a:gd name="connsiteY1255" fmla="*/ 701759 h 1608850"/>
                <a:gd name="connsiteX1256" fmla="*/ 8762996 w 12192000"/>
                <a:gd name="connsiteY1256" fmla="*/ 701759 h 1608850"/>
                <a:gd name="connsiteX1257" fmla="*/ 8761881 w 12192000"/>
                <a:gd name="connsiteY1257" fmla="*/ 700016 h 1608850"/>
                <a:gd name="connsiteX1258" fmla="*/ 8754080 w 12192000"/>
                <a:gd name="connsiteY1258" fmla="*/ 687812 h 1608850"/>
                <a:gd name="connsiteX1259" fmla="*/ 8754080 w 12192000"/>
                <a:gd name="connsiteY1259" fmla="*/ 650617 h 1608850"/>
                <a:gd name="connsiteX1260" fmla="*/ 8903424 w 12192000"/>
                <a:gd name="connsiteY1260" fmla="*/ 650617 h 1608850"/>
                <a:gd name="connsiteX1261" fmla="*/ 8905096 w 12192000"/>
                <a:gd name="connsiteY1261" fmla="*/ 653232 h 1608850"/>
                <a:gd name="connsiteX1262" fmla="*/ 8908543 w 12192000"/>
                <a:gd name="connsiteY1262" fmla="*/ 658626 h 1608850"/>
                <a:gd name="connsiteX1263" fmla="*/ 8908543 w 12192000"/>
                <a:gd name="connsiteY1263" fmla="*/ 647687 h 1608850"/>
                <a:gd name="connsiteX1264" fmla="*/ 8908543 w 12192000"/>
                <a:gd name="connsiteY1264" fmla="*/ 607460 h 1608850"/>
                <a:gd name="connsiteX1265" fmla="*/ 8910570 w 12192000"/>
                <a:gd name="connsiteY1265" fmla="*/ 607460 h 1608850"/>
                <a:gd name="connsiteX1266" fmla="*/ 8924757 w 12192000"/>
                <a:gd name="connsiteY1266" fmla="*/ 607460 h 1608850"/>
                <a:gd name="connsiteX1267" fmla="*/ 8924757 w 12192000"/>
                <a:gd name="connsiteY1267" fmla="*/ 515723 h 1608850"/>
                <a:gd name="connsiteX1268" fmla="*/ 8924757 w 12192000"/>
                <a:gd name="connsiteY1268" fmla="*/ 490724 h 1608850"/>
                <a:gd name="connsiteX1269" fmla="*/ 9078786 w 12192000"/>
                <a:gd name="connsiteY1269" fmla="*/ 490724 h 1608850"/>
                <a:gd name="connsiteX1270" fmla="*/ 9078786 w 12192000"/>
                <a:gd name="connsiteY1270" fmla="*/ 506306 h 1608850"/>
                <a:gd name="connsiteX1271" fmla="*/ 9078786 w 12192000"/>
                <a:gd name="connsiteY1271" fmla="*/ 611783 h 1608850"/>
                <a:gd name="connsiteX1272" fmla="*/ 9080306 w 12192000"/>
                <a:gd name="connsiteY1272" fmla="*/ 611513 h 1608850"/>
                <a:gd name="connsiteX1273" fmla="*/ 9090946 w 12192000"/>
                <a:gd name="connsiteY1273" fmla="*/ 609622 h 1608850"/>
                <a:gd name="connsiteX1274" fmla="*/ 9088919 w 12192000"/>
                <a:gd name="connsiteY1274" fmla="*/ 698254 h 1608850"/>
                <a:gd name="connsiteX1275" fmla="*/ 9090439 w 12192000"/>
                <a:gd name="connsiteY1275" fmla="*/ 698525 h 1608850"/>
                <a:gd name="connsiteX1276" fmla="*/ 9101079 w 12192000"/>
                <a:gd name="connsiteY1276" fmla="*/ 700416 h 1608850"/>
                <a:gd name="connsiteX1277" fmla="*/ 9101332 w 12192000"/>
                <a:gd name="connsiteY1277" fmla="*/ 701227 h 1608850"/>
                <a:gd name="connsiteX1278" fmla="*/ 9103106 w 12192000"/>
                <a:gd name="connsiteY1278" fmla="*/ 706902 h 1608850"/>
                <a:gd name="connsiteX1279" fmla="*/ 9103866 w 12192000"/>
                <a:gd name="connsiteY1279" fmla="*/ 704470 h 1608850"/>
                <a:gd name="connsiteX1280" fmla="*/ 9109186 w 12192000"/>
                <a:gd name="connsiteY1280" fmla="*/ 687446 h 1608850"/>
                <a:gd name="connsiteX1281" fmla="*/ 9110959 w 12192000"/>
                <a:gd name="connsiteY1281" fmla="*/ 687446 h 1608850"/>
                <a:gd name="connsiteX1282" fmla="*/ 9123373 w 12192000"/>
                <a:gd name="connsiteY1282" fmla="*/ 687446 h 1608850"/>
                <a:gd name="connsiteX1283" fmla="*/ 9123373 w 12192000"/>
                <a:gd name="connsiteY1283" fmla="*/ 719872 h 1608850"/>
                <a:gd name="connsiteX1284" fmla="*/ 9124386 w 12192000"/>
                <a:gd name="connsiteY1284" fmla="*/ 720413 h 1608850"/>
                <a:gd name="connsiteX1285" fmla="*/ 9131480 w 12192000"/>
                <a:gd name="connsiteY1285" fmla="*/ 724196 h 1608850"/>
                <a:gd name="connsiteX1286" fmla="*/ 9131480 w 12192000"/>
                <a:gd name="connsiteY1286" fmla="*/ 725547 h 1608850"/>
                <a:gd name="connsiteX1287" fmla="*/ 9131480 w 12192000"/>
                <a:gd name="connsiteY1287" fmla="*/ 735005 h 1608850"/>
                <a:gd name="connsiteX1288" fmla="*/ 9176067 w 12192000"/>
                <a:gd name="connsiteY1288" fmla="*/ 735005 h 1608850"/>
                <a:gd name="connsiteX1289" fmla="*/ 9176067 w 12192000"/>
                <a:gd name="connsiteY1289" fmla="*/ 736086 h 1608850"/>
                <a:gd name="connsiteX1290" fmla="*/ 9176067 w 12192000"/>
                <a:gd name="connsiteY1290" fmla="*/ 743652 h 1608850"/>
                <a:gd name="connsiteX1291" fmla="*/ 9178093 w 12192000"/>
                <a:gd name="connsiteY1291" fmla="*/ 743652 h 1608850"/>
                <a:gd name="connsiteX1292" fmla="*/ 9192280 w 12192000"/>
                <a:gd name="connsiteY1292" fmla="*/ 743652 h 1608850"/>
                <a:gd name="connsiteX1293" fmla="*/ 9192280 w 12192000"/>
                <a:gd name="connsiteY1293" fmla="*/ 713387 h 1608850"/>
                <a:gd name="connsiteX1294" fmla="*/ 9236867 w 12192000"/>
                <a:gd name="connsiteY1294" fmla="*/ 713387 h 1608850"/>
                <a:gd name="connsiteX1295" fmla="*/ 9236867 w 12192000"/>
                <a:gd name="connsiteY1295" fmla="*/ 712036 h 1608850"/>
                <a:gd name="connsiteX1296" fmla="*/ 9236867 w 12192000"/>
                <a:gd name="connsiteY1296" fmla="*/ 702578 h 1608850"/>
                <a:gd name="connsiteX1297" fmla="*/ 9237881 w 12192000"/>
                <a:gd name="connsiteY1297" fmla="*/ 702578 h 1608850"/>
                <a:gd name="connsiteX1298" fmla="*/ 9244974 w 12192000"/>
                <a:gd name="connsiteY1298" fmla="*/ 702578 h 1608850"/>
                <a:gd name="connsiteX1299" fmla="*/ 9244974 w 12192000"/>
                <a:gd name="connsiteY1299" fmla="*/ 700687 h 1608850"/>
                <a:gd name="connsiteX1300" fmla="*/ 9244974 w 12192000"/>
                <a:gd name="connsiteY1300" fmla="*/ 687446 h 1608850"/>
                <a:gd name="connsiteX1301" fmla="*/ 9245734 w 12192000"/>
                <a:gd name="connsiteY1301" fmla="*/ 687446 h 1608850"/>
                <a:gd name="connsiteX1302" fmla="*/ 9251054 w 12192000"/>
                <a:gd name="connsiteY1302" fmla="*/ 687446 h 1608850"/>
                <a:gd name="connsiteX1303" fmla="*/ 9251054 w 12192000"/>
                <a:gd name="connsiteY1303" fmla="*/ 686365 h 1608850"/>
                <a:gd name="connsiteX1304" fmla="*/ 9251054 w 12192000"/>
                <a:gd name="connsiteY1304" fmla="*/ 678798 h 1608850"/>
                <a:gd name="connsiteX1305" fmla="*/ 9253081 w 12192000"/>
                <a:gd name="connsiteY1305" fmla="*/ 678798 h 1608850"/>
                <a:gd name="connsiteX1306" fmla="*/ 9267268 w 12192000"/>
                <a:gd name="connsiteY1306" fmla="*/ 678798 h 1608850"/>
                <a:gd name="connsiteX1307" fmla="*/ 9267268 w 12192000"/>
                <a:gd name="connsiteY1307" fmla="*/ 679879 h 1608850"/>
                <a:gd name="connsiteX1308" fmla="*/ 9267268 w 12192000"/>
                <a:gd name="connsiteY1308" fmla="*/ 687446 h 1608850"/>
                <a:gd name="connsiteX1309" fmla="*/ 9289561 w 12192000"/>
                <a:gd name="connsiteY1309" fmla="*/ 687446 h 1608850"/>
                <a:gd name="connsiteX1310" fmla="*/ 9289561 w 12192000"/>
                <a:gd name="connsiteY1310" fmla="*/ 685554 h 1608850"/>
                <a:gd name="connsiteX1311" fmla="*/ 9289561 w 12192000"/>
                <a:gd name="connsiteY1311" fmla="*/ 672313 h 1608850"/>
                <a:gd name="connsiteX1312" fmla="*/ 9291335 w 12192000"/>
                <a:gd name="connsiteY1312" fmla="*/ 672313 h 1608850"/>
                <a:gd name="connsiteX1313" fmla="*/ 9303748 w 12192000"/>
                <a:gd name="connsiteY1313" fmla="*/ 672313 h 1608850"/>
                <a:gd name="connsiteX1314" fmla="*/ 9303748 w 12192000"/>
                <a:gd name="connsiteY1314" fmla="*/ 696093 h 1608850"/>
                <a:gd name="connsiteX1315" fmla="*/ 9304762 w 12192000"/>
                <a:gd name="connsiteY1315" fmla="*/ 696093 h 1608850"/>
                <a:gd name="connsiteX1316" fmla="*/ 9311855 w 12192000"/>
                <a:gd name="connsiteY1316" fmla="*/ 696093 h 1608850"/>
                <a:gd name="connsiteX1317" fmla="*/ 9311855 w 12192000"/>
                <a:gd name="connsiteY1317" fmla="*/ 695012 h 1608850"/>
                <a:gd name="connsiteX1318" fmla="*/ 9311855 w 12192000"/>
                <a:gd name="connsiteY1318" fmla="*/ 687446 h 1608850"/>
                <a:gd name="connsiteX1319" fmla="*/ 9313628 w 12192000"/>
                <a:gd name="connsiteY1319" fmla="*/ 687446 h 1608850"/>
                <a:gd name="connsiteX1320" fmla="*/ 9326042 w 12192000"/>
                <a:gd name="connsiteY1320" fmla="*/ 687446 h 1608850"/>
                <a:gd name="connsiteX1321" fmla="*/ 9326042 w 12192000"/>
                <a:gd name="connsiteY1321" fmla="*/ 713387 h 1608850"/>
                <a:gd name="connsiteX1322" fmla="*/ 9328069 w 12192000"/>
                <a:gd name="connsiteY1322" fmla="*/ 713387 h 1608850"/>
                <a:gd name="connsiteX1323" fmla="*/ 9342255 w 12192000"/>
                <a:gd name="connsiteY1323" fmla="*/ 713387 h 1608850"/>
                <a:gd name="connsiteX1324" fmla="*/ 9342255 w 12192000"/>
                <a:gd name="connsiteY1324" fmla="*/ 715008 h 1608850"/>
                <a:gd name="connsiteX1325" fmla="*/ 9342255 w 12192000"/>
                <a:gd name="connsiteY1325" fmla="*/ 726358 h 1608850"/>
                <a:gd name="connsiteX1326" fmla="*/ 9343015 w 12192000"/>
                <a:gd name="connsiteY1326" fmla="*/ 726358 h 1608850"/>
                <a:gd name="connsiteX1327" fmla="*/ 9348336 w 12192000"/>
                <a:gd name="connsiteY1327" fmla="*/ 726358 h 1608850"/>
                <a:gd name="connsiteX1328" fmla="*/ 9348336 w 12192000"/>
                <a:gd name="connsiteY1328" fmla="*/ 725547 h 1608850"/>
                <a:gd name="connsiteX1329" fmla="*/ 9348336 w 12192000"/>
                <a:gd name="connsiteY1329" fmla="*/ 719872 h 1608850"/>
                <a:gd name="connsiteX1330" fmla="*/ 9378736 w 12192000"/>
                <a:gd name="connsiteY1330" fmla="*/ 719872 h 1608850"/>
                <a:gd name="connsiteX1331" fmla="*/ 9378736 w 12192000"/>
                <a:gd name="connsiteY1331" fmla="*/ 743652 h 1608850"/>
                <a:gd name="connsiteX1332" fmla="*/ 9379749 w 12192000"/>
                <a:gd name="connsiteY1332" fmla="*/ 743652 h 1608850"/>
                <a:gd name="connsiteX1333" fmla="*/ 9386843 w 12192000"/>
                <a:gd name="connsiteY1333" fmla="*/ 743652 h 1608850"/>
                <a:gd name="connsiteX1334" fmla="*/ 9386843 w 12192000"/>
                <a:gd name="connsiteY1334" fmla="*/ 744733 h 1608850"/>
                <a:gd name="connsiteX1335" fmla="*/ 9386843 w 12192000"/>
                <a:gd name="connsiteY1335" fmla="*/ 752299 h 1608850"/>
                <a:gd name="connsiteX1336" fmla="*/ 9387603 w 12192000"/>
                <a:gd name="connsiteY1336" fmla="*/ 752299 h 1608850"/>
                <a:gd name="connsiteX1337" fmla="*/ 9392923 w 12192000"/>
                <a:gd name="connsiteY1337" fmla="*/ 752299 h 1608850"/>
                <a:gd name="connsiteX1338" fmla="*/ 9392923 w 12192000"/>
                <a:gd name="connsiteY1338" fmla="*/ 750137 h 1608850"/>
                <a:gd name="connsiteX1339" fmla="*/ 9392923 w 12192000"/>
                <a:gd name="connsiteY1339" fmla="*/ 735005 h 1608850"/>
                <a:gd name="connsiteX1340" fmla="*/ 9393936 w 12192000"/>
                <a:gd name="connsiteY1340" fmla="*/ 735005 h 1608850"/>
                <a:gd name="connsiteX1341" fmla="*/ 9401030 w 12192000"/>
                <a:gd name="connsiteY1341" fmla="*/ 735005 h 1608850"/>
                <a:gd name="connsiteX1342" fmla="*/ 9401030 w 12192000"/>
                <a:gd name="connsiteY1342" fmla="*/ 736086 h 1608850"/>
                <a:gd name="connsiteX1343" fmla="*/ 9401030 w 12192000"/>
                <a:gd name="connsiteY1343" fmla="*/ 743652 h 1608850"/>
                <a:gd name="connsiteX1344" fmla="*/ 9406350 w 12192000"/>
                <a:gd name="connsiteY1344" fmla="*/ 741659 h 1608850"/>
                <a:gd name="connsiteX1345" fmla="*/ 9407110 w 12192000"/>
                <a:gd name="connsiteY1345" fmla="*/ 740679 h 1608850"/>
                <a:gd name="connsiteX1346" fmla="*/ 9407110 w 12192000"/>
                <a:gd name="connsiteY1346" fmla="*/ 735005 h 1608850"/>
                <a:gd name="connsiteX1347" fmla="*/ 9445617 w 12192000"/>
                <a:gd name="connsiteY1347" fmla="*/ 735005 h 1608850"/>
                <a:gd name="connsiteX1348" fmla="*/ 9445617 w 12192000"/>
                <a:gd name="connsiteY1348" fmla="*/ 758784 h 1608850"/>
                <a:gd name="connsiteX1349" fmla="*/ 9447643 w 12192000"/>
                <a:gd name="connsiteY1349" fmla="*/ 758784 h 1608850"/>
                <a:gd name="connsiteX1350" fmla="*/ 9461830 w 12192000"/>
                <a:gd name="connsiteY1350" fmla="*/ 758784 h 1608850"/>
                <a:gd name="connsiteX1351" fmla="*/ 9461830 w 12192000"/>
                <a:gd name="connsiteY1351" fmla="*/ 759865 h 1608850"/>
                <a:gd name="connsiteX1352" fmla="*/ 9461830 w 12192000"/>
                <a:gd name="connsiteY1352" fmla="*/ 767431 h 1608850"/>
                <a:gd name="connsiteX1353" fmla="*/ 9463604 w 12192000"/>
                <a:gd name="connsiteY1353" fmla="*/ 767431 h 1608850"/>
                <a:gd name="connsiteX1354" fmla="*/ 9476017 w 12192000"/>
                <a:gd name="connsiteY1354" fmla="*/ 767431 h 1608850"/>
                <a:gd name="connsiteX1355" fmla="*/ 9476017 w 12192000"/>
                <a:gd name="connsiteY1355" fmla="*/ 743652 h 1608850"/>
                <a:gd name="connsiteX1356" fmla="*/ 9477030 w 12192000"/>
                <a:gd name="connsiteY1356" fmla="*/ 743652 h 1608850"/>
                <a:gd name="connsiteX1357" fmla="*/ 9484124 w 12192000"/>
                <a:gd name="connsiteY1357" fmla="*/ 743652 h 1608850"/>
                <a:gd name="connsiteX1358" fmla="*/ 9484124 w 12192000"/>
                <a:gd name="connsiteY1358" fmla="*/ 711225 h 1608850"/>
                <a:gd name="connsiteX1359" fmla="*/ 9485137 w 12192000"/>
                <a:gd name="connsiteY1359" fmla="*/ 711225 h 1608850"/>
                <a:gd name="connsiteX1360" fmla="*/ 9492231 w 12192000"/>
                <a:gd name="connsiteY1360" fmla="*/ 711225 h 1608850"/>
                <a:gd name="connsiteX1361" fmla="*/ 9492231 w 12192000"/>
                <a:gd name="connsiteY1361" fmla="*/ 709334 h 1608850"/>
                <a:gd name="connsiteX1362" fmla="*/ 9492231 w 12192000"/>
                <a:gd name="connsiteY1362" fmla="*/ 696093 h 1608850"/>
                <a:gd name="connsiteX1363" fmla="*/ 9490964 w 12192000"/>
                <a:gd name="connsiteY1363" fmla="*/ 694471 h 1608850"/>
                <a:gd name="connsiteX1364" fmla="*/ 9496284 w 12192000"/>
                <a:gd name="connsiteY1364" fmla="*/ 683122 h 1608850"/>
                <a:gd name="connsiteX1365" fmla="*/ 9504391 w 12192000"/>
                <a:gd name="connsiteY1365" fmla="*/ 711225 h 1608850"/>
                <a:gd name="connsiteX1366" fmla="*/ 9505151 w 12192000"/>
                <a:gd name="connsiteY1366" fmla="*/ 711225 h 1608850"/>
                <a:gd name="connsiteX1367" fmla="*/ 9510471 w 12192000"/>
                <a:gd name="connsiteY1367" fmla="*/ 711225 h 1608850"/>
                <a:gd name="connsiteX1368" fmla="*/ 9510471 w 12192000"/>
                <a:gd name="connsiteY1368" fmla="*/ 605298 h 1608850"/>
                <a:gd name="connsiteX1369" fmla="*/ 9511991 w 12192000"/>
                <a:gd name="connsiteY1369" fmla="*/ 605298 h 1608850"/>
                <a:gd name="connsiteX1370" fmla="*/ 9522631 w 12192000"/>
                <a:gd name="connsiteY1370" fmla="*/ 605298 h 1608850"/>
                <a:gd name="connsiteX1371" fmla="*/ 9522631 w 12192000"/>
                <a:gd name="connsiteY1371" fmla="*/ 557739 h 1608850"/>
                <a:gd name="connsiteX1372" fmla="*/ 9548978 w 12192000"/>
                <a:gd name="connsiteY1372" fmla="*/ 557739 h 1608850"/>
                <a:gd name="connsiteX1373" fmla="*/ 9548978 w 12192000"/>
                <a:gd name="connsiteY1373" fmla="*/ 536121 h 1608850"/>
                <a:gd name="connsiteX1374" fmla="*/ 9583432 w 12192000"/>
                <a:gd name="connsiteY1374" fmla="*/ 536121 h 1608850"/>
                <a:gd name="connsiteX1375" fmla="*/ 9583432 w 12192000"/>
                <a:gd name="connsiteY1375" fmla="*/ 538553 h 1608850"/>
                <a:gd name="connsiteX1376" fmla="*/ 9583432 w 12192000"/>
                <a:gd name="connsiteY1376" fmla="*/ 555577 h 1608850"/>
                <a:gd name="connsiteX1377" fmla="*/ 9585712 w 12192000"/>
                <a:gd name="connsiteY1377" fmla="*/ 555577 h 1608850"/>
                <a:gd name="connsiteX1378" fmla="*/ 9601672 w 12192000"/>
                <a:gd name="connsiteY1378" fmla="*/ 555577 h 1608850"/>
                <a:gd name="connsiteX1379" fmla="*/ 9601672 w 12192000"/>
                <a:gd name="connsiteY1379" fmla="*/ 603136 h 1608850"/>
                <a:gd name="connsiteX1380" fmla="*/ 9602685 w 12192000"/>
                <a:gd name="connsiteY1380" fmla="*/ 603136 h 1608850"/>
                <a:gd name="connsiteX1381" fmla="*/ 9609779 w 12192000"/>
                <a:gd name="connsiteY1381" fmla="*/ 603136 h 1608850"/>
                <a:gd name="connsiteX1382" fmla="*/ 9623966 w 12192000"/>
                <a:gd name="connsiteY1382" fmla="*/ 607460 h 1608850"/>
                <a:gd name="connsiteX1383" fmla="*/ 9623966 w 12192000"/>
                <a:gd name="connsiteY1383" fmla="*/ 646372 h 1608850"/>
                <a:gd name="connsiteX1384" fmla="*/ 9624979 w 12192000"/>
                <a:gd name="connsiteY1384" fmla="*/ 646372 h 1608850"/>
                <a:gd name="connsiteX1385" fmla="*/ 9632072 w 12192000"/>
                <a:gd name="connsiteY1385" fmla="*/ 646372 h 1608850"/>
                <a:gd name="connsiteX1386" fmla="*/ 9632072 w 12192000"/>
                <a:gd name="connsiteY1386" fmla="*/ 647993 h 1608850"/>
                <a:gd name="connsiteX1387" fmla="*/ 9632072 w 12192000"/>
                <a:gd name="connsiteY1387" fmla="*/ 659342 h 1608850"/>
                <a:gd name="connsiteX1388" fmla="*/ 9634099 w 12192000"/>
                <a:gd name="connsiteY1388" fmla="*/ 659342 h 1608850"/>
                <a:gd name="connsiteX1389" fmla="*/ 9648286 w 12192000"/>
                <a:gd name="connsiteY1389" fmla="*/ 659342 h 1608850"/>
                <a:gd name="connsiteX1390" fmla="*/ 9654366 w 12192000"/>
                <a:gd name="connsiteY1390" fmla="*/ 665828 h 1608850"/>
                <a:gd name="connsiteX1391" fmla="*/ 9654366 w 12192000"/>
                <a:gd name="connsiteY1391" fmla="*/ 687446 h 1608850"/>
                <a:gd name="connsiteX1392" fmla="*/ 9656646 w 12192000"/>
                <a:gd name="connsiteY1392" fmla="*/ 687446 h 1608850"/>
                <a:gd name="connsiteX1393" fmla="*/ 9672606 w 12192000"/>
                <a:gd name="connsiteY1393" fmla="*/ 687446 h 1608850"/>
                <a:gd name="connsiteX1394" fmla="*/ 9672606 w 12192000"/>
                <a:gd name="connsiteY1394" fmla="*/ 688526 h 1608850"/>
                <a:gd name="connsiteX1395" fmla="*/ 9672606 w 12192000"/>
                <a:gd name="connsiteY1395" fmla="*/ 696093 h 1608850"/>
                <a:gd name="connsiteX1396" fmla="*/ 9673873 w 12192000"/>
                <a:gd name="connsiteY1396" fmla="*/ 696093 h 1608850"/>
                <a:gd name="connsiteX1397" fmla="*/ 9682740 w 12192000"/>
                <a:gd name="connsiteY1397" fmla="*/ 696093 h 1608850"/>
                <a:gd name="connsiteX1398" fmla="*/ 9682740 w 12192000"/>
                <a:gd name="connsiteY1398" fmla="*/ 698254 h 1608850"/>
                <a:gd name="connsiteX1399" fmla="*/ 9682740 w 12192000"/>
                <a:gd name="connsiteY1399" fmla="*/ 713387 h 1608850"/>
                <a:gd name="connsiteX1400" fmla="*/ 9686793 w 12192000"/>
                <a:gd name="connsiteY1400" fmla="*/ 711495 h 1608850"/>
                <a:gd name="connsiteX1401" fmla="*/ 9686793 w 12192000"/>
                <a:gd name="connsiteY1401" fmla="*/ 698254 h 1608850"/>
                <a:gd name="connsiteX1402" fmla="*/ 9687806 w 12192000"/>
                <a:gd name="connsiteY1402" fmla="*/ 698254 h 1608850"/>
                <a:gd name="connsiteX1403" fmla="*/ 9694900 w 12192000"/>
                <a:gd name="connsiteY1403" fmla="*/ 698254 h 1608850"/>
                <a:gd name="connsiteX1404" fmla="*/ 9694900 w 12192000"/>
                <a:gd name="connsiteY1404" fmla="*/ 699876 h 1608850"/>
                <a:gd name="connsiteX1405" fmla="*/ 9694900 w 12192000"/>
                <a:gd name="connsiteY1405" fmla="*/ 711225 h 1608850"/>
                <a:gd name="connsiteX1406" fmla="*/ 9695660 w 12192000"/>
                <a:gd name="connsiteY1406" fmla="*/ 711225 h 1608850"/>
                <a:gd name="connsiteX1407" fmla="*/ 9700980 w 12192000"/>
                <a:gd name="connsiteY1407" fmla="*/ 711225 h 1608850"/>
                <a:gd name="connsiteX1408" fmla="*/ 9749620 w 12192000"/>
                <a:gd name="connsiteY1408" fmla="*/ 706902 h 1608850"/>
                <a:gd name="connsiteX1409" fmla="*/ 9749620 w 12192000"/>
                <a:gd name="connsiteY1409" fmla="*/ 708253 h 1608850"/>
                <a:gd name="connsiteX1410" fmla="*/ 9749620 w 12192000"/>
                <a:gd name="connsiteY1410" fmla="*/ 717710 h 1608850"/>
                <a:gd name="connsiteX1411" fmla="*/ 9750380 w 12192000"/>
                <a:gd name="connsiteY1411" fmla="*/ 717710 h 1608850"/>
                <a:gd name="connsiteX1412" fmla="*/ 9755702 w 12192000"/>
                <a:gd name="connsiteY1412" fmla="*/ 717710 h 1608850"/>
                <a:gd name="connsiteX1413" fmla="*/ 9755702 w 12192000"/>
                <a:gd name="connsiteY1413" fmla="*/ 719872 h 1608850"/>
                <a:gd name="connsiteX1414" fmla="*/ 9755702 w 12192000"/>
                <a:gd name="connsiteY1414" fmla="*/ 735005 h 1608850"/>
                <a:gd name="connsiteX1415" fmla="*/ 9757728 w 12192000"/>
                <a:gd name="connsiteY1415" fmla="*/ 733654 h 1608850"/>
                <a:gd name="connsiteX1416" fmla="*/ 9771914 w 12192000"/>
                <a:gd name="connsiteY1416" fmla="*/ 724196 h 1608850"/>
                <a:gd name="connsiteX1417" fmla="*/ 9777994 w 12192000"/>
                <a:gd name="connsiteY1417" fmla="*/ 683122 h 1608850"/>
                <a:gd name="connsiteX1418" fmla="*/ 9778754 w 12192000"/>
                <a:gd name="connsiteY1418" fmla="*/ 682852 h 1608850"/>
                <a:gd name="connsiteX1419" fmla="*/ 9784074 w 12192000"/>
                <a:gd name="connsiteY1419" fmla="*/ 680960 h 1608850"/>
                <a:gd name="connsiteX1420" fmla="*/ 9786102 w 12192000"/>
                <a:gd name="connsiteY1420" fmla="*/ 611783 h 1608850"/>
                <a:gd name="connsiteX1421" fmla="*/ 9788128 w 12192000"/>
                <a:gd name="connsiteY1421" fmla="*/ 680960 h 1608850"/>
                <a:gd name="connsiteX1422" fmla="*/ 9788888 w 12192000"/>
                <a:gd name="connsiteY1422" fmla="*/ 681230 h 1608850"/>
                <a:gd name="connsiteX1423" fmla="*/ 9794208 w 12192000"/>
                <a:gd name="connsiteY1423" fmla="*/ 683122 h 1608850"/>
                <a:gd name="connsiteX1424" fmla="*/ 9794208 w 12192000"/>
                <a:gd name="connsiteY1424" fmla="*/ 596651 h 1608850"/>
                <a:gd name="connsiteX1425" fmla="*/ 9798262 w 12192000"/>
                <a:gd name="connsiteY1425" fmla="*/ 564224 h 1608850"/>
                <a:gd name="connsiteX1426" fmla="*/ 9836768 w 12192000"/>
                <a:gd name="connsiteY1426" fmla="*/ 564224 h 1608850"/>
                <a:gd name="connsiteX1427" fmla="*/ 9836768 w 12192000"/>
                <a:gd name="connsiteY1427" fmla="*/ 596651 h 1608850"/>
                <a:gd name="connsiteX1428" fmla="*/ 9837528 w 12192000"/>
                <a:gd name="connsiteY1428" fmla="*/ 596651 h 1608850"/>
                <a:gd name="connsiteX1429" fmla="*/ 9842848 w 12192000"/>
                <a:gd name="connsiteY1429" fmla="*/ 596651 h 1608850"/>
                <a:gd name="connsiteX1430" fmla="*/ 9842848 w 12192000"/>
                <a:gd name="connsiteY1430" fmla="*/ 514503 h 1608850"/>
                <a:gd name="connsiteX1431" fmla="*/ 9844622 w 12192000"/>
                <a:gd name="connsiteY1431" fmla="*/ 514503 h 1608850"/>
                <a:gd name="connsiteX1432" fmla="*/ 9857036 w 12192000"/>
                <a:gd name="connsiteY1432" fmla="*/ 514503 h 1608850"/>
                <a:gd name="connsiteX1433" fmla="*/ 9857036 w 12192000"/>
                <a:gd name="connsiteY1433" fmla="*/ 512612 h 1608850"/>
                <a:gd name="connsiteX1434" fmla="*/ 9857036 w 12192000"/>
                <a:gd name="connsiteY1434" fmla="*/ 499371 h 1608850"/>
                <a:gd name="connsiteX1435" fmla="*/ 9879330 w 12192000"/>
                <a:gd name="connsiteY1435" fmla="*/ 499371 h 1608850"/>
                <a:gd name="connsiteX1436" fmla="*/ 9879330 w 12192000"/>
                <a:gd name="connsiteY1436" fmla="*/ 498290 h 1608850"/>
                <a:gd name="connsiteX1437" fmla="*/ 9879330 w 12192000"/>
                <a:gd name="connsiteY1437" fmla="*/ 490724 h 1608850"/>
                <a:gd name="connsiteX1438" fmla="*/ 9881102 w 12192000"/>
                <a:gd name="connsiteY1438" fmla="*/ 490724 h 1608850"/>
                <a:gd name="connsiteX1439" fmla="*/ 9893516 w 12192000"/>
                <a:gd name="connsiteY1439" fmla="*/ 490724 h 1608850"/>
                <a:gd name="connsiteX1440" fmla="*/ 9893516 w 12192000"/>
                <a:gd name="connsiteY1440" fmla="*/ 491805 h 1608850"/>
                <a:gd name="connsiteX1441" fmla="*/ 9893516 w 12192000"/>
                <a:gd name="connsiteY1441" fmla="*/ 499371 h 1608850"/>
                <a:gd name="connsiteX1442" fmla="*/ 9894276 w 12192000"/>
                <a:gd name="connsiteY1442" fmla="*/ 499371 h 1608850"/>
                <a:gd name="connsiteX1443" fmla="*/ 9899596 w 12192000"/>
                <a:gd name="connsiteY1443" fmla="*/ 499371 h 1608850"/>
                <a:gd name="connsiteX1444" fmla="*/ 9909730 w 12192000"/>
                <a:gd name="connsiteY1444" fmla="*/ 495047 h 1608850"/>
                <a:gd name="connsiteX1445" fmla="*/ 9913782 w 12192000"/>
                <a:gd name="connsiteY1445" fmla="*/ 498290 h 1608850"/>
                <a:gd name="connsiteX1446" fmla="*/ 9913782 w 12192000"/>
                <a:gd name="connsiteY1446" fmla="*/ 490724 h 1608850"/>
                <a:gd name="connsiteX1447" fmla="*/ 9916062 w 12192000"/>
                <a:gd name="connsiteY1447" fmla="*/ 490724 h 1608850"/>
                <a:gd name="connsiteX1448" fmla="*/ 9932024 w 12192000"/>
                <a:gd name="connsiteY1448" fmla="*/ 490724 h 1608850"/>
                <a:gd name="connsiteX1449" fmla="*/ 9932024 w 12192000"/>
                <a:gd name="connsiteY1449" fmla="*/ 491805 h 1608850"/>
                <a:gd name="connsiteX1450" fmla="*/ 9932024 w 12192000"/>
                <a:gd name="connsiteY1450" fmla="*/ 499371 h 1608850"/>
                <a:gd name="connsiteX1451" fmla="*/ 9962424 w 12192000"/>
                <a:gd name="connsiteY1451" fmla="*/ 499371 h 1608850"/>
                <a:gd name="connsiteX1452" fmla="*/ 9962424 w 12192000"/>
                <a:gd name="connsiteY1452" fmla="*/ 500992 h 1608850"/>
                <a:gd name="connsiteX1453" fmla="*/ 9962424 w 12192000"/>
                <a:gd name="connsiteY1453" fmla="*/ 512342 h 1608850"/>
                <a:gd name="connsiteX1454" fmla="*/ 9988770 w 12192000"/>
                <a:gd name="connsiteY1454" fmla="*/ 512342 h 1608850"/>
                <a:gd name="connsiteX1455" fmla="*/ 9988770 w 12192000"/>
                <a:gd name="connsiteY1455" fmla="*/ 542606 h 1608850"/>
                <a:gd name="connsiteX1456" fmla="*/ 9989530 w 12192000"/>
                <a:gd name="connsiteY1456" fmla="*/ 542606 h 1608850"/>
                <a:gd name="connsiteX1457" fmla="*/ 9994850 w 12192000"/>
                <a:gd name="connsiteY1457" fmla="*/ 542606 h 1608850"/>
                <a:gd name="connsiteX1458" fmla="*/ 9994850 w 12192000"/>
                <a:gd name="connsiteY1458" fmla="*/ 543687 h 1608850"/>
                <a:gd name="connsiteX1459" fmla="*/ 9994850 w 12192000"/>
                <a:gd name="connsiteY1459" fmla="*/ 551254 h 1608850"/>
                <a:gd name="connsiteX1460" fmla="*/ 9998904 w 12192000"/>
                <a:gd name="connsiteY1460" fmla="*/ 581518 h 1608850"/>
                <a:gd name="connsiteX1461" fmla="*/ 9999664 w 12192000"/>
                <a:gd name="connsiteY1461" fmla="*/ 581518 h 1608850"/>
                <a:gd name="connsiteX1462" fmla="*/ 10004984 w 12192000"/>
                <a:gd name="connsiteY1462" fmla="*/ 581518 h 1608850"/>
                <a:gd name="connsiteX1463" fmla="*/ 10004984 w 12192000"/>
                <a:gd name="connsiteY1463" fmla="*/ 582329 h 1608850"/>
                <a:gd name="connsiteX1464" fmla="*/ 10004984 w 12192000"/>
                <a:gd name="connsiteY1464" fmla="*/ 588004 h 1608850"/>
                <a:gd name="connsiteX1465" fmla="*/ 10005998 w 12192000"/>
                <a:gd name="connsiteY1465" fmla="*/ 588004 h 1608850"/>
                <a:gd name="connsiteX1466" fmla="*/ 10013090 w 12192000"/>
                <a:gd name="connsiteY1466" fmla="*/ 588004 h 1608850"/>
                <a:gd name="connsiteX1467" fmla="*/ 10013090 w 12192000"/>
                <a:gd name="connsiteY1467" fmla="*/ 618269 h 1608850"/>
                <a:gd name="connsiteX1468" fmla="*/ 10015118 w 12192000"/>
                <a:gd name="connsiteY1468" fmla="*/ 618269 h 1608850"/>
                <a:gd name="connsiteX1469" fmla="*/ 10029304 w 12192000"/>
                <a:gd name="connsiteY1469" fmla="*/ 618269 h 1608850"/>
                <a:gd name="connsiteX1470" fmla="*/ 10029304 w 12192000"/>
                <a:gd name="connsiteY1470" fmla="*/ 642048 h 1608850"/>
                <a:gd name="connsiteX1471" fmla="*/ 10031332 w 12192000"/>
                <a:gd name="connsiteY1471" fmla="*/ 643669 h 1608850"/>
                <a:gd name="connsiteX1472" fmla="*/ 10031332 w 12192000"/>
                <a:gd name="connsiteY1472" fmla="*/ 655019 h 1608850"/>
                <a:gd name="connsiteX1473" fmla="*/ 10032092 w 12192000"/>
                <a:gd name="connsiteY1473" fmla="*/ 655019 h 1608850"/>
                <a:gd name="connsiteX1474" fmla="*/ 10037412 w 12192000"/>
                <a:gd name="connsiteY1474" fmla="*/ 655019 h 1608850"/>
                <a:gd name="connsiteX1475" fmla="*/ 10037412 w 12192000"/>
                <a:gd name="connsiteY1475" fmla="*/ 678798 h 1608850"/>
                <a:gd name="connsiteX1476" fmla="*/ 10038678 w 12192000"/>
                <a:gd name="connsiteY1476" fmla="*/ 678798 h 1608850"/>
                <a:gd name="connsiteX1477" fmla="*/ 10047544 w 12192000"/>
                <a:gd name="connsiteY1477" fmla="*/ 678798 h 1608850"/>
                <a:gd name="connsiteX1478" fmla="*/ 10049572 w 12192000"/>
                <a:gd name="connsiteY1478" fmla="*/ 682852 h 1608850"/>
                <a:gd name="connsiteX1479" fmla="*/ 10049572 w 12192000"/>
                <a:gd name="connsiteY1479" fmla="*/ 696093 h 1608850"/>
                <a:gd name="connsiteX1480" fmla="*/ 10051092 w 12192000"/>
                <a:gd name="connsiteY1480" fmla="*/ 694201 h 1608850"/>
                <a:gd name="connsiteX1481" fmla="*/ 10061732 w 12192000"/>
                <a:gd name="connsiteY1481" fmla="*/ 680960 h 1608850"/>
                <a:gd name="connsiteX1482" fmla="*/ 10090106 w 12192000"/>
                <a:gd name="connsiteY1482" fmla="*/ 680960 h 1608850"/>
                <a:gd name="connsiteX1483" fmla="*/ 10090106 w 12192000"/>
                <a:gd name="connsiteY1483" fmla="*/ 767431 h 1608850"/>
                <a:gd name="connsiteX1484" fmla="*/ 10090866 w 12192000"/>
                <a:gd name="connsiteY1484" fmla="*/ 767431 h 1608850"/>
                <a:gd name="connsiteX1485" fmla="*/ 10096186 w 12192000"/>
                <a:gd name="connsiteY1485" fmla="*/ 767431 h 1608850"/>
                <a:gd name="connsiteX1486" fmla="*/ 10096946 w 12192000"/>
                <a:gd name="connsiteY1486" fmla="*/ 766080 h 1608850"/>
                <a:gd name="connsiteX1487" fmla="*/ 10102266 w 12192000"/>
                <a:gd name="connsiteY1487" fmla="*/ 756622 h 1608850"/>
                <a:gd name="connsiteX1488" fmla="*/ 10102266 w 12192000"/>
                <a:gd name="connsiteY1488" fmla="*/ 758514 h 1608850"/>
                <a:gd name="connsiteX1489" fmla="*/ 10102266 w 12192000"/>
                <a:gd name="connsiteY1489" fmla="*/ 771755 h 1608850"/>
                <a:gd name="connsiteX1490" fmla="*/ 10106318 w 12192000"/>
                <a:gd name="connsiteY1490" fmla="*/ 726358 h 1608850"/>
                <a:gd name="connsiteX1491" fmla="*/ 10107078 w 12192000"/>
                <a:gd name="connsiteY1491" fmla="*/ 726358 h 1608850"/>
                <a:gd name="connsiteX1492" fmla="*/ 10112398 w 12192000"/>
                <a:gd name="connsiteY1492" fmla="*/ 726358 h 1608850"/>
                <a:gd name="connsiteX1493" fmla="*/ 10112398 w 12192000"/>
                <a:gd name="connsiteY1493" fmla="*/ 661504 h 1608850"/>
                <a:gd name="connsiteX1494" fmla="*/ 10113412 w 12192000"/>
                <a:gd name="connsiteY1494" fmla="*/ 661504 h 1608850"/>
                <a:gd name="connsiteX1495" fmla="*/ 10120506 w 12192000"/>
                <a:gd name="connsiteY1495" fmla="*/ 661504 h 1608850"/>
                <a:gd name="connsiteX1496" fmla="*/ 10132666 w 12192000"/>
                <a:gd name="connsiteY1496" fmla="*/ 618269 h 1608850"/>
                <a:gd name="connsiteX1497" fmla="*/ 10133932 w 12192000"/>
                <a:gd name="connsiteY1497" fmla="*/ 618269 h 1608850"/>
                <a:gd name="connsiteX1498" fmla="*/ 10142800 w 12192000"/>
                <a:gd name="connsiteY1498" fmla="*/ 618269 h 1608850"/>
                <a:gd name="connsiteX1499" fmla="*/ 10152932 w 12192000"/>
                <a:gd name="connsiteY1499" fmla="*/ 661504 h 1608850"/>
                <a:gd name="connsiteX1500" fmla="*/ 10153946 w 12192000"/>
                <a:gd name="connsiteY1500" fmla="*/ 661504 h 1608850"/>
                <a:gd name="connsiteX1501" fmla="*/ 10161040 w 12192000"/>
                <a:gd name="connsiteY1501" fmla="*/ 661504 h 1608850"/>
                <a:gd name="connsiteX1502" fmla="*/ 10161040 w 12192000"/>
                <a:gd name="connsiteY1502" fmla="*/ 700416 h 1608850"/>
                <a:gd name="connsiteX1503" fmla="*/ 10162812 w 12192000"/>
                <a:gd name="connsiteY1503" fmla="*/ 700416 h 1608850"/>
                <a:gd name="connsiteX1504" fmla="*/ 10175226 w 12192000"/>
                <a:gd name="connsiteY1504" fmla="*/ 700416 h 1608850"/>
                <a:gd name="connsiteX1505" fmla="*/ 10175226 w 12192000"/>
                <a:gd name="connsiteY1505" fmla="*/ 702578 h 1608850"/>
                <a:gd name="connsiteX1506" fmla="*/ 10175226 w 12192000"/>
                <a:gd name="connsiteY1506" fmla="*/ 717710 h 1608850"/>
                <a:gd name="connsiteX1507" fmla="*/ 10179280 w 12192000"/>
                <a:gd name="connsiteY1507" fmla="*/ 715549 h 1608850"/>
                <a:gd name="connsiteX1508" fmla="*/ 10179280 w 12192000"/>
                <a:gd name="connsiteY1508" fmla="*/ 700416 h 1608850"/>
                <a:gd name="connsiteX1509" fmla="*/ 10180800 w 12192000"/>
                <a:gd name="connsiteY1509" fmla="*/ 700416 h 1608850"/>
                <a:gd name="connsiteX1510" fmla="*/ 10191440 w 12192000"/>
                <a:gd name="connsiteY1510" fmla="*/ 700416 h 1608850"/>
                <a:gd name="connsiteX1511" fmla="*/ 10191440 w 12192000"/>
                <a:gd name="connsiteY1511" fmla="*/ 702037 h 1608850"/>
                <a:gd name="connsiteX1512" fmla="*/ 10191440 w 12192000"/>
                <a:gd name="connsiteY1512" fmla="*/ 713387 h 1608850"/>
                <a:gd name="connsiteX1513" fmla="*/ 10221840 w 12192000"/>
                <a:gd name="connsiteY1513" fmla="*/ 713387 h 1608850"/>
                <a:gd name="connsiteX1514" fmla="*/ 10221840 w 12192000"/>
                <a:gd name="connsiteY1514" fmla="*/ 676637 h 1608850"/>
                <a:gd name="connsiteX1515" fmla="*/ 10223106 w 12192000"/>
                <a:gd name="connsiteY1515" fmla="*/ 676637 h 1608850"/>
                <a:gd name="connsiteX1516" fmla="*/ 10231974 w 12192000"/>
                <a:gd name="connsiteY1516" fmla="*/ 676637 h 1608850"/>
                <a:gd name="connsiteX1517" fmla="*/ 10231974 w 12192000"/>
                <a:gd name="connsiteY1517" fmla="*/ 698254 h 1608850"/>
                <a:gd name="connsiteX1518" fmla="*/ 10234000 w 12192000"/>
                <a:gd name="connsiteY1518" fmla="*/ 665828 h 1608850"/>
                <a:gd name="connsiteX1519" fmla="*/ 10256294 w 12192000"/>
                <a:gd name="connsiteY1519" fmla="*/ 665828 h 1608850"/>
                <a:gd name="connsiteX1520" fmla="*/ 10256294 w 12192000"/>
                <a:gd name="connsiteY1520" fmla="*/ 664206 h 1608850"/>
                <a:gd name="connsiteX1521" fmla="*/ 10256294 w 12192000"/>
                <a:gd name="connsiteY1521" fmla="*/ 652857 h 1608850"/>
                <a:gd name="connsiteX1522" fmla="*/ 10257054 w 12192000"/>
                <a:gd name="connsiteY1522" fmla="*/ 652857 h 1608850"/>
                <a:gd name="connsiteX1523" fmla="*/ 10262374 w 12192000"/>
                <a:gd name="connsiteY1523" fmla="*/ 652857 h 1608850"/>
                <a:gd name="connsiteX1524" fmla="*/ 10262374 w 12192000"/>
                <a:gd name="connsiteY1524" fmla="*/ 650966 h 1608850"/>
                <a:gd name="connsiteX1525" fmla="*/ 10262374 w 12192000"/>
                <a:gd name="connsiteY1525" fmla="*/ 637725 h 1608850"/>
                <a:gd name="connsiteX1526" fmla="*/ 10266428 w 12192000"/>
                <a:gd name="connsiteY1526" fmla="*/ 644210 h 1608850"/>
                <a:gd name="connsiteX1527" fmla="*/ 10268708 w 12192000"/>
                <a:gd name="connsiteY1527" fmla="*/ 644210 h 1608850"/>
                <a:gd name="connsiteX1528" fmla="*/ 10284668 w 12192000"/>
                <a:gd name="connsiteY1528" fmla="*/ 644210 h 1608850"/>
                <a:gd name="connsiteX1529" fmla="*/ 10284668 w 12192000"/>
                <a:gd name="connsiteY1529" fmla="*/ 643399 h 1608850"/>
                <a:gd name="connsiteX1530" fmla="*/ 10284668 w 12192000"/>
                <a:gd name="connsiteY1530" fmla="*/ 637725 h 1608850"/>
                <a:gd name="connsiteX1531" fmla="*/ 10285428 w 12192000"/>
                <a:gd name="connsiteY1531" fmla="*/ 637725 h 1608850"/>
                <a:gd name="connsiteX1532" fmla="*/ 10290748 w 12192000"/>
                <a:gd name="connsiteY1532" fmla="*/ 637725 h 1608850"/>
                <a:gd name="connsiteX1533" fmla="*/ 10290748 w 12192000"/>
                <a:gd name="connsiteY1533" fmla="*/ 639076 h 1608850"/>
                <a:gd name="connsiteX1534" fmla="*/ 10290748 w 12192000"/>
                <a:gd name="connsiteY1534" fmla="*/ 648534 h 1608850"/>
                <a:gd name="connsiteX1535" fmla="*/ 10329254 w 12192000"/>
                <a:gd name="connsiteY1535" fmla="*/ 648534 h 1608850"/>
                <a:gd name="connsiteX1536" fmla="*/ 10329254 w 12192000"/>
                <a:gd name="connsiteY1536" fmla="*/ 786887 h 1608850"/>
                <a:gd name="connsiteX1537" fmla="*/ 10330774 w 12192000"/>
                <a:gd name="connsiteY1537" fmla="*/ 786887 h 1608850"/>
                <a:gd name="connsiteX1538" fmla="*/ 10341414 w 12192000"/>
                <a:gd name="connsiteY1538" fmla="*/ 786887 h 1608850"/>
                <a:gd name="connsiteX1539" fmla="*/ 10341414 w 12192000"/>
                <a:gd name="connsiteY1539" fmla="*/ 773917 h 1608850"/>
                <a:gd name="connsiteX1540" fmla="*/ 10345468 w 12192000"/>
                <a:gd name="connsiteY1540" fmla="*/ 773917 h 1608850"/>
                <a:gd name="connsiteX1541" fmla="*/ 10345468 w 12192000"/>
                <a:gd name="connsiteY1541" fmla="*/ 786887 h 1608850"/>
                <a:gd name="connsiteX1542" fmla="*/ 10375868 w 12192000"/>
                <a:gd name="connsiteY1542" fmla="*/ 786887 h 1608850"/>
                <a:gd name="connsiteX1543" fmla="*/ 10375868 w 12192000"/>
                <a:gd name="connsiteY1543" fmla="*/ 756622 h 1608850"/>
                <a:gd name="connsiteX1544" fmla="*/ 10388028 w 12192000"/>
                <a:gd name="connsiteY1544" fmla="*/ 756622 h 1608850"/>
                <a:gd name="connsiteX1545" fmla="*/ 10400188 w 12192000"/>
                <a:gd name="connsiteY1545" fmla="*/ 754461 h 1608850"/>
                <a:gd name="connsiteX1546" fmla="*/ 10404242 w 12192000"/>
                <a:gd name="connsiteY1546" fmla="*/ 756622 h 1608850"/>
                <a:gd name="connsiteX1547" fmla="*/ 10414376 w 12192000"/>
                <a:gd name="connsiteY1547" fmla="*/ 756622 h 1608850"/>
                <a:gd name="connsiteX1548" fmla="*/ 10414376 w 12192000"/>
                <a:gd name="connsiteY1548" fmla="*/ 786887 h 1608850"/>
                <a:gd name="connsiteX1549" fmla="*/ 10422482 w 12192000"/>
                <a:gd name="connsiteY1549" fmla="*/ 786887 h 1608850"/>
                <a:gd name="connsiteX1550" fmla="*/ 10422482 w 12192000"/>
                <a:gd name="connsiteY1550" fmla="*/ 804182 h 1608850"/>
                <a:gd name="connsiteX1551" fmla="*/ 10431818 w 12192000"/>
                <a:gd name="connsiteY1551" fmla="*/ 805087 h 1608850"/>
                <a:gd name="connsiteX1552" fmla="*/ 10444776 w 12192000"/>
                <a:gd name="connsiteY1552" fmla="*/ 805087 h 1608850"/>
                <a:gd name="connsiteX1553" fmla="*/ 10444776 w 12192000"/>
                <a:gd name="connsiteY1553" fmla="*/ 789049 h 1608850"/>
                <a:gd name="connsiteX1554" fmla="*/ 10512732 w 12192000"/>
                <a:gd name="connsiteY1554" fmla="*/ 789049 h 1608850"/>
                <a:gd name="connsiteX1555" fmla="*/ 10512732 w 12192000"/>
                <a:gd name="connsiteY1555" fmla="*/ 703796 h 1608850"/>
                <a:gd name="connsiteX1556" fmla="*/ 10584740 w 12192000"/>
                <a:gd name="connsiteY1556" fmla="*/ 703796 h 1608850"/>
                <a:gd name="connsiteX1557" fmla="*/ 10584740 w 12192000"/>
                <a:gd name="connsiteY1557" fmla="*/ 782564 h 1608850"/>
                <a:gd name="connsiteX1558" fmla="*/ 10586644 w 12192000"/>
                <a:gd name="connsiteY1558" fmla="*/ 782564 h 1608850"/>
                <a:gd name="connsiteX1559" fmla="*/ 10587886 w 12192000"/>
                <a:gd name="connsiteY1559" fmla="*/ 805087 h 1608850"/>
                <a:gd name="connsiteX1560" fmla="*/ 10597562 w 12192000"/>
                <a:gd name="connsiteY1560" fmla="*/ 805087 h 1608850"/>
                <a:gd name="connsiteX1561" fmla="*/ 10598804 w 12192000"/>
                <a:gd name="connsiteY1561" fmla="*/ 782564 h 1608850"/>
                <a:gd name="connsiteX1562" fmla="*/ 10604884 w 12192000"/>
                <a:gd name="connsiteY1562" fmla="*/ 782564 h 1608850"/>
                <a:gd name="connsiteX1563" fmla="*/ 10606126 w 12192000"/>
                <a:gd name="connsiteY1563" fmla="*/ 805087 h 1608850"/>
                <a:gd name="connsiteX1564" fmla="*/ 10656748 w 12192000"/>
                <a:gd name="connsiteY1564" fmla="*/ 805087 h 1608850"/>
                <a:gd name="connsiteX1565" fmla="*/ 10656748 w 12192000"/>
                <a:gd name="connsiteY1565" fmla="*/ 642059 h 1608850"/>
                <a:gd name="connsiteX1566" fmla="*/ 10854076 w 12192000"/>
                <a:gd name="connsiteY1566" fmla="*/ 642059 h 1608850"/>
                <a:gd name="connsiteX1567" fmla="*/ 10854076 w 12192000"/>
                <a:gd name="connsiteY1567" fmla="*/ 805087 h 1608850"/>
                <a:gd name="connsiteX1568" fmla="*/ 10872772 w 12192000"/>
                <a:gd name="connsiteY1568" fmla="*/ 805087 h 1608850"/>
                <a:gd name="connsiteX1569" fmla="*/ 10872772 w 12192000"/>
                <a:gd name="connsiteY1569" fmla="*/ 722394 h 1608850"/>
                <a:gd name="connsiteX1570" fmla="*/ 10967892 w 12192000"/>
                <a:gd name="connsiteY1570" fmla="*/ 722394 h 1608850"/>
                <a:gd name="connsiteX1571" fmla="*/ 10979823 w 12192000"/>
                <a:gd name="connsiteY1571" fmla="*/ 404253 h 1608850"/>
                <a:gd name="connsiteX1572" fmla="*/ 10967663 w 12192000"/>
                <a:gd name="connsiteY1572" fmla="*/ 382635 h 1608850"/>
                <a:gd name="connsiteX1573" fmla="*/ 10961583 w 12192000"/>
                <a:gd name="connsiteY1573" fmla="*/ 378311 h 1608850"/>
                <a:gd name="connsiteX1574" fmla="*/ 10969690 w 12192000"/>
                <a:gd name="connsiteY1574" fmla="*/ 354532 h 1608850"/>
                <a:gd name="connsiteX1575" fmla="*/ 10969690 w 12192000"/>
                <a:gd name="connsiteY1575" fmla="*/ 337238 h 1608850"/>
                <a:gd name="connsiteX1576" fmla="*/ 10983876 w 12192000"/>
                <a:gd name="connsiteY1576" fmla="*/ 337238 h 1608850"/>
                <a:gd name="connsiteX1577" fmla="*/ 10983876 w 12192000"/>
                <a:gd name="connsiteY1577" fmla="*/ 315620 h 1608850"/>
                <a:gd name="connsiteX1578" fmla="*/ 10985903 w 12192000"/>
                <a:gd name="connsiteY1578" fmla="*/ 311296 h 1608850"/>
                <a:gd name="connsiteX1579" fmla="*/ 10985903 w 12192000"/>
                <a:gd name="connsiteY1579" fmla="*/ 233472 h 1608850"/>
                <a:gd name="connsiteX1580" fmla="*/ 10983876 w 12192000"/>
                <a:gd name="connsiteY1580" fmla="*/ 226987 h 1608850"/>
                <a:gd name="connsiteX1581" fmla="*/ 10989956 w 12192000"/>
                <a:gd name="connsiteY1581" fmla="*/ 220501 h 1608850"/>
                <a:gd name="connsiteX1582" fmla="*/ 10989956 w 12192000"/>
                <a:gd name="connsiteY1582" fmla="*/ 162133 h 1608850"/>
                <a:gd name="connsiteX1583" fmla="*/ 10991983 w 12192000"/>
                <a:gd name="connsiteY1583" fmla="*/ 157810 h 1608850"/>
                <a:gd name="connsiteX1584" fmla="*/ 10991983 w 12192000"/>
                <a:gd name="connsiteY1584" fmla="*/ 101604 h 1608850"/>
                <a:gd name="connsiteX1585" fmla="*/ 10994010 w 12192000"/>
                <a:gd name="connsiteY1585" fmla="*/ 82148 h 1608850"/>
                <a:gd name="connsiteX1586" fmla="*/ 10998063 w 12192000"/>
                <a:gd name="connsiteY1586" fmla="*/ 99442 h 1608850"/>
                <a:gd name="connsiteX1587" fmla="*/ 11000090 w 12192000"/>
                <a:gd name="connsiteY1587" fmla="*/ 157810 h 1608850"/>
                <a:gd name="connsiteX1588" fmla="*/ 11002116 w 12192000"/>
                <a:gd name="connsiteY1588" fmla="*/ 220501 h 1608850"/>
                <a:gd name="connsiteX1589" fmla="*/ 11008196 w 12192000"/>
                <a:gd name="connsiteY1589" fmla="*/ 226987 h 1608850"/>
                <a:gd name="connsiteX1590" fmla="*/ 11006170 w 12192000"/>
                <a:gd name="connsiteY1590" fmla="*/ 233472 h 1608850"/>
                <a:gd name="connsiteX1591" fmla="*/ 11006170 w 12192000"/>
                <a:gd name="connsiteY1591" fmla="*/ 311296 h 1608850"/>
                <a:gd name="connsiteX1592" fmla="*/ 11008196 w 12192000"/>
                <a:gd name="connsiteY1592" fmla="*/ 315620 h 1608850"/>
                <a:gd name="connsiteX1593" fmla="*/ 11008196 w 12192000"/>
                <a:gd name="connsiteY1593" fmla="*/ 337238 h 1608850"/>
                <a:gd name="connsiteX1594" fmla="*/ 11022383 w 12192000"/>
                <a:gd name="connsiteY1594" fmla="*/ 337238 h 1608850"/>
                <a:gd name="connsiteX1595" fmla="*/ 11022383 w 12192000"/>
                <a:gd name="connsiteY1595" fmla="*/ 354532 h 1608850"/>
                <a:gd name="connsiteX1596" fmla="*/ 11030491 w 12192000"/>
                <a:gd name="connsiteY1596" fmla="*/ 378311 h 1608850"/>
                <a:gd name="connsiteX1597" fmla="*/ 11024411 w 12192000"/>
                <a:gd name="connsiteY1597" fmla="*/ 382635 h 1608850"/>
                <a:gd name="connsiteX1598" fmla="*/ 11012250 w 12192000"/>
                <a:gd name="connsiteY1598" fmla="*/ 404253 h 1608850"/>
                <a:gd name="connsiteX1599" fmla="*/ 11020356 w 12192000"/>
                <a:gd name="connsiteY1599" fmla="*/ 657181 h 1608850"/>
                <a:gd name="connsiteX1600" fmla="*/ 11085211 w 12192000"/>
                <a:gd name="connsiteY1600" fmla="*/ 657181 h 1608850"/>
                <a:gd name="connsiteX1601" fmla="*/ 11085211 w 12192000"/>
                <a:gd name="connsiteY1601" fmla="*/ 732843 h 1608850"/>
                <a:gd name="connsiteX1602" fmla="*/ 11093318 w 12192000"/>
                <a:gd name="connsiteY1602" fmla="*/ 732843 h 1608850"/>
                <a:gd name="connsiteX1603" fmla="*/ 11095344 w 12192000"/>
                <a:gd name="connsiteY1603" fmla="*/ 726358 h 1608850"/>
                <a:gd name="connsiteX1604" fmla="*/ 11101424 w 12192000"/>
                <a:gd name="connsiteY1604" fmla="*/ 726358 h 1608850"/>
                <a:gd name="connsiteX1605" fmla="*/ 11103452 w 12192000"/>
                <a:gd name="connsiteY1605" fmla="*/ 735005 h 1608850"/>
                <a:gd name="connsiteX1606" fmla="*/ 11115612 w 12192000"/>
                <a:gd name="connsiteY1606" fmla="*/ 735005 h 1608850"/>
                <a:gd name="connsiteX1607" fmla="*/ 11115612 w 12192000"/>
                <a:gd name="connsiteY1607" fmla="*/ 728519 h 1608850"/>
                <a:gd name="connsiteX1608" fmla="*/ 11137904 w 12192000"/>
                <a:gd name="connsiteY1608" fmla="*/ 728519 h 1608850"/>
                <a:gd name="connsiteX1609" fmla="*/ 11137904 w 12192000"/>
                <a:gd name="connsiteY1609" fmla="*/ 735005 h 1608850"/>
                <a:gd name="connsiteX1610" fmla="*/ 11158172 w 12192000"/>
                <a:gd name="connsiteY1610" fmla="*/ 735005 h 1608850"/>
                <a:gd name="connsiteX1611" fmla="*/ 11158172 w 12192000"/>
                <a:gd name="connsiteY1611" fmla="*/ 780402 h 1608850"/>
                <a:gd name="connsiteX1612" fmla="*/ 11172359 w 12192000"/>
                <a:gd name="connsiteY1612" fmla="*/ 780402 h 1608850"/>
                <a:gd name="connsiteX1613" fmla="*/ 11172359 w 12192000"/>
                <a:gd name="connsiteY1613" fmla="*/ 767431 h 1608850"/>
                <a:gd name="connsiteX1614" fmla="*/ 11188572 w 12192000"/>
                <a:gd name="connsiteY1614" fmla="*/ 767431 h 1608850"/>
                <a:gd name="connsiteX1615" fmla="*/ 11188572 w 12192000"/>
                <a:gd name="connsiteY1615" fmla="*/ 588004 h 1608850"/>
                <a:gd name="connsiteX1616" fmla="*/ 11194652 w 12192000"/>
                <a:gd name="connsiteY1616" fmla="*/ 581518 h 1608850"/>
                <a:gd name="connsiteX1617" fmla="*/ 11267614 w 12192000"/>
                <a:gd name="connsiteY1617" fmla="*/ 581518 h 1608850"/>
                <a:gd name="connsiteX1618" fmla="*/ 11267614 w 12192000"/>
                <a:gd name="connsiteY1618" fmla="*/ 590166 h 1608850"/>
                <a:gd name="connsiteX1619" fmla="*/ 11277747 w 12192000"/>
                <a:gd name="connsiteY1619" fmla="*/ 590166 h 1608850"/>
                <a:gd name="connsiteX1620" fmla="*/ 11277747 w 12192000"/>
                <a:gd name="connsiteY1620" fmla="*/ 704740 h 1608850"/>
                <a:gd name="connsiteX1621" fmla="*/ 11300040 w 12192000"/>
                <a:gd name="connsiteY1621" fmla="*/ 704740 h 1608850"/>
                <a:gd name="connsiteX1622" fmla="*/ 11300040 w 12192000"/>
                <a:gd name="connsiteY1622" fmla="*/ 637725 h 1608850"/>
                <a:gd name="connsiteX1623" fmla="*/ 11326388 w 12192000"/>
                <a:gd name="connsiteY1623" fmla="*/ 637725 h 1608850"/>
                <a:gd name="connsiteX1624" fmla="*/ 11330440 w 12192000"/>
                <a:gd name="connsiteY1624" fmla="*/ 633401 h 1608850"/>
                <a:gd name="connsiteX1625" fmla="*/ 11338548 w 12192000"/>
                <a:gd name="connsiteY1625" fmla="*/ 633401 h 1608850"/>
                <a:gd name="connsiteX1626" fmla="*/ 11342600 w 12192000"/>
                <a:gd name="connsiteY1626" fmla="*/ 637725 h 1608850"/>
                <a:gd name="connsiteX1627" fmla="*/ 11364895 w 12192000"/>
                <a:gd name="connsiteY1627" fmla="*/ 637725 h 1608850"/>
                <a:gd name="connsiteX1628" fmla="*/ 11364895 w 12192000"/>
                <a:gd name="connsiteY1628" fmla="*/ 520989 h 1608850"/>
                <a:gd name="connsiteX1629" fmla="*/ 11421642 w 12192000"/>
                <a:gd name="connsiteY1629" fmla="*/ 510180 h 1608850"/>
                <a:gd name="connsiteX1630" fmla="*/ 11421642 w 12192000"/>
                <a:gd name="connsiteY1630" fmla="*/ 511261 h 1608850"/>
                <a:gd name="connsiteX1631" fmla="*/ 11421642 w 12192000"/>
                <a:gd name="connsiteY1631" fmla="*/ 518827 h 1608850"/>
                <a:gd name="connsiteX1632" fmla="*/ 11447988 w 12192000"/>
                <a:gd name="connsiteY1632" fmla="*/ 518827 h 1608850"/>
                <a:gd name="connsiteX1633" fmla="*/ 11447988 w 12192000"/>
                <a:gd name="connsiteY1633" fmla="*/ 773917 h 1608850"/>
                <a:gd name="connsiteX1634" fmla="*/ 11470283 w 12192000"/>
                <a:gd name="connsiteY1634" fmla="*/ 773917 h 1608850"/>
                <a:gd name="connsiteX1635" fmla="*/ 11470283 w 12192000"/>
                <a:gd name="connsiteY1635" fmla="*/ 769593 h 1608850"/>
                <a:gd name="connsiteX1636" fmla="*/ 11482443 w 12192000"/>
                <a:gd name="connsiteY1636" fmla="*/ 769593 h 1608850"/>
                <a:gd name="connsiteX1637" fmla="*/ 11482443 w 12192000"/>
                <a:gd name="connsiteY1637" fmla="*/ 773917 h 1608850"/>
                <a:gd name="connsiteX1638" fmla="*/ 11506763 w 12192000"/>
                <a:gd name="connsiteY1638" fmla="*/ 773917 h 1608850"/>
                <a:gd name="connsiteX1639" fmla="*/ 11506763 w 12192000"/>
                <a:gd name="connsiteY1639" fmla="*/ 760946 h 1608850"/>
                <a:gd name="connsiteX1640" fmla="*/ 11535136 w 12192000"/>
                <a:gd name="connsiteY1640" fmla="*/ 760946 h 1608850"/>
                <a:gd name="connsiteX1641" fmla="*/ 11547296 w 12192000"/>
                <a:gd name="connsiteY1641" fmla="*/ 756622 h 1608850"/>
                <a:gd name="connsiteX1642" fmla="*/ 11567564 w 12192000"/>
                <a:gd name="connsiteY1642" fmla="*/ 760946 h 1608850"/>
                <a:gd name="connsiteX1643" fmla="*/ 11567564 w 12192000"/>
                <a:gd name="connsiteY1643" fmla="*/ 743652 h 1608850"/>
                <a:gd name="connsiteX1644" fmla="*/ 11575671 w 12192000"/>
                <a:gd name="connsiteY1644" fmla="*/ 743652 h 1608850"/>
                <a:gd name="connsiteX1645" fmla="*/ 11575671 w 12192000"/>
                <a:gd name="connsiteY1645" fmla="*/ 730681 h 1608850"/>
                <a:gd name="connsiteX1646" fmla="*/ 11632418 w 12192000"/>
                <a:gd name="connsiteY1646" fmla="*/ 730681 h 1608850"/>
                <a:gd name="connsiteX1647" fmla="*/ 11632418 w 12192000"/>
                <a:gd name="connsiteY1647" fmla="*/ 700416 h 1608850"/>
                <a:gd name="connsiteX1648" fmla="*/ 11650658 w 12192000"/>
                <a:gd name="connsiteY1648" fmla="*/ 700416 h 1608850"/>
                <a:gd name="connsiteX1649" fmla="*/ 11650658 w 12192000"/>
                <a:gd name="connsiteY1649" fmla="*/ 693931 h 1608850"/>
                <a:gd name="connsiteX1650" fmla="*/ 11662818 w 12192000"/>
                <a:gd name="connsiteY1650" fmla="*/ 693931 h 1608850"/>
                <a:gd name="connsiteX1651" fmla="*/ 11662818 w 12192000"/>
                <a:gd name="connsiteY1651" fmla="*/ 700416 h 1608850"/>
                <a:gd name="connsiteX1652" fmla="*/ 11679031 w 12192000"/>
                <a:gd name="connsiteY1652" fmla="*/ 700416 h 1608850"/>
                <a:gd name="connsiteX1653" fmla="*/ 11679031 w 12192000"/>
                <a:gd name="connsiteY1653" fmla="*/ 750137 h 1608850"/>
                <a:gd name="connsiteX1654" fmla="*/ 11711459 w 12192000"/>
                <a:gd name="connsiteY1654" fmla="*/ 750137 h 1608850"/>
                <a:gd name="connsiteX1655" fmla="*/ 11711459 w 12192000"/>
                <a:gd name="connsiteY1655" fmla="*/ 724196 h 1608850"/>
                <a:gd name="connsiteX1656" fmla="*/ 11749966 w 12192000"/>
                <a:gd name="connsiteY1656" fmla="*/ 724196 h 1608850"/>
                <a:gd name="connsiteX1657" fmla="*/ 11749966 w 12192000"/>
                <a:gd name="connsiteY1657" fmla="*/ 693931 h 1608850"/>
                <a:gd name="connsiteX1658" fmla="*/ 11798607 w 12192000"/>
                <a:gd name="connsiteY1658" fmla="*/ 693931 h 1608850"/>
                <a:gd name="connsiteX1659" fmla="*/ 11798607 w 12192000"/>
                <a:gd name="connsiteY1659" fmla="*/ 805087 h 1608850"/>
                <a:gd name="connsiteX1660" fmla="*/ 11798607 w 12192000"/>
                <a:gd name="connsiteY1660" fmla="*/ 818866 h 1608850"/>
                <a:gd name="connsiteX1661" fmla="*/ 11864482 w 12192000"/>
                <a:gd name="connsiteY1661" fmla="*/ 818866 h 1608850"/>
                <a:gd name="connsiteX1662" fmla="*/ 11864482 w 12192000"/>
                <a:gd name="connsiteY1662" fmla="*/ 924638 h 1608850"/>
                <a:gd name="connsiteX1663" fmla="*/ 11864482 w 12192000"/>
                <a:gd name="connsiteY1663" fmla="*/ 947885 h 1608850"/>
                <a:gd name="connsiteX1664" fmla="*/ 11879442 w 12192000"/>
                <a:gd name="connsiteY1664" fmla="*/ 947885 h 1608850"/>
                <a:gd name="connsiteX1665" fmla="*/ 11879442 w 12192000"/>
                <a:gd name="connsiteY1665" fmla="*/ 946723 h 1608850"/>
                <a:gd name="connsiteX1666" fmla="*/ 11879442 w 12192000"/>
                <a:gd name="connsiteY1666" fmla="*/ 938587 h 1608850"/>
                <a:gd name="connsiteX1667" fmla="*/ 11924022 w 12192000"/>
                <a:gd name="connsiteY1667" fmla="*/ 938587 h 1608850"/>
                <a:gd name="connsiteX1668" fmla="*/ 11924022 w 12192000"/>
                <a:gd name="connsiteY1668" fmla="*/ 959508 h 1608850"/>
                <a:gd name="connsiteX1669" fmla="*/ 11926250 w 12192000"/>
                <a:gd name="connsiteY1669" fmla="*/ 960671 h 1608850"/>
                <a:gd name="connsiteX1670" fmla="*/ 11941854 w 12192000"/>
                <a:gd name="connsiteY1670" fmla="*/ 968807 h 1608850"/>
                <a:gd name="connsiteX1671" fmla="*/ 11941854 w 12192000"/>
                <a:gd name="connsiteY1671" fmla="*/ 999027 h 1608850"/>
                <a:gd name="connsiteX1672" fmla="*/ 11943247 w 12192000"/>
                <a:gd name="connsiteY1672" fmla="*/ 999609 h 1608850"/>
                <a:gd name="connsiteX1673" fmla="*/ 11952999 w 12192000"/>
                <a:gd name="connsiteY1673" fmla="*/ 1003677 h 1608850"/>
                <a:gd name="connsiteX1674" fmla="*/ 11952999 w 12192000"/>
                <a:gd name="connsiteY1674" fmla="*/ 1002515 h 1608850"/>
                <a:gd name="connsiteX1675" fmla="*/ 11952999 w 12192000"/>
                <a:gd name="connsiteY1675" fmla="*/ 994378 h 1608850"/>
                <a:gd name="connsiteX1676" fmla="*/ 11954114 w 12192000"/>
                <a:gd name="connsiteY1676" fmla="*/ 994378 h 1608850"/>
                <a:gd name="connsiteX1677" fmla="*/ 11961915 w 12192000"/>
                <a:gd name="connsiteY1677" fmla="*/ 994378 h 1608850"/>
                <a:gd name="connsiteX1678" fmla="*/ 11961915 w 12192000"/>
                <a:gd name="connsiteY1678" fmla="*/ 993506 h 1608850"/>
                <a:gd name="connsiteX1679" fmla="*/ 11961915 w 12192000"/>
                <a:gd name="connsiteY1679" fmla="*/ 987404 h 1608850"/>
                <a:gd name="connsiteX1680" fmla="*/ 11960800 w 12192000"/>
                <a:gd name="connsiteY1680" fmla="*/ 987404 h 1608850"/>
                <a:gd name="connsiteX1681" fmla="*/ 11952999 w 12192000"/>
                <a:gd name="connsiteY1681" fmla="*/ 987404 h 1608850"/>
                <a:gd name="connsiteX1682" fmla="*/ 11952999 w 12192000"/>
                <a:gd name="connsiteY1682" fmla="*/ 986242 h 1608850"/>
                <a:gd name="connsiteX1683" fmla="*/ 11952999 w 12192000"/>
                <a:gd name="connsiteY1683" fmla="*/ 978106 h 1608850"/>
                <a:gd name="connsiteX1684" fmla="*/ 11954114 w 12192000"/>
                <a:gd name="connsiteY1684" fmla="*/ 978106 h 1608850"/>
                <a:gd name="connsiteX1685" fmla="*/ 11961915 w 12192000"/>
                <a:gd name="connsiteY1685" fmla="*/ 978106 h 1608850"/>
                <a:gd name="connsiteX1686" fmla="*/ 11961915 w 12192000"/>
                <a:gd name="connsiteY1686" fmla="*/ 976943 h 1608850"/>
                <a:gd name="connsiteX1687" fmla="*/ 11961915 w 12192000"/>
                <a:gd name="connsiteY1687" fmla="*/ 968807 h 1608850"/>
                <a:gd name="connsiteX1688" fmla="*/ 11960800 w 12192000"/>
                <a:gd name="connsiteY1688" fmla="*/ 968807 h 1608850"/>
                <a:gd name="connsiteX1689" fmla="*/ 11952999 w 12192000"/>
                <a:gd name="connsiteY1689" fmla="*/ 968807 h 1608850"/>
                <a:gd name="connsiteX1690" fmla="*/ 11952999 w 12192000"/>
                <a:gd name="connsiteY1690" fmla="*/ 967645 h 1608850"/>
                <a:gd name="connsiteX1691" fmla="*/ 11952999 w 12192000"/>
                <a:gd name="connsiteY1691" fmla="*/ 959508 h 1608850"/>
                <a:gd name="connsiteX1692" fmla="*/ 11954114 w 12192000"/>
                <a:gd name="connsiteY1692" fmla="*/ 959508 h 1608850"/>
                <a:gd name="connsiteX1693" fmla="*/ 11961915 w 12192000"/>
                <a:gd name="connsiteY1693" fmla="*/ 959508 h 1608850"/>
                <a:gd name="connsiteX1694" fmla="*/ 11961915 w 12192000"/>
                <a:gd name="connsiteY1694" fmla="*/ 958637 h 1608850"/>
                <a:gd name="connsiteX1695" fmla="*/ 11961915 w 12192000"/>
                <a:gd name="connsiteY1695" fmla="*/ 952535 h 1608850"/>
                <a:gd name="connsiteX1696" fmla="*/ 11960800 w 12192000"/>
                <a:gd name="connsiteY1696" fmla="*/ 952535 h 1608850"/>
                <a:gd name="connsiteX1697" fmla="*/ 11952999 w 12192000"/>
                <a:gd name="connsiteY1697" fmla="*/ 952535 h 1608850"/>
                <a:gd name="connsiteX1698" fmla="*/ 11952999 w 12192000"/>
                <a:gd name="connsiteY1698" fmla="*/ 951372 h 1608850"/>
                <a:gd name="connsiteX1699" fmla="*/ 11952999 w 12192000"/>
                <a:gd name="connsiteY1699" fmla="*/ 943236 h 1608850"/>
                <a:gd name="connsiteX1700" fmla="*/ 11954114 w 12192000"/>
                <a:gd name="connsiteY1700" fmla="*/ 943236 h 1608850"/>
                <a:gd name="connsiteX1701" fmla="*/ 11961915 w 12192000"/>
                <a:gd name="connsiteY1701" fmla="*/ 943236 h 1608850"/>
                <a:gd name="connsiteX1702" fmla="*/ 11961915 w 12192000"/>
                <a:gd name="connsiteY1702" fmla="*/ 942074 h 1608850"/>
                <a:gd name="connsiteX1703" fmla="*/ 11961915 w 12192000"/>
                <a:gd name="connsiteY1703" fmla="*/ 933937 h 1608850"/>
                <a:gd name="connsiteX1704" fmla="*/ 11960800 w 12192000"/>
                <a:gd name="connsiteY1704" fmla="*/ 933937 h 1608850"/>
                <a:gd name="connsiteX1705" fmla="*/ 11952999 w 12192000"/>
                <a:gd name="connsiteY1705" fmla="*/ 933937 h 1608850"/>
                <a:gd name="connsiteX1706" fmla="*/ 11952999 w 12192000"/>
                <a:gd name="connsiteY1706" fmla="*/ 933066 h 1608850"/>
                <a:gd name="connsiteX1707" fmla="*/ 11952999 w 12192000"/>
                <a:gd name="connsiteY1707" fmla="*/ 926963 h 1608850"/>
                <a:gd name="connsiteX1708" fmla="*/ 11954114 w 12192000"/>
                <a:gd name="connsiteY1708" fmla="*/ 926963 h 1608850"/>
                <a:gd name="connsiteX1709" fmla="*/ 11961915 w 12192000"/>
                <a:gd name="connsiteY1709" fmla="*/ 926963 h 1608850"/>
                <a:gd name="connsiteX1710" fmla="*/ 11961915 w 12192000"/>
                <a:gd name="connsiteY1710" fmla="*/ 925801 h 1608850"/>
                <a:gd name="connsiteX1711" fmla="*/ 11961915 w 12192000"/>
                <a:gd name="connsiteY1711" fmla="*/ 917665 h 1608850"/>
                <a:gd name="connsiteX1712" fmla="*/ 11960800 w 12192000"/>
                <a:gd name="connsiteY1712" fmla="*/ 917665 h 1608850"/>
                <a:gd name="connsiteX1713" fmla="*/ 11952999 w 12192000"/>
                <a:gd name="connsiteY1713" fmla="*/ 917665 h 1608850"/>
                <a:gd name="connsiteX1714" fmla="*/ 11952999 w 12192000"/>
                <a:gd name="connsiteY1714" fmla="*/ 916503 h 1608850"/>
                <a:gd name="connsiteX1715" fmla="*/ 11952999 w 12192000"/>
                <a:gd name="connsiteY1715" fmla="*/ 908366 h 1608850"/>
                <a:gd name="connsiteX1716" fmla="*/ 11954114 w 12192000"/>
                <a:gd name="connsiteY1716" fmla="*/ 908366 h 1608850"/>
                <a:gd name="connsiteX1717" fmla="*/ 11961915 w 12192000"/>
                <a:gd name="connsiteY1717" fmla="*/ 908366 h 1608850"/>
                <a:gd name="connsiteX1718" fmla="*/ 11961915 w 12192000"/>
                <a:gd name="connsiteY1718" fmla="*/ 907204 h 1608850"/>
                <a:gd name="connsiteX1719" fmla="*/ 11961915 w 12192000"/>
                <a:gd name="connsiteY1719" fmla="*/ 899068 h 1608850"/>
                <a:gd name="connsiteX1720" fmla="*/ 11960800 w 12192000"/>
                <a:gd name="connsiteY1720" fmla="*/ 899068 h 1608850"/>
                <a:gd name="connsiteX1721" fmla="*/ 11952999 w 12192000"/>
                <a:gd name="connsiteY1721" fmla="*/ 899068 h 1608850"/>
                <a:gd name="connsiteX1722" fmla="*/ 11952999 w 12192000"/>
                <a:gd name="connsiteY1722" fmla="*/ 898196 h 1608850"/>
                <a:gd name="connsiteX1723" fmla="*/ 11952999 w 12192000"/>
                <a:gd name="connsiteY1723" fmla="*/ 892094 h 1608850"/>
                <a:gd name="connsiteX1724" fmla="*/ 11954114 w 12192000"/>
                <a:gd name="connsiteY1724" fmla="*/ 892094 h 1608850"/>
                <a:gd name="connsiteX1725" fmla="*/ 11961915 w 12192000"/>
                <a:gd name="connsiteY1725" fmla="*/ 892094 h 1608850"/>
                <a:gd name="connsiteX1726" fmla="*/ 11961915 w 12192000"/>
                <a:gd name="connsiteY1726" fmla="*/ 890931 h 1608850"/>
                <a:gd name="connsiteX1727" fmla="*/ 11961915 w 12192000"/>
                <a:gd name="connsiteY1727" fmla="*/ 882795 h 1608850"/>
                <a:gd name="connsiteX1728" fmla="*/ 11960800 w 12192000"/>
                <a:gd name="connsiteY1728" fmla="*/ 882795 h 1608850"/>
                <a:gd name="connsiteX1729" fmla="*/ 11952999 w 12192000"/>
                <a:gd name="connsiteY1729" fmla="*/ 882795 h 1608850"/>
                <a:gd name="connsiteX1730" fmla="*/ 11952999 w 12192000"/>
                <a:gd name="connsiteY1730" fmla="*/ 881633 h 1608850"/>
                <a:gd name="connsiteX1731" fmla="*/ 11952999 w 12192000"/>
                <a:gd name="connsiteY1731" fmla="*/ 873496 h 1608850"/>
                <a:gd name="connsiteX1732" fmla="*/ 11954114 w 12192000"/>
                <a:gd name="connsiteY1732" fmla="*/ 873496 h 1608850"/>
                <a:gd name="connsiteX1733" fmla="*/ 11961915 w 12192000"/>
                <a:gd name="connsiteY1733" fmla="*/ 873496 h 1608850"/>
                <a:gd name="connsiteX1734" fmla="*/ 11961915 w 12192000"/>
                <a:gd name="connsiteY1734" fmla="*/ 872625 h 1608850"/>
                <a:gd name="connsiteX1735" fmla="*/ 11961915 w 12192000"/>
                <a:gd name="connsiteY1735" fmla="*/ 866523 h 1608850"/>
                <a:gd name="connsiteX1736" fmla="*/ 11960800 w 12192000"/>
                <a:gd name="connsiteY1736" fmla="*/ 866523 h 1608850"/>
                <a:gd name="connsiteX1737" fmla="*/ 11952999 w 12192000"/>
                <a:gd name="connsiteY1737" fmla="*/ 866523 h 1608850"/>
                <a:gd name="connsiteX1738" fmla="*/ 11952999 w 12192000"/>
                <a:gd name="connsiteY1738" fmla="*/ 865360 h 1608850"/>
                <a:gd name="connsiteX1739" fmla="*/ 11952999 w 12192000"/>
                <a:gd name="connsiteY1739" fmla="*/ 857224 h 1608850"/>
                <a:gd name="connsiteX1740" fmla="*/ 11954114 w 12192000"/>
                <a:gd name="connsiteY1740" fmla="*/ 857224 h 1608850"/>
                <a:gd name="connsiteX1741" fmla="*/ 11961915 w 12192000"/>
                <a:gd name="connsiteY1741" fmla="*/ 857224 h 1608850"/>
                <a:gd name="connsiteX1742" fmla="*/ 11961915 w 12192000"/>
                <a:gd name="connsiteY1742" fmla="*/ 856062 h 1608850"/>
                <a:gd name="connsiteX1743" fmla="*/ 11961915 w 12192000"/>
                <a:gd name="connsiteY1743" fmla="*/ 847925 h 1608850"/>
                <a:gd name="connsiteX1744" fmla="*/ 11960800 w 12192000"/>
                <a:gd name="connsiteY1744" fmla="*/ 847925 h 1608850"/>
                <a:gd name="connsiteX1745" fmla="*/ 11952999 w 12192000"/>
                <a:gd name="connsiteY1745" fmla="*/ 847925 h 1608850"/>
                <a:gd name="connsiteX1746" fmla="*/ 11952999 w 12192000"/>
                <a:gd name="connsiteY1746" fmla="*/ 846763 h 1608850"/>
                <a:gd name="connsiteX1747" fmla="*/ 11952999 w 12192000"/>
                <a:gd name="connsiteY1747" fmla="*/ 838627 h 1608850"/>
                <a:gd name="connsiteX1748" fmla="*/ 11954114 w 12192000"/>
                <a:gd name="connsiteY1748" fmla="*/ 838627 h 1608850"/>
                <a:gd name="connsiteX1749" fmla="*/ 11961915 w 12192000"/>
                <a:gd name="connsiteY1749" fmla="*/ 838627 h 1608850"/>
                <a:gd name="connsiteX1750" fmla="*/ 11961915 w 12192000"/>
                <a:gd name="connsiteY1750" fmla="*/ 837755 h 1608850"/>
                <a:gd name="connsiteX1751" fmla="*/ 11961915 w 12192000"/>
                <a:gd name="connsiteY1751" fmla="*/ 831653 h 1608850"/>
                <a:gd name="connsiteX1752" fmla="*/ 11960800 w 12192000"/>
                <a:gd name="connsiteY1752" fmla="*/ 831653 h 1608850"/>
                <a:gd name="connsiteX1753" fmla="*/ 11952999 w 12192000"/>
                <a:gd name="connsiteY1753" fmla="*/ 831653 h 1608850"/>
                <a:gd name="connsiteX1754" fmla="*/ 11952999 w 12192000"/>
                <a:gd name="connsiteY1754" fmla="*/ 830491 h 1608850"/>
                <a:gd name="connsiteX1755" fmla="*/ 11952999 w 12192000"/>
                <a:gd name="connsiteY1755" fmla="*/ 822354 h 1608850"/>
                <a:gd name="connsiteX1756" fmla="*/ 11954114 w 12192000"/>
                <a:gd name="connsiteY1756" fmla="*/ 822354 h 1608850"/>
                <a:gd name="connsiteX1757" fmla="*/ 11961915 w 12192000"/>
                <a:gd name="connsiteY1757" fmla="*/ 822354 h 1608850"/>
                <a:gd name="connsiteX1758" fmla="*/ 11961915 w 12192000"/>
                <a:gd name="connsiteY1758" fmla="*/ 821192 h 1608850"/>
                <a:gd name="connsiteX1759" fmla="*/ 11961915 w 12192000"/>
                <a:gd name="connsiteY1759" fmla="*/ 813056 h 1608850"/>
                <a:gd name="connsiteX1760" fmla="*/ 11960800 w 12192000"/>
                <a:gd name="connsiteY1760" fmla="*/ 813056 h 1608850"/>
                <a:gd name="connsiteX1761" fmla="*/ 11952999 w 12192000"/>
                <a:gd name="connsiteY1761" fmla="*/ 813056 h 1608850"/>
                <a:gd name="connsiteX1762" fmla="*/ 11952999 w 12192000"/>
                <a:gd name="connsiteY1762" fmla="*/ 811893 h 1608850"/>
                <a:gd name="connsiteX1763" fmla="*/ 11952999 w 12192000"/>
                <a:gd name="connsiteY1763" fmla="*/ 803757 h 1608850"/>
                <a:gd name="connsiteX1764" fmla="*/ 11954114 w 12192000"/>
                <a:gd name="connsiteY1764" fmla="*/ 803757 h 1608850"/>
                <a:gd name="connsiteX1765" fmla="*/ 11961915 w 12192000"/>
                <a:gd name="connsiteY1765" fmla="*/ 803757 h 1608850"/>
                <a:gd name="connsiteX1766" fmla="*/ 11961915 w 12192000"/>
                <a:gd name="connsiteY1766" fmla="*/ 802885 h 1608850"/>
                <a:gd name="connsiteX1767" fmla="*/ 11961915 w 12192000"/>
                <a:gd name="connsiteY1767" fmla="*/ 796783 h 1608850"/>
                <a:gd name="connsiteX1768" fmla="*/ 11960800 w 12192000"/>
                <a:gd name="connsiteY1768" fmla="*/ 796783 h 1608850"/>
                <a:gd name="connsiteX1769" fmla="*/ 11952999 w 12192000"/>
                <a:gd name="connsiteY1769" fmla="*/ 796783 h 1608850"/>
                <a:gd name="connsiteX1770" fmla="*/ 11952999 w 12192000"/>
                <a:gd name="connsiteY1770" fmla="*/ 795621 h 1608850"/>
                <a:gd name="connsiteX1771" fmla="*/ 11952999 w 12192000"/>
                <a:gd name="connsiteY1771" fmla="*/ 787484 h 1608850"/>
                <a:gd name="connsiteX1772" fmla="*/ 11954114 w 12192000"/>
                <a:gd name="connsiteY1772" fmla="*/ 787484 h 1608850"/>
                <a:gd name="connsiteX1773" fmla="*/ 11961915 w 12192000"/>
                <a:gd name="connsiteY1773" fmla="*/ 787484 h 1608850"/>
                <a:gd name="connsiteX1774" fmla="*/ 11960800 w 12192000"/>
                <a:gd name="connsiteY1774" fmla="*/ 785741 h 1608850"/>
                <a:gd name="connsiteX1775" fmla="*/ 11952999 w 12192000"/>
                <a:gd name="connsiteY1775" fmla="*/ 773537 h 1608850"/>
                <a:gd name="connsiteX1776" fmla="*/ 11952999 w 12192000"/>
                <a:gd name="connsiteY1776" fmla="*/ 736342 h 1608850"/>
                <a:gd name="connsiteX1777" fmla="*/ 12102343 w 12192000"/>
                <a:gd name="connsiteY1777" fmla="*/ 736342 h 1608850"/>
                <a:gd name="connsiteX1778" fmla="*/ 12115716 w 12192000"/>
                <a:gd name="connsiteY1778" fmla="*/ 757264 h 1608850"/>
                <a:gd name="connsiteX1779" fmla="*/ 12115716 w 12192000"/>
                <a:gd name="connsiteY1779" fmla="*/ 803757 h 1608850"/>
                <a:gd name="connsiteX1780" fmla="*/ 12114602 w 12192000"/>
                <a:gd name="connsiteY1780" fmla="*/ 803757 h 1608850"/>
                <a:gd name="connsiteX1781" fmla="*/ 12106800 w 12192000"/>
                <a:gd name="connsiteY1781" fmla="*/ 803757 h 1608850"/>
                <a:gd name="connsiteX1782" fmla="*/ 12106800 w 12192000"/>
                <a:gd name="connsiteY1782" fmla="*/ 804919 h 1608850"/>
                <a:gd name="connsiteX1783" fmla="*/ 12106800 w 12192000"/>
                <a:gd name="connsiteY1783" fmla="*/ 813056 h 1608850"/>
                <a:gd name="connsiteX1784" fmla="*/ 12107915 w 12192000"/>
                <a:gd name="connsiteY1784" fmla="*/ 813056 h 1608850"/>
                <a:gd name="connsiteX1785" fmla="*/ 12115716 w 12192000"/>
                <a:gd name="connsiteY1785" fmla="*/ 813056 h 1608850"/>
                <a:gd name="connsiteX1786" fmla="*/ 12115716 w 12192000"/>
                <a:gd name="connsiteY1786" fmla="*/ 814218 h 1608850"/>
                <a:gd name="connsiteX1787" fmla="*/ 12115716 w 12192000"/>
                <a:gd name="connsiteY1787" fmla="*/ 822354 h 1608850"/>
                <a:gd name="connsiteX1788" fmla="*/ 12114602 w 12192000"/>
                <a:gd name="connsiteY1788" fmla="*/ 822354 h 1608850"/>
                <a:gd name="connsiteX1789" fmla="*/ 12106800 w 12192000"/>
                <a:gd name="connsiteY1789" fmla="*/ 822354 h 1608850"/>
                <a:gd name="connsiteX1790" fmla="*/ 12106800 w 12192000"/>
                <a:gd name="connsiteY1790" fmla="*/ 823516 h 1608850"/>
                <a:gd name="connsiteX1791" fmla="*/ 12106800 w 12192000"/>
                <a:gd name="connsiteY1791" fmla="*/ 831653 h 1608850"/>
                <a:gd name="connsiteX1792" fmla="*/ 12107915 w 12192000"/>
                <a:gd name="connsiteY1792" fmla="*/ 831653 h 1608850"/>
                <a:gd name="connsiteX1793" fmla="*/ 12115716 w 12192000"/>
                <a:gd name="connsiteY1793" fmla="*/ 831653 h 1608850"/>
                <a:gd name="connsiteX1794" fmla="*/ 12115716 w 12192000"/>
                <a:gd name="connsiteY1794" fmla="*/ 832525 h 1608850"/>
                <a:gd name="connsiteX1795" fmla="*/ 12115716 w 12192000"/>
                <a:gd name="connsiteY1795" fmla="*/ 838627 h 1608850"/>
                <a:gd name="connsiteX1796" fmla="*/ 12114602 w 12192000"/>
                <a:gd name="connsiteY1796" fmla="*/ 838627 h 1608850"/>
                <a:gd name="connsiteX1797" fmla="*/ 12106800 w 12192000"/>
                <a:gd name="connsiteY1797" fmla="*/ 838627 h 1608850"/>
                <a:gd name="connsiteX1798" fmla="*/ 12106800 w 12192000"/>
                <a:gd name="connsiteY1798" fmla="*/ 839789 h 1608850"/>
                <a:gd name="connsiteX1799" fmla="*/ 12106800 w 12192000"/>
                <a:gd name="connsiteY1799" fmla="*/ 847925 h 1608850"/>
                <a:gd name="connsiteX1800" fmla="*/ 12107915 w 12192000"/>
                <a:gd name="connsiteY1800" fmla="*/ 847925 h 1608850"/>
                <a:gd name="connsiteX1801" fmla="*/ 12115716 w 12192000"/>
                <a:gd name="connsiteY1801" fmla="*/ 847925 h 1608850"/>
                <a:gd name="connsiteX1802" fmla="*/ 12115716 w 12192000"/>
                <a:gd name="connsiteY1802" fmla="*/ 849088 h 1608850"/>
                <a:gd name="connsiteX1803" fmla="*/ 12115716 w 12192000"/>
                <a:gd name="connsiteY1803" fmla="*/ 857224 h 1608850"/>
                <a:gd name="connsiteX1804" fmla="*/ 12114602 w 12192000"/>
                <a:gd name="connsiteY1804" fmla="*/ 857224 h 1608850"/>
                <a:gd name="connsiteX1805" fmla="*/ 12106800 w 12192000"/>
                <a:gd name="connsiteY1805" fmla="*/ 857224 h 1608850"/>
                <a:gd name="connsiteX1806" fmla="*/ 12106800 w 12192000"/>
                <a:gd name="connsiteY1806" fmla="*/ 858386 h 1608850"/>
                <a:gd name="connsiteX1807" fmla="*/ 12106800 w 12192000"/>
                <a:gd name="connsiteY1807" fmla="*/ 866523 h 1608850"/>
                <a:gd name="connsiteX1808" fmla="*/ 12107915 w 12192000"/>
                <a:gd name="connsiteY1808" fmla="*/ 866523 h 1608850"/>
                <a:gd name="connsiteX1809" fmla="*/ 12115716 w 12192000"/>
                <a:gd name="connsiteY1809" fmla="*/ 866523 h 1608850"/>
                <a:gd name="connsiteX1810" fmla="*/ 12115716 w 12192000"/>
                <a:gd name="connsiteY1810" fmla="*/ 867394 h 1608850"/>
                <a:gd name="connsiteX1811" fmla="*/ 12115716 w 12192000"/>
                <a:gd name="connsiteY1811" fmla="*/ 873496 h 1608850"/>
                <a:gd name="connsiteX1812" fmla="*/ 12114602 w 12192000"/>
                <a:gd name="connsiteY1812" fmla="*/ 873496 h 1608850"/>
                <a:gd name="connsiteX1813" fmla="*/ 12106800 w 12192000"/>
                <a:gd name="connsiteY1813" fmla="*/ 873496 h 1608850"/>
                <a:gd name="connsiteX1814" fmla="*/ 12106800 w 12192000"/>
                <a:gd name="connsiteY1814" fmla="*/ 874659 h 1608850"/>
                <a:gd name="connsiteX1815" fmla="*/ 12106800 w 12192000"/>
                <a:gd name="connsiteY1815" fmla="*/ 882795 h 1608850"/>
                <a:gd name="connsiteX1816" fmla="*/ 12107915 w 12192000"/>
                <a:gd name="connsiteY1816" fmla="*/ 882795 h 1608850"/>
                <a:gd name="connsiteX1817" fmla="*/ 12115716 w 12192000"/>
                <a:gd name="connsiteY1817" fmla="*/ 882795 h 1608850"/>
                <a:gd name="connsiteX1818" fmla="*/ 12115716 w 12192000"/>
                <a:gd name="connsiteY1818" fmla="*/ 883957 h 1608850"/>
                <a:gd name="connsiteX1819" fmla="*/ 12115716 w 12192000"/>
                <a:gd name="connsiteY1819" fmla="*/ 892094 h 1608850"/>
                <a:gd name="connsiteX1820" fmla="*/ 12114602 w 12192000"/>
                <a:gd name="connsiteY1820" fmla="*/ 892094 h 1608850"/>
                <a:gd name="connsiteX1821" fmla="*/ 12106800 w 12192000"/>
                <a:gd name="connsiteY1821" fmla="*/ 892094 h 1608850"/>
                <a:gd name="connsiteX1822" fmla="*/ 12106800 w 12192000"/>
                <a:gd name="connsiteY1822" fmla="*/ 892965 h 1608850"/>
                <a:gd name="connsiteX1823" fmla="*/ 12106800 w 12192000"/>
                <a:gd name="connsiteY1823" fmla="*/ 899068 h 1608850"/>
                <a:gd name="connsiteX1824" fmla="*/ 12107915 w 12192000"/>
                <a:gd name="connsiteY1824" fmla="*/ 899068 h 1608850"/>
                <a:gd name="connsiteX1825" fmla="*/ 12115716 w 12192000"/>
                <a:gd name="connsiteY1825" fmla="*/ 899068 h 1608850"/>
                <a:gd name="connsiteX1826" fmla="*/ 12115716 w 12192000"/>
                <a:gd name="connsiteY1826" fmla="*/ 900230 h 1608850"/>
                <a:gd name="connsiteX1827" fmla="*/ 12115716 w 12192000"/>
                <a:gd name="connsiteY1827" fmla="*/ 908366 h 1608850"/>
                <a:gd name="connsiteX1828" fmla="*/ 12114602 w 12192000"/>
                <a:gd name="connsiteY1828" fmla="*/ 908366 h 1608850"/>
                <a:gd name="connsiteX1829" fmla="*/ 12106800 w 12192000"/>
                <a:gd name="connsiteY1829" fmla="*/ 908366 h 1608850"/>
                <a:gd name="connsiteX1830" fmla="*/ 12106800 w 12192000"/>
                <a:gd name="connsiteY1830" fmla="*/ 909528 h 1608850"/>
                <a:gd name="connsiteX1831" fmla="*/ 12106800 w 12192000"/>
                <a:gd name="connsiteY1831" fmla="*/ 917665 h 1608850"/>
                <a:gd name="connsiteX1832" fmla="*/ 12107915 w 12192000"/>
                <a:gd name="connsiteY1832" fmla="*/ 917665 h 1608850"/>
                <a:gd name="connsiteX1833" fmla="*/ 12115716 w 12192000"/>
                <a:gd name="connsiteY1833" fmla="*/ 917665 h 1608850"/>
                <a:gd name="connsiteX1834" fmla="*/ 12115716 w 12192000"/>
                <a:gd name="connsiteY1834" fmla="*/ 918827 h 1608850"/>
                <a:gd name="connsiteX1835" fmla="*/ 12115716 w 12192000"/>
                <a:gd name="connsiteY1835" fmla="*/ 926963 h 1608850"/>
                <a:gd name="connsiteX1836" fmla="*/ 12114602 w 12192000"/>
                <a:gd name="connsiteY1836" fmla="*/ 926963 h 1608850"/>
                <a:gd name="connsiteX1837" fmla="*/ 12106800 w 12192000"/>
                <a:gd name="connsiteY1837" fmla="*/ 926963 h 1608850"/>
                <a:gd name="connsiteX1838" fmla="*/ 12106800 w 12192000"/>
                <a:gd name="connsiteY1838" fmla="*/ 927835 h 1608850"/>
                <a:gd name="connsiteX1839" fmla="*/ 12106800 w 12192000"/>
                <a:gd name="connsiteY1839" fmla="*/ 933937 h 1608850"/>
                <a:gd name="connsiteX1840" fmla="*/ 12107915 w 12192000"/>
                <a:gd name="connsiteY1840" fmla="*/ 933937 h 1608850"/>
                <a:gd name="connsiteX1841" fmla="*/ 12115716 w 12192000"/>
                <a:gd name="connsiteY1841" fmla="*/ 933937 h 1608850"/>
                <a:gd name="connsiteX1842" fmla="*/ 12115716 w 12192000"/>
                <a:gd name="connsiteY1842" fmla="*/ 935100 h 1608850"/>
                <a:gd name="connsiteX1843" fmla="*/ 12115716 w 12192000"/>
                <a:gd name="connsiteY1843" fmla="*/ 943236 h 1608850"/>
                <a:gd name="connsiteX1844" fmla="*/ 12114602 w 12192000"/>
                <a:gd name="connsiteY1844" fmla="*/ 943236 h 1608850"/>
                <a:gd name="connsiteX1845" fmla="*/ 12106800 w 12192000"/>
                <a:gd name="connsiteY1845" fmla="*/ 943236 h 1608850"/>
                <a:gd name="connsiteX1846" fmla="*/ 12106800 w 12192000"/>
                <a:gd name="connsiteY1846" fmla="*/ 944398 h 1608850"/>
                <a:gd name="connsiteX1847" fmla="*/ 12106800 w 12192000"/>
                <a:gd name="connsiteY1847" fmla="*/ 952535 h 1608850"/>
                <a:gd name="connsiteX1848" fmla="*/ 12107915 w 12192000"/>
                <a:gd name="connsiteY1848" fmla="*/ 952535 h 1608850"/>
                <a:gd name="connsiteX1849" fmla="*/ 12115716 w 12192000"/>
                <a:gd name="connsiteY1849" fmla="*/ 952535 h 1608850"/>
                <a:gd name="connsiteX1850" fmla="*/ 12115716 w 12192000"/>
                <a:gd name="connsiteY1850" fmla="*/ 953406 h 1608850"/>
                <a:gd name="connsiteX1851" fmla="*/ 12115716 w 12192000"/>
                <a:gd name="connsiteY1851" fmla="*/ 959508 h 1608850"/>
                <a:gd name="connsiteX1852" fmla="*/ 12114602 w 12192000"/>
                <a:gd name="connsiteY1852" fmla="*/ 959508 h 1608850"/>
                <a:gd name="connsiteX1853" fmla="*/ 12106800 w 12192000"/>
                <a:gd name="connsiteY1853" fmla="*/ 959508 h 1608850"/>
                <a:gd name="connsiteX1854" fmla="*/ 12106800 w 12192000"/>
                <a:gd name="connsiteY1854" fmla="*/ 960671 h 1608850"/>
                <a:gd name="connsiteX1855" fmla="*/ 12106800 w 12192000"/>
                <a:gd name="connsiteY1855" fmla="*/ 968807 h 1608850"/>
                <a:gd name="connsiteX1856" fmla="*/ 12107915 w 12192000"/>
                <a:gd name="connsiteY1856" fmla="*/ 968807 h 1608850"/>
                <a:gd name="connsiteX1857" fmla="*/ 12115716 w 12192000"/>
                <a:gd name="connsiteY1857" fmla="*/ 968807 h 1608850"/>
                <a:gd name="connsiteX1858" fmla="*/ 12115716 w 12192000"/>
                <a:gd name="connsiteY1858" fmla="*/ 969969 h 1608850"/>
                <a:gd name="connsiteX1859" fmla="*/ 12115716 w 12192000"/>
                <a:gd name="connsiteY1859" fmla="*/ 978106 h 1608850"/>
                <a:gd name="connsiteX1860" fmla="*/ 12114602 w 12192000"/>
                <a:gd name="connsiteY1860" fmla="*/ 978106 h 1608850"/>
                <a:gd name="connsiteX1861" fmla="*/ 12106800 w 12192000"/>
                <a:gd name="connsiteY1861" fmla="*/ 978106 h 1608850"/>
                <a:gd name="connsiteX1862" fmla="*/ 12106800 w 12192000"/>
                <a:gd name="connsiteY1862" fmla="*/ 979268 h 1608850"/>
                <a:gd name="connsiteX1863" fmla="*/ 12106800 w 12192000"/>
                <a:gd name="connsiteY1863" fmla="*/ 987404 h 1608850"/>
                <a:gd name="connsiteX1864" fmla="*/ 12107915 w 12192000"/>
                <a:gd name="connsiteY1864" fmla="*/ 987404 h 1608850"/>
                <a:gd name="connsiteX1865" fmla="*/ 12115716 w 12192000"/>
                <a:gd name="connsiteY1865" fmla="*/ 987404 h 1608850"/>
                <a:gd name="connsiteX1866" fmla="*/ 12115716 w 12192000"/>
                <a:gd name="connsiteY1866" fmla="*/ 988276 h 1608850"/>
                <a:gd name="connsiteX1867" fmla="*/ 12115716 w 12192000"/>
                <a:gd name="connsiteY1867" fmla="*/ 994378 h 1608850"/>
                <a:gd name="connsiteX1868" fmla="*/ 12114602 w 12192000"/>
                <a:gd name="connsiteY1868" fmla="*/ 994378 h 1608850"/>
                <a:gd name="connsiteX1869" fmla="*/ 12106800 w 12192000"/>
                <a:gd name="connsiteY1869" fmla="*/ 994378 h 1608850"/>
                <a:gd name="connsiteX1870" fmla="*/ 12106800 w 12192000"/>
                <a:gd name="connsiteY1870" fmla="*/ 995540 h 1608850"/>
                <a:gd name="connsiteX1871" fmla="*/ 12106800 w 12192000"/>
                <a:gd name="connsiteY1871" fmla="*/ 1003677 h 1608850"/>
                <a:gd name="connsiteX1872" fmla="*/ 12131319 w 12192000"/>
                <a:gd name="connsiteY1872" fmla="*/ 1024599 h 1608850"/>
                <a:gd name="connsiteX1873" fmla="*/ 12130206 w 12192000"/>
                <a:gd name="connsiteY1873" fmla="*/ 1029248 h 1608850"/>
                <a:gd name="connsiteX1874" fmla="*/ 12122403 w 12192000"/>
                <a:gd name="connsiteY1874" fmla="*/ 1029248 h 1608850"/>
                <a:gd name="connsiteX1875" fmla="*/ 12122403 w 12192000"/>
                <a:gd name="connsiteY1875" fmla="*/ 1040036 h 1608850"/>
                <a:gd name="connsiteX1876" fmla="*/ 12122403 w 12192000"/>
                <a:gd name="connsiteY1876" fmla="*/ 1046874 h 1608850"/>
                <a:gd name="connsiteX1877" fmla="*/ 12131319 w 12192000"/>
                <a:gd name="connsiteY1877" fmla="*/ 1046874 h 1608850"/>
                <a:gd name="connsiteX1878" fmla="*/ 12131319 w 12192000"/>
                <a:gd name="connsiteY1878" fmla="*/ 1043196 h 1608850"/>
                <a:gd name="connsiteX1879" fmla="*/ 12132434 w 12192000"/>
                <a:gd name="connsiteY1879" fmla="*/ 1042615 h 1608850"/>
                <a:gd name="connsiteX1880" fmla="*/ 12140235 w 12192000"/>
                <a:gd name="connsiteY1880" fmla="*/ 1038547 h 1608850"/>
                <a:gd name="connsiteX1881" fmla="*/ 12142186 w 12192000"/>
                <a:gd name="connsiteY1881" fmla="*/ 1038547 h 1608850"/>
                <a:gd name="connsiteX1882" fmla="*/ 12155839 w 12192000"/>
                <a:gd name="connsiteY1882" fmla="*/ 1038547 h 1608850"/>
                <a:gd name="connsiteX1883" fmla="*/ 12155839 w 12192000"/>
                <a:gd name="connsiteY1883" fmla="*/ 1039709 h 1608850"/>
                <a:gd name="connsiteX1884" fmla="*/ 12155839 w 12192000"/>
                <a:gd name="connsiteY1884" fmla="*/ 1046874 h 1608850"/>
                <a:gd name="connsiteX1885" fmla="*/ 12192000 w 12192000"/>
                <a:gd name="connsiteY1885" fmla="*/ 1046874 h 1608850"/>
                <a:gd name="connsiteX1886" fmla="*/ 12192000 w 12192000"/>
                <a:gd name="connsiteY1886" fmla="*/ 1070905 h 1608850"/>
                <a:gd name="connsiteX1887" fmla="*/ 12192000 w 12192000"/>
                <a:gd name="connsiteY1887" fmla="*/ 1121663 h 1608850"/>
                <a:gd name="connsiteX1888" fmla="*/ 12192000 w 12192000"/>
                <a:gd name="connsiteY1888" fmla="*/ 1608850 h 1608850"/>
                <a:gd name="connsiteX1889" fmla="*/ 0 w 12192000"/>
                <a:gd name="connsiteY1889" fmla="*/ 1608850 h 1608850"/>
                <a:gd name="connsiteX1890" fmla="*/ 0 w 12192000"/>
                <a:gd name="connsiteY1890" fmla="*/ 1046874 h 1608850"/>
                <a:gd name="connsiteX1891" fmla="*/ 65773 w 12192000"/>
                <a:gd name="connsiteY1891" fmla="*/ 1046874 h 1608850"/>
                <a:gd name="connsiteX1892" fmla="*/ 82231 w 12192000"/>
                <a:gd name="connsiteY1892" fmla="*/ 1045519 h 1608850"/>
                <a:gd name="connsiteX1893" fmla="*/ 82231 w 12192000"/>
                <a:gd name="connsiteY1893" fmla="*/ 1012974 h 1608850"/>
                <a:gd name="connsiteX1894" fmla="*/ 126811 w 12192000"/>
                <a:gd name="connsiteY1894" fmla="*/ 1012974 h 1608850"/>
                <a:gd name="connsiteX1895" fmla="*/ 126811 w 12192000"/>
                <a:gd name="connsiteY1895" fmla="*/ 994377 h 1608850"/>
                <a:gd name="connsiteX1896" fmla="*/ 220430 w 12192000"/>
                <a:gd name="connsiteY1896" fmla="*/ 994377 h 1608850"/>
                <a:gd name="connsiteX1897" fmla="*/ 220430 w 12192000"/>
                <a:gd name="connsiteY1897" fmla="*/ 1006000 h 1608850"/>
                <a:gd name="connsiteX1898" fmla="*/ 280612 w 12192000"/>
                <a:gd name="connsiteY1898" fmla="*/ 1006000 h 1608850"/>
                <a:gd name="connsiteX1899" fmla="*/ 280612 w 12192000"/>
                <a:gd name="connsiteY1899" fmla="*/ 1012974 h 1608850"/>
                <a:gd name="connsiteX1900" fmla="*/ 298444 w 12192000"/>
                <a:gd name="connsiteY1900" fmla="*/ 1012974 h 1608850"/>
                <a:gd name="connsiteX1901" fmla="*/ 298444 w 12192000"/>
                <a:gd name="connsiteY1901" fmla="*/ 1019948 h 1608850"/>
                <a:gd name="connsiteX1902" fmla="*/ 314048 w 12192000"/>
                <a:gd name="connsiteY1902" fmla="*/ 1019948 h 1608850"/>
                <a:gd name="connsiteX1903" fmla="*/ 314048 w 12192000"/>
                <a:gd name="connsiteY1903" fmla="*/ 915339 h 1608850"/>
                <a:gd name="connsiteX1904" fmla="*/ 360858 w 12192000"/>
                <a:gd name="connsiteY1904" fmla="*/ 901391 h 1608850"/>
                <a:gd name="connsiteX1905" fmla="*/ 447789 w 12192000"/>
                <a:gd name="connsiteY1905" fmla="*/ 901391 h 1608850"/>
                <a:gd name="connsiteX1906" fmla="*/ 447789 w 12192000"/>
                <a:gd name="connsiteY1906" fmla="*/ 734017 h 1608850"/>
                <a:gd name="connsiteX1907" fmla="*/ 472308 w 12192000"/>
                <a:gd name="connsiteY1907" fmla="*/ 722393 h 1608850"/>
                <a:gd name="connsiteX1908" fmla="*/ 579301 w 12192000"/>
                <a:gd name="connsiteY1908" fmla="*/ 703796 h 1608850"/>
                <a:gd name="connsiteX1909" fmla="*/ 617194 w 12192000"/>
                <a:gd name="connsiteY1909" fmla="*/ 715419 h 1608850"/>
                <a:gd name="connsiteX1910" fmla="*/ 623881 w 12192000"/>
                <a:gd name="connsiteY1910" fmla="*/ 722393 h 1608850"/>
                <a:gd name="connsiteX1911" fmla="*/ 623881 w 12192000"/>
                <a:gd name="connsiteY1911" fmla="*/ 1033896 h 1608850"/>
                <a:gd name="connsiteX1912" fmla="*/ 639484 w 12192000"/>
                <a:gd name="connsiteY1912" fmla="*/ 1033896 h 1608850"/>
                <a:gd name="connsiteX1913" fmla="*/ 639484 w 12192000"/>
                <a:gd name="connsiteY1913" fmla="*/ 908365 h 1608850"/>
                <a:gd name="connsiteX1914" fmla="*/ 652858 w 12192000"/>
                <a:gd name="connsiteY1914" fmla="*/ 908365 h 1608850"/>
                <a:gd name="connsiteX1915" fmla="*/ 652858 w 12192000"/>
                <a:gd name="connsiteY1915" fmla="*/ 896742 h 1608850"/>
                <a:gd name="connsiteX1916" fmla="*/ 666232 w 12192000"/>
                <a:gd name="connsiteY1916" fmla="*/ 889768 h 1608850"/>
                <a:gd name="connsiteX1917" fmla="*/ 677377 w 12192000"/>
                <a:gd name="connsiteY1917" fmla="*/ 889768 h 1608850"/>
                <a:gd name="connsiteX1918" fmla="*/ 677377 w 12192000"/>
                <a:gd name="connsiteY1918" fmla="*/ 878145 h 1608850"/>
                <a:gd name="connsiteX1919" fmla="*/ 686293 w 12192000"/>
                <a:gd name="connsiteY1919" fmla="*/ 871171 h 1608850"/>
                <a:gd name="connsiteX1920" fmla="*/ 708584 w 12192000"/>
                <a:gd name="connsiteY1920" fmla="*/ 871171 h 1608850"/>
                <a:gd name="connsiteX1921" fmla="*/ 708584 w 12192000"/>
                <a:gd name="connsiteY1921" fmla="*/ 908365 h 1608850"/>
                <a:gd name="connsiteX1922" fmla="*/ 755393 w 12192000"/>
                <a:gd name="connsiteY1922" fmla="*/ 908365 h 1608850"/>
                <a:gd name="connsiteX1923" fmla="*/ 755393 w 12192000"/>
                <a:gd name="connsiteY1923" fmla="*/ 1038546 h 1608850"/>
                <a:gd name="connsiteX1924" fmla="*/ 773225 w 12192000"/>
                <a:gd name="connsiteY1924" fmla="*/ 1038546 h 1608850"/>
                <a:gd name="connsiteX1925" fmla="*/ 791057 w 12192000"/>
                <a:gd name="connsiteY1925" fmla="*/ 1031572 h 1608850"/>
                <a:gd name="connsiteX1926" fmla="*/ 791057 w 12192000"/>
                <a:gd name="connsiteY1926" fmla="*/ 1022273 h 1608850"/>
                <a:gd name="connsiteX1927" fmla="*/ 784370 w 12192000"/>
                <a:gd name="connsiteY1927" fmla="*/ 1019948 h 1608850"/>
                <a:gd name="connsiteX1928" fmla="*/ 784370 w 12192000"/>
                <a:gd name="connsiteY1928" fmla="*/ 1012974 h 1608850"/>
                <a:gd name="connsiteX1929" fmla="*/ 791057 w 12192000"/>
                <a:gd name="connsiteY1929" fmla="*/ 1008325 h 1608850"/>
                <a:gd name="connsiteX1930" fmla="*/ 791057 w 12192000"/>
                <a:gd name="connsiteY1930" fmla="*/ 957183 h 1608850"/>
                <a:gd name="connsiteX1931" fmla="*/ 784370 w 12192000"/>
                <a:gd name="connsiteY1931" fmla="*/ 954858 h 1608850"/>
                <a:gd name="connsiteX1932" fmla="*/ 784370 w 12192000"/>
                <a:gd name="connsiteY1932" fmla="*/ 947884 h 1608850"/>
                <a:gd name="connsiteX1933" fmla="*/ 791057 w 12192000"/>
                <a:gd name="connsiteY1933" fmla="*/ 943235 h 1608850"/>
                <a:gd name="connsiteX1934" fmla="*/ 795515 w 12192000"/>
                <a:gd name="connsiteY1934" fmla="*/ 938586 h 1608850"/>
                <a:gd name="connsiteX1935" fmla="*/ 795515 w 12192000"/>
                <a:gd name="connsiteY1935" fmla="*/ 929287 h 1608850"/>
                <a:gd name="connsiteX1936" fmla="*/ 791057 w 12192000"/>
                <a:gd name="connsiteY1936" fmla="*/ 929287 h 1608850"/>
                <a:gd name="connsiteX1937" fmla="*/ 791057 w 12192000"/>
                <a:gd name="connsiteY1937" fmla="*/ 922313 h 1608850"/>
                <a:gd name="connsiteX1938" fmla="*/ 797744 w 12192000"/>
                <a:gd name="connsiteY1938" fmla="*/ 917664 h 1608850"/>
                <a:gd name="connsiteX1939" fmla="*/ 833408 w 12192000"/>
                <a:gd name="connsiteY1939" fmla="*/ 852574 h 1608850"/>
                <a:gd name="connsiteX1940" fmla="*/ 828950 w 12192000"/>
                <a:gd name="connsiteY1940" fmla="*/ 850249 h 1608850"/>
                <a:gd name="connsiteX1941" fmla="*/ 828950 w 12192000"/>
                <a:gd name="connsiteY1941" fmla="*/ 843275 h 1608850"/>
                <a:gd name="connsiteX1942" fmla="*/ 835637 w 12192000"/>
                <a:gd name="connsiteY1942" fmla="*/ 840950 h 1608850"/>
                <a:gd name="connsiteX1943" fmla="*/ 835637 w 12192000"/>
                <a:gd name="connsiteY1943" fmla="*/ 831652 h 1608850"/>
                <a:gd name="connsiteX1944" fmla="*/ 840095 w 12192000"/>
                <a:gd name="connsiteY1944" fmla="*/ 831652 h 1608850"/>
                <a:gd name="connsiteX1945" fmla="*/ 840095 w 12192000"/>
                <a:gd name="connsiteY1945" fmla="*/ 810730 h 1608850"/>
                <a:gd name="connsiteX1946" fmla="*/ 835637 w 12192000"/>
                <a:gd name="connsiteY1946" fmla="*/ 810730 h 1608850"/>
                <a:gd name="connsiteX1947" fmla="*/ 835637 w 12192000"/>
                <a:gd name="connsiteY1947" fmla="*/ 806081 h 1608850"/>
                <a:gd name="connsiteX1948" fmla="*/ 840095 w 12192000"/>
                <a:gd name="connsiteY1948" fmla="*/ 803756 h 1608850"/>
                <a:gd name="connsiteX1949" fmla="*/ 851240 w 12192000"/>
                <a:gd name="connsiteY1949" fmla="*/ 787483 h 1608850"/>
                <a:gd name="connsiteX1950" fmla="*/ 853469 w 12192000"/>
                <a:gd name="connsiteY1950" fmla="*/ 778185 h 1608850"/>
                <a:gd name="connsiteX1951" fmla="*/ 853469 w 12192000"/>
                <a:gd name="connsiteY1951" fmla="*/ 752614 h 1608850"/>
                <a:gd name="connsiteX1952" fmla="*/ 853748 w 12192000"/>
                <a:gd name="connsiteY1952" fmla="*/ 751742 h 1608850"/>
                <a:gd name="connsiteX1953" fmla="*/ 855698 w 12192000"/>
                <a:gd name="connsiteY1953" fmla="*/ 745640 h 1608850"/>
                <a:gd name="connsiteX1954" fmla="*/ 855977 w 12192000"/>
                <a:gd name="connsiteY1954" fmla="*/ 746512 h 1608850"/>
                <a:gd name="connsiteX1955" fmla="*/ 857927 w 12192000"/>
                <a:gd name="connsiteY1955" fmla="*/ 752614 h 1608850"/>
                <a:gd name="connsiteX1956" fmla="*/ 860156 w 12192000"/>
                <a:gd name="connsiteY1956" fmla="*/ 778185 h 1608850"/>
                <a:gd name="connsiteX1957" fmla="*/ 860156 w 12192000"/>
                <a:gd name="connsiteY1957" fmla="*/ 785159 h 1608850"/>
                <a:gd name="connsiteX1958" fmla="*/ 871302 w 12192000"/>
                <a:gd name="connsiteY1958" fmla="*/ 803756 h 1608850"/>
                <a:gd name="connsiteX1959" fmla="*/ 875760 w 12192000"/>
                <a:gd name="connsiteY1959" fmla="*/ 806081 h 1608850"/>
                <a:gd name="connsiteX1960" fmla="*/ 875760 w 12192000"/>
                <a:gd name="connsiteY1960" fmla="*/ 810730 h 1608850"/>
                <a:gd name="connsiteX1961" fmla="*/ 873531 w 12192000"/>
                <a:gd name="connsiteY1961" fmla="*/ 831652 h 1608850"/>
                <a:gd name="connsiteX1962" fmla="*/ 877989 w 12192000"/>
                <a:gd name="connsiteY1962" fmla="*/ 840950 h 1608850"/>
                <a:gd name="connsiteX1963" fmla="*/ 882447 w 12192000"/>
                <a:gd name="connsiteY1963" fmla="*/ 843275 h 1608850"/>
                <a:gd name="connsiteX1964" fmla="*/ 882447 w 12192000"/>
                <a:gd name="connsiteY1964" fmla="*/ 850249 h 1608850"/>
                <a:gd name="connsiteX1965" fmla="*/ 877989 w 12192000"/>
                <a:gd name="connsiteY1965" fmla="*/ 852574 h 1608850"/>
                <a:gd name="connsiteX1966" fmla="*/ 904180 w 12192000"/>
                <a:gd name="connsiteY1966" fmla="*/ 879888 h 1608850"/>
                <a:gd name="connsiteX1967" fmla="*/ 913070 w 12192000"/>
                <a:gd name="connsiteY1967" fmla="*/ 915339 h 1608850"/>
                <a:gd name="connsiteX1968" fmla="*/ 944859 w 12192000"/>
                <a:gd name="connsiteY1968" fmla="*/ 915339 h 1608850"/>
                <a:gd name="connsiteX1969" fmla="*/ 944859 w 12192000"/>
                <a:gd name="connsiteY1969" fmla="*/ 886329 h 1608850"/>
                <a:gd name="connsiteX1970" fmla="*/ 939475 w 12192000"/>
                <a:gd name="connsiteY1970" fmla="*/ 886329 h 1608850"/>
                <a:gd name="connsiteX1971" fmla="*/ 939475 w 12192000"/>
                <a:gd name="connsiteY1971" fmla="*/ 724196 h 1608850"/>
                <a:gd name="connsiteX1972" fmla="*/ 959742 w 12192000"/>
                <a:gd name="connsiteY1972" fmla="*/ 724196 h 1608850"/>
                <a:gd name="connsiteX1973" fmla="*/ 960249 w 12192000"/>
                <a:gd name="connsiteY1973" fmla="*/ 723115 h 1608850"/>
                <a:gd name="connsiteX1974" fmla="*/ 963795 w 12192000"/>
                <a:gd name="connsiteY1974" fmla="*/ 715549 h 1608850"/>
                <a:gd name="connsiteX1975" fmla="*/ 965569 w 12192000"/>
                <a:gd name="connsiteY1975" fmla="*/ 715819 h 1608850"/>
                <a:gd name="connsiteX1976" fmla="*/ 977982 w 12192000"/>
                <a:gd name="connsiteY1976" fmla="*/ 717710 h 1608850"/>
                <a:gd name="connsiteX1977" fmla="*/ 978489 w 12192000"/>
                <a:gd name="connsiteY1977" fmla="*/ 719062 h 1608850"/>
                <a:gd name="connsiteX1978" fmla="*/ 982035 w 12192000"/>
                <a:gd name="connsiteY1978" fmla="*/ 728519 h 1608850"/>
                <a:gd name="connsiteX1979" fmla="*/ 1008382 w 12192000"/>
                <a:gd name="connsiteY1979" fmla="*/ 730681 h 1608850"/>
                <a:gd name="connsiteX1980" fmla="*/ 1008382 w 12192000"/>
                <a:gd name="connsiteY1980" fmla="*/ 607460 h 1608850"/>
                <a:gd name="connsiteX1981" fmla="*/ 1010409 w 12192000"/>
                <a:gd name="connsiteY1981" fmla="*/ 607460 h 1608850"/>
                <a:gd name="connsiteX1982" fmla="*/ 1024597 w 12192000"/>
                <a:gd name="connsiteY1982" fmla="*/ 607460 h 1608850"/>
                <a:gd name="connsiteX1983" fmla="*/ 1024597 w 12192000"/>
                <a:gd name="connsiteY1983" fmla="*/ 471268 h 1608850"/>
                <a:gd name="connsiteX1984" fmla="*/ 1026369 w 12192000"/>
                <a:gd name="connsiteY1984" fmla="*/ 471268 h 1608850"/>
                <a:gd name="connsiteX1985" fmla="*/ 1038783 w 12192000"/>
                <a:gd name="connsiteY1985" fmla="*/ 471268 h 1608850"/>
                <a:gd name="connsiteX1986" fmla="*/ 1038783 w 12192000"/>
                <a:gd name="connsiteY1986" fmla="*/ 356694 h 1608850"/>
                <a:gd name="connsiteX1987" fmla="*/ 1042837 w 12192000"/>
                <a:gd name="connsiteY1987" fmla="*/ 328590 h 1608850"/>
                <a:gd name="connsiteX1988" fmla="*/ 1044863 w 12192000"/>
                <a:gd name="connsiteY1988" fmla="*/ 328590 h 1608850"/>
                <a:gd name="connsiteX1989" fmla="*/ 1059050 w 12192000"/>
                <a:gd name="connsiteY1989" fmla="*/ 328590 h 1608850"/>
                <a:gd name="connsiteX1990" fmla="*/ 1095531 w 12192000"/>
                <a:gd name="connsiteY1990" fmla="*/ 246443 h 1608850"/>
                <a:gd name="connsiteX1991" fmla="*/ 1099585 w 12192000"/>
                <a:gd name="connsiteY1991" fmla="*/ 0 h 160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</a:cxnLst>
              <a:rect l="l" t="t" r="r" b="b"/>
              <a:pathLst>
                <a:path w="12192000" h="1608850">
                  <a:moveTo>
                    <a:pt x="8760317" y="780798"/>
                  </a:moveTo>
                  <a:lnTo>
                    <a:pt x="8760317" y="785159"/>
                  </a:lnTo>
                  <a:lnTo>
                    <a:pt x="8761882" y="787771"/>
                  </a:lnTo>
                  <a:lnTo>
                    <a:pt x="8762996" y="787771"/>
                  </a:lnTo>
                  <a:cubicBezTo>
                    <a:pt x="8762996" y="787771"/>
                    <a:pt x="8762996" y="787771"/>
                    <a:pt x="8762996" y="786900"/>
                  </a:cubicBezTo>
                  <a:lnTo>
                    <a:pt x="8762996" y="780798"/>
                  </a:lnTo>
                  <a:cubicBezTo>
                    <a:pt x="8762996" y="780798"/>
                    <a:pt x="8762996" y="780798"/>
                    <a:pt x="8761881" y="780798"/>
                  </a:cubicBezTo>
                  <a:close/>
                  <a:moveTo>
                    <a:pt x="8758924" y="762200"/>
                  </a:moveTo>
                  <a:lnTo>
                    <a:pt x="8759734" y="771499"/>
                  </a:lnTo>
                  <a:lnTo>
                    <a:pt x="8762996" y="771499"/>
                  </a:lnTo>
                  <a:cubicBezTo>
                    <a:pt x="8762996" y="771499"/>
                    <a:pt x="8762996" y="771499"/>
                    <a:pt x="8762996" y="770337"/>
                  </a:cubicBezTo>
                  <a:lnTo>
                    <a:pt x="8762996" y="762200"/>
                  </a:lnTo>
                  <a:cubicBezTo>
                    <a:pt x="8762996" y="762200"/>
                    <a:pt x="8762996" y="762200"/>
                    <a:pt x="8761881" y="762200"/>
                  </a:cubicBezTo>
                  <a:close/>
                  <a:moveTo>
                    <a:pt x="8755951" y="745928"/>
                  </a:moveTo>
                  <a:lnTo>
                    <a:pt x="8756137" y="746512"/>
                  </a:lnTo>
                  <a:lnTo>
                    <a:pt x="8758088" y="752614"/>
                  </a:lnTo>
                  <a:lnTo>
                    <a:pt x="8758113" y="752902"/>
                  </a:lnTo>
                  <a:lnTo>
                    <a:pt x="8762996" y="752902"/>
                  </a:lnTo>
                  <a:cubicBezTo>
                    <a:pt x="8762996" y="752902"/>
                    <a:pt x="8762996" y="752902"/>
                    <a:pt x="8762996" y="752030"/>
                  </a:cubicBezTo>
                  <a:lnTo>
                    <a:pt x="8762996" y="745928"/>
                  </a:lnTo>
                  <a:cubicBezTo>
                    <a:pt x="8762996" y="745928"/>
                    <a:pt x="8762996" y="745928"/>
                    <a:pt x="8761881" y="745928"/>
                  </a:cubicBezTo>
                  <a:close/>
                  <a:moveTo>
                    <a:pt x="8907881" y="718032"/>
                  </a:moveTo>
                  <a:cubicBezTo>
                    <a:pt x="8907881" y="718032"/>
                    <a:pt x="8907881" y="718032"/>
                    <a:pt x="8907881" y="719194"/>
                  </a:cubicBezTo>
                  <a:lnTo>
                    <a:pt x="8907881" y="727331"/>
                  </a:lnTo>
                  <a:lnTo>
                    <a:pt x="8908543" y="727331"/>
                  </a:lnTo>
                  <a:lnTo>
                    <a:pt x="8908543" y="718032"/>
                  </a:lnTo>
                  <a:close/>
                  <a:moveTo>
                    <a:pt x="1099585" y="0"/>
                  </a:moveTo>
                  <a:cubicBezTo>
                    <a:pt x="1099585" y="18"/>
                    <a:pt x="1099601" y="2040"/>
                    <a:pt x="1101611" y="246443"/>
                  </a:cubicBezTo>
                  <a:cubicBezTo>
                    <a:pt x="1101623" y="246467"/>
                    <a:pt x="1102267" y="247808"/>
                    <a:pt x="1140117" y="326429"/>
                  </a:cubicBezTo>
                  <a:cubicBezTo>
                    <a:pt x="1140125" y="326429"/>
                    <a:pt x="1140236" y="326429"/>
                    <a:pt x="1142145" y="326429"/>
                  </a:cubicBezTo>
                  <a:lnTo>
                    <a:pt x="1156331" y="326429"/>
                  </a:lnTo>
                  <a:cubicBezTo>
                    <a:pt x="1156331" y="326443"/>
                    <a:pt x="1156331" y="327005"/>
                    <a:pt x="1156331" y="350208"/>
                  </a:cubicBezTo>
                  <a:cubicBezTo>
                    <a:pt x="1156333" y="350214"/>
                    <a:pt x="1156371" y="350272"/>
                    <a:pt x="1156839" y="351019"/>
                  </a:cubicBezTo>
                  <a:lnTo>
                    <a:pt x="1160385" y="356694"/>
                  </a:lnTo>
                  <a:cubicBezTo>
                    <a:pt x="1160385" y="356714"/>
                    <a:pt x="1160385" y="358229"/>
                    <a:pt x="1160385" y="471268"/>
                  </a:cubicBezTo>
                  <a:cubicBezTo>
                    <a:pt x="1160393" y="471268"/>
                    <a:pt x="1160533" y="471268"/>
                    <a:pt x="1162664" y="471268"/>
                  </a:cubicBezTo>
                  <a:lnTo>
                    <a:pt x="1178625" y="471268"/>
                  </a:lnTo>
                  <a:cubicBezTo>
                    <a:pt x="1178625" y="471288"/>
                    <a:pt x="1178625" y="472923"/>
                    <a:pt x="1178625" y="611783"/>
                  </a:cubicBezTo>
                  <a:cubicBezTo>
                    <a:pt x="1178635" y="611782"/>
                    <a:pt x="1178747" y="611761"/>
                    <a:pt x="1180145" y="611513"/>
                  </a:cubicBezTo>
                  <a:lnTo>
                    <a:pt x="1190785" y="609622"/>
                  </a:lnTo>
                  <a:cubicBezTo>
                    <a:pt x="1190785" y="609644"/>
                    <a:pt x="1190755" y="610978"/>
                    <a:pt x="1188759" y="698254"/>
                  </a:cubicBezTo>
                  <a:cubicBezTo>
                    <a:pt x="1188769" y="698256"/>
                    <a:pt x="1188879" y="698276"/>
                    <a:pt x="1190279" y="698525"/>
                  </a:cubicBezTo>
                  <a:lnTo>
                    <a:pt x="1200919" y="700416"/>
                  </a:lnTo>
                  <a:cubicBezTo>
                    <a:pt x="1200921" y="700423"/>
                    <a:pt x="1200941" y="700487"/>
                    <a:pt x="1201171" y="701227"/>
                  </a:cubicBezTo>
                  <a:lnTo>
                    <a:pt x="1202945" y="706902"/>
                  </a:lnTo>
                  <a:cubicBezTo>
                    <a:pt x="1202947" y="706893"/>
                    <a:pt x="1202993" y="706750"/>
                    <a:pt x="1203705" y="704470"/>
                  </a:cubicBezTo>
                  <a:lnTo>
                    <a:pt x="1209025" y="687446"/>
                  </a:lnTo>
                  <a:cubicBezTo>
                    <a:pt x="1209032" y="687446"/>
                    <a:pt x="1209133" y="687446"/>
                    <a:pt x="1210799" y="687446"/>
                  </a:cubicBezTo>
                  <a:lnTo>
                    <a:pt x="1223212" y="687446"/>
                  </a:lnTo>
                  <a:cubicBezTo>
                    <a:pt x="1223212" y="687463"/>
                    <a:pt x="1223212" y="688156"/>
                    <a:pt x="1223212" y="719872"/>
                  </a:cubicBezTo>
                  <a:cubicBezTo>
                    <a:pt x="1223219" y="719877"/>
                    <a:pt x="1223295" y="719917"/>
                    <a:pt x="1224225" y="720413"/>
                  </a:cubicBezTo>
                  <a:lnTo>
                    <a:pt x="1231319" y="724196"/>
                  </a:lnTo>
                  <a:cubicBezTo>
                    <a:pt x="1231319" y="724205"/>
                    <a:pt x="1231319" y="724306"/>
                    <a:pt x="1231319" y="725547"/>
                  </a:cubicBezTo>
                  <a:lnTo>
                    <a:pt x="1231319" y="735005"/>
                  </a:lnTo>
                  <a:cubicBezTo>
                    <a:pt x="1231339" y="735005"/>
                    <a:pt x="1232247" y="735005"/>
                    <a:pt x="1275907" y="735005"/>
                  </a:cubicBezTo>
                  <a:cubicBezTo>
                    <a:pt x="1275907" y="735013"/>
                    <a:pt x="1275907" y="735096"/>
                    <a:pt x="1275907" y="736086"/>
                  </a:cubicBezTo>
                  <a:lnTo>
                    <a:pt x="1275907" y="743652"/>
                  </a:lnTo>
                  <a:cubicBezTo>
                    <a:pt x="1275915" y="743652"/>
                    <a:pt x="1276037" y="743652"/>
                    <a:pt x="1277933" y="743652"/>
                  </a:cubicBezTo>
                  <a:lnTo>
                    <a:pt x="1292119" y="743652"/>
                  </a:lnTo>
                  <a:cubicBezTo>
                    <a:pt x="1292119" y="743634"/>
                    <a:pt x="1292119" y="742905"/>
                    <a:pt x="1292119" y="713387"/>
                  </a:cubicBezTo>
                  <a:cubicBezTo>
                    <a:pt x="1292141" y="713387"/>
                    <a:pt x="1293071" y="713387"/>
                    <a:pt x="1336706" y="713387"/>
                  </a:cubicBezTo>
                  <a:cubicBezTo>
                    <a:pt x="1336706" y="713379"/>
                    <a:pt x="1336706" y="713282"/>
                    <a:pt x="1336706" y="712036"/>
                  </a:cubicBezTo>
                  <a:lnTo>
                    <a:pt x="1336706" y="702578"/>
                  </a:lnTo>
                  <a:cubicBezTo>
                    <a:pt x="1336713" y="702578"/>
                    <a:pt x="1336787" y="702578"/>
                    <a:pt x="1337721" y="702578"/>
                  </a:cubicBezTo>
                  <a:lnTo>
                    <a:pt x="1344813" y="702578"/>
                  </a:lnTo>
                  <a:cubicBezTo>
                    <a:pt x="1344813" y="702571"/>
                    <a:pt x="1344813" y="702458"/>
                    <a:pt x="1344813" y="700687"/>
                  </a:cubicBezTo>
                  <a:lnTo>
                    <a:pt x="1344813" y="687446"/>
                  </a:lnTo>
                  <a:cubicBezTo>
                    <a:pt x="1344823" y="687446"/>
                    <a:pt x="1344895" y="687446"/>
                    <a:pt x="1345573" y="687446"/>
                  </a:cubicBezTo>
                  <a:lnTo>
                    <a:pt x="1350893" y="687446"/>
                  </a:lnTo>
                  <a:cubicBezTo>
                    <a:pt x="1350893" y="687439"/>
                    <a:pt x="1350893" y="687354"/>
                    <a:pt x="1350893" y="686365"/>
                  </a:cubicBezTo>
                  <a:lnTo>
                    <a:pt x="1350893" y="678798"/>
                  </a:lnTo>
                  <a:cubicBezTo>
                    <a:pt x="1350901" y="678798"/>
                    <a:pt x="1351025" y="678798"/>
                    <a:pt x="1352921" y="678798"/>
                  </a:cubicBezTo>
                  <a:lnTo>
                    <a:pt x="1367107" y="678798"/>
                  </a:lnTo>
                  <a:cubicBezTo>
                    <a:pt x="1367107" y="678805"/>
                    <a:pt x="1367107" y="678882"/>
                    <a:pt x="1367107" y="679879"/>
                  </a:cubicBezTo>
                  <a:lnTo>
                    <a:pt x="1367107" y="687446"/>
                  </a:lnTo>
                  <a:cubicBezTo>
                    <a:pt x="1367119" y="687446"/>
                    <a:pt x="1367619" y="687446"/>
                    <a:pt x="1389401" y="687446"/>
                  </a:cubicBezTo>
                  <a:cubicBezTo>
                    <a:pt x="1389401" y="687438"/>
                    <a:pt x="1389401" y="687324"/>
                    <a:pt x="1389401" y="685554"/>
                  </a:cubicBezTo>
                  <a:lnTo>
                    <a:pt x="1389401" y="672313"/>
                  </a:lnTo>
                  <a:cubicBezTo>
                    <a:pt x="1389407" y="672313"/>
                    <a:pt x="1389503" y="672313"/>
                    <a:pt x="1391174" y="672313"/>
                  </a:cubicBezTo>
                  <a:lnTo>
                    <a:pt x="1403587" y="672313"/>
                  </a:lnTo>
                  <a:cubicBezTo>
                    <a:pt x="1403587" y="672325"/>
                    <a:pt x="1403587" y="672839"/>
                    <a:pt x="1403587" y="696093"/>
                  </a:cubicBezTo>
                  <a:cubicBezTo>
                    <a:pt x="1403595" y="696093"/>
                    <a:pt x="1403675" y="696093"/>
                    <a:pt x="1404601" y="696093"/>
                  </a:cubicBezTo>
                  <a:lnTo>
                    <a:pt x="1411695" y="696093"/>
                  </a:lnTo>
                  <a:cubicBezTo>
                    <a:pt x="1411695" y="696087"/>
                    <a:pt x="1411695" y="696006"/>
                    <a:pt x="1411695" y="695012"/>
                  </a:cubicBezTo>
                  <a:lnTo>
                    <a:pt x="1411695" y="687446"/>
                  </a:lnTo>
                  <a:cubicBezTo>
                    <a:pt x="1411703" y="687446"/>
                    <a:pt x="1411821" y="687446"/>
                    <a:pt x="1413467" y="687446"/>
                  </a:cubicBezTo>
                  <a:lnTo>
                    <a:pt x="1425881" y="687446"/>
                  </a:lnTo>
                  <a:cubicBezTo>
                    <a:pt x="1425881" y="687459"/>
                    <a:pt x="1425881" y="688018"/>
                    <a:pt x="1425881" y="713387"/>
                  </a:cubicBezTo>
                  <a:cubicBezTo>
                    <a:pt x="1425889" y="713387"/>
                    <a:pt x="1426007" y="713387"/>
                    <a:pt x="1427909" y="713387"/>
                  </a:cubicBezTo>
                  <a:lnTo>
                    <a:pt x="1442095" y="713387"/>
                  </a:lnTo>
                  <a:cubicBezTo>
                    <a:pt x="1442095" y="713398"/>
                    <a:pt x="1442095" y="713513"/>
                    <a:pt x="1442095" y="715008"/>
                  </a:cubicBezTo>
                  <a:lnTo>
                    <a:pt x="1442095" y="726358"/>
                  </a:lnTo>
                  <a:cubicBezTo>
                    <a:pt x="1442103" y="726358"/>
                    <a:pt x="1442173" y="726358"/>
                    <a:pt x="1442855" y="726358"/>
                  </a:cubicBezTo>
                  <a:lnTo>
                    <a:pt x="1448175" y="726358"/>
                  </a:lnTo>
                  <a:cubicBezTo>
                    <a:pt x="1448175" y="726350"/>
                    <a:pt x="1448175" y="726274"/>
                    <a:pt x="1448175" y="725547"/>
                  </a:cubicBezTo>
                  <a:lnTo>
                    <a:pt x="1448175" y="719872"/>
                  </a:lnTo>
                  <a:cubicBezTo>
                    <a:pt x="1448193" y="719872"/>
                    <a:pt x="1448911" y="719872"/>
                    <a:pt x="1478575" y="719872"/>
                  </a:cubicBezTo>
                  <a:cubicBezTo>
                    <a:pt x="1478575" y="719886"/>
                    <a:pt x="1478575" y="720449"/>
                    <a:pt x="1478575" y="743652"/>
                  </a:cubicBezTo>
                  <a:cubicBezTo>
                    <a:pt x="1478583" y="743652"/>
                    <a:pt x="1478661" y="743652"/>
                    <a:pt x="1479589" y="743652"/>
                  </a:cubicBezTo>
                  <a:lnTo>
                    <a:pt x="1486683" y="743652"/>
                  </a:lnTo>
                  <a:cubicBezTo>
                    <a:pt x="1486683" y="743659"/>
                    <a:pt x="1486683" y="743732"/>
                    <a:pt x="1486683" y="744733"/>
                  </a:cubicBezTo>
                  <a:lnTo>
                    <a:pt x="1486683" y="752299"/>
                  </a:lnTo>
                  <a:cubicBezTo>
                    <a:pt x="1486691" y="752299"/>
                    <a:pt x="1486765" y="752299"/>
                    <a:pt x="1487443" y="752299"/>
                  </a:cubicBezTo>
                  <a:lnTo>
                    <a:pt x="1492763" y="752299"/>
                  </a:lnTo>
                  <a:cubicBezTo>
                    <a:pt x="1492763" y="752292"/>
                    <a:pt x="1492763" y="752172"/>
                    <a:pt x="1492763" y="750137"/>
                  </a:cubicBezTo>
                  <a:lnTo>
                    <a:pt x="1492763" y="735005"/>
                  </a:lnTo>
                  <a:cubicBezTo>
                    <a:pt x="1492769" y="735005"/>
                    <a:pt x="1492847" y="735005"/>
                    <a:pt x="1493775" y="735005"/>
                  </a:cubicBezTo>
                  <a:lnTo>
                    <a:pt x="1500869" y="735005"/>
                  </a:lnTo>
                  <a:cubicBezTo>
                    <a:pt x="1500869" y="735013"/>
                    <a:pt x="1500869" y="735096"/>
                    <a:pt x="1500869" y="736086"/>
                  </a:cubicBezTo>
                  <a:lnTo>
                    <a:pt x="1500869" y="743652"/>
                  </a:lnTo>
                  <a:lnTo>
                    <a:pt x="1506189" y="741659"/>
                  </a:lnTo>
                  <a:cubicBezTo>
                    <a:pt x="1506949" y="741287"/>
                    <a:pt x="1506949" y="741085"/>
                    <a:pt x="1506949" y="740679"/>
                  </a:cubicBezTo>
                  <a:lnTo>
                    <a:pt x="1506949" y="735005"/>
                  </a:lnTo>
                  <a:cubicBezTo>
                    <a:pt x="1506966" y="735005"/>
                    <a:pt x="1507767" y="735005"/>
                    <a:pt x="1545457" y="735005"/>
                  </a:cubicBezTo>
                  <a:cubicBezTo>
                    <a:pt x="1545457" y="735019"/>
                    <a:pt x="1545457" y="735566"/>
                    <a:pt x="1545457" y="758784"/>
                  </a:cubicBezTo>
                  <a:cubicBezTo>
                    <a:pt x="1545464" y="758784"/>
                    <a:pt x="1545583" y="758784"/>
                    <a:pt x="1547483" y="758784"/>
                  </a:cubicBezTo>
                  <a:lnTo>
                    <a:pt x="1561669" y="758784"/>
                  </a:lnTo>
                  <a:cubicBezTo>
                    <a:pt x="1561669" y="758792"/>
                    <a:pt x="1561669" y="758874"/>
                    <a:pt x="1561669" y="759865"/>
                  </a:cubicBezTo>
                  <a:lnTo>
                    <a:pt x="1561669" y="767431"/>
                  </a:lnTo>
                  <a:cubicBezTo>
                    <a:pt x="1561679" y="767431"/>
                    <a:pt x="1561801" y="767431"/>
                    <a:pt x="1563443" y="767431"/>
                  </a:cubicBezTo>
                  <a:lnTo>
                    <a:pt x="1575857" y="767431"/>
                  </a:lnTo>
                  <a:cubicBezTo>
                    <a:pt x="1575857" y="767419"/>
                    <a:pt x="1575857" y="766908"/>
                    <a:pt x="1575857" y="743652"/>
                  </a:cubicBezTo>
                  <a:cubicBezTo>
                    <a:pt x="1575863" y="743652"/>
                    <a:pt x="1575941" y="743652"/>
                    <a:pt x="1576869" y="743652"/>
                  </a:cubicBezTo>
                  <a:lnTo>
                    <a:pt x="1583963" y="743652"/>
                  </a:lnTo>
                  <a:cubicBezTo>
                    <a:pt x="1583963" y="743633"/>
                    <a:pt x="1583963" y="742862"/>
                    <a:pt x="1583963" y="711225"/>
                  </a:cubicBezTo>
                  <a:cubicBezTo>
                    <a:pt x="1583971" y="711225"/>
                    <a:pt x="1584047" y="711225"/>
                    <a:pt x="1584977" y="711225"/>
                  </a:cubicBezTo>
                  <a:lnTo>
                    <a:pt x="1592071" y="711225"/>
                  </a:lnTo>
                  <a:cubicBezTo>
                    <a:pt x="1592071" y="711219"/>
                    <a:pt x="1592071" y="711110"/>
                    <a:pt x="1592071" y="709334"/>
                  </a:cubicBezTo>
                  <a:lnTo>
                    <a:pt x="1592071" y="696093"/>
                  </a:lnTo>
                  <a:cubicBezTo>
                    <a:pt x="1590043" y="696093"/>
                    <a:pt x="1590043" y="696093"/>
                    <a:pt x="1590803" y="694471"/>
                  </a:cubicBezTo>
                  <a:lnTo>
                    <a:pt x="1596123" y="683122"/>
                  </a:lnTo>
                  <a:cubicBezTo>
                    <a:pt x="1596129" y="683139"/>
                    <a:pt x="1596323" y="683813"/>
                    <a:pt x="1604231" y="711225"/>
                  </a:cubicBezTo>
                  <a:cubicBezTo>
                    <a:pt x="1604239" y="711225"/>
                    <a:pt x="1604311" y="711225"/>
                    <a:pt x="1604991" y="711225"/>
                  </a:cubicBezTo>
                  <a:lnTo>
                    <a:pt x="1610311" y="711225"/>
                  </a:lnTo>
                  <a:cubicBezTo>
                    <a:pt x="1610311" y="711212"/>
                    <a:pt x="1610311" y="710033"/>
                    <a:pt x="1610311" y="605298"/>
                  </a:cubicBezTo>
                  <a:cubicBezTo>
                    <a:pt x="1610321" y="605298"/>
                    <a:pt x="1610435" y="605298"/>
                    <a:pt x="1611831" y="605298"/>
                  </a:cubicBezTo>
                  <a:lnTo>
                    <a:pt x="1622471" y="605298"/>
                  </a:lnTo>
                  <a:cubicBezTo>
                    <a:pt x="1622471" y="605276"/>
                    <a:pt x="1622471" y="604266"/>
                    <a:pt x="1622471" y="557739"/>
                  </a:cubicBezTo>
                  <a:cubicBezTo>
                    <a:pt x="1622487" y="557739"/>
                    <a:pt x="1623113" y="557739"/>
                    <a:pt x="1648817" y="557739"/>
                  </a:cubicBezTo>
                  <a:cubicBezTo>
                    <a:pt x="1648817" y="557727"/>
                    <a:pt x="1648817" y="557217"/>
                    <a:pt x="1648817" y="536121"/>
                  </a:cubicBezTo>
                  <a:cubicBezTo>
                    <a:pt x="1648837" y="536121"/>
                    <a:pt x="1649625" y="536121"/>
                    <a:pt x="1683271" y="536121"/>
                  </a:cubicBezTo>
                  <a:cubicBezTo>
                    <a:pt x="1683271" y="536129"/>
                    <a:pt x="1683271" y="536259"/>
                    <a:pt x="1683271" y="538553"/>
                  </a:cubicBezTo>
                  <a:lnTo>
                    <a:pt x="1683271" y="555577"/>
                  </a:lnTo>
                  <a:cubicBezTo>
                    <a:pt x="1683281" y="555577"/>
                    <a:pt x="1683411" y="555577"/>
                    <a:pt x="1685551" y="555577"/>
                  </a:cubicBezTo>
                  <a:lnTo>
                    <a:pt x="1701511" y="555577"/>
                  </a:lnTo>
                  <a:cubicBezTo>
                    <a:pt x="1701511" y="555595"/>
                    <a:pt x="1701511" y="556489"/>
                    <a:pt x="1701511" y="603136"/>
                  </a:cubicBezTo>
                  <a:cubicBezTo>
                    <a:pt x="1701517" y="603136"/>
                    <a:pt x="1701593" y="603136"/>
                    <a:pt x="1702525" y="603136"/>
                  </a:cubicBezTo>
                  <a:lnTo>
                    <a:pt x="1709619" y="603136"/>
                  </a:lnTo>
                  <a:lnTo>
                    <a:pt x="1723805" y="607460"/>
                  </a:lnTo>
                  <a:cubicBezTo>
                    <a:pt x="1723805" y="607470"/>
                    <a:pt x="1723805" y="608120"/>
                    <a:pt x="1723805" y="646372"/>
                  </a:cubicBezTo>
                  <a:cubicBezTo>
                    <a:pt x="1723811" y="646372"/>
                    <a:pt x="1723887" y="646372"/>
                    <a:pt x="1724819" y="646372"/>
                  </a:cubicBezTo>
                  <a:lnTo>
                    <a:pt x="1731911" y="646372"/>
                  </a:lnTo>
                  <a:cubicBezTo>
                    <a:pt x="1731911" y="646382"/>
                    <a:pt x="1731911" y="646488"/>
                    <a:pt x="1731911" y="647993"/>
                  </a:cubicBezTo>
                  <a:lnTo>
                    <a:pt x="1731911" y="659342"/>
                  </a:lnTo>
                  <a:cubicBezTo>
                    <a:pt x="1731919" y="659342"/>
                    <a:pt x="1732043" y="659342"/>
                    <a:pt x="1733939" y="659342"/>
                  </a:cubicBezTo>
                  <a:lnTo>
                    <a:pt x="1748125" y="659342"/>
                  </a:lnTo>
                  <a:lnTo>
                    <a:pt x="1754205" y="665828"/>
                  </a:lnTo>
                  <a:cubicBezTo>
                    <a:pt x="1754205" y="665840"/>
                    <a:pt x="1754205" y="666326"/>
                    <a:pt x="1754205" y="687446"/>
                  </a:cubicBezTo>
                  <a:cubicBezTo>
                    <a:pt x="1754214" y="687446"/>
                    <a:pt x="1754345" y="687446"/>
                    <a:pt x="1756485" y="687446"/>
                  </a:cubicBezTo>
                  <a:lnTo>
                    <a:pt x="1772445" y="687446"/>
                  </a:lnTo>
                  <a:cubicBezTo>
                    <a:pt x="1772445" y="687453"/>
                    <a:pt x="1772445" y="687533"/>
                    <a:pt x="1772445" y="688526"/>
                  </a:cubicBezTo>
                  <a:lnTo>
                    <a:pt x="1772445" y="696093"/>
                  </a:lnTo>
                  <a:cubicBezTo>
                    <a:pt x="1772455" y="696093"/>
                    <a:pt x="1772553" y="696093"/>
                    <a:pt x="1773713" y="696093"/>
                  </a:cubicBezTo>
                  <a:lnTo>
                    <a:pt x="1782579" y="696093"/>
                  </a:lnTo>
                  <a:cubicBezTo>
                    <a:pt x="1782579" y="696102"/>
                    <a:pt x="1782579" y="696231"/>
                    <a:pt x="1782579" y="698254"/>
                  </a:cubicBezTo>
                  <a:lnTo>
                    <a:pt x="1782579" y="713387"/>
                  </a:lnTo>
                  <a:cubicBezTo>
                    <a:pt x="1786633" y="713387"/>
                    <a:pt x="1786633" y="713387"/>
                    <a:pt x="1786633" y="711495"/>
                  </a:cubicBezTo>
                  <a:lnTo>
                    <a:pt x="1786633" y="698254"/>
                  </a:lnTo>
                  <a:cubicBezTo>
                    <a:pt x="1786639" y="698254"/>
                    <a:pt x="1786716" y="698254"/>
                    <a:pt x="1787645" y="698254"/>
                  </a:cubicBezTo>
                  <a:lnTo>
                    <a:pt x="1794739" y="698254"/>
                  </a:lnTo>
                  <a:cubicBezTo>
                    <a:pt x="1794739" y="698265"/>
                    <a:pt x="1794739" y="698384"/>
                    <a:pt x="1794739" y="699876"/>
                  </a:cubicBezTo>
                  <a:lnTo>
                    <a:pt x="1794739" y="711225"/>
                  </a:lnTo>
                  <a:cubicBezTo>
                    <a:pt x="1794749" y="711225"/>
                    <a:pt x="1794821" y="711225"/>
                    <a:pt x="1795499" y="711225"/>
                  </a:cubicBezTo>
                  <a:lnTo>
                    <a:pt x="1800819" y="711225"/>
                  </a:lnTo>
                  <a:cubicBezTo>
                    <a:pt x="1800819" y="706902"/>
                    <a:pt x="1800819" y="706902"/>
                    <a:pt x="1849459" y="706902"/>
                  </a:cubicBezTo>
                  <a:cubicBezTo>
                    <a:pt x="1849459" y="706911"/>
                    <a:pt x="1849459" y="707012"/>
                    <a:pt x="1849459" y="708253"/>
                  </a:cubicBezTo>
                  <a:lnTo>
                    <a:pt x="1849459" y="717710"/>
                  </a:lnTo>
                  <a:cubicBezTo>
                    <a:pt x="1849467" y="717710"/>
                    <a:pt x="1849543" y="717710"/>
                    <a:pt x="1850219" y="717710"/>
                  </a:cubicBezTo>
                  <a:lnTo>
                    <a:pt x="1855541" y="717710"/>
                  </a:lnTo>
                  <a:cubicBezTo>
                    <a:pt x="1855541" y="717719"/>
                    <a:pt x="1855541" y="717841"/>
                    <a:pt x="1855541" y="719872"/>
                  </a:cubicBezTo>
                  <a:lnTo>
                    <a:pt x="1855541" y="735005"/>
                  </a:lnTo>
                  <a:cubicBezTo>
                    <a:pt x="1855549" y="735001"/>
                    <a:pt x="1855665" y="734923"/>
                    <a:pt x="1857567" y="733654"/>
                  </a:cubicBezTo>
                  <a:lnTo>
                    <a:pt x="1871753" y="724196"/>
                  </a:lnTo>
                  <a:cubicBezTo>
                    <a:pt x="1871755" y="724177"/>
                    <a:pt x="1871887" y="723302"/>
                    <a:pt x="1877833" y="683122"/>
                  </a:cubicBezTo>
                  <a:cubicBezTo>
                    <a:pt x="1877843" y="683120"/>
                    <a:pt x="1877911" y="683094"/>
                    <a:pt x="1878593" y="682852"/>
                  </a:cubicBezTo>
                  <a:lnTo>
                    <a:pt x="1883913" y="680960"/>
                  </a:lnTo>
                  <a:cubicBezTo>
                    <a:pt x="1883913" y="680944"/>
                    <a:pt x="1883947" y="679883"/>
                    <a:pt x="1885941" y="611783"/>
                  </a:cubicBezTo>
                  <a:cubicBezTo>
                    <a:pt x="1885941" y="611801"/>
                    <a:pt x="1885973" y="612892"/>
                    <a:pt x="1887967" y="680960"/>
                  </a:cubicBezTo>
                  <a:cubicBezTo>
                    <a:pt x="1887977" y="680963"/>
                    <a:pt x="1888047" y="680988"/>
                    <a:pt x="1888727" y="681230"/>
                  </a:cubicBezTo>
                  <a:lnTo>
                    <a:pt x="1894047" y="683122"/>
                  </a:lnTo>
                  <a:cubicBezTo>
                    <a:pt x="1894047" y="683102"/>
                    <a:pt x="1894047" y="681769"/>
                    <a:pt x="1894047" y="596651"/>
                  </a:cubicBezTo>
                  <a:cubicBezTo>
                    <a:pt x="1898101" y="596651"/>
                    <a:pt x="1898101" y="596651"/>
                    <a:pt x="1898101" y="564224"/>
                  </a:cubicBezTo>
                  <a:cubicBezTo>
                    <a:pt x="1898113" y="564224"/>
                    <a:pt x="1898799" y="564224"/>
                    <a:pt x="1936607" y="564224"/>
                  </a:cubicBezTo>
                  <a:cubicBezTo>
                    <a:pt x="1936607" y="564241"/>
                    <a:pt x="1936607" y="564959"/>
                    <a:pt x="1936607" y="596651"/>
                  </a:cubicBezTo>
                  <a:cubicBezTo>
                    <a:pt x="1936617" y="596651"/>
                    <a:pt x="1936689" y="596651"/>
                    <a:pt x="1937367" y="596651"/>
                  </a:cubicBezTo>
                  <a:lnTo>
                    <a:pt x="1942687" y="596651"/>
                  </a:lnTo>
                  <a:cubicBezTo>
                    <a:pt x="1942687" y="596630"/>
                    <a:pt x="1942687" y="595324"/>
                    <a:pt x="1942687" y="514503"/>
                  </a:cubicBezTo>
                  <a:cubicBezTo>
                    <a:pt x="1942693" y="514503"/>
                    <a:pt x="1942793" y="514503"/>
                    <a:pt x="1944461" y="514503"/>
                  </a:cubicBezTo>
                  <a:lnTo>
                    <a:pt x="1956875" y="514503"/>
                  </a:lnTo>
                  <a:cubicBezTo>
                    <a:pt x="1956875" y="514496"/>
                    <a:pt x="1956875" y="514385"/>
                    <a:pt x="1956875" y="512612"/>
                  </a:cubicBezTo>
                  <a:lnTo>
                    <a:pt x="1956875" y="499371"/>
                  </a:lnTo>
                  <a:cubicBezTo>
                    <a:pt x="1956885" y="499371"/>
                    <a:pt x="1957383" y="499371"/>
                    <a:pt x="1979169" y="499371"/>
                  </a:cubicBezTo>
                  <a:cubicBezTo>
                    <a:pt x="1979169" y="499364"/>
                    <a:pt x="1979169" y="499283"/>
                    <a:pt x="1979169" y="498290"/>
                  </a:cubicBezTo>
                  <a:lnTo>
                    <a:pt x="1979169" y="490724"/>
                  </a:lnTo>
                  <a:cubicBezTo>
                    <a:pt x="1979175" y="490724"/>
                    <a:pt x="1979285" y="490724"/>
                    <a:pt x="1980941" y="490724"/>
                  </a:cubicBezTo>
                  <a:lnTo>
                    <a:pt x="1993355" y="490724"/>
                  </a:lnTo>
                  <a:cubicBezTo>
                    <a:pt x="1993355" y="490732"/>
                    <a:pt x="1993355" y="490811"/>
                    <a:pt x="1993355" y="491805"/>
                  </a:cubicBezTo>
                  <a:lnTo>
                    <a:pt x="1993355" y="499371"/>
                  </a:lnTo>
                  <a:cubicBezTo>
                    <a:pt x="1993365" y="499371"/>
                    <a:pt x="1993437" y="499371"/>
                    <a:pt x="1994115" y="499371"/>
                  </a:cubicBezTo>
                  <a:lnTo>
                    <a:pt x="1999435" y="499371"/>
                  </a:lnTo>
                  <a:lnTo>
                    <a:pt x="2009569" y="495047"/>
                  </a:lnTo>
                  <a:lnTo>
                    <a:pt x="2013621" y="498290"/>
                  </a:lnTo>
                  <a:lnTo>
                    <a:pt x="2013621" y="490724"/>
                  </a:lnTo>
                  <a:cubicBezTo>
                    <a:pt x="2013631" y="490724"/>
                    <a:pt x="2013767" y="490724"/>
                    <a:pt x="2015901" y="490724"/>
                  </a:cubicBezTo>
                  <a:lnTo>
                    <a:pt x="2031863" y="490724"/>
                  </a:lnTo>
                  <a:cubicBezTo>
                    <a:pt x="2031863" y="490732"/>
                    <a:pt x="2031863" y="490811"/>
                    <a:pt x="2031863" y="491805"/>
                  </a:cubicBezTo>
                  <a:lnTo>
                    <a:pt x="2031863" y="499371"/>
                  </a:lnTo>
                  <a:cubicBezTo>
                    <a:pt x="2031881" y="499371"/>
                    <a:pt x="2032617" y="499371"/>
                    <a:pt x="2062263" y="499371"/>
                  </a:cubicBezTo>
                  <a:cubicBezTo>
                    <a:pt x="2062263" y="499381"/>
                    <a:pt x="2062263" y="499490"/>
                    <a:pt x="2062263" y="500992"/>
                  </a:cubicBezTo>
                  <a:lnTo>
                    <a:pt x="2062263" y="512342"/>
                  </a:lnTo>
                  <a:cubicBezTo>
                    <a:pt x="2062279" y="512342"/>
                    <a:pt x="2062919" y="512342"/>
                    <a:pt x="2088609" y="512342"/>
                  </a:cubicBezTo>
                  <a:cubicBezTo>
                    <a:pt x="2088609" y="512358"/>
                    <a:pt x="2088609" y="513038"/>
                    <a:pt x="2088609" y="542606"/>
                  </a:cubicBezTo>
                  <a:cubicBezTo>
                    <a:pt x="2088619" y="542606"/>
                    <a:pt x="2088691" y="542606"/>
                    <a:pt x="2089369" y="542606"/>
                  </a:cubicBezTo>
                  <a:lnTo>
                    <a:pt x="2094689" y="542606"/>
                  </a:lnTo>
                  <a:cubicBezTo>
                    <a:pt x="2094689" y="542613"/>
                    <a:pt x="2094689" y="542699"/>
                    <a:pt x="2094689" y="543687"/>
                  </a:cubicBezTo>
                  <a:lnTo>
                    <a:pt x="2094689" y="551254"/>
                  </a:lnTo>
                  <a:cubicBezTo>
                    <a:pt x="2098743" y="551254"/>
                    <a:pt x="2098743" y="551254"/>
                    <a:pt x="2098743" y="581518"/>
                  </a:cubicBezTo>
                  <a:cubicBezTo>
                    <a:pt x="2098753" y="581518"/>
                    <a:pt x="2098827" y="581518"/>
                    <a:pt x="2099503" y="581518"/>
                  </a:cubicBezTo>
                  <a:lnTo>
                    <a:pt x="2104823" y="581518"/>
                  </a:lnTo>
                  <a:cubicBezTo>
                    <a:pt x="2104823" y="581527"/>
                    <a:pt x="2104823" y="581594"/>
                    <a:pt x="2104823" y="582329"/>
                  </a:cubicBezTo>
                  <a:lnTo>
                    <a:pt x="2104823" y="588004"/>
                  </a:lnTo>
                  <a:cubicBezTo>
                    <a:pt x="2104829" y="588004"/>
                    <a:pt x="2104907" y="588004"/>
                    <a:pt x="2105837" y="588004"/>
                  </a:cubicBezTo>
                  <a:lnTo>
                    <a:pt x="2112929" y="588004"/>
                  </a:lnTo>
                  <a:cubicBezTo>
                    <a:pt x="2112929" y="588021"/>
                    <a:pt x="2112929" y="588734"/>
                    <a:pt x="2112929" y="618269"/>
                  </a:cubicBezTo>
                  <a:cubicBezTo>
                    <a:pt x="2112937" y="618269"/>
                    <a:pt x="2113057" y="618269"/>
                    <a:pt x="2114957" y="618269"/>
                  </a:cubicBezTo>
                  <a:lnTo>
                    <a:pt x="2129143" y="618269"/>
                  </a:lnTo>
                  <a:cubicBezTo>
                    <a:pt x="2129143" y="618285"/>
                    <a:pt x="2129143" y="618865"/>
                    <a:pt x="2129143" y="642048"/>
                  </a:cubicBezTo>
                  <a:cubicBezTo>
                    <a:pt x="2131171" y="642048"/>
                    <a:pt x="2131171" y="642048"/>
                    <a:pt x="2131171" y="643669"/>
                  </a:cubicBezTo>
                  <a:lnTo>
                    <a:pt x="2131171" y="655019"/>
                  </a:lnTo>
                  <a:cubicBezTo>
                    <a:pt x="2131179" y="655019"/>
                    <a:pt x="2131249" y="655019"/>
                    <a:pt x="2131931" y="655019"/>
                  </a:cubicBezTo>
                  <a:lnTo>
                    <a:pt x="2137251" y="655019"/>
                  </a:lnTo>
                  <a:cubicBezTo>
                    <a:pt x="2137251" y="655033"/>
                    <a:pt x="2137251" y="655596"/>
                    <a:pt x="2137251" y="678798"/>
                  </a:cubicBezTo>
                  <a:cubicBezTo>
                    <a:pt x="2137259" y="678798"/>
                    <a:pt x="2137357" y="678798"/>
                    <a:pt x="2138517" y="678798"/>
                  </a:cubicBezTo>
                  <a:lnTo>
                    <a:pt x="2147383" y="678798"/>
                  </a:lnTo>
                  <a:cubicBezTo>
                    <a:pt x="2149411" y="680960"/>
                    <a:pt x="2149411" y="680960"/>
                    <a:pt x="2149411" y="682852"/>
                  </a:cubicBezTo>
                  <a:lnTo>
                    <a:pt x="2149411" y="696093"/>
                  </a:lnTo>
                  <a:cubicBezTo>
                    <a:pt x="2149415" y="696086"/>
                    <a:pt x="2149503" y="695979"/>
                    <a:pt x="2150931" y="694201"/>
                  </a:cubicBezTo>
                  <a:lnTo>
                    <a:pt x="2161571" y="680960"/>
                  </a:lnTo>
                  <a:cubicBezTo>
                    <a:pt x="2161585" y="680960"/>
                    <a:pt x="2162225" y="680960"/>
                    <a:pt x="2189945" y="680960"/>
                  </a:cubicBezTo>
                  <a:cubicBezTo>
                    <a:pt x="2189945" y="680985"/>
                    <a:pt x="2189945" y="682386"/>
                    <a:pt x="2189945" y="767431"/>
                  </a:cubicBezTo>
                  <a:cubicBezTo>
                    <a:pt x="2189953" y="767431"/>
                    <a:pt x="2190029" y="767431"/>
                    <a:pt x="2190705" y="767431"/>
                  </a:cubicBezTo>
                  <a:lnTo>
                    <a:pt x="2196025" y="767431"/>
                  </a:lnTo>
                  <a:cubicBezTo>
                    <a:pt x="2196029" y="767423"/>
                    <a:pt x="2196087" y="767323"/>
                    <a:pt x="2196785" y="766080"/>
                  </a:cubicBezTo>
                  <a:lnTo>
                    <a:pt x="2202105" y="756622"/>
                  </a:lnTo>
                  <a:cubicBezTo>
                    <a:pt x="2202105" y="756629"/>
                    <a:pt x="2202105" y="756728"/>
                    <a:pt x="2202105" y="758514"/>
                  </a:cubicBezTo>
                  <a:lnTo>
                    <a:pt x="2202105" y="771755"/>
                  </a:lnTo>
                  <a:cubicBezTo>
                    <a:pt x="2206157" y="771755"/>
                    <a:pt x="2206157" y="771755"/>
                    <a:pt x="2206157" y="726358"/>
                  </a:cubicBezTo>
                  <a:cubicBezTo>
                    <a:pt x="2206167" y="726358"/>
                    <a:pt x="2206237" y="726358"/>
                    <a:pt x="2206917" y="726358"/>
                  </a:cubicBezTo>
                  <a:lnTo>
                    <a:pt x="2212237" y="726358"/>
                  </a:lnTo>
                  <a:cubicBezTo>
                    <a:pt x="2212237" y="726343"/>
                    <a:pt x="2212237" y="725343"/>
                    <a:pt x="2212237" y="661504"/>
                  </a:cubicBezTo>
                  <a:cubicBezTo>
                    <a:pt x="2212245" y="661504"/>
                    <a:pt x="2212325" y="661504"/>
                    <a:pt x="2213251" y="661504"/>
                  </a:cubicBezTo>
                  <a:lnTo>
                    <a:pt x="2220345" y="661504"/>
                  </a:lnTo>
                  <a:cubicBezTo>
                    <a:pt x="2220351" y="661483"/>
                    <a:pt x="2220615" y="660543"/>
                    <a:pt x="2232505" y="618269"/>
                  </a:cubicBezTo>
                  <a:cubicBezTo>
                    <a:pt x="2232514" y="618269"/>
                    <a:pt x="2232611" y="618269"/>
                    <a:pt x="2233771" y="618269"/>
                  </a:cubicBezTo>
                  <a:lnTo>
                    <a:pt x="2242639" y="618269"/>
                  </a:lnTo>
                  <a:cubicBezTo>
                    <a:pt x="2242644" y="618292"/>
                    <a:pt x="2242869" y="619258"/>
                    <a:pt x="2252771" y="661504"/>
                  </a:cubicBezTo>
                  <a:cubicBezTo>
                    <a:pt x="2252777" y="661504"/>
                    <a:pt x="2252851" y="661504"/>
                    <a:pt x="2253785" y="661504"/>
                  </a:cubicBezTo>
                  <a:lnTo>
                    <a:pt x="2260879" y="661504"/>
                  </a:lnTo>
                  <a:cubicBezTo>
                    <a:pt x="2260879" y="661515"/>
                    <a:pt x="2260879" y="662182"/>
                    <a:pt x="2260879" y="700416"/>
                  </a:cubicBezTo>
                  <a:cubicBezTo>
                    <a:pt x="2260885" y="700416"/>
                    <a:pt x="2260985" y="700416"/>
                    <a:pt x="2262651" y="700416"/>
                  </a:cubicBezTo>
                  <a:lnTo>
                    <a:pt x="2275065" y="700416"/>
                  </a:lnTo>
                  <a:cubicBezTo>
                    <a:pt x="2275065" y="700424"/>
                    <a:pt x="2275065" y="700546"/>
                    <a:pt x="2275065" y="702578"/>
                  </a:cubicBezTo>
                  <a:lnTo>
                    <a:pt x="2275065" y="717710"/>
                  </a:lnTo>
                  <a:cubicBezTo>
                    <a:pt x="2279119" y="717710"/>
                    <a:pt x="2279119" y="717710"/>
                    <a:pt x="2279119" y="715549"/>
                  </a:cubicBezTo>
                  <a:lnTo>
                    <a:pt x="2279119" y="700416"/>
                  </a:lnTo>
                  <a:cubicBezTo>
                    <a:pt x="2279129" y="700416"/>
                    <a:pt x="2279241" y="700416"/>
                    <a:pt x="2280639" y="700416"/>
                  </a:cubicBezTo>
                  <a:lnTo>
                    <a:pt x="2291279" y="700416"/>
                  </a:lnTo>
                  <a:cubicBezTo>
                    <a:pt x="2291279" y="700426"/>
                    <a:pt x="2291279" y="700543"/>
                    <a:pt x="2291279" y="702037"/>
                  </a:cubicBezTo>
                  <a:lnTo>
                    <a:pt x="2291279" y="713387"/>
                  </a:lnTo>
                  <a:cubicBezTo>
                    <a:pt x="2291295" y="713387"/>
                    <a:pt x="2292003" y="713387"/>
                    <a:pt x="2321680" y="713387"/>
                  </a:cubicBezTo>
                  <a:cubicBezTo>
                    <a:pt x="2321680" y="713370"/>
                    <a:pt x="2321680" y="712599"/>
                    <a:pt x="2321680" y="676637"/>
                  </a:cubicBezTo>
                  <a:cubicBezTo>
                    <a:pt x="2321687" y="676637"/>
                    <a:pt x="2321781" y="676637"/>
                    <a:pt x="2322945" y="676637"/>
                  </a:cubicBezTo>
                  <a:lnTo>
                    <a:pt x="2331813" y="676637"/>
                  </a:lnTo>
                  <a:cubicBezTo>
                    <a:pt x="2331813" y="676648"/>
                    <a:pt x="2331813" y="677142"/>
                    <a:pt x="2331813" y="698254"/>
                  </a:cubicBezTo>
                  <a:cubicBezTo>
                    <a:pt x="2333840" y="698254"/>
                    <a:pt x="2333840" y="698254"/>
                    <a:pt x="2333840" y="665828"/>
                  </a:cubicBezTo>
                  <a:cubicBezTo>
                    <a:pt x="2333853" y="665828"/>
                    <a:pt x="2334395" y="665828"/>
                    <a:pt x="2356133" y="665828"/>
                  </a:cubicBezTo>
                  <a:cubicBezTo>
                    <a:pt x="2356133" y="665818"/>
                    <a:pt x="2356133" y="665698"/>
                    <a:pt x="2356133" y="664206"/>
                  </a:cubicBezTo>
                  <a:lnTo>
                    <a:pt x="2356133" y="652857"/>
                  </a:lnTo>
                  <a:cubicBezTo>
                    <a:pt x="2356141" y="652857"/>
                    <a:pt x="2356215" y="652857"/>
                    <a:pt x="2356893" y="652857"/>
                  </a:cubicBezTo>
                  <a:lnTo>
                    <a:pt x="2362213" y="652857"/>
                  </a:lnTo>
                  <a:cubicBezTo>
                    <a:pt x="2362213" y="652851"/>
                    <a:pt x="2362213" y="652738"/>
                    <a:pt x="2362213" y="650966"/>
                  </a:cubicBezTo>
                  <a:lnTo>
                    <a:pt x="2362213" y="637725"/>
                  </a:lnTo>
                  <a:lnTo>
                    <a:pt x="2366267" y="644210"/>
                  </a:lnTo>
                  <a:cubicBezTo>
                    <a:pt x="2366275" y="644210"/>
                    <a:pt x="2366403" y="644210"/>
                    <a:pt x="2368547" y="644210"/>
                  </a:cubicBezTo>
                  <a:lnTo>
                    <a:pt x="2384507" y="644210"/>
                  </a:lnTo>
                  <a:cubicBezTo>
                    <a:pt x="2384507" y="644202"/>
                    <a:pt x="2384507" y="644134"/>
                    <a:pt x="2384507" y="643399"/>
                  </a:cubicBezTo>
                  <a:lnTo>
                    <a:pt x="2384507" y="637725"/>
                  </a:lnTo>
                  <a:cubicBezTo>
                    <a:pt x="2384516" y="637725"/>
                    <a:pt x="2384590" y="637725"/>
                    <a:pt x="2385267" y="637725"/>
                  </a:cubicBezTo>
                  <a:lnTo>
                    <a:pt x="2390587" y="637725"/>
                  </a:lnTo>
                  <a:cubicBezTo>
                    <a:pt x="2390587" y="637734"/>
                    <a:pt x="2390587" y="637834"/>
                    <a:pt x="2390587" y="639076"/>
                  </a:cubicBezTo>
                  <a:lnTo>
                    <a:pt x="2390587" y="648534"/>
                  </a:lnTo>
                  <a:cubicBezTo>
                    <a:pt x="2390601" y="648534"/>
                    <a:pt x="2391335" y="648534"/>
                    <a:pt x="2429093" y="648534"/>
                  </a:cubicBezTo>
                  <a:cubicBezTo>
                    <a:pt x="2429093" y="648552"/>
                    <a:pt x="2429093" y="650062"/>
                    <a:pt x="2429093" y="786887"/>
                  </a:cubicBezTo>
                  <a:cubicBezTo>
                    <a:pt x="2429104" y="786887"/>
                    <a:pt x="2429219" y="786887"/>
                    <a:pt x="2430613" y="786887"/>
                  </a:cubicBezTo>
                  <a:lnTo>
                    <a:pt x="2441254" y="786887"/>
                  </a:lnTo>
                  <a:cubicBezTo>
                    <a:pt x="2441254" y="782564"/>
                    <a:pt x="2441254" y="778240"/>
                    <a:pt x="2441254" y="773917"/>
                  </a:cubicBezTo>
                  <a:cubicBezTo>
                    <a:pt x="2443281" y="773917"/>
                    <a:pt x="2443281" y="773917"/>
                    <a:pt x="2445307" y="773917"/>
                  </a:cubicBezTo>
                  <a:cubicBezTo>
                    <a:pt x="2445307" y="778240"/>
                    <a:pt x="2445307" y="782564"/>
                    <a:pt x="2445307" y="786887"/>
                  </a:cubicBezTo>
                  <a:cubicBezTo>
                    <a:pt x="2455441" y="786887"/>
                    <a:pt x="2465575" y="786887"/>
                    <a:pt x="2475707" y="786887"/>
                  </a:cubicBezTo>
                  <a:cubicBezTo>
                    <a:pt x="2475707" y="776078"/>
                    <a:pt x="2475707" y="767431"/>
                    <a:pt x="2475707" y="756622"/>
                  </a:cubicBezTo>
                  <a:cubicBezTo>
                    <a:pt x="2479762" y="756622"/>
                    <a:pt x="2483815" y="756622"/>
                    <a:pt x="2487867" y="756622"/>
                  </a:cubicBezTo>
                  <a:lnTo>
                    <a:pt x="2500027" y="754461"/>
                  </a:lnTo>
                  <a:cubicBezTo>
                    <a:pt x="2502055" y="754461"/>
                    <a:pt x="2502055" y="756622"/>
                    <a:pt x="2504082" y="756622"/>
                  </a:cubicBezTo>
                  <a:lnTo>
                    <a:pt x="2514215" y="756622"/>
                  </a:lnTo>
                  <a:cubicBezTo>
                    <a:pt x="2514215" y="767431"/>
                    <a:pt x="2514215" y="778240"/>
                    <a:pt x="2514215" y="786887"/>
                  </a:cubicBezTo>
                  <a:cubicBezTo>
                    <a:pt x="2516242" y="786887"/>
                    <a:pt x="2518269" y="786887"/>
                    <a:pt x="2522321" y="786887"/>
                  </a:cubicBezTo>
                  <a:cubicBezTo>
                    <a:pt x="2522321" y="793373"/>
                    <a:pt x="2522321" y="799858"/>
                    <a:pt x="2522321" y="804182"/>
                  </a:cubicBezTo>
                  <a:lnTo>
                    <a:pt x="2531658" y="805087"/>
                  </a:lnTo>
                  <a:lnTo>
                    <a:pt x="2544615" y="805087"/>
                  </a:lnTo>
                  <a:cubicBezTo>
                    <a:pt x="2544615" y="799278"/>
                    <a:pt x="2544615" y="795106"/>
                    <a:pt x="2544615" y="789049"/>
                  </a:cubicBezTo>
                  <a:lnTo>
                    <a:pt x="2612571" y="789049"/>
                  </a:lnTo>
                  <a:lnTo>
                    <a:pt x="2612571" y="703796"/>
                  </a:lnTo>
                  <a:lnTo>
                    <a:pt x="2684579" y="703796"/>
                  </a:lnTo>
                  <a:lnTo>
                    <a:pt x="2684579" y="782564"/>
                  </a:lnTo>
                  <a:cubicBezTo>
                    <a:pt x="2685215" y="782564"/>
                    <a:pt x="2685849" y="782564"/>
                    <a:pt x="2686483" y="782564"/>
                  </a:cubicBezTo>
                  <a:lnTo>
                    <a:pt x="2687725" y="805087"/>
                  </a:lnTo>
                  <a:lnTo>
                    <a:pt x="2697401" y="805087"/>
                  </a:lnTo>
                  <a:cubicBezTo>
                    <a:pt x="2697937" y="797873"/>
                    <a:pt x="2698643" y="790219"/>
                    <a:pt x="2698643" y="782564"/>
                  </a:cubicBezTo>
                  <a:cubicBezTo>
                    <a:pt x="2700671" y="782564"/>
                    <a:pt x="2702697" y="782564"/>
                    <a:pt x="2704723" y="782564"/>
                  </a:cubicBezTo>
                  <a:lnTo>
                    <a:pt x="2705965" y="805087"/>
                  </a:lnTo>
                  <a:lnTo>
                    <a:pt x="2756588" y="805087"/>
                  </a:lnTo>
                  <a:lnTo>
                    <a:pt x="2756588" y="642059"/>
                  </a:lnTo>
                  <a:lnTo>
                    <a:pt x="2953915" y="642059"/>
                  </a:lnTo>
                  <a:lnTo>
                    <a:pt x="2953915" y="805087"/>
                  </a:lnTo>
                  <a:lnTo>
                    <a:pt x="2972611" y="805087"/>
                  </a:lnTo>
                  <a:lnTo>
                    <a:pt x="2972611" y="722394"/>
                  </a:lnTo>
                  <a:lnTo>
                    <a:pt x="3067731" y="722394"/>
                  </a:lnTo>
                  <a:cubicBezTo>
                    <a:pt x="3071806" y="616373"/>
                    <a:pt x="3075185" y="510899"/>
                    <a:pt x="3079662" y="404253"/>
                  </a:cubicBezTo>
                  <a:cubicBezTo>
                    <a:pt x="3069529" y="404253"/>
                    <a:pt x="3045209" y="391282"/>
                    <a:pt x="3067502" y="382635"/>
                  </a:cubicBezTo>
                  <a:cubicBezTo>
                    <a:pt x="3065474" y="380473"/>
                    <a:pt x="3063449" y="378311"/>
                    <a:pt x="3061422" y="378311"/>
                  </a:cubicBezTo>
                  <a:cubicBezTo>
                    <a:pt x="3061422" y="365341"/>
                    <a:pt x="3059394" y="363179"/>
                    <a:pt x="3069529" y="354532"/>
                  </a:cubicBezTo>
                  <a:cubicBezTo>
                    <a:pt x="3069529" y="350208"/>
                    <a:pt x="3069529" y="343723"/>
                    <a:pt x="3069529" y="337238"/>
                  </a:cubicBezTo>
                  <a:cubicBezTo>
                    <a:pt x="3073582" y="337238"/>
                    <a:pt x="3077635" y="337238"/>
                    <a:pt x="3083715" y="337238"/>
                  </a:cubicBezTo>
                  <a:cubicBezTo>
                    <a:pt x="3083715" y="328590"/>
                    <a:pt x="3083715" y="322105"/>
                    <a:pt x="3083715" y="315620"/>
                  </a:cubicBezTo>
                  <a:cubicBezTo>
                    <a:pt x="3083715" y="313458"/>
                    <a:pt x="3085742" y="313458"/>
                    <a:pt x="3085742" y="311296"/>
                  </a:cubicBezTo>
                  <a:cubicBezTo>
                    <a:pt x="3085742" y="285355"/>
                    <a:pt x="3085742" y="259414"/>
                    <a:pt x="3085742" y="233472"/>
                  </a:cubicBezTo>
                  <a:cubicBezTo>
                    <a:pt x="3085742" y="231310"/>
                    <a:pt x="3083715" y="229149"/>
                    <a:pt x="3083715" y="226987"/>
                  </a:cubicBezTo>
                  <a:cubicBezTo>
                    <a:pt x="3085742" y="224825"/>
                    <a:pt x="3087769" y="222663"/>
                    <a:pt x="3089795" y="220501"/>
                  </a:cubicBezTo>
                  <a:cubicBezTo>
                    <a:pt x="3089795" y="201045"/>
                    <a:pt x="3089795" y="181589"/>
                    <a:pt x="3089795" y="162133"/>
                  </a:cubicBezTo>
                  <a:cubicBezTo>
                    <a:pt x="3089795" y="159972"/>
                    <a:pt x="3089795" y="159972"/>
                    <a:pt x="3091822" y="157810"/>
                  </a:cubicBezTo>
                  <a:cubicBezTo>
                    <a:pt x="3091822" y="140516"/>
                    <a:pt x="3091822" y="121060"/>
                    <a:pt x="3091822" y="101604"/>
                  </a:cubicBezTo>
                  <a:cubicBezTo>
                    <a:pt x="3093849" y="92957"/>
                    <a:pt x="3093849" y="88633"/>
                    <a:pt x="3093849" y="82148"/>
                  </a:cubicBezTo>
                  <a:cubicBezTo>
                    <a:pt x="3097902" y="88633"/>
                    <a:pt x="3097902" y="92957"/>
                    <a:pt x="3097902" y="99442"/>
                  </a:cubicBezTo>
                  <a:cubicBezTo>
                    <a:pt x="3099929" y="121060"/>
                    <a:pt x="3099929" y="140516"/>
                    <a:pt x="3099929" y="157810"/>
                  </a:cubicBezTo>
                  <a:cubicBezTo>
                    <a:pt x="3101955" y="181589"/>
                    <a:pt x="3101955" y="201045"/>
                    <a:pt x="3101955" y="220501"/>
                  </a:cubicBezTo>
                  <a:cubicBezTo>
                    <a:pt x="3103982" y="222663"/>
                    <a:pt x="3106009" y="224825"/>
                    <a:pt x="3108035" y="226987"/>
                  </a:cubicBezTo>
                  <a:cubicBezTo>
                    <a:pt x="3108035" y="229149"/>
                    <a:pt x="3106009" y="231310"/>
                    <a:pt x="3106009" y="233472"/>
                  </a:cubicBezTo>
                  <a:cubicBezTo>
                    <a:pt x="3106009" y="259414"/>
                    <a:pt x="3106009" y="285355"/>
                    <a:pt x="3106009" y="311296"/>
                  </a:cubicBezTo>
                  <a:cubicBezTo>
                    <a:pt x="3106009" y="313458"/>
                    <a:pt x="3108035" y="313458"/>
                    <a:pt x="3108035" y="315620"/>
                  </a:cubicBezTo>
                  <a:cubicBezTo>
                    <a:pt x="3108035" y="322105"/>
                    <a:pt x="3108035" y="328590"/>
                    <a:pt x="3108035" y="337238"/>
                  </a:cubicBezTo>
                  <a:cubicBezTo>
                    <a:pt x="3112089" y="337238"/>
                    <a:pt x="3118169" y="337238"/>
                    <a:pt x="3122222" y="337238"/>
                  </a:cubicBezTo>
                  <a:cubicBezTo>
                    <a:pt x="3122222" y="343723"/>
                    <a:pt x="3122222" y="350208"/>
                    <a:pt x="3122222" y="354532"/>
                  </a:cubicBezTo>
                  <a:cubicBezTo>
                    <a:pt x="3130330" y="363179"/>
                    <a:pt x="3130330" y="363179"/>
                    <a:pt x="3130330" y="378311"/>
                  </a:cubicBezTo>
                  <a:cubicBezTo>
                    <a:pt x="3128302" y="378311"/>
                    <a:pt x="3126275" y="380473"/>
                    <a:pt x="3124250" y="382635"/>
                  </a:cubicBezTo>
                  <a:cubicBezTo>
                    <a:pt x="3144515" y="393444"/>
                    <a:pt x="3120195" y="402091"/>
                    <a:pt x="3112089" y="404253"/>
                  </a:cubicBezTo>
                  <a:cubicBezTo>
                    <a:pt x="3114115" y="488562"/>
                    <a:pt x="3118169" y="572871"/>
                    <a:pt x="3120195" y="657181"/>
                  </a:cubicBezTo>
                  <a:cubicBezTo>
                    <a:pt x="3142490" y="657181"/>
                    <a:pt x="3164782" y="657181"/>
                    <a:pt x="3185050" y="657181"/>
                  </a:cubicBezTo>
                  <a:cubicBezTo>
                    <a:pt x="3185050" y="683122"/>
                    <a:pt x="3185050" y="709063"/>
                    <a:pt x="3185050" y="732843"/>
                  </a:cubicBezTo>
                  <a:cubicBezTo>
                    <a:pt x="3189103" y="732843"/>
                    <a:pt x="3191130" y="732843"/>
                    <a:pt x="3193157" y="732843"/>
                  </a:cubicBezTo>
                  <a:cubicBezTo>
                    <a:pt x="3193157" y="730681"/>
                    <a:pt x="3195183" y="728519"/>
                    <a:pt x="3195183" y="726358"/>
                  </a:cubicBezTo>
                  <a:cubicBezTo>
                    <a:pt x="3197210" y="726358"/>
                    <a:pt x="3199237" y="726358"/>
                    <a:pt x="3201263" y="726358"/>
                  </a:cubicBezTo>
                  <a:cubicBezTo>
                    <a:pt x="3201263" y="728519"/>
                    <a:pt x="3201263" y="730681"/>
                    <a:pt x="3203291" y="735005"/>
                  </a:cubicBezTo>
                  <a:cubicBezTo>
                    <a:pt x="3207343" y="735005"/>
                    <a:pt x="3211397" y="735005"/>
                    <a:pt x="3215451" y="735005"/>
                  </a:cubicBezTo>
                  <a:cubicBezTo>
                    <a:pt x="3215451" y="732843"/>
                    <a:pt x="3215451" y="730681"/>
                    <a:pt x="3215451" y="728519"/>
                  </a:cubicBezTo>
                  <a:cubicBezTo>
                    <a:pt x="3223557" y="728519"/>
                    <a:pt x="3229636" y="728519"/>
                    <a:pt x="3237744" y="728519"/>
                  </a:cubicBezTo>
                  <a:cubicBezTo>
                    <a:pt x="3237744" y="730681"/>
                    <a:pt x="3237744" y="732843"/>
                    <a:pt x="3237744" y="735005"/>
                  </a:cubicBezTo>
                  <a:cubicBezTo>
                    <a:pt x="3243823" y="735005"/>
                    <a:pt x="3251931" y="735005"/>
                    <a:pt x="3258011" y="735005"/>
                  </a:cubicBezTo>
                  <a:cubicBezTo>
                    <a:pt x="3258011" y="750137"/>
                    <a:pt x="3258011" y="765270"/>
                    <a:pt x="3258011" y="780402"/>
                  </a:cubicBezTo>
                  <a:cubicBezTo>
                    <a:pt x="3262065" y="780402"/>
                    <a:pt x="3268145" y="780402"/>
                    <a:pt x="3272198" y="780402"/>
                  </a:cubicBezTo>
                  <a:cubicBezTo>
                    <a:pt x="3272198" y="776078"/>
                    <a:pt x="3272198" y="771755"/>
                    <a:pt x="3272198" y="767431"/>
                  </a:cubicBezTo>
                  <a:cubicBezTo>
                    <a:pt x="3278278" y="767431"/>
                    <a:pt x="3284358" y="767431"/>
                    <a:pt x="3288412" y="767431"/>
                  </a:cubicBezTo>
                  <a:cubicBezTo>
                    <a:pt x="3288412" y="706902"/>
                    <a:pt x="3288412" y="648534"/>
                    <a:pt x="3288412" y="588004"/>
                  </a:cubicBezTo>
                  <a:cubicBezTo>
                    <a:pt x="3290438" y="585842"/>
                    <a:pt x="3292465" y="583680"/>
                    <a:pt x="3294492" y="581518"/>
                  </a:cubicBezTo>
                  <a:cubicBezTo>
                    <a:pt x="3318811" y="581518"/>
                    <a:pt x="3343131" y="581518"/>
                    <a:pt x="3367453" y="581518"/>
                  </a:cubicBezTo>
                  <a:lnTo>
                    <a:pt x="3367453" y="590166"/>
                  </a:lnTo>
                  <a:lnTo>
                    <a:pt x="3377586" y="590166"/>
                  </a:lnTo>
                  <a:cubicBezTo>
                    <a:pt x="3377586" y="629078"/>
                    <a:pt x="3377586" y="667990"/>
                    <a:pt x="3377586" y="704740"/>
                  </a:cubicBezTo>
                  <a:cubicBezTo>
                    <a:pt x="3385693" y="704740"/>
                    <a:pt x="3391773" y="704740"/>
                    <a:pt x="3399879" y="704740"/>
                  </a:cubicBezTo>
                  <a:cubicBezTo>
                    <a:pt x="3399879" y="683122"/>
                    <a:pt x="3399879" y="661504"/>
                    <a:pt x="3399879" y="637725"/>
                  </a:cubicBezTo>
                  <a:cubicBezTo>
                    <a:pt x="3407986" y="637725"/>
                    <a:pt x="3418119" y="637725"/>
                    <a:pt x="3426227" y="637725"/>
                  </a:cubicBezTo>
                  <a:cubicBezTo>
                    <a:pt x="3428253" y="637725"/>
                    <a:pt x="3428253" y="635563"/>
                    <a:pt x="3430279" y="633401"/>
                  </a:cubicBezTo>
                  <a:lnTo>
                    <a:pt x="3438387" y="633401"/>
                  </a:lnTo>
                  <a:cubicBezTo>
                    <a:pt x="3440413" y="635563"/>
                    <a:pt x="3440413" y="637725"/>
                    <a:pt x="3442439" y="637725"/>
                  </a:cubicBezTo>
                  <a:cubicBezTo>
                    <a:pt x="3448519" y="637725"/>
                    <a:pt x="3456627" y="637725"/>
                    <a:pt x="3464734" y="637725"/>
                  </a:cubicBezTo>
                  <a:cubicBezTo>
                    <a:pt x="3464734" y="598813"/>
                    <a:pt x="3464734" y="559901"/>
                    <a:pt x="3464734" y="520989"/>
                  </a:cubicBezTo>
                  <a:cubicBezTo>
                    <a:pt x="3464747" y="520986"/>
                    <a:pt x="3465614" y="520822"/>
                    <a:pt x="3521481" y="510180"/>
                  </a:cubicBezTo>
                  <a:cubicBezTo>
                    <a:pt x="3521481" y="510187"/>
                    <a:pt x="3521481" y="510261"/>
                    <a:pt x="3521481" y="511261"/>
                  </a:cubicBezTo>
                  <a:lnTo>
                    <a:pt x="3521481" y="518827"/>
                  </a:lnTo>
                  <a:cubicBezTo>
                    <a:pt x="3521498" y="518827"/>
                    <a:pt x="3522142" y="518827"/>
                    <a:pt x="3547828" y="518827"/>
                  </a:cubicBezTo>
                  <a:cubicBezTo>
                    <a:pt x="3547828" y="518849"/>
                    <a:pt x="3547828" y="521220"/>
                    <a:pt x="3547828" y="773917"/>
                  </a:cubicBezTo>
                  <a:cubicBezTo>
                    <a:pt x="3553907" y="773917"/>
                    <a:pt x="3562015" y="773917"/>
                    <a:pt x="3570122" y="773917"/>
                  </a:cubicBezTo>
                  <a:cubicBezTo>
                    <a:pt x="3570122" y="771755"/>
                    <a:pt x="3570122" y="771755"/>
                    <a:pt x="3570122" y="769593"/>
                  </a:cubicBezTo>
                  <a:cubicBezTo>
                    <a:pt x="3574174" y="769593"/>
                    <a:pt x="3578227" y="769593"/>
                    <a:pt x="3582282" y="769593"/>
                  </a:cubicBezTo>
                  <a:cubicBezTo>
                    <a:pt x="3582282" y="771755"/>
                    <a:pt x="3582282" y="771755"/>
                    <a:pt x="3582282" y="773917"/>
                  </a:cubicBezTo>
                  <a:cubicBezTo>
                    <a:pt x="3590389" y="773917"/>
                    <a:pt x="3598494" y="773917"/>
                    <a:pt x="3606602" y="773917"/>
                  </a:cubicBezTo>
                  <a:cubicBezTo>
                    <a:pt x="3606602" y="769593"/>
                    <a:pt x="3606602" y="765270"/>
                    <a:pt x="3606602" y="760946"/>
                  </a:cubicBezTo>
                  <a:cubicBezTo>
                    <a:pt x="3616735" y="760946"/>
                    <a:pt x="3626870" y="760946"/>
                    <a:pt x="3634975" y="760946"/>
                  </a:cubicBezTo>
                  <a:cubicBezTo>
                    <a:pt x="3639029" y="756622"/>
                    <a:pt x="3643083" y="756622"/>
                    <a:pt x="3647135" y="756622"/>
                  </a:cubicBezTo>
                  <a:cubicBezTo>
                    <a:pt x="3653215" y="760946"/>
                    <a:pt x="3661323" y="760946"/>
                    <a:pt x="3667403" y="760946"/>
                  </a:cubicBezTo>
                  <a:cubicBezTo>
                    <a:pt x="3667403" y="754461"/>
                    <a:pt x="3667403" y="750137"/>
                    <a:pt x="3667403" y="743652"/>
                  </a:cubicBezTo>
                  <a:lnTo>
                    <a:pt x="3675510" y="743652"/>
                  </a:lnTo>
                  <a:cubicBezTo>
                    <a:pt x="3675510" y="739328"/>
                    <a:pt x="3675510" y="735005"/>
                    <a:pt x="3675510" y="730681"/>
                  </a:cubicBezTo>
                  <a:cubicBezTo>
                    <a:pt x="3693750" y="730681"/>
                    <a:pt x="3714017" y="730681"/>
                    <a:pt x="3732257" y="730681"/>
                  </a:cubicBezTo>
                  <a:cubicBezTo>
                    <a:pt x="3732257" y="719872"/>
                    <a:pt x="3732257" y="711225"/>
                    <a:pt x="3732257" y="700416"/>
                  </a:cubicBezTo>
                  <a:cubicBezTo>
                    <a:pt x="3738337" y="700416"/>
                    <a:pt x="3744417" y="700416"/>
                    <a:pt x="3750497" y="700416"/>
                  </a:cubicBezTo>
                  <a:cubicBezTo>
                    <a:pt x="3750497" y="698254"/>
                    <a:pt x="3750497" y="696093"/>
                    <a:pt x="3750497" y="693931"/>
                  </a:cubicBezTo>
                  <a:cubicBezTo>
                    <a:pt x="3754550" y="693931"/>
                    <a:pt x="3758603" y="693931"/>
                    <a:pt x="3762657" y="693931"/>
                  </a:cubicBezTo>
                  <a:cubicBezTo>
                    <a:pt x="3762657" y="696093"/>
                    <a:pt x="3762657" y="698254"/>
                    <a:pt x="3762657" y="700416"/>
                  </a:cubicBezTo>
                  <a:cubicBezTo>
                    <a:pt x="3768737" y="700416"/>
                    <a:pt x="3772790" y="700416"/>
                    <a:pt x="3778870" y="700416"/>
                  </a:cubicBezTo>
                  <a:cubicBezTo>
                    <a:pt x="3778870" y="715549"/>
                    <a:pt x="3778870" y="732843"/>
                    <a:pt x="3778870" y="750137"/>
                  </a:cubicBezTo>
                  <a:lnTo>
                    <a:pt x="3789470" y="750137"/>
                  </a:lnTo>
                  <a:lnTo>
                    <a:pt x="3789470" y="586174"/>
                  </a:lnTo>
                  <a:lnTo>
                    <a:pt x="3791390" y="586174"/>
                  </a:lnTo>
                  <a:lnTo>
                    <a:pt x="3791390" y="723865"/>
                  </a:lnTo>
                  <a:lnTo>
                    <a:pt x="3791390" y="750137"/>
                  </a:lnTo>
                  <a:lnTo>
                    <a:pt x="3806350" y="750137"/>
                  </a:lnTo>
                  <a:lnTo>
                    <a:pt x="3806350" y="742023"/>
                  </a:lnTo>
                  <a:lnTo>
                    <a:pt x="3811298" y="742023"/>
                  </a:lnTo>
                  <a:lnTo>
                    <a:pt x="3811298" y="724196"/>
                  </a:lnTo>
                  <a:cubicBezTo>
                    <a:pt x="3823458" y="724196"/>
                    <a:pt x="3837645" y="724196"/>
                    <a:pt x="3849805" y="724196"/>
                  </a:cubicBezTo>
                  <a:cubicBezTo>
                    <a:pt x="3849805" y="713387"/>
                    <a:pt x="3849805" y="704740"/>
                    <a:pt x="3849805" y="693931"/>
                  </a:cubicBezTo>
                  <a:lnTo>
                    <a:pt x="3888823" y="693931"/>
                  </a:lnTo>
                  <a:lnTo>
                    <a:pt x="3888823" y="690579"/>
                  </a:lnTo>
                  <a:cubicBezTo>
                    <a:pt x="3888823" y="690579"/>
                    <a:pt x="3888823" y="690579"/>
                    <a:pt x="3887708" y="690579"/>
                  </a:cubicBezTo>
                  <a:lnTo>
                    <a:pt x="3879906" y="690579"/>
                  </a:lnTo>
                  <a:cubicBezTo>
                    <a:pt x="3879906" y="690579"/>
                    <a:pt x="3879906" y="690579"/>
                    <a:pt x="3879906" y="689443"/>
                  </a:cubicBezTo>
                  <a:lnTo>
                    <a:pt x="3879906" y="681500"/>
                  </a:lnTo>
                  <a:cubicBezTo>
                    <a:pt x="3879906" y="681500"/>
                    <a:pt x="3879906" y="681500"/>
                    <a:pt x="3881022" y="681500"/>
                  </a:cubicBezTo>
                  <a:lnTo>
                    <a:pt x="3888823" y="681500"/>
                  </a:lnTo>
                  <a:cubicBezTo>
                    <a:pt x="3888823" y="681500"/>
                    <a:pt x="3888823" y="681500"/>
                    <a:pt x="3888823" y="679986"/>
                  </a:cubicBezTo>
                  <a:lnTo>
                    <a:pt x="3888823" y="669395"/>
                  </a:lnTo>
                  <a:cubicBezTo>
                    <a:pt x="3888823" y="669395"/>
                    <a:pt x="3888823" y="669395"/>
                    <a:pt x="3887708" y="669395"/>
                  </a:cubicBezTo>
                  <a:lnTo>
                    <a:pt x="3879906" y="669395"/>
                  </a:lnTo>
                  <a:cubicBezTo>
                    <a:pt x="3879906" y="669395"/>
                    <a:pt x="3879906" y="669395"/>
                    <a:pt x="3879906" y="667882"/>
                  </a:cubicBezTo>
                  <a:lnTo>
                    <a:pt x="3879906" y="657290"/>
                  </a:lnTo>
                  <a:cubicBezTo>
                    <a:pt x="3879906" y="657290"/>
                    <a:pt x="3879906" y="657290"/>
                    <a:pt x="3881022" y="657290"/>
                  </a:cubicBezTo>
                  <a:lnTo>
                    <a:pt x="3888823" y="657290"/>
                  </a:lnTo>
                  <a:cubicBezTo>
                    <a:pt x="3888823" y="657290"/>
                    <a:pt x="3888823" y="657290"/>
                    <a:pt x="3888823" y="656156"/>
                  </a:cubicBezTo>
                  <a:lnTo>
                    <a:pt x="3888823" y="648212"/>
                  </a:lnTo>
                  <a:cubicBezTo>
                    <a:pt x="3888823" y="648212"/>
                    <a:pt x="3888823" y="648212"/>
                    <a:pt x="3887708" y="648212"/>
                  </a:cubicBezTo>
                  <a:lnTo>
                    <a:pt x="3879906" y="648212"/>
                  </a:lnTo>
                  <a:cubicBezTo>
                    <a:pt x="3879906" y="648212"/>
                    <a:pt x="3879906" y="648212"/>
                    <a:pt x="3879906" y="646698"/>
                  </a:cubicBezTo>
                  <a:lnTo>
                    <a:pt x="3879906" y="636107"/>
                  </a:lnTo>
                  <a:cubicBezTo>
                    <a:pt x="3879906" y="636107"/>
                    <a:pt x="3879906" y="636107"/>
                    <a:pt x="3881022" y="636107"/>
                  </a:cubicBezTo>
                  <a:lnTo>
                    <a:pt x="3888823" y="636107"/>
                  </a:lnTo>
                  <a:cubicBezTo>
                    <a:pt x="3888823" y="636107"/>
                    <a:pt x="3888823" y="636107"/>
                    <a:pt x="3888823" y="634594"/>
                  </a:cubicBezTo>
                  <a:lnTo>
                    <a:pt x="3888823" y="624002"/>
                  </a:lnTo>
                  <a:cubicBezTo>
                    <a:pt x="3888823" y="624002"/>
                    <a:pt x="3888823" y="624002"/>
                    <a:pt x="3887708" y="624002"/>
                  </a:cubicBezTo>
                  <a:lnTo>
                    <a:pt x="3879906" y="624002"/>
                  </a:lnTo>
                  <a:cubicBezTo>
                    <a:pt x="3879906" y="624002"/>
                    <a:pt x="3879906" y="624002"/>
                    <a:pt x="3879906" y="622489"/>
                  </a:cubicBezTo>
                  <a:lnTo>
                    <a:pt x="3879906" y="611898"/>
                  </a:lnTo>
                  <a:cubicBezTo>
                    <a:pt x="3879906" y="611898"/>
                    <a:pt x="3879906" y="611898"/>
                    <a:pt x="3881022" y="611898"/>
                  </a:cubicBezTo>
                  <a:lnTo>
                    <a:pt x="3888823" y="611898"/>
                  </a:lnTo>
                  <a:cubicBezTo>
                    <a:pt x="3888823" y="611898"/>
                    <a:pt x="3888823" y="611898"/>
                    <a:pt x="3888823" y="610763"/>
                  </a:cubicBezTo>
                  <a:lnTo>
                    <a:pt x="3888823" y="602819"/>
                  </a:lnTo>
                  <a:cubicBezTo>
                    <a:pt x="3888823" y="602819"/>
                    <a:pt x="3888823" y="602819"/>
                    <a:pt x="3887708" y="602819"/>
                  </a:cubicBezTo>
                  <a:lnTo>
                    <a:pt x="3879906" y="602819"/>
                  </a:lnTo>
                  <a:cubicBezTo>
                    <a:pt x="3879906" y="602819"/>
                    <a:pt x="3879906" y="602819"/>
                    <a:pt x="3879906" y="601307"/>
                  </a:cubicBezTo>
                  <a:lnTo>
                    <a:pt x="3879906" y="590714"/>
                  </a:lnTo>
                  <a:cubicBezTo>
                    <a:pt x="3879906" y="590714"/>
                    <a:pt x="3879906" y="590714"/>
                    <a:pt x="3881022" y="590714"/>
                  </a:cubicBezTo>
                  <a:lnTo>
                    <a:pt x="3888823" y="590714"/>
                  </a:lnTo>
                  <a:cubicBezTo>
                    <a:pt x="3888823" y="590714"/>
                    <a:pt x="3888823" y="590714"/>
                    <a:pt x="3888823" y="589202"/>
                  </a:cubicBezTo>
                  <a:lnTo>
                    <a:pt x="3888823" y="578610"/>
                  </a:lnTo>
                  <a:cubicBezTo>
                    <a:pt x="3888823" y="578610"/>
                    <a:pt x="3888823" y="578610"/>
                    <a:pt x="3887708" y="578610"/>
                  </a:cubicBezTo>
                  <a:lnTo>
                    <a:pt x="3879906" y="578610"/>
                  </a:lnTo>
                  <a:cubicBezTo>
                    <a:pt x="3879906" y="578610"/>
                    <a:pt x="3879906" y="578610"/>
                    <a:pt x="3879906" y="577096"/>
                  </a:cubicBezTo>
                  <a:lnTo>
                    <a:pt x="3879906" y="566505"/>
                  </a:lnTo>
                  <a:cubicBezTo>
                    <a:pt x="3879906" y="566505"/>
                    <a:pt x="3879906" y="566505"/>
                    <a:pt x="3881022" y="566505"/>
                  </a:cubicBezTo>
                  <a:lnTo>
                    <a:pt x="3888823" y="566505"/>
                  </a:lnTo>
                  <a:cubicBezTo>
                    <a:pt x="3888823" y="566505"/>
                    <a:pt x="3888823" y="566505"/>
                    <a:pt x="3888823" y="565370"/>
                  </a:cubicBezTo>
                  <a:lnTo>
                    <a:pt x="3888823" y="557427"/>
                  </a:lnTo>
                  <a:cubicBezTo>
                    <a:pt x="3888823" y="557427"/>
                    <a:pt x="3888823" y="557427"/>
                    <a:pt x="3887708" y="557427"/>
                  </a:cubicBezTo>
                  <a:lnTo>
                    <a:pt x="3879906" y="557427"/>
                  </a:lnTo>
                  <a:cubicBezTo>
                    <a:pt x="3879906" y="557427"/>
                    <a:pt x="3879906" y="557427"/>
                    <a:pt x="3879906" y="555914"/>
                  </a:cubicBezTo>
                  <a:lnTo>
                    <a:pt x="3879906" y="545322"/>
                  </a:lnTo>
                  <a:cubicBezTo>
                    <a:pt x="3879906" y="545322"/>
                    <a:pt x="3879906" y="545322"/>
                    <a:pt x="3881022" y="545322"/>
                  </a:cubicBezTo>
                  <a:lnTo>
                    <a:pt x="3888823" y="545322"/>
                  </a:lnTo>
                  <a:cubicBezTo>
                    <a:pt x="3888823" y="545322"/>
                    <a:pt x="3888823" y="545322"/>
                    <a:pt x="3887708" y="543053"/>
                  </a:cubicBezTo>
                  <a:lnTo>
                    <a:pt x="3879906" y="527166"/>
                  </a:lnTo>
                  <a:cubicBezTo>
                    <a:pt x="3879906" y="527166"/>
                    <a:pt x="3879906" y="527166"/>
                    <a:pt x="3879906" y="478746"/>
                  </a:cubicBezTo>
                  <a:cubicBezTo>
                    <a:pt x="3879906" y="478746"/>
                    <a:pt x="3879906" y="478746"/>
                    <a:pt x="4029251" y="478746"/>
                  </a:cubicBezTo>
                  <a:cubicBezTo>
                    <a:pt x="4029251" y="478746"/>
                    <a:pt x="4029251" y="478746"/>
                    <a:pt x="4042623" y="505982"/>
                  </a:cubicBezTo>
                  <a:cubicBezTo>
                    <a:pt x="4042623" y="505982"/>
                    <a:pt x="4042623" y="505982"/>
                    <a:pt x="4042623" y="566505"/>
                  </a:cubicBezTo>
                  <a:cubicBezTo>
                    <a:pt x="4042623" y="566505"/>
                    <a:pt x="4042623" y="566505"/>
                    <a:pt x="4041510" y="566505"/>
                  </a:cubicBezTo>
                  <a:lnTo>
                    <a:pt x="4033708" y="566505"/>
                  </a:lnTo>
                  <a:cubicBezTo>
                    <a:pt x="4033708" y="566505"/>
                    <a:pt x="4033708" y="566505"/>
                    <a:pt x="4033708" y="568018"/>
                  </a:cubicBezTo>
                  <a:lnTo>
                    <a:pt x="4033708" y="578610"/>
                  </a:lnTo>
                  <a:cubicBezTo>
                    <a:pt x="4033708" y="578610"/>
                    <a:pt x="4033708" y="578610"/>
                    <a:pt x="4034823" y="578610"/>
                  </a:cubicBezTo>
                  <a:lnTo>
                    <a:pt x="4042623" y="578610"/>
                  </a:lnTo>
                  <a:cubicBezTo>
                    <a:pt x="4042623" y="578610"/>
                    <a:pt x="4042623" y="578610"/>
                    <a:pt x="4042623" y="580123"/>
                  </a:cubicBezTo>
                  <a:lnTo>
                    <a:pt x="4042623" y="590714"/>
                  </a:lnTo>
                  <a:cubicBezTo>
                    <a:pt x="4042623" y="590714"/>
                    <a:pt x="4042623" y="590714"/>
                    <a:pt x="4041510" y="590714"/>
                  </a:cubicBezTo>
                  <a:lnTo>
                    <a:pt x="4033708" y="590714"/>
                  </a:lnTo>
                  <a:cubicBezTo>
                    <a:pt x="4033708" y="590714"/>
                    <a:pt x="4033708" y="590714"/>
                    <a:pt x="4033708" y="592227"/>
                  </a:cubicBezTo>
                  <a:lnTo>
                    <a:pt x="4033708" y="602819"/>
                  </a:lnTo>
                  <a:cubicBezTo>
                    <a:pt x="4033708" y="602819"/>
                    <a:pt x="4033708" y="602819"/>
                    <a:pt x="4034823" y="602819"/>
                  </a:cubicBezTo>
                  <a:lnTo>
                    <a:pt x="4042623" y="602819"/>
                  </a:lnTo>
                  <a:cubicBezTo>
                    <a:pt x="4042623" y="602819"/>
                    <a:pt x="4042623" y="602819"/>
                    <a:pt x="4042623" y="603955"/>
                  </a:cubicBezTo>
                  <a:lnTo>
                    <a:pt x="4042623" y="611898"/>
                  </a:lnTo>
                  <a:cubicBezTo>
                    <a:pt x="4042623" y="611898"/>
                    <a:pt x="4042623" y="611898"/>
                    <a:pt x="4041510" y="611898"/>
                  </a:cubicBezTo>
                  <a:lnTo>
                    <a:pt x="4033708" y="611898"/>
                  </a:lnTo>
                  <a:cubicBezTo>
                    <a:pt x="4033708" y="611898"/>
                    <a:pt x="4033708" y="611898"/>
                    <a:pt x="4033708" y="613411"/>
                  </a:cubicBezTo>
                  <a:lnTo>
                    <a:pt x="4033708" y="624002"/>
                  </a:lnTo>
                  <a:cubicBezTo>
                    <a:pt x="4033708" y="624002"/>
                    <a:pt x="4033708" y="624002"/>
                    <a:pt x="4034823" y="624002"/>
                  </a:cubicBezTo>
                  <a:lnTo>
                    <a:pt x="4042623" y="624002"/>
                  </a:lnTo>
                  <a:cubicBezTo>
                    <a:pt x="4042623" y="624002"/>
                    <a:pt x="4042623" y="624002"/>
                    <a:pt x="4042623" y="625516"/>
                  </a:cubicBezTo>
                  <a:lnTo>
                    <a:pt x="4042623" y="636107"/>
                  </a:lnTo>
                  <a:cubicBezTo>
                    <a:pt x="4042623" y="636107"/>
                    <a:pt x="4042623" y="636107"/>
                    <a:pt x="4041510" y="636107"/>
                  </a:cubicBezTo>
                  <a:lnTo>
                    <a:pt x="4033708" y="636107"/>
                  </a:lnTo>
                  <a:cubicBezTo>
                    <a:pt x="4033708" y="636107"/>
                    <a:pt x="4033708" y="636107"/>
                    <a:pt x="4033708" y="637620"/>
                  </a:cubicBezTo>
                  <a:lnTo>
                    <a:pt x="4033708" y="648212"/>
                  </a:lnTo>
                  <a:cubicBezTo>
                    <a:pt x="4033708" y="648212"/>
                    <a:pt x="4033708" y="648212"/>
                    <a:pt x="4034823" y="648212"/>
                  </a:cubicBezTo>
                  <a:lnTo>
                    <a:pt x="4042623" y="648212"/>
                  </a:lnTo>
                  <a:cubicBezTo>
                    <a:pt x="4042623" y="648212"/>
                    <a:pt x="4042623" y="648212"/>
                    <a:pt x="4042623" y="649346"/>
                  </a:cubicBezTo>
                  <a:lnTo>
                    <a:pt x="4042623" y="657290"/>
                  </a:lnTo>
                  <a:cubicBezTo>
                    <a:pt x="4042623" y="657290"/>
                    <a:pt x="4042623" y="657290"/>
                    <a:pt x="4041510" y="657290"/>
                  </a:cubicBezTo>
                  <a:lnTo>
                    <a:pt x="4033708" y="657290"/>
                  </a:lnTo>
                  <a:cubicBezTo>
                    <a:pt x="4033708" y="657290"/>
                    <a:pt x="4033708" y="657290"/>
                    <a:pt x="4033708" y="658804"/>
                  </a:cubicBezTo>
                  <a:lnTo>
                    <a:pt x="4033708" y="669395"/>
                  </a:lnTo>
                  <a:cubicBezTo>
                    <a:pt x="4033708" y="669395"/>
                    <a:pt x="4033708" y="669395"/>
                    <a:pt x="4034823" y="669395"/>
                  </a:cubicBezTo>
                  <a:lnTo>
                    <a:pt x="4042623" y="669395"/>
                  </a:lnTo>
                  <a:cubicBezTo>
                    <a:pt x="4042623" y="669395"/>
                    <a:pt x="4042623" y="669395"/>
                    <a:pt x="4042623" y="670908"/>
                  </a:cubicBezTo>
                  <a:lnTo>
                    <a:pt x="4042623" y="681500"/>
                  </a:lnTo>
                  <a:cubicBezTo>
                    <a:pt x="4042623" y="681500"/>
                    <a:pt x="4042623" y="681500"/>
                    <a:pt x="4041510" y="681500"/>
                  </a:cubicBezTo>
                  <a:lnTo>
                    <a:pt x="4033708" y="681500"/>
                  </a:lnTo>
                  <a:cubicBezTo>
                    <a:pt x="4033708" y="681500"/>
                    <a:pt x="4033708" y="681500"/>
                    <a:pt x="4033708" y="682634"/>
                  </a:cubicBezTo>
                  <a:lnTo>
                    <a:pt x="4033708" y="690579"/>
                  </a:lnTo>
                  <a:cubicBezTo>
                    <a:pt x="4033708" y="690579"/>
                    <a:pt x="4033708" y="690579"/>
                    <a:pt x="4034823" y="690579"/>
                  </a:cubicBezTo>
                  <a:lnTo>
                    <a:pt x="4042623" y="690579"/>
                  </a:lnTo>
                  <a:cubicBezTo>
                    <a:pt x="4042623" y="690579"/>
                    <a:pt x="4042623" y="690579"/>
                    <a:pt x="4042623" y="692091"/>
                  </a:cubicBezTo>
                  <a:lnTo>
                    <a:pt x="4042623" y="702682"/>
                  </a:lnTo>
                  <a:cubicBezTo>
                    <a:pt x="4042623" y="702682"/>
                    <a:pt x="4042623" y="702682"/>
                    <a:pt x="4041510" y="702682"/>
                  </a:cubicBezTo>
                  <a:lnTo>
                    <a:pt x="4033708" y="702682"/>
                  </a:lnTo>
                  <a:cubicBezTo>
                    <a:pt x="4033708" y="702682"/>
                    <a:pt x="4033708" y="702682"/>
                    <a:pt x="4033708" y="704195"/>
                  </a:cubicBezTo>
                  <a:lnTo>
                    <a:pt x="4033708" y="714788"/>
                  </a:lnTo>
                  <a:cubicBezTo>
                    <a:pt x="4033708" y="714788"/>
                    <a:pt x="4033708" y="714788"/>
                    <a:pt x="4034823" y="714788"/>
                  </a:cubicBezTo>
                  <a:lnTo>
                    <a:pt x="4042623" y="714788"/>
                  </a:lnTo>
                  <a:cubicBezTo>
                    <a:pt x="4042623" y="714788"/>
                    <a:pt x="4042623" y="714788"/>
                    <a:pt x="4042623" y="716300"/>
                  </a:cubicBezTo>
                  <a:lnTo>
                    <a:pt x="4042623" y="726892"/>
                  </a:lnTo>
                  <a:cubicBezTo>
                    <a:pt x="4042623" y="726892"/>
                    <a:pt x="4042623" y="726892"/>
                    <a:pt x="4041510" y="726892"/>
                  </a:cubicBezTo>
                  <a:lnTo>
                    <a:pt x="4033708" y="726892"/>
                  </a:lnTo>
                  <a:cubicBezTo>
                    <a:pt x="4033708" y="726892"/>
                    <a:pt x="4033708" y="726892"/>
                    <a:pt x="4033708" y="728027"/>
                  </a:cubicBezTo>
                  <a:lnTo>
                    <a:pt x="4033708" y="735970"/>
                  </a:lnTo>
                  <a:cubicBezTo>
                    <a:pt x="4033708" y="735970"/>
                    <a:pt x="4033708" y="735970"/>
                    <a:pt x="4034823" y="735970"/>
                  </a:cubicBezTo>
                  <a:lnTo>
                    <a:pt x="4042623" y="735970"/>
                  </a:lnTo>
                  <a:cubicBezTo>
                    <a:pt x="4042623" y="735970"/>
                    <a:pt x="4042623" y="735970"/>
                    <a:pt x="4042623" y="737484"/>
                  </a:cubicBezTo>
                  <a:lnTo>
                    <a:pt x="4042623" y="748075"/>
                  </a:lnTo>
                  <a:cubicBezTo>
                    <a:pt x="4042623" y="748075"/>
                    <a:pt x="4042623" y="748075"/>
                    <a:pt x="4041510" y="748075"/>
                  </a:cubicBezTo>
                  <a:lnTo>
                    <a:pt x="4033708" y="748075"/>
                  </a:lnTo>
                  <a:cubicBezTo>
                    <a:pt x="4033708" y="748075"/>
                    <a:pt x="4033708" y="748075"/>
                    <a:pt x="4033708" y="749588"/>
                  </a:cubicBezTo>
                  <a:lnTo>
                    <a:pt x="4033708" y="760181"/>
                  </a:lnTo>
                  <a:cubicBezTo>
                    <a:pt x="4033708" y="760181"/>
                    <a:pt x="4033708" y="760181"/>
                    <a:pt x="4034823" y="760181"/>
                  </a:cubicBezTo>
                  <a:lnTo>
                    <a:pt x="4042623" y="760181"/>
                  </a:lnTo>
                  <a:cubicBezTo>
                    <a:pt x="4042623" y="760181"/>
                    <a:pt x="4042623" y="760181"/>
                    <a:pt x="4042623" y="761314"/>
                  </a:cubicBezTo>
                  <a:lnTo>
                    <a:pt x="4042623" y="769258"/>
                  </a:lnTo>
                  <a:cubicBezTo>
                    <a:pt x="4042623" y="769258"/>
                    <a:pt x="4042623" y="769258"/>
                    <a:pt x="4041510" y="769258"/>
                  </a:cubicBezTo>
                  <a:lnTo>
                    <a:pt x="4033708" y="769258"/>
                  </a:lnTo>
                  <a:cubicBezTo>
                    <a:pt x="4033708" y="769258"/>
                    <a:pt x="4033708" y="769258"/>
                    <a:pt x="4033708" y="770772"/>
                  </a:cubicBezTo>
                  <a:lnTo>
                    <a:pt x="4033708" y="781363"/>
                  </a:lnTo>
                  <a:cubicBezTo>
                    <a:pt x="4033708" y="781363"/>
                    <a:pt x="4033708" y="781363"/>
                    <a:pt x="4034823" y="781363"/>
                  </a:cubicBezTo>
                  <a:lnTo>
                    <a:pt x="4042623" y="781363"/>
                  </a:lnTo>
                  <a:cubicBezTo>
                    <a:pt x="4042623" y="781363"/>
                    <a:pt x="4042623" y="781363"/>
                    <a:pt x="4042623" y="782876"/>
                  </a:cubicBezTo>
                  <a:lnTo>
                    <a:pt x="4042623" y="793468"/>
                  </a:lnTo>
                  <a:cubicBezTo>
                    <a:pt x="4042623" y="793468"/>
                    <a:pt x="4042623" y="793468"/>
                    <a:pt x="4041510" y="793468"/>
                  </a:cubicBezTo>
                  <a:lnTo>
                    <a:pt x="4033708" y="793468"/>
                  </a:lnTo>
                  <a:cubicBezTo>
                    <a:pt x="4033708" y="793468"/>
                    <a:pt x="4033708" y="793468"/>
                    <a:pt x="4033708" y="794981"/>
                  </a:cubicBezTo>
                  <a:lnTo>
                    <a:pt x="4033708" y="805572"/>
                  </a:lnTo>
                  <a:cubicBezTo>
                    <a:pt x="4033708" y="805572"/>
                    <a:pt x="4033708" y="805572"/>
                    <a:pt x="4034823" y="805572"/>
                  </a:cubicBezTo>
                  <a:lnTo>
                    <a:pt x="4042623" y="805572"/>
                  </a:lnTo>
                  <a:cubicBezTo>
                    <a:pt x="4042623" y="805572"/>
                    <a:pt x="4042623" y="805572"/>
                    <a:pt x="4042623" y="806707"/>
                  </a:cubicBezTo>
                  <a:lnTo>
                    <a:pt x="4042623" y="814651"/>
                  </a:lnTo>
                  <a:cubicBezTo>
                    <a:pt x="4042623" y="814651"/>
                    <a:pt x="4042623" y="814651"/>
                    <a:pt x="4041510" y="814651"/>
                  </a:cubicBezTo>
                  <a:lnTo>
                    <a:pt x="4033708" y="814651"/>
                  </a:lnTo>
                  <a:cubicBezTo>
                    <a:pt x="4033708" y="814651"/>
                    <a:pt x="4033708" y="814651"/>
                    <a:pt x="4033708" y="816163"/>
                  </a:cubicBezTo>
                  <a:lnTo>
                    <a:pt x="4033708" y="826756"/>
                  </a:lnTo>
                  <a:cubicBezTo>
                    <a:pt x="4033708" y="826756"/>
                    <a:pt x="4033708" y="826756"/>
                    <a:pt x="4058227" y="853992"/>
                  </a:cubicBezTo>
                  <a:cubicBezTo>
                    <a:pt x="4058227" y="860044"/>
                    <a:pt x="4058227" y="860044"/>
                    <a:pt x="4057113" y="860044"/>
                  </a:cubicBezTo>
                  <a:lnTo>
                    <a:pt x="4049311" y="860044"/>
                  </a:lnTo>
                  <a:cubicBezTo>
                    <a:pt x="4049311" y="860044"/>
                    <a:pt x="4049311" y="860044"/>
                    <a:pt x="4049311" y="893331"/>
                  </a:cubicBezTo>
                  <a:cubicBezTo>
                    <a:pt x="4049311" y="893331"/>
                    <a:pt x="4049311" y="893331"/>
                    <a:pt x="4050427" y="893331"/>
                  </a:cubicBezTo>
                  <a:lnTo>
                    <a:pt x="4058227" y="893331"/>
                  </a:lnTo>
                  <a:cubicBezTo>
                    <a:pt x="4058227" y="893331"/>
                    <a:pt x="4058227" y="893331"/>
                    <a:pt x="4058227" y="891440"/>
                  </a:cubicBezTo>
                  <a:lnTo>
                    <a:pt x="4058227" y="878201"/>
                  </a:lnTo>
                  <a:cubicBezTo>
                    <a:pt x="4058227" y="878201"/>
                    <a:pt x="4058227" y="878201"/>
                    <a:pt x="4059342" y="877444"/>
                  </a:cubicBezTo>
                  <a:lnTo>
                    <a:pt x="4067142" y="872149"/>
                  </a:lnTo>
                  <a:cubicBezTo>
                    <a:pt x="4067142" y="872149"/>
                    <a:pt x="4067142" y="872149"/>
                    <a:pt x="4069094" y="872149"/>
                  </a:cubicBezTo>
                  <a:lnTo>
                    <a:pt x="4082747" y="872149"/>
                  </a:lnTo>
                  <a:cubicBezTo>
                    <a:pt x="4082747" y="872149"/>
                    <a:pt x="4082747" y="872149"/>
                    <a:pt x="4082747" y="873661"/>
                  </a:cubicBezTo>
                  <a:lnTo>
                    <a:pt x="4082747" y="884253"/>
                  </a:lnTo>
                  <a:cubicBezTo>
                    <a:pt x="4082747" y="884253"/>
                    <a:pt x="4082747" y="884253"/>
                    <a:pt x="4084419" y="884253"/>
                  </a:cubicBezTo>
                  <a:lnTo>
                    <a:pt x="4096121" y="884253"/>
                  </a:lnTo>
                  <a:cubicBezTo>
                    <a:pt x="4096121" y="890305"/>
                    <a:pt x="4096121" y="890305"/>
                    <a:pt x="4097235" y="890305"/>
                  </a:cubicBezTo>
                  <a:lnTo>
                    <a:pt x="4105038" y="890305"/>
                  </a:lnTo>
                  <a:cubicBezTo>
                    <a:pt x="4105038" y="890305"/>
                    <a:pt x="4105038" y="890305"/>
                    <a:pt x="4129555" y="932671"/>
                  </a:cubicBezTo>
                  <a:cubicBezTo>
                    <a:pt x="4129555" y="932671"/>
                    <a:pt x="4129555" y="932671"/>
                    <a:pt x="4129555" y="951821"/>
                  </a:cubicBezTo>
                  <a:lnTo>
                    <a:pt x="4129555" y="970823"/>
                  </a:lnTo>
                  <a:lnTo>
                    <a:pt x="4138472" y="970823"/>
                  </a:lnTo>
                  <a:lnTo>
                    <a:pt x="4138472" y="956881"/>
                  </a:lnTo>
                  <a:cubicBezTo>
                    <a:pt x="4138472" y="956881"/>
                    <a:pt x="4138472" y="956881"/>
                    <a:pt x="4139308" y="956881"/>
                  </a:cubicBezTo>
                  <a:lnTo>
                    <a:pt x="4145159" y="956881"/>
                  </a:lnTo>
                  <a:cubicBezTo>
                    <a:pt x="4145159" y="956881"/>
                    <a:pt x="4145159" y="956881"/>
                    <a:pt x="4145159" y="958394"/>
                  </a:cubicBezTo>
                  <a:lnTo>
                    <a:pt x="4145159" y="968985"/>
                  </a:lnTo>
                  <a:cubicBezTo>
                    <a:pt x="4154075" y="972013"/>
                    <a:pt x="4154075" y="972013"/>
                    <a:pt x="4154075" y="905436"/>
                  </a:cubicBezTo>
                  <a:cubicBezTo>
                    <a:pt x="4154075" y="905436"/>
                    <a:pt x="4154075" y="905436"/>
                    <a:pt x="4191968" y="905436"/>
                  </a:cubicBezTo>
                  <a:cubicBezTo>
                    <a:pt x="4191968" y="905436"/>
                    <a:pt x="4191968" y="905436"/>
                    <a:pt x="4191968" y="808599"/>
                  </a:cubicBezTo>
                  <a:cubicBezTo>
                    <a:pt x="4191968" y="808599"/>
                    <a:pt x="4191968" y="808599"/>
                    <a:pt x="4227631" y="808599"/>
                  </a:cubicBezTo>
                  <a:cubicBezTo>
                    <a:pt x="4227631" y="808599"/>
                    <a:pt x="4227631" y="808599"/>
                    <a:pt x="4227631" y="807464"/>
                  </a:cubicBezTo>
                  <a:lnTo>
                    <a:pt x="4227631" y="799520"/>
                  </a:lnTo>
                  <a:cubicBezTo>
                    <a:pt x="4227631" y="799520"/>
                    <a:pt x="4227631" y="799520"/>
                    <a:pt x="4249922" y="799520"/>
                  </a:cubicBezTo>
                  <a:cubicBezTo>
                    <a:pt x="4249922" y="799520"/>
                    <a:pt x="4249922" y="799520"/>
                    <a:pt x="4249922" y="748075"/>
                  </a:cubicBezTo>
                  <a:cubicBezTo>
                    <a:pt x="4245463" y="748075"/>
                    <a:pt x="4245463" y="748075"/>
                    <a:pt x="4245463" y="745805"/>
                  </a:cubicBezTo>
                  <a:lnTo>
                    <a:pt x="4245463" y="729918"/>
                  </a:lnTo>
                  <a:lnTo>
                    <a:pt x="4249922" y="732945"/>
                  </a:lnTo>
                  <a:cubicBezTo>
                    <a:pt x="4249922" y="732945"/>
                    <a:pt x="4249922" y="732945"/>
                    <a:pt x="4254381" y="702682"/>
                  </a:cubicBezTo>
                  <a:cubicBezTo>
                    <a:pt x="4254381" y="702682"/>
                    <a:pt x="4254381" y="702682"/>
                    <a:pt x="4258839" y="732945"/>
                  </a:cubicBezTo>
                  <a:cubicBezTo>
                    <a:pt x="4261067" y="729918"/>
                    <a:pt x="4261067" y="729918"/>
                    <a:pt x="4261346" y="728783"/>
                  </a:cubicBezTo>
                  <a:lnTo>
                    <a:pt x="4263297" y="720840"/>
                  </a:lnTo>
                  <a:cubicBezTo>
                    <a:pt x="4263297" y="720840"/>
                    <a:pt x="4263297" y="720840"/>
                    <a:pt x="4263853" y="719327"/>
                  </a:cubicBezTo>
                  <a:lnTo>
                    <a:pt x="4267754" y="708734"/>
                  </a:lnTo>
                  <a:cubicBezTo>
                    <a:pt x="4267754" y="708734"/>
                    <a:pt x="4267754" y="708734"/>
                    <a:pt x="4268311" y="707222"/>
                  </a:cubicBezTo>
                  <a:lnTo>
                    <a:pt x="4272213" y="696631"/>
                  </a:lnTo>
                  <a:cubicBezTo>
                    <a:pt x="4272213" y="696631"/>
                    <a:pt x="4272213" y="696631"/>
                    <a:pt x="4273605" y="695495"/>
                  </a:cubicBezTo>
                  <a:lnTo>
                    <a:pt x="4283357" y="687552"/>
                  </a:lnTo>
                  <a:cubicBezTo>
                    <a:pt x="4283357" y="687552"/>
                    <a:pt x="4283357" y="687552"/>
                    <a:pt x="4285030" y="686039"/>
                  </a:cubicBezTo>
                  <a:lnTo>
                    <a:pt x="4296732" y="675447"/>
                  </a:lnTo>
                  <a:cubicBezTo>
                    <a:pt x="4296732" y="675447"/>
                    <a:pt x="4296732" y="675447"/>
                    <a:pt x="4297568" y="673934"/>
                  </a:cubicBezTo>
                  <a:lnTo>
                    <a:pt x="4303418" y="663343"/>
                  </a:lnTo>
                  <a:cubicBezTo>
                    <a:pt x="4303418" y="663343"/>
                    <a:pt x="4303418" y="663343"/>
                    <a:pt x="4303976" y="660695"/>
                  </a:cubicBezTo>
                  <a:lnTo>
                    <a:pt x="4307877" y="642159"/>
                  </a:lnTo>
                  <a:cubicBezTo>
                    <a:pt x="4307877" y="642159"/>
                    <a:pt x="4307877" y="642159"/>
                    <a:pt x="4308435" y="644807"/>
                  </a:cubicBezTo>
                  <a:lnTo>
                    <a:pt x="4312335" y="663343"/>
                  </a:lnTo>
                  <a:cubicBezTo>
                    <a:pt x="4312335" y="663343"/>
                    <a:pt x="4312335" y="663343"/>
                    <a:pt x="4312893" y="664477"/>
                  </a:cubicBezTo>
                  <a:lnTo>
                    <a:pt x="4316793" y="672421"/>
                  </a:lnTo>
                  <a:cubicBezTo>
                    <a:pt x="4316793" y="672421"/>
                    <a:pt x="4316793" y="672421"/>
                    <a:pt x="4318186" y="673934"/>
                  </a:cubicBezTo>
                  <a:lnTo>
                    <a:pt x="4327938" y="684525"/>
                  </a:lnTo>
                  <a:cubicBezTo>
                    <a:pt x="4327938" y="684525"/>
                    <a:pt x="4327938" y="684525"/>
                    <a:pt x="4329054" y="686039"/>
                  </a:cubicBezTo>
                  <a:lnTo>
                    <a:pt x="4336853" y="696631"/>
                  </a:lnTo>
                  <a:cubicBezTo>
                    <a:pt x="4336853" y="696631"/>
                    <a:pt x="4336853" y="696631"/>
                    <a:pt x="4337969" y="698143"/>
                  </a:cubicBezTo>
                  <a:lnTo>
                    <a:pt x="4345771" y="708734"/>
                  </a:lnTo>
                  <a:cubicBezTo>
                    <a:pt x="4345771" y="708734"/>
                    <a:pt x="4345771" y="708734"/>
                    <a:pt x="4346049" y="710248"/>
                  </a:cubicBezTo>
                  <a:lnTo>
                    <a:pt x="4347998" y="720840"/>
                  </a:lnTo>
                  <a:cubicBezTo>
                    <a:pt x="4347998" y="720840"/>
                    <a:pt x="4347998" y="720840"/>
                    <a:pt x="4348277" y="722352"/>
                  </a:cubicBezTo>
                  <a:lnTo>
                    <a:pt x="4350228" y="732945"/>
                  </a:lnTo>
                  <a:cubicBezTo>
                    <a:pt x="4354685" y="732945"/>
                    <a:pt x="4354685" y="732945"/>
                    <a:pt x="4356914" y="702682"/>
                  </a:cubicBezTo>
                  <a:cubicBezTo>
                    <a:pt x="4356914" y="702682"/>
                    <a:pt x="4356914" y="702682"/>
                    <a:pt x="4361373" y="732945"/>
                  </a:cubicBezTo>
                  <a:cubicBezTo>
                    <a:pt x="4365830" y="732945"/>
                    <a:pt x="4365830" y="732945"/>
                    <a:pt x="4365830" y="735214"/>
                  </a:cubicBezTo>
                  <a:lnTo>
                    <a:pt x="4365830" y="751102"/>
                  </a:lnTo>
                  <a:cubicBezTo>
                    <a:pt x="4361373" y="751102"/>
                    <a:pt x="4361373" y="751102"/>
                    <a:pt x="4361373" y="793468"/>
                  </a:cubicBezTo>
                  <a:cubicBezTo>
                    <a:pt x="4361373" y="793468"/>
                    <a:pt x="4361373" y="793468"/>
                    <a:pt x="4362489" y="793468"/>
                  </a:cubicBezTo>
                  <a:lnTo>
                    <a:pt x="4370289" y="793468"/>
                  </a:lnTo>
                  <a:cubicBezTo>
                    <a:pt x="4370289" y="799520"/>
                    <a:pt x="4370289" y="799520"/>
                    <a:pt x="4371126" y="799520"/>
                  </a:cubicBezTo>
                  <a:lnTo>
                    <a:pt x="4376976" y="799520"/>
                  </a:lnTo>
                  <a:cubicBezTo>
                    <a:pt x="4376976" y="799520"/>
                    <a:pt x="4376976" y="799520"/>
                    <a:pt x="4376976" y="798007"/>
                  </a:cubicBezTo>
                  <a:lnTo>
                    <a:pt x="4376976" y="787415"/>
                  </a:lnTo>
                  <a:cubicBezTo>
                    <a:pt x="4376976" y="787415"/>
                    <a:pt x="4376976" y="787415"/>
                    <a:pt x="4379206" y="787415"/>
                  </a:cubicBezTo>
                  <a:lnTo>
                    <a:pt x="4394808" y="787415"/>
                  </a:lnTo>
                  <a:cubicBezTo>
                    <a:pt x="4394808" y="787415"/>
                    <a:pt x="4394808" y="787415"/>
                    <a:pt x="4394808" y="784767"/>
                  </a:cubicBezTo>
                  <a:lnTo>
                    <a:pt x="4394808" y="766232"/>
                  </a:lnTo>
                  <a:cubicBezTo>
                    <a:pt x="4394808" y="766232"/>
                    <a:pt x="4394808" y="766232"/>
                    <a:pt x="4432702" y="766232"/>
                  </a:cubicBezTo>
                  <a:cubicBezTo>
                    <a:pt x="4432702" y="766232"/>
                    <a:pt x="4432702" y="766232"/>
                    <a:pt x="4432702" y="768124"/>
                  </a:cubicBezTo>
                  <a:lnTo>
                    <a:pt x="4432702" y="781363"/>
                  </a:lnTo>
                  <a:cubicBezTo>
                    <a:pt x="4432702" y="781363"/>
                    <a:pt x="4432702" y="781363"/>
                    <a:pt x="4452762" y="781363"/>
                  </a:cubicBezTo>
                  <a:cubicBezTo>
                    <a:pt x="4452762" y="781363"/>
                    <a:pt x="4452762" y="781363"/>
                    <a:pt x="4452762" y="784390"/>
                  </a:cubicBezTo>
                  <a:lnTo>
                    <a:pt x="4452762" y="805572"/>
                  </a:lnTo>
                  <a:cubicBezTo>
                    <a:pt x="4448306" y="805572"/>
                    <a:pt x="4448306" y="805572"/>
                    <a:pt x="4448306" y="806707"/>
                  </a:cubicBezTo>
                  <a:lnTo>
                    <a:pt x="4448306" y="814651"/>
                  </a:lnTo>
                  <a:cubicBezTo>
                    <a:pt x="4452762" y="814651"/>
                    <a:pt x="4452762" y="814651"/>
                    <a:pt x="4452762" y="816921"/>
                  </a:cubicBezTo>
                  <a:lnTo>
                    <a:pt x="4452762" y="832808"/>
                  </a:lnTo>
                  <a:lnTo>
                    <a:pt x="4448306" y="838860"/>
                  </a:lnTo>
                  <a:cubicBezTo>
                    <a:pt x="4448306" y="838860"/>
                    <a:pt x="4448306" y="838860"/>
                    <a:pt x="4448306" y="911488"/>
                  </a:cubicBezTo>
                  <a:cubicBezTo>
                    <a:pt x="4448306" y="911488"/>
                    <a:pt x="4448306" y="911488"/>
                    <a:pt x="4450255" y="911488"/>
                  </a:cubicBezTo>
                  <a:lnTo>
                    <a:pt x="4463908" y="911488"/>
                  </a:lnTo>
                  <a:cubicBezTo>
                    <a:pt x="4463908" y="917540"/>
                    <a:pt x="4463908" y="917540"/>
                    <a:pt x="4465579" y="917540"/>
                  </a:cubicBezTo>
                  <a:lnTo>
                    <a:pt x="4477282" y="917540"/>
                  </a:lnTo>
                  <a:cubicBezTo>
                    <a:pt x="4477282" y="917540"/>
                    <a:pt x="4477282" y="917540"/>
                    <a:pt x="4477282" y="920188"/>
                  </a:cubicBezTo>
                  <a:lnTo>
                    <a:pt x="4477282" y="938724"/>
                  </a:lnTo>
                  <a:cubicBezTo>
                    <a:pt x="4477282" y="938724"/>
                    <a:pt x="4477282" y="938724"/>
                    <a:pt x="4478955" y="938724"/>
                  </a:cubicBezTo>
                  <a:lnTo>
                    <a:pt x="4490656" y="938724"/>
                  </a:lnTo>
                  <a:cubicBezTo>
                    <a:pt x="4490656" y="938724"/>
                    <a:pt x="4490656" y="938724"/>
                    <a:pt x="4490656" y="936076"/>
                  </a:cubicBezTo>
                  <a:lnTo>
                    <a:pt x="4490656" y="917540"/>
                  </a:lnTo>
                  <a:cubicBezTo>
                    <a:pt x="4490656" y="917540"/>
                    <a:pt x="4490656" y="917540"/>
                    <a:pt x="4492605" y="916028"/>
                  </a:cubicBezTo>
                  <a:lnTo>
                    <a:pt x="4506258" y="905436"/>
                  </a:lnTo>
                  <a:cubicBezTo>
                    <a:pt x="4506258" y="905436"/>
                    <a:pt x="4506258" y="905436"/>
                    <a:pt x="4506258" y="878201"/>
                  </a:cubicBezTo>
                  <a:cubicBezTo>
                    <a:pt x="4501802" y="878201"/>
                    <a:pt x="4501802" y="878201"/>
                    <a:pt x="4501802" y="847938"/>
                  </a:cubicBezTo>
                  <a:cubicBezTo>
                    <a:pt x="4501802" y="847938"/>
                    <a:pt x="4501802" y="847938"/>
                    <a:pt x="4502914" y="847938"/>
                  </a:cubicBezTo>
                  <a:lnTo>
                    <a:pt x="4510717" y="847938"/>
                  </a:lnTo>
                  <a:cubicBezTo>
                    <a:pt x="4510717" y="844913"/>
                    <a:pt x="4510717" y="844913"/>
                    <a:pt x="4530778" y="844913"/>
                  </a:cubicBezTo>
                  <a:cubicBezTo>
                    <a:pt x="4530778" y="844913"/>
                    <a:pt x="4530778" y="844913"/>
                    <a:pt x="4530778" y="843399"/>
                  </a:cubicBezTo>
                  <a:lnTo>
                    <a:pt x="4530778" y="832808"/>
                  </a:lnTo>
                  <a:cubicBezTo>
                    <a:pt x="4530778" y="832808"/>
                    <a:pt x="4530778" y="832808"/>
                    <a:pt x="4532451" y="832808"/>
                  </a:cubicBezTo>
                  <a:lnTo>
                    <a:pt x="4544152" y="832808"/>
                  </a:lnTo>
                  <a:cubicBezTo>
                    <a:pt x="4544152" y="832808"/>
                    <a:pt x="4544152" y="832808"/>
                    <a:pt x="4544152" y="681500"/>
                  </a:cubicBezTo>
                  <a:cubicBezTo>
                    <a:pt x="4544152" y="681500"/>
                    <a:pt x="4544152" y="681500"/>
                    <a:pt x="4545267" y="681500"/>
                  </a:cubicBezTo>
                  <a:lnTo>
                    <a:pt x="4553068" y="681500"/>
                  </a:lnTo>
                  <a:cubicBezTo>
                    <a:pt x="4553068" y="681500"/>
                    <a:pt x="4553068" y="681500"/>
                    <a:pt x="4553068" y="678473"/>
                  </a:cubicBezTo>
                  <a:lnTo>
                    <a:pt x="4553068" y="657290"/>
                  </a:lnTo>
                  <a:cubicBezTo>
                    <a:pt x="4555298" y="657290"/>
                    <a:pt x="4555298" y="657290"/>
                    <a:pt x="4555298" y="596766"/>
                  </a:cubicBezTo>
                  <a:cubicBezTo>
                    <a:pt x="4555298" y="596766"/>
                    <a:pt x="4555298" y="596766"/>
                    <a:pt x="4556412" y="596766"/>
                  </a:cubicBezTo>
                  <a:lnTo>
                    <a:pt x="4564213" y="596766"/>
                  </a:lnTo>
                  <a:cubicBezTo>
                    <a:pt x="4564213" y="596766"/>
                    <a:pt x="4564213" y="596766"/>
                    <a:pt x="4564213" y="598280"/>
                  </a:cubicBezTo>
                  <a:lnTo>
                    <a:pt x="4564213" y="608871"/>
                  </a:lnTo>
                  <a:cubicBezTo>
                    <a:pt x="4568671" y="608871"/>
                    <a:pt x="4568671" y="608871"/>
                    <a:pt x="4568671" y="605845"/>
                  </a:cubicBezTo>
                  <a:lnTo>
                    <a:pt x="4568671" y="584662"/>
                  </a:lnTo>
                  <a:cubicBezTo>
                    <a:pt x="4568671" y="584662"/>
                    <a:pt x="4568671" y="584662"/>
                    <a:pt x="4570065" y="583906"/>
                  </a:cubicBezTo>
                  <a:lnTo>
                    <a:pt x="4579816" y="578610"/>
                  </a:lnTo>
                  <a:cubicBezTo>
                    <a:pt x="4579816" y="578610"/>
                    <a:pt x="4579816" y="578610"/>
                    <a:pt x="4580930" y="579367"/>
                  </a:cubicBezTo>
                  <a:lnTo>
                    <a:pt x="4588733" y="584662"/>
                  </a:lnTo>
                  <a:cubicBezTo>
                    <a:pt x="4588733" y="584662"/>
                    <a:pt x="4588733" y="584662"/>
                    <a:pt x="4590404" y="584662"/>
                  </a:cubicBezTo>
                  <a:lnTo>
                    <a:pt x="4602107" y="584662"/>
                  </a:lnTo>
                  <a:cubicBezTo>
                    <a:pt x="4602107" y="584662"/>
                    <a:pt x="4602107" y="584662"/>
                    <a:pt x="4602107" y="545322"/>
                  </a:cubicBezTo>
                  <a:cubicBezTo>
                    <a:pt x="4602107" y="545322"/>
                    <a:pt x="4602107" y="545322"/>
                    <a:pt x="4603221" y="545322"/>
                  </a:cubicBezTo>
                  <a:lnTo>
                    <a:pt x="4611021" y="545322"/>
                  </a:lnTo>
                  <a:cubicBezTo>
                    <a:pt x="4611021" y="551375"/>
                    <a:pt x="4611021" y="551375"/>
                    <a:pt x="4612414" y="551375"/>
                  </a:cubicBezTo>
                  <a:lnTo>
                    <a:pt x="4622169" y="551375"/>
                  </a:lnTo>
                  <a:cubicBezTo>
                    <a:pt x="4622169" y="545322"/>
                    <a:pt x="4622169" y="545322"/>
                    <a:pt x="4623282" y="545322"/>
                  </a:cubicBezTo>
                  <a:lnTo>
                    <a:pt x="4631084" y="545322"/>
                  </a:lnTo>
                  <a:cubicBezTo>
                    <a:pt x="4631084" y="545322"/>
                    <a:pt x="4631084" y="545322"/>
                    <a:pt x="4631084" y="590714"/>
                  </a:cubicBezTo>
                  <a:cubicBezTo>
                    <a:pt x="4631084" y="590714"/>
                    <a:pt x="4631084" y="590714"/>
                    <a:pt x="4632477" y="592227"/>
                  </a:cubicBezTo>
                  <a:lnTo>
                    <a:pt x="4642230" y="602819"/>
                  </a:lnTo>
                  <a:cubicBezTo>
                    <a:pt x="4640000" y="611898"/>
                    <a:pt x="4640000" y="611898"/>
                    <a:pt x="4664518" y="611898"/>
                  </a:cubicBezTo>
                  <a:cubicBezTo>
                    <a:pt x="4664518" y="611898"/>
                    <a:pt x="4664518" y="611898"/>
                    <a:pt x="4664518" y="610007"/>
                  </a:cubicBezTo>
                  <a:lnTo>
                    <a:pt x="4664518" y="596766"/>
                  </a:lnTo>
                  <a:cubicBezTo>
                    <a:pt x="4664518" y="596766"/>
                    <a:pt x="4664518" y="596766"/>
                    <a:pt x="4693496" y="584662"/>
                  </a:cubicBezTo>
                  <a:cubicBezTo>
                    <a:pt x="4693496" y="584662"/>
                    <a:pt x="4693496" y="584662"/>
                    <a:pt x="4693496" y="583150"/>
                  </a:cubicBezTo>
                  <a:lnTo>
                    <a:pt x="4693496" y="572557"/>
                  </a:lnTo>
                  <a:cubicBezTo>
                    <a:pt x="4693496" y="572557"/>
                    <a:pt x="4693496" y="572557"/>
                    <a:pt x="4694332" y="572557"/>
                  </a:cubicBezTo>
                  <a:lnTo>
                    <a:pt x="4700182" y="572557"/>
                  </a:lnTo>
                  <a:cubicBezTo>
                    <a:pt x="4700182" y="572557"/>
                    <a:pt x="4700182" y="572557"/>
                    <a:pt x="4700182" y="571423"/>
                  </a:cubicBezTo>
                  <a:lnTo>
                    <a:pt x="4700182" y="563479"/>
                  </a:lnTo>
                  <a:cubicBezTo>
                    <a:pt x="4700182" y="563479"/>
                    <a:pt x="4700182" y="563479"/>
                    <a:pt x="4702412" y="563479"/>
                  </a:cubicBezTo>
                  <a:lnTo>
                    <a:pt x="4718014" y="563479"/>
                  </a:lnTo>
                  <a:cubicBezTo>
                    <a:pt x="4718014" y="563479"/>
                    <a:pt x="4718014" y="563479"/>
                    <a:pt x="4718014" y="564614"/>
                  </a:cubicBezTo>
                  <a:lnTo>
                    <a:pt x="4718014" y="572557"/>
                  </a:lnTo>
                  <a:cubicBezTo>
                    <a:pt x="4718014" y="572557"/>
                    <a:pt x="4718014" y="572557"/>
                    <a:pt x="4719686" y="572557"/>
                  </a:cubicBezTo>
                  <a:lnTo>
                    <a:pt x="4731390" y="572557"/>
                  </a:lnTo>
                  <a:cubicBezTo>
                    <a:pt x="4731390" y="572557"/>
                    <a:pt x="4731390" y="572557"/>
                    <a:pt x="4731390" y="574828"/>
                  </a:cubicBezTo>
                  <a:lnTo>
                    <a:pt x="4731390" y="590714"/>
                  </a:lnTo>
                  <a:cubicBezTo>
                    <a:pt x="4731390" y="590714"/>
                    <a:pt x="4731390" y="590714"/>
                    <a:pt x="4755908" y="590714"/>
                  </a:cubicBezTo>
                  <a:cubicBezTo>
                    <a:pt x="4755908" y="590714"/>
                    <a:pt x="4755908" y="590714"/>
                    <a:pt x="4755908" y="589202"/>
                  </a:cubicBezTo>
                  <a:lnTo>
                    <a:pt x="4755908" y="578610"/>
                  </a:lnTo>
                  <a:cubicBezTo>
                    <a:pt x="4755908" y="578610"/>
                    <a:pt x="4755908" y="578610"/>
                    <a:pt x="4757302" y="578610"/>
                  </a:cubicBezTo>
                  <a:lnTo>
                    <a:pt x="4767053" y="578610"/>
                  </a:lnTo>
                  <a:cubicBezTo>
                    <a:pt x="4767053" y="578610"/>
                    <a:pt x="4767053" y="578610"/>
                    <a:pt x="4767053" y="577096"/>
                  </a:cubicBezTo>
                  <a:lnTo>
                    <a:pt x="4767053" y="566505"/>
                  </a:lnTo>
                  <a:cubicBezTo>
                    <a:pt x="4767053" y="566505"/>
                    <a:pt x="4767053" y="566505"/>
                    <a:pt x="4768725" y="566505"/>
                  </a:cubicBezTo>
                  <a:lnTo>
                    <a:pt x="4780426" y="566505"/>
                  </a:lnTo>
                  <a:cubicBezTo>
                    <a:pt x="4780426" y="566505"/>
                    <a:pt x="4780426" y="566505"/>
                    <a:pt x="4780426" y="568018"/>
                  </a:cubicBezTo>
                  <a:lnTo>
                    <a:pt x="4780426" y="578610"/>
                  </a:lnTo>
                  <a:cubicBezTo>
                    <a:pt x="4784886" y="578610"/>
                    <a:pt x="4784886" y="578610"/>
                    <a:pt x="4784886" y="505982"/>
                  </a:cubicBezTo>
                  <a:cubicBezTo>
                    <a:pt x="4784886" y="505982"/>
                    <a:pt x="4784886" y="505982"/>
                    <a:pt x="4885191" y="505982"/>
                  </a:cubicBezTo>
                  <a:cubicBezTo>
                    <a:pt x="4885191" y="505982"/>
                    <a:pt x="4885191" y="505982"/>
                    <a:pt x="4885191" y="602819"/>
                  </a:cubicBezTo>
                  <a:cubicBezTo>
                    <a:pt x="4885191" y="602819"/>
                    <a:pt x="4885191" y="602819"/>
                    <a:pt x="4887420" y="602819"/>
                  </a:cubicBezTo>
                  <a:lnTo>
                    <a:pt x="4903022" y="602819"/>
                  </a:lnTo>
                  <a:cubicBezTo>
                    <a:pt x="4903022" y="602819"/>
                    <a:pt x="4903022" y="602819"/>
                    <a:pt x="4903022" y="493877"/>
                  </a:cubicBezTo>
                  <a:cubicBezTo>
                    <a:pt x="4903022" y="493877"/>
                    <a:pt x="4903022" y="493877"/>
                    <a:pt x="4925313" y="478746"/>
                  </a:cubicBezTo>
                  <a:cubicBezTo>
                    <a:pt x="4925313" y="478746"/>
                    <a:pt x="4925313" y="478746"/>
                    <a:pt x="4954291" y="478746"/>
                  </a:cubicBezTo>
                  <a:cubicBezTo>
                    <a:pt x="4954291" y="478746"/>
                    <a:pt x="4954291" y="478746"/>
                    <a:pt x="4956242" y="476477"/>
                  </a:cubicBezTo>
                  <a:lnTo>
                    <a:pt x="4969893" y="460589"/>
                  </a:lnTo>
                  <a:cubicBezTo>
                    <a:pt x="4969893" y="460589"/>
                    <a:pt x="4969893" y="460589"/>
                    <a:pt x="5007787" y="460589"/>
                  </a:cubicBezTo>
                  <a:cubicBezTo>
                    <a:pt x="5007787" y="460589"/>
                    <a:pt x="5007787" y="460589"/>
                    <a:pt x="5007787" y="462859"/>
                  </a:cubicBezTo>
                  <a:lnTo>
                    <a:pt x="5007787" y="478746"/>
                  </a:lnTo>
                  <a:cubicBezTo>
                    <a:pt x="5007787" y="478746"/>
                    <a:pt x="5007787" y="478746"/>
                    <a:pt x="5045681" y="478746"/>
                  </a:cubicBezTo>
                  <a:cubicBezTo>
                    <a:pt x="5045681" y="478746"/>
                    <a:pt x="5045681" y="478746"/>
                    <a:pt x="5045681" y="596766"/>
                  </a:cubicBezTo>
                  <a:cubicBezTo>
                    <a:pt x="5045681" y="596766"/>
                    <a:pt x="5045681" y="596766"/>
                    <a:pt x="5047073" y="596766"/>
                  </a:cubicBezTo>
                  <a:lnTo>
                    <a:pt x="5056825" y="596766"/>
                  </a:lnTo>
                  <a:cubicBezTo>
                    <a:pt x="5056825" y="596766"/>
                    <a:pt x="5056825" y="596766"/>
                    <a:pt x="5056825" y="769258"/>
                  </a:cubicBezTo>
                  <a:cubicBezTo>
                    <a:pt x="5056825" y="769258"/>
                    <a:pt x="5056825" y="769258"/>
                    <a:pt x="5059053" y="769258"/>
                  </a:cubicBezTo>
                  <a:lnTo>
                    <a:pt x="5074657" y="769258"/>
                  </a:lnTo>
                  <a:cubicBezTo>
                    <a:pt x="5074657" y="769258"/>
                    <a:pt x="5074657" y="769258"/>
                    <a:pt x="5074657" y="657290"/>
                  </a:cubicBezTo>
                  <a:cubicBezTo>
                    <a:pt x="5074657" y="657290"/>
                    <a:pt x="5074657" y="657290"/>
                    <a:pt x="5075493" y="656533"/>
                  </a:cubicBezTo>
                  <a:lnTo>
                    <a:pt x="5081344" y="651238"/>
                  </a:lnTo>
                  <a:cubicBezTo>
                    <a:pt x="5085802" y="651238"/>
                    <a:pt x="5085802" y="651238"/>
                    <a:pt x="5085802" y="652750"/>
                  </a:cubicBezTo>
                  <a:lnTo>
                    <a:pt x="5085802" y="663343"/>
                  </a:lnTo>
                  <a:cubicBezTo>
                    <a:pt x="5085802" y="663343"/>
                    <a:pt x="5085802" y="663343"/>
                    <a:pt x="5088030" y="661829"/>
                  </a:cubicBezTo>
                  <a:lnTo>
                    <a:pt x="5103634" y="651238"/>
                  </a:lnTo>
                  <a:cubicBezTo>
                    <a:pt x="5103634" y="651238"/>
                    <a:pt x="5103634" y="651238"/>
                    <a:pt x="5105585" y="651238"/>
                  </a:cubicBezTo>
                  <a:lnTo>
                    <a:pt x="5119237" y="651238"/>
                  </a:lnTo>
                  <a:cubicBezTo>
                    <a:pt x="5119237" y="651238"/>
                    <a:pt x="5119237" y="651238"/>
                    <a:pt x="5119237" y="857017"/>
                  </a:cubicBezTo>
                  <a:cubicBezTo>
                    <a:pt x="5119237" y="857017"/>
                    <a:pt x="5119237" y="857017"/>
                    <a:pt x="5150444" y="863070"/>
                  </a:cubicBezTo>
                  <a:cubicBezTo>
                    <a:pt x="5150444" y="860044"/>
                    <a:pt x="5150444" y="857017"/>
                    <a:pt x="5150444" y="853992"/>
                  </a:cubicBezTo>
                  <a:cubicBezTo>
                    <a:pt x="5161589" y="853992"/>
                    <a:pt x="5172733" y="853992"/>
                    <a:pt x="5183878" y="853992"/>
                  </a:cubicBezTo>
                  <a:cubicBezTo>
                    <a:pt x="5183878" y="838860"/>
                    <a:pt x="5183878" y="826756"/>
                    <a:pt x="5183878" y="814651"/>
                  </a:cubicBezTo>
                  <a:lnTo>
                    <a:pt x="5192794" y="814651"/>
                  </a:lnTo>
                  <a:cubicBezTo>
                    <a:pt x="5192794" y="796494"/>
                    <a:pt x="5192794" y="781363"/>
                    <a:pt x="5192794" y="763206"/>
                  </a:cubicBezTo>
                  <a:cubicBezTo>
                    <a:pt x="5195024" y="763206"/>
                    <a:pt x="5197254" y="763206"/>
                    <a:pt x="5199482" y="763206"/>
                  </a:cubicBezTo>
                  <a:cubicBezTo>
                    <a:pt x="5199482" y="745049"/>
                    <a:pt x="5199482" y="729918"/>
                    <a:pt x="5199482" y="711761"/>
                  </a:cubicBezTo>
                  <a:cubicBezTo>
                    <a:pt x="5203940" y="711761"/>
                    <a:pt x="5208398" y="711761"/>
                    <a:pt x="5215086" y="711761"/>
                  </a:cubicBezTo>
                  <a:cubicBezTo>
                    <a:pt x="5230688" y="705709"/>
                    <a:pt x="5248520" y="693604"/>
                    <a:pt x="5264122" y="684525"/>
                  </a:cubicBezTo>
                  <a:cubicBezTo>
                    <a:pt x="5266352" y="675447"/>
                    <a:pt x="5266352" y="666368"/>
                    <a:pt x="5266352" y="657290"/>
                  </a:cubicBezTo>
                  <a:cubicBezTo>
                    <a:pt x="5268582" y="666368"/>
                    <a:pt x="5268582" y="675447"/>
                    <a:pt x="5270810" y="684525"/>
                  </a:cubicBezTo>
                  <a:cubicBezTo>
                    <a:pt x="5288642" y="696631"/>
                    <a:pt x="5304245" y="708734"/>
                    <a:pt x="5322078" y="720840"/>
                  </a:cubicBezTo>
                  <a:cubicBezTo>
                    <a:pt x="5322078" y="717821"/>
                    <a:pt x="5322078" y="714803"/>
                    <a:pt x="5322078" y="714788"/>
                  </a:cubicBezTo>
                  <a:cubicBezTo>
                    <a:pt x="5326534" y="714788"/>
                    <a:pt x="5330994" y="714788"/>
                    <a:pt x="5335452" y="714788"/>
                  </a:cubicBezTo>
                  <a:cubicBezTo>
                    <a:pt x="5335452" y="729918"/>
                    <a:pt x="5335452" y="748075"/>
                    <a:pt x="5335452" y="763206"/>
                  </a:cubicBezTo>
                  <a:cubicBezTo>
                    <a:pt x="5337681" y="763206"/>
                    <a:pt x="5339909" y="763206"/>
                    <a:pt x="5342138" y="763206"/>
                  </a:cubicBezTo>
                  <a:lnTo>
                    <a:pt x="5342138" y="801467"/>
                  </a:lnTo>
                  <a:lnTo>
                    <a:pt x="5377917" y="790806"/>
                  </a:lnTo>
                  <a:cubicBezTo>
                    <a:pt x="5411603" y="790806"/>
                    <a:pt x="5445289" y="790806"/>
                    <a:pt x="5478973" y="790806"/>
                  </a:cubicBezTo>
                  <a:cubicBezTo>
                    <a:pt x="5478973" y="725949"/>
                    <a:pt x="5478973" y="661090"/>
                    <a:pt x="5478973" y="596233"/>
                  </a:cubicBezTo>
                  <a:cubicBezTo>
                    <a:pt x="5486748" y="590828"/>
                    <a:pt x="5497114" y="588126"/>
                    <a:pt x="5507479" y="582720"/>
                  </a:cubicBezTo>
                  <a:cubicBezTo>
                    <a:pt x="5548938" y="577316"/>
                    <a:pt x="5590398" y="569208"/>
                    <a:pt x="5631857" y="561101"/>
                  </a:cubicBezTo>
                  <a:cubicBezTo>
                    <a:pt x="5647405" y="566506"/>
                    <a:pt x="5660362" y="571911"/>
                    <a:pt x="5675909" y="574613"/>
                  </a:cubicBezTo>
                  <a:cubicBezTo>
                    <a:pt x="5678501" y="577316"/>
                    <a:pt x="5681091" y="580019"/>
                    <a:pt x="5683682" y="582720"/>
                  </a:cubicBezTo>
                  <a:lnTo>
                    <a:pt x="5683682" y="833084"/>
                  </a:lnTo>
                  <a:lnTo>
                    <a:pt x="5701821" y="873985"/>
                  </a:lnTo>
                  <a:lnTo>
                    <a:pt x="5701821" y="798914"/>
                  </a:lnTo>
                  <a:cubicBezTo>
                    <a:pt x="5707004" y="798914"/>
                    <a:pt x="5712186" y="798914"/>
                    <a:pt x="5717369" y="798914"/>
                  </a:cubicBezTo>
                  <a:cubicBezTo>
                    <a:pt x="5717369" y="793509"/>
                    <a:pt x="5717369" y="790806"/>
                    <a:pt x="5717369" y="785402"/>
                  </a:cubicBezTo>
                  <a:cubicBezTo>
                    <a:pt x="5722551" y="782699"/>
                    <a:pt x="5727734" y="779997"/>
                    <a:pt x="5732917" y="777295"/>
                  </a:cubicBezTo>
                  <a:lnTo>
                    <a:pt x="5745871" y="777295"/>
                  </a:lnTo>
                  <a:cubicBezTo>
                    <a:pt x="5745871" y="771890"/>
                    <a:pt x="5745871" y="769187"/>
                    <a:pt x="5745871" y="763783"/>
                  </a:cubicBezTo>
                  <a:cubicBezTo>
                    <a:pt x="5748464" y="761080"/>
                    <a:pt x="5753646" y="758377"/>
                    <a:pt x="5756236" y="755675"/>
                  </a:cubicBezTo>
                  <a:cubicBezTo>
                    <a:pt x="5764011" y="755675"/>
                    <a:pt x="5774376" y="755675"/>
                    <a:pt x="5782151" y="755675"/>
                  </a:cubicBezTo>
                  <a:cubicBezTo>
                    <a:pt x="5782151" y="769187"/>
                    <a:pt x="5782151" y="785402"/>
                    <a:pt x="5782151" y="798914"/>
                  </a:cubicBezTo>
                  <a:cubicBezTo>
                    <a:pt x="5800289" y="798914"/>
                    <a:pt x="5818428" y="798914"/>
                    <a:pt x="5836566" y="798914"/>
                  </a:cubicBezTo>
                  <a:cubicBezTo>
                    <a:pt x="5836566" y="850260"/>
                    <a:pt x="5836566" y="898903"/>
                    <a:pt x="5836566" y="950250"/>
                  </a:cubicBezTo>
                  <a:cubicBezTo>
                    <a:pt x="5844340" y="950250"/>
                    <a:pt x="5852114" y="950250"/>
                    <a:pt x="5857295" y="950250"/>
                  </a:cubicBezTo>
                  <a:cubicBezTo>
                    <a:pt x="5865070" y="947547"/>
                    <a:pt x="5870253" y="944844"/>
                    <a:pt x="5878025" y="942143"/>
                  </a:cubicBezTo>
                  <a:cubicBezTo>
                    <a:pt x="5878025" y="936737"/>
                    <a:pt x="5878025" y="934035"/>
                    <a:pt x="5878025" y="931332"/>
                  </a:cubicBezTo>
                  <a:cubicBezTo>
                    <a:pt x="5875435" y="931332"/>
                    <a:pt x="5872843" y="928630"/>
                    <a:pt x="5870253" y="928630"/>
                  </a:cubicBezTo>
                  <a:cubicBezTo>
                    <a:pt x="5870253" y="925928"/>
                    <a:pt x="5870253" y="923225"/>
                    <a:pt x="5870253" y="920522"/>
                  </a:cubicBezTo>
                  <a:cubicBezTo>
                    <a:pt x="5872843" y="917821"/>
                    <a:pt x="5875435" y="917821"/>
                    <a:pt x="5878025" y="915118"/>
                  </a:cubicBezTo>
                  <a:cubicBezTo>
                    <a:pt x="5878025" y="896202"/>
                    <a:pt x="5878025" y="874581"/>
                    <a:pt x="5878025" y="855665"/>
                  </a:cubicBezTo>
                  <a:cubicBezTo>
                    <a:pt x="5875435" y="855665"/>
                    <a:pt x="5872843" y="852962"/>
                    <a:pt x="5870253" y="852962"/>
                  </a:cubicBezTo>
                  <a:cubicBezTo>
                    <a:pt x="5870253" y="850260"/>
                    <a:pt x="5870253" y="847558"/>
                    <a:pt x="5870253" y="844855"/>
                  </a:cubicBezTo>
                  <a:cubicBezTo>
                    <a:pt x="5872843" y="842153"/>
                    <a:pt x="5875435" y="842153"/>
                    <a:pt x="5878025" y="839450"/>
                  </a:cubicBezTo>
                  <a:lnTo>
                    <a:pt x="5883208" y="834046"/>
                  </a:lnTo>
                  <a:lnTo>
                    <a:pt x="5883208" y="823236"/>
                  </a:lnTo>
                  <a:cubicBezTo>
                    <a:pt x="5880618" y="823236"/>
                    <a:pt x="5880618" y="823236"/>
                    <a:pt x="5878025" y="823236"/>
                  </a:cubicBezTo>
                  <a:cubicBezTo>
                    <a:pt x="5878025" y="820533"/>
                    <a:pt x="5878025" y="817831"/>
                    <a:pt x="5878025" y="815128"/>
                  </a:cubicBezTo>
                  <a:cubicBezTo>
                    <a:pt x="5880618" y="815128"/>
                    <a:pt x="5883208" y="812426"/>
                    <a:pt x="5885800" y="809724"/>
                  </a:cubicBezTo>
                  <a:cubicBezTo>
                    <a:pt x="5888390" y="777295"/>
                    <a:pt x="5896165" y="750271"/>
                    <a:pt x="5927259" y="734056"/>
                  </a:cubicBezTo>
                  <a:cubicBezTo>
                    <a:pt x="5924668" y="734056"/>
                    <a:pt x="5924668" y="731353"/>
                    <a:pt x="5922077" y="731353"/>
                  </a:cubicBezTo>
                  <a:cubicBezTo>
                    <a:pt x="5922077" y="728651"/>
                    <a:pt x="5922077" y="725949"/>
                    <a:pt x="5922077" y="723246"/>
                  </a:cubicBezTo>
                  <a:cubicBezTo>
                    <a:pt x="5924668" y="723246"/>
                    <a:pt x="5927259" y="720543"/>
                    <a:pt x="5929850" y="720543"/>
                  </a:cubicBezTo>
                  <a:cubicBezTo>
                    <a:pt x="5929850" y="715139"/>
                    <a:pt x="5929850" y="712436"/>
                    <a:pt x="5929850" y="709734"/>
                  </a:cubicBezTo>
                  <a:cubicBezTo>
                    <a:pt x="5932442" y="709734"/>
                    <a:pt x="5932442" y="709734"/>
                    <a:pt x="5935033" y="709734"/>
                  </a:cubicBezTo>
                  <a:cubicBezTo>
                    <a:pt x="5935033" y="701627"/>
                    <a:pt x="5935033" y="693520"/>
                    <a:pt x="5935033" y="685412"/>
                  </a:cubicBezTo>
                  <a:cubicBezTo>
                    <a:pt x="5932442" y="685412"/>
                    <a:pt x="5932442" y="685412"/>
                    <a:pt x="5929850" y="685412"/>
                  </a:cubicBezTo>
                  <a:cubicBezTo>
                    <a:pt x="5929850" y="682710"/>
                    <a:pt x="5929850" y="682710"/>
                    <a:pt x="5929850" y="680008"/>
                  </a:cubicBezTo>
                  <a:lnTo>
                    <a:pt x="5935033" y="677305"/>
                  </a:lnTo>
                  <a:cubicBezTo>
                    <a:pt x="5940215" y="671901"/>
                    <a:pt x="5942806" y="666495"/>
                    <a:pt x="5947989" y="658388"/>
                  </a:cubicBezTo>
                  <a:cubicBezTo>
                    <a:pt x="5950579" y="652983"/>
                    <a:pt x="5950579" y="650281"/>
                    <a:pt x="5950579" y="647579"/>
                  </a:cubicBezTo>
                  <a:cubicBezTo>
                    <a:pt x="5945398" y="639471"/>
                    <a:pt x="5945398" y="625960"/>
                    <a:pt x="5950579" y="617852"/>
                  </a:cubicBezTo>
                  <a:cubicBezTo>
                    <a:pt x="5950581" y="617849"/>
                    <a:pt x="5950598" y="617795"/>
                    <a:pt x="5950904" y="616838"/>
                  </a:cubicBezTo>
                  <a:lnTo>
                    <a:pt x="5953171" y="609745"/>
                  </a:lnTo>
                  <a:cubicBezTo>
                    <a:pt x="5953173" y="609748"/>
                    <a:pt x="5953190" y="609802"/>
                    <a:pt x="5953495" y="610759"/>
                  </a:cubicBezTo>
                  <a:lnTo>
                    <a:pt x="5955763" y="617852"/>
                  </a:lnTo>
                  <a:cubicBezTo>
                    <a:pt x="5960944" y="625960"/>
                    <a:pt x="5963537" y="639471"/>
                    <a:pt x="5958354" y="647579"/>
                  </a:cubicBezTo>
                  <a:cubicBezTo>
                    <a:pt x="5958354" y="650281"/>
                    <a:pt x="5958354" y="652983"/>
                    <a:pt x="5958354" y="655686"/>
                  </a:cubicBezTo>
                  <a:cubicBezTo>
                    <a:pt x="5963537" y="663793"/>
                    <a:pt x="5968719" y="671901"/>
                    <a:pt x="5971311" y="677305"/>
                  </a:cubicBezTo>
                  <a:cubicBezTo>
                    <a:pt x="5973903" y="677305"/>
                    <a:pt x="5973903" y="680008"/>
                    <a:pt x="5976494" y="680008"/>
                  </a:cubicBezTo>
                  <a:cubicBezTo>
                    <a:pt x="5976494" y="682710"/>
                    <a:pt x="5976494" y="682710"/>
                    <a:pt x="5976494" y="685412"/>
                  </a:cubicBezTo>
                  <a:cubicBezTo>
                    <a:pt x="5973903" y="693520"/>
                    <a:pt x="5973903" y="701627"/>
                    <a:pt x="5973903" y="709734"/>
                  </a:cubicBezTo>
                  <a:cubicBezTo>
                    <a:pt x="5979084" y="712436"/>
                    <a:pt x="5979084" y="715139"/>
                    <a:pt x="5979084" y="720543"/>
                  </a:cubicBezTo>
                  <a:lnTo>
                    <a:pt x="5984268" y="723246"/>
                  </a:lnTo>
                  <a:cubicBezTo>
                    <a:pt x="5984268" y="725949"/>
                    <a:pt x="5984268" y="728651"/>
                    <a:pt x="5984268" y="731353"/>
                  </a:cubicBezTo>
                  <a:cubicBezTo>
                    <a:pt x="5981676" y="734056"/>
                    <a:pt x="5981676" y="734056"/>
                    <a:pt x="5979084" y="734056"/>
                  </a:cubicBezTo>
                  <a:lnTo>
                    <a:pt x="5999269" y="755105"/>
                  </a:lnTo>
                  <a:lnTo>
                    <a:pt x="5999269" y="627662"/>
                  </a:lnTo>
                  <a:lnTo>
                    <a:pt x="5999299" y="627662"/>
                  </a:lnTo>
                  <a:cubicBezTo>
                    <a:pt x="6004989" y="627662"/>
                    <a:pt x="6016130" y="627662"/>
                    <a:pt x="6037948" y="627662"/>
                  </a:cubicBezTo>
                  <a:cubicBezTo>
                    <a:pt x="6037948" y="627654"/>
                    <a:pt x="6037948" y="627557"/>
                    <a:pt x="6037948" y="626311"/>
                  </a:cubicBezTo>
                  <a:lnTo>
                    <a:pt x="6037948" y="616853"/>
                  </a:lnTo>
                  <a:cubicBezTo>
                    <a:pt x="6037954" y="616853"/>
                    <a:pt x="6038029" y="616853"/>
                    <a:pt x="6038962" y="616853"/>
                  </a:cubicBezTo>
                  <a:lnTo>
                    <a:pt x="6046055" y="616853"/>
                  </a:lnTo>
                  <a:cubicBezTo>
                    <a:pt x="6046055" y="616846"/>
                    <a:pt x="6046055" y="616733"/>
                    <a:pt x="6046055" y="614962"/>
                  </a:cubicBezTo>
                  <a:lnTo>
                    <a:pt x="6046055" y="601721"/>
                  </a:lnTo>
                  <a:cubicBezTo>
                    <a:pt x="6046064" y="601721"/>
                    <a:pt x="6046136" y="601721"/>
                    <a:pt x="6046815" y="601721"/>
                  </a:cubicBezTo>
                  <a:lnTo>
                    <a:pt x="6052135" y="601721"/>
                  </a:lnTo>
                  <a:cubicBezTo>
                    <a:pt x="6052135" y="601714"/>
                    <a:pt x="6052135" y="601629"/>
                    <a:pt x="6052135" y="600640"/>
                  </a:cubicBezTo>
                  <a:lnTo>
                    <a:pt x="6052135" y="593073"/>
                  </a:lnTo>
                  <a:cubicBezTo>
                    <a:pt x="6052143" y="593073"/>
                    <a:pt x="6052267" y="593073"/>
                    <a:pt x="6054163" y="593073"/>
                  </a:cubicBezTo>
                  <a:lnTo>
                    <a:pt x="6068350" y="593073"/>
                  </a:lnTo>
                  <a:cubicBezTo>
                    <a:pt x="6068350" y="593080"/>
                    <a:pt x="6068350" y="593157"/>
                    <a:pt x="6068350" y="594154"/>
                  </a:cubicBezTo>
                  <a:lnTo>
                    <a:pt x="6068350" y="601721"/>
                  </a:lnTo>
                  <a:cubicBezTo>
                    <a:pt x="6068360" y="601721"/>
                    <a:pt x="6068861" y="601721"/>
                    <a:pt x="6090642" y="601721"/>
                  </a:cubicBezTo>
                  <a:cubicBezTo>
                    <a:pt x="6090642" y="601713"/>
                    <a:pt x="6090642" y="601599"/>
                    <a:pt x="6090642" y="599829"/>
                  </a:cubicBezTo>
                  <a:lnTo>
                    <a:pt x="6090642" y="586588"/>
                  </a:lnTo>
                  <a:cubicBezTo>
                    <a:pt x="6090648" y="586588"/>
                    <a:pt x="6090745" y="586588"/>
                    <a:pt x="6092416" y="586588"/>
                  </a:cubicBezTo>
                  <a:lnTo>
                    <a:pt x="6104829" y="586588"/>
                  </a:lnTo>
                  <a:cubicBezTo>
                    <a:pt x="6104829" y="586600"/>
                    <a:pt x="6104829" y="587114"/>
                    <a:pt x="6104829" y="610368"/>
                  </a:cubicBezTo>
                  <a:cubicBezTo>
                    <a:pt x="6104836" y="610368"/>
                    <a:pt x="6104916" y="610368"/>
                    <a:pt x="6105843" y="610368"/>
                  </a:cubicBezTo>
                  <a:lnTo>
                    <a:pt x="6112936" y="610368"/>
                  </a:lnTo>
                  <a:cubicBezTo>
                    <a:pt x="6112936" y="610362"/>
                    <a:pt x="6112936" y="610281"/>
                    <a:pt x="6112936" y="609287"/>
                  </a:cubicBezTo>
                  <a:lnTo>
                    <a:pt x="6112936" y="601721"/>
                  </a:lnTo>
                  <a:cubicBezTo>
                    <a:pt x="6112945" y="601721"/>
                    <a:pt x="6113063" y="601721"/>
                    <a:pt x="6114709" y="601721"/>
                  </a:cubicBezTo>
                  <a:lnTo>
                    <a:pt x="6127123" y="601721"/>
                  </a:lnTo>
                  <a:cubicBezTo>
                    <a:pt x="6127123" y="601734"/>
                    <a:pt x="6127123" y="602293"/>
                    <a:pt x="6127123" y="627662"/>
                  </a:cubicBezTo>
                  <a:cubicBezTo>
                    <a:pt x="6127131" y="627662"/>
                    <a:pt x="6127249" y="627662"/>
                    <a:pt x="6129150" y="627662"/>
                  </a:cubicBezTo>
                  <a:lnTo>
                    <a:pt x="6143336" y="627662"/>
                  </a:lnTo>
                  <a:cubicBezTo>
                    <a:pt x="6143336" y="627673"/>
                    <a:pt x="6143336" y="627788"/>
                    <a:pt x="6143336" y="629283"/>
                  </a:cubicBezTo>
                  <a:lnTo>
                    <a:pt x="6143336" y="640633"/>
                  </a:lnTo>
                  <a:cubicBezTo>
                    <a:pt x="6143344" y="640633"/>
                    <a:pt x="6143415" y="640633"/>
                    <a:pt x="6144096" y="640633"/>
                  </a:cubicBezTo>
                  <a:lnTo>
                    <a:pt x="6149417" y="640633"/>
                  </a:lnTo>
                  <a:cubicBezTo>
                    <a:pt x="6149417" y="640625"/>
                    <a:pt x="6149417" y="640549"/>
                    <a:pt x="6149417" y="639822"/>
                  </a:cubicBezTo>
                  <a:lnTo>
                    <a:pt x="6149417" y="634147"/>
                  </a:lnTo>
                  <a:cubicBezTo>
                    <a:pt x="6149434" y="634147"/>
                    <a:pt x="6150153" y="634147"/>
                    <a:pt x="6179817" y="634147"/>
                  </a:cubicBezTo>
                  <a:cubicBezTo>
                    <a:pt x="6179817" y="634161"/>
                    <a:pt x="6179817" y="634724"/>
                    <a:pt x="6179817" y="657927"/>
                  </a:cubicBezTo>
                  <a:cubicBezTo>
                    <a:pt x="6179824" y="657927"/>
                    <a:pt x="6179903" y="657927"/>
                    <a:pt x="6180830" y="657927"/>
                  </a:cubicBezTo>
                  <a:lnTo>
                    <a:pt x="6187924" y="657927"/>
                  </a:lnTo>
                  <a:cubicBezTo>
                    <a:pt x="6187924" y="657934"/>
                    <a:pt x="6187924" y="658007"/>
                    <a:pt x="6187924" y="659008"/>
                  </a:cubicBezTo>
                  <a:lnTo>
                    <a:pt x="6187924" y="666574"/>
                  </a:lnTo>
                  <a:cubicBezTo>
                    <a:pt x="6187933" y="666574"/>
                    <a:pt x="6188006" y="666574"/>
                    <a:pt x="6188684" y="666574"/>
                  </a:cubicBezTo>
                  <a:lnTo>
                    <a:pt x="6194004" y="666574"/>
                  </a:lnTo>
                  <a:cubicBezTo>
                    <a:pt x="6194004" y="666567"/>
                    <a:pt x="6194004" y="666447"/>
                    <a:pt x="6194004" y="664412"/>
                  </a:cubicBezTo>
                  <a:lnTo>
                    <a:pt x="6194004" y="649280"/>
                  </a:lnTo>
                  <a:cubicBezTo>
                    <a:pt x="6194011" y="649280"/>
                    <a:pt x="6194089" y="649280"/>
                    <a:pt x="6195017" y="649280"/>
                  </a:cubicBezTo>
                  <a:lnTo>
                    <a:pt x="6202111" y="649280"/>
                  </a:lnTo>
                  <a:cubicBezTo>
                    <a:pt x="6202111" y="649288"/>
                    <a:pt x="6202111" y="649371"/>
                    <a:pt x="6202111" y="650361"/>
                  </a:cubicBezTo>
                  <a:lnTo>
                    <a:pt x="6202111" y="657927"/>
                  </a:lnTo>
                  <a:lnTo>
                    <a:pt x="6207431" y="655934"/>
                  </a:lnTo>
                  <a:cubicBezTo>
                    <a:pt x="6208191" y="655562"/>
                    <a:pt x="6208191" y="655360"/>
                    <a:pt x="6208191" y="654954"/>
                  </a:cubicBezTo>
                  <a:lnTo>
                    <a:pt x="6208191" y="649280"/>
                  </a:lnTo>
                  <a:cubicBezTo>
                    <a:pt x="6208208" y="649280"/>
                    <a:pt x="6209009" y="649280"/>
                    <a:pt x="6246698" y="649280"/>
                  </a:cubicBezTo>
                  <a:cubicBezTo>
                    <a:pt x="6246698" y="649294"/>
                    <a:pt x="6246698" y="649841"/>
                    <a:pt x="6246698" y="673059"/>
                  </a:cubicBezTo>
                  <a:cubicBezTo>
                    <a:pt x="6246706" y="673059"/>
                    <a:pt x="6246824" y="673059"/>
                    <a:pt x="6248724" y="673059"/>
                  </a:cubicBezTo>
                  <a:lnTo>
                    <a:pt x="6262911" y="673059"/>
                  </a:lnTo>
                  <a:cubicBezTo>
                    <a:pt x="6262911" y="673067"/>
                    <a:pt x="6262911" y="673149"/>
                    <a:pt x="6262911" y="674140"/>
                  </a:cubicBezTo>
                  <a:lnTo>
                    <a:pt x="6262911" y="681706"/>
                  </a:lnTo>
                  <a:cubicBezTo>
                    <a:pt x="6262920" y="681706"/>
                    <a:pt x="6263043" y="681706"/>
                    <a:pt x="6264685" y="681706"/>
                  </a:cubicBezTo>
                  <a:lnTo>
                    <a:pt x="6277098" y="681706"/>
                  </a:lnTo>
                  <a:cubicBezTo>
                    <a:pt x="6277098" y="681694"/>
                    <a:pt x="6277098" y="681183"/>
                    <a:pt x="6277098" y="657927"/>
                  </a:cubicBezTo>
                  <a:cubicBezTo>
                    <a:pt x="6277105" y="657927"/>
                    <a:pt x="6277183" y="657927"/>
                    <a:pt x="6278111" y="657927"/>
                  </a:cubicBezTo>
                  <a:lnTo>
                    <a:pt x="6285205" y="657927"/>
                  </a:lnTo>
                  <a:cubicBezTo>
                    <a:pt x="6285205" y="657908"/>
                    <a:pt x="6285205" y="657137"/>
                    <a:pt x="6285205" y="625500"/>
                  </a:cubicBezTo>
                  <a:cubicBezTo>
                    <a:pt x="6285212" y="625500"/>
                    <a:pt x="6285289" y="625500"/>
                    <a:pt x="6286218" y="625500"/>
                  </a:cubicBezTo>
                  <a:lnTo>
                    <a:pt x="6293312" y="625500"/>
                  </a:lnTo>
                  <a:cubicBezTo>
                    <a:pt x="6293312" y="625494"/>
                    <a:pt x="6293312" y="625385"/>
                    <a:pt x="6293312" y="623609"/>
                  </a:cubicBezTo>
                  <a:lnTo>
                    <a:pt x="6293312" y="610368"/>
                  </a:lnTo>
                  <a:cubicBezTo>
                    <a:pt x="6291285" y="610368"/>
                    <a:pt x="6291285" y="610368"/>
                    <a:pt x="6292045" y="608746"/>
                  </a:cubicBezTo>
                  <a:lnTo>
                    <a:pt x="6297365" y="597397"/>
                  </a:lnTo>
                  <a:cubicBezTo>
                    <a:pt x="6297370" y="597414"/>
                    <a:pt x="6297565" y="598088"/>
                    <a:pt x="6305472" y="625500"/>
                  </a:cubicBezTo>
                  <a:cubicBezTo>
                    <a:pt x="6305480" y="625500"/>
                    <a:pt x="6305553" y="625500"/>
                    <a:pt x="6306232" y="625500"/>
                  </a:cubicBezTo>
                  <a:lnTo>
                    <a:pt x="6311552" y="625500"/>
                  </a:lnTo>
                  <a:cubicBezTo>
                    <a:pt x="6311552" y="625487"/>
                    <a:pt x="6311552" y="624308"/>
                    <a:pt x="6311552" y="519573"/>
                  </a:cubicBezTo>
                  <a:cubicBezTo>
                    <a:pt x="6311562" y="519573"/>
                    <a:pt x="6311676" y="519573"/>
                    <a:pt x="6313072" y="519573"/>
                  </a:cubicBezTo>
                  <a:lnTo>
                    <a:pt x="6323712" y="519573"/>
                  </a:lnTo>
                  <a:cubicBezTo>
                    <a:pt x="6323712" y="519551"/>
                    <a:pt x="6323712" y="518541"/>
                    <a:pt x="6323712" y="472014"/>
                  </a:cubicBezTo>
                  <a:cubicBezTo>
                    <a:pt x="6323729" y="472014"/>
                    <a:pt x="6324354" y="472014"/>
                    <a:pt x="6350059" y="472014"/>
                  </a:cubicBezTo>
                  <a:cubicBezTo>
                    <a:pt x="6350059" y="472002"/>
                    <a:pt x="6350059" y="471492"/>
                    <a:pt x="6350059" y="450396"/>
                  </a:cubicBezTo>
                  <a:cubicBezTo>
                    <a:pt x="6350078" y="450396"/>
                    <a:pt x="6350867" y="450396"/>
                    <a:pt x="6384513" y="450396"/>
                  </a:cubicBezTo>
                  <a:cubicBezTo>
                    <a:pt x="6384513" y="450404"/>
                    <a:pt x="6384513" y="450534"/>
                    <a:pt x="6384513" y="452828"/>
                  </a:cubicBezTo>
                  <a:lnTo>
                    <a:pt x="6384513" y="469852"/>
                  </a:lnTo>
                  <a:cubicBezTo>
                    <a:pt x="6384522" y="469852"/>
                    <a:pt x="6384653" y="469852"/>
                    <a:pt x="6386793" y="469852"/>
                  </a:cubicBezTo>
                  <a:lnTo>
                    <a:pt x="6402753" y="469852"/>
                  </a:lnTo>
                  <a:cubicBezTo>
                    <a:pt x="6402753" y="469870"/>
                    <a:pt x="6402753" y="470764"/>
                    <a:pt x="6402753" y="517411"/>
                  </a:cubicBezTo>
                  <a:cubicBezTo>
                    <a:pt x="6402759" y="517411"/>
                    <a:pt x="6402835" y="517411"/>
                    <a:pt x="6403766" y="517411"/>
                  </a:cubicBezTo>
                  <a:lnTo>
                    <a:pt x="6410860" y="517411"/>
                  </a:lnTo>
                  <a:lnTo>
                    <a:pt x="6425047" y="521735"/>
                  </a:lnTo>
                  <a:cubicBezTo>
                    <a:pt x="6425047" y="521745"/>
                    <a:pt x="6425047" y="522395"/>
                    <a:pt x="6425047" y="560647"/>
                  </a:cubicBezTo>
                  <a:cubicBezTo>
                    <a:pt x="6425053" y="560647"/>
                    <a:pt x="6425128" y="560647"/>
                    <a:pt x="6426060" y="560647"/>
                  </a:cubicBezTo>
                  <a:lnTo>
                    <a:pt x="6433153" y="560647"/>
                  </a:lnTo>
                  <a:cubicBezTo>
                    <a:pt x="6433153" y="560657"/>
                    <a:pt x="6433153" y="560763"/>
                    <a:pt x="6433153" y="562268"/>
                  </a:cubicBezTo>
                  <a:lnTo>
                    <a:pt x="6433153" y="573617"/>
                  </a:lnTo>
                  <a:cubicBezTo>
                    <a:pt x="6433161" y="573617"/>
                    <a:pt x="6433285" y="573617"/>
                    <a:pt x="6435180" y="573617"/>
                  </a:cubicBezTo>
                  <a:lnTo>
                    <a:pt x="6449367" y="573617"/>
                  </a:lnTo>
                  <a:lnTo>
                    <a:pt x="6455447" y="580103"/>
                  </a:lnTo>
                  <a:cubicBezTo>
                    <a:pt x="6455447" y="580115"/>
                    <a:pt x="6455447" y="580601"/>
                    <a:pt x="6455447" y="601721"/>
                  </a:cubicBezTo>
                  <a:cubicBezTo>
                    <a:pt x="6455456" y="601721"/>
                    <a:pt x="6455587" y="601721"/>
                    <a:pt x="6457727" y="601721"/>
                  </a:cubicBezTo>
                  <a:lnTo>
                    <a:pt x="6473687" y="601721"/>
                  </a:lnTo>
                  <a:cubicBezTo>
                    <a:pt x="6473687" y="601728"/>
                    <a:pt x="6473687" y="601808"/>
                    <a:pt x="6473687" y="602801"/>
                  </a:cubicBezTo>
                  <a:lnTo>
                    <a:pt x="6473687" y="610368"/>
                  </a:lnTo>
                  <a:cubicBezTo>
                    <a:pt x="6473696" y="610368"/>
                    <a:pt x="6473795" y="610368"/>
                    <a:pt x="6474954" y="610368"/>
                  </a:cubicBezTo>
                  <a:lnTo>
                    <a:pt x="6483821" y="610368"/>
                  </a:lnTo>
                  <a:cubicBezTo>
                    <a:pt x="6483821" y="610377"/>
                    <a:pt x="6483821" y="610506"/>
                    <a:pt x="6483821" y="612529"/>
                  </a:cubicBezTo>
                  <a:lnTo>
                    <a:pt x="6483821" y="627662"/>
                  </a:lnTo>
                  <a:cubicBezTo>
                    <a:pt x="6487874" y="627662"/>
                    <a:pt x="6487874" y="627662"/>
                    <a:pt x="6487874" y="625770"/>
                  </a:cubicBezTo>
                  <a:lnTo>
                    <a:pt x="6487874" y="612529"/>
                  </a:lnTo>
                  <a:cubicBezTo>
                    <a:pt x="6487880" y="612529"/>
                    <a:pt x="6487958" y="612529"/>
                    <a:pt x="6488887" y="612529"/>
                  </a:cubicBezTo>
                  <a:lnTo>
                    <a:pt x="6495981" y="612529"/>
                  </a:lnTo>
                  <a:cubicBezTo>
                    <a:pt x="6495981" y="612540"/>
                    <a:pt x="6495981" y="612659"/>
                    <a:pt x="6495981" y="614151"/>
                  </a:cubicBezTo>
                  <a:lnTo>
                    <a:pt x="6495981" y="625500"/>
                  </a:lnTo>
                  <a:cubicBezTo>
                    <a:pt x="6495990" y="625500"/>
                    <a:pt x="6496063" y="625500"/>
                    <a:pt x="6496741" y="625500"/>
                  </a:cubicBezTo>
                  <a:lnTo>
                    <a:pt x="6502061" y="625500"/>
                  </a:lnTo>
                  <a:cubicBezTo>
                    <a:pt x="6502061" y="621177"/>
                    <a:pt x="6502061" y="621177"/>
                    <a:pt x="6550701" y="621177"/>
                  </a:cubicBezTo>
                  <a:cubicBezTo>
                    <a:pt x="6550701" y="621186"/>
                    <a:pt x="6550701" y="621287"/>
                    <a:pt x="6550701" y="622528"/>
                  </a:cubicBezTo>
                  <a:lnTo>
                    <a:pt x="6550701" y="631985"/>
                  </a:lnTo>
                  <a:cubicBezTo>
                    <a:pt x="6550709" y="631985"/>
                    <a:pt x="6550784" y="631985"/>
                    <a:pt x="6551461" y="631985"/>
                  </a:cubicBezTo>
                  <a:lnTo>
                    <a:pt x="6556782" y="631985"/>
                  </a:lnTo>
                  <a:cubicBezTo>
                    <a:pt x="6556782" y="631994"/>
                    <a:pt x="6556782" y="632116"/>
                    <a:pt x="6556782" y="634147"/>
                  </a:cubicBezTo>
                  <a:lnTo>
                    <a:pt x="6556782" y="649280"/>
                  </a:lnTo>
                  <a:cubicBezTo>
                    <a:pt x="6556790" y="649276"/>
                    <a:pt x="6556906" y="649198"/>
                    <a:pt x="6558808" y="647929"/>
                  </a:cubicBezTo>
                  <a:lnTo>
                    <a:pt x="6572995" y="638471"/>
                  </a:lnTo>
                  <a:cubicBezTo>
                    <a:pt x="6572997" y="638452"/>
                    <a:pt x="6573128" y="637577"/>
                    <a:pt x="6579075" y="597397"/>
                  </a:cubicBezTo>
                  <a:cubicBezTo>
                    <a:pt x="6579084" y="597395"/>
                    <a:pt x="6579153" y="597369"/>
                    <a:pt x="6579835" y="597127"/>
                  </a:cubicBezTo>
                  <a:lnTo>
                    <a:pt x="6585155" y="595235"/>
                  </a:lnTo>
                  <a:cubicBezTo>
                    <a:pt x="6585155" y="595219"/>
                    <a:pt x="6585188" y="594158"/>
                    <a:pt x="6587182" y="526058"/>
                  </a:cubicBezTo>
                  <a:cubicBezTo>
                    <a:pt x="6587182" y="526076"/>
                    <a:pt x="6587215" y="527167"/>
                    <a:pt x="6589209" y="595235"/>
                  </a:cubicBezTo>
                  <a:cubicBezTo>
                    <a:pt x="6589218" y="595238"/>
                    <a:pt x="6589289" y="595263"/>
                    <a:pt x="6589969" y="595505"/>
                  </a:cubicBezTo>
                  <a:lnTo>
                    <a:pt x="6595289" y="597397"/>
                  </a:lnTo>
                  <a:cubicBezTo>
                    <a:pt x="6595289" y="597377"/>
                    <a:pt x="6595289" y="596044"/>
                    <a:pt x="6595289" y="510926"/>
                  </a:cubicBezTo>
                  <a:cubicBezTo>
                    <a:pt x="6599342" y="510926"/>
                    <a:pt x="6599342" y="510926"/>
                    <a:pt x="6599342" y="478499"/>
                  </a:cubicBezTo>
                  <a:cubicBezTo>
                    <a:pt x="6599354" y="478499"/>
                    <a:pt x="6600040" y="478499"/>
                    <a:pt x="6637849" y="478499"/>
                  </a:cubicBezTo>
                  <a:cubicBezTo>
                    <a:pt x="6637849" y="478516"/>
                    <a:pt x="6637849" y="479234"/>
                    <a:pt x="6637849" y="510926"/>
                  </a:cubicBezTo>
                  <a:cubicBezTo>
                    <a:pt x="6637858" y="510926"/>
                    <a:pt x="6637930" y="510926"/>
                    <a:pt x="6638609" y="510926"/>
                  </a:cubicBezTo>
                  <a:lnTo>
                    <a:pt x="6643929" y="510926"/>
                  </a:lnTo>
                  <a:cubicBezTo>
                    <a:pt x="6643929" y="510905"/>
                    <a:pt x="6643929" y="509599"/>
                    <a:pt x="6643929" y="428778"/>
                  </a:cubicBezTo>
                  <a:cubicBezTo>
                    <a:pt x="6643935" y="428778"/>
                    <a:pt x="6644034" y="428778"/>
                    <a:pt x="6645703" y="428778"/>
                  </a:cubicBezTo>
                  <a:lnTo>
                    <a:pt x="6658116" y="428778"/>
                  </a:lnTo>
                  <a:cubicBezTo>
                    <a:pt x="6658116" y="428771"/>
                    <a:pt x="6658116" y="428660"/>
                    <a:pt x="6658116" y="426887"/>
                  </a:cubicBezTo>
                  <a:lnTo>
                    <a:pt x="6658116" y="413646"/>
                  </a:lnTo>
                  <a:cubicBezTo>
                    <a:pt x="6658127" y="413646"/>
                    <a:pt x="6658625" y="413646"/>
                    <a:pt x="6680410" y="413646"/>
                  </a:cubicBezTo>
                  <a:cubicBezTo>
                    <a:pt x="6680410" y="413639"/>
                    <a:pt x="6680410" y="413558"/>
                    <a:pt x="6680410" y="412565"/>
                  </a:cubicBezTo>
                  <a:lnTo>
                    <a:pt x="6680410" y="404999"/>
                  </a:lnTo>
                  <a:cubicBezTo>
                    <a:pt x="6680417" y="404999"/>
                    <a:pt x="6680527" y="404999"/>
                    <a:pt x="6682183" y="404999"/>
                  </a:cubicBezTo>
                  <a:lnTo>
                    <a:pt x="6694597" y="404999"/>
                  </a:lnTo>
                  <a:cubicBezTo>
                    <a:pt x="6694597" y="405007"/>
                    <a:pt x="6694597" y="405086"/>
                    <a:pt x="6694597" y="406080"/>
                  </a:cubicBezTo>
                  <a:lnTo>
                    <a:pt x="6694597" y="413646"/>
                  </a:lnTo>
                  <a:cubicBezTo>
                    <a:pt x="6694606" y="413646"/>
                    <a:pt x="6694679" y="413646"/>
                    <a:pt x="6695357" y="413646"/>
                  </a:cubicBezTo>
                  <a:lnTo>
                    <a:pt x="6700677" y="413646"/>
                  </a:lnTo>
                  <a:lnTo>
                    <a:pt x="6710810" y="409322"/>
                  </a:lnTo>
                  <a:lnTo>
                    <a:pt x="6714863" y="412565"/>
                  </a:lnTo>
                  <a:lnTo>
                    <a:pt x="6714863" y="404999"/>
                  </a:lnTo>
                  <a:cubicBezTo>
                    <a:pt x="6714872" y="404999"/>
                    <a:pt x="6715009" y="404999"/>
                    <a:pt x="6717143" y="404999"/>
                  </a:cubicBezTo>
                  <a:lnTo>
                    <a:pt x="6733104" y="404999"/>
                  </a:lnTo>
                  <a:cubicBezTo>
                    <a:pt x="6733104" y="405007"/>
                    <a:pt x="6733104" y="405086"/>
                    <a:pt x="6733104" y="406080"/>
                  </a:cubicBezTo>
                  <a:lnTo>
                    <a:pt x="6733104" y="413646"/>
                  </a:lnTo>
                  <a:cubicBezTo>
                    <a:pt x="6733123" y="413646"/>
                    <a:pt x="6733859" y="413646"/>
                    <a:pt x="6763504" y="413646"/>
                  </a:cubicBezTo>
                  <a:cubicBezTo>
                    <a:pt x="6763504" y="413656"/>
                    <a:pt x="6763504" y="413765"/>
                    <a:pt x="6763504" y="415267"/>
                  </a:cubicBezTo>
                  <a:lnTo>
                    <a:pt x="6763504" y="426617"/>
                  </a:lnTo>
                  <a:cubicBezTo>
                    <a:pt x="6763521" y="426617"/>
                    <a:pt x="6764161" y="426617"/>
                    <a:pt x="6789851" y="426617"/>
                  </a:cubicBezTo>
                  <a:cubicBezTo>
                    <a:pt x="6789851" y="426633"/>
                    <a:pt x="6789851" y="427313"/>
                    <a:pt x="6789851" y="456881"/>
                  </a:cubicBezTo>
                  <a:cubicBezTo>
                    <a:pt x="6789860" y="456881"/>
                    <a:pt x="6789933" y="456881"/>
                    <a:pt x="6790611" y="456881"/>
                  </a:cubicBezTo>
                  <a:lnTo>
                    <a:pt x="6795931" y="456881"/>
                  </a:lnTo>
                  <a:cubicBezTo>
                    <a:pt x="6795931" y="456888"/>
                    <a:pt x="6795931" y="456974"/>
                    <a:pt x="6795931" y="457962"/>
                  </a:cubicBezTo>
                  <a:lnTo>
                    <a:pt x="6795931" y="465529"/>
                  </a:lnTo>
                  <a:cubicBezTo>
                    <a:pt x="6799985" y="465529"/>
                    <a:pt x="6799985" y="465529"/>
                    <a:pt x="6799985" y="495793"/>
                  </a:cubicBezTo>
                  <a:cubicBezTo>
                    <a:pt x="6799994" y="495793"/>
                    <a:pt x="6800068" y="495793"/>
                    <a:pt x="6800745" y="495793"/>
                  </a:cubicBezTo>
                  <a:lnTo>
                    <a:pt x="6806065" y="495793"/>
                  </a:lnTo>
                  <a:cubicBezTo>
                    <a:pt x="6806065" y="495802"/>
                    <a:pt x="6806065" y="495869"/>
                    <a:pt x="6806065" y="496604"/>
                  </a:cubicBezTo>
                  <a:lnTo>
                    <a:pt x="6806065" y="502279"/>
                  </a:lnTo>
                  <a:cubicBezTo>
                    <a:pt x="6806071" y="502279"/>
                    <a:pt x="6806149" y="502279"/>
                    <a:pt x="6807078" y="502279"/>
                  </a:cubicBezTo>
                  <a:lnTo>
                    <a:pt x="6814171" y="502279"/>
                  </a:lnTo>
                  <a:cubicBezTo>
                    <a:pt x="6814171" y="502296"/>
                    <a:pt x="6814171" y="503009"/>
                    <a:pt x="6814171" y="532544"/>
                  </a:cubicBezTo>
                  <a:cubicBezTo>
                    <a:pt x="6814179" y="532544"/>
                    <a:pt x="6814299" y="532544"/>
                    <a:pt x="6816198" y="532544"/>
                  </a:cubicBezTo>
                  <a:lnTo>
                    <a:pt x="6830385" y="532544"/>
                  </a:lnTo>
                  <a:cubicBezTo>
                    <a:pt x="6830385" y="532560"/>
                    <a:pt x="6830385" y="533140"/>
                    <a:pt x="6830385" y="556323"/>
                  </a:cubicBezTo>
                  <a:cubicBezTo>
                    <a:pt x="6832412" y="556323"/>
                    <a:pt x="6832412" y="556323"/>
                    <a:pt x="6832412" y="557944"/>
                  </a:cubicBezTo>
                  <a:lnTo>
                    <a:pt x="6832412" y="569294"/>
                  </a:lnTo>
                  <a:cubicBezTo>
                    <a:pt x="6832421" y="569294"/>
                    <a:pt x="6832491" y="569294"/>
                    <a:pt x="6833172" y="569294"/>
                  </a:cubicBezTo>
                  <a:lnTo>
                    <a:pt x="6838492" y="569294"/>
                  </a:lnTo>
                  <a:cubicBezTo>
                    <a:pt x="6838492" y="569308"/>
                    <a:pt x="6838492" y="569871"/>
                    <a:pt x="6838492" y="593073"/>
                  </a:cubicBezTo>
                  <a:cubicBezTo>
                    <a:pt x="6838500" y="593073"/>
                    <a:pt x="6838599" y="593073"/>
                    <a:pt x="6839758" y="593073"/>
                  </a:cubicBezTo>
                  <a:lnTo>
                    <a:pt x="6848625" y="593073"/>
                  </a:lnTo>
                  <a:cubicBezTo>
                    <a:pt x="6850652" y="595235"/>
                    <a:pt x="6850652" y="595235"/>
                    <a:pt x="6850652" y="597127"/>
                  </a:cubicBezTo>
                  <a:lnTo>
                    <a:pt x="6850652" y="610368"/>
                  </a:lnTo>
                  <a:cubicBezTo>
                    <a:pt x="6850657" y="610361"/>
                    <a:pt x="6850744" y="610254"/>
                    <a:pt x="6852172" y="608476"/>
                  </a:cubicBezTo>
                  <a:lnTo>
                    <a:pt x="6862812" y="595235"/>
                  </a:lnTo>
                  <a:cubicBezTo>
                    <a:pt x="6862827" y="595235"/>
                    <a:pt x="6863466" y="595235"/>
                    <a:pt x="6891186" y="595235"/>
                  </a:cubicBezTo>
                  <a:cubicBezTo>
                    <a:pt x="6891186" y="595260"/>
                    <a:pt x="6891186" y="596661"/>
                    <a:pt x="6891186" y="681706"/>
                  </a:cubicBezTo>
                  <a:cubicBezTo>
                    <a:pt x="6891194" y="681706"/>
                    <a:pt x="6891270" y="681706"/>
                    <a:pt x="6891946" y="681706"/>
                  </a:cubicBezTo>
                  <a:lnTo>
                    <a:pt x="6897266" y="681706"/>
                  </a:lnTo>
                  <a:cubicBezTo>
                    <a:pt x="6897270" y="681698"/>
                    <a:pt x="6897329" y="681598"/>
                    <a:pt x="6898026" y="680355"/>
                  </a:cubicBezTo>
                  <a:lnTo>
                    <a:pt x="6903346" y="670897"/>
                  </a:lnTo>
                  <a:cubicBezTo>
                    <a:pt x="6903346" y="670904"/>
                    <a:pt x="6903346" y="671003"/>
                    <a:pt x="6903346" y="672789"/>
                  </a:cubicBezTo>
                  <a:lnTo>
                    <a:pt x="6903346" y="686030"/>
                  </a:lnTo>
                  <a:cubicBezTo>
                    <a:pt x="6907399" y="686030"/>
                    <a:pt x="6907399" y="686030"/>
                    <a:pt x="6907399" y="640633"/>
                  </a:cubicBezTo>
                  <a:cubicBezTo>
                    <a:pt x="6907408" y="640633"/>
                    <a:pt x="6907478" y="640633"/>
                    <a:pt x="6908159" y="640633"/>
                  </a:cubicBezTo>
                  <a:lnTo>
                    <a:pt x="6913479" y="640633"/>
                  </a:lnTo>
                  <a:cubicBezTo>
                    <a:pt x="6913479" y="640618"/>
                    <a:pt x="6913479" y="639618"/>
                    <a:pt x="6913479" y="575779"/>
                  </a:cubicBezTo>
                  <a:cubicBezTo>
                    <a:pt x="6913486" y="575779"/>
                    <a:pt x="6913567" y="575779"/>
                    <a:pt x="6914493" y="575779"/>
                  </a:cubicBezTo>
                  <a:lnTo>
                    <a:pt x="6921586" y="575779"/>
                  </a:lnTo>
                  <a:cubicBezTo>
                    <a:pt x="6921592" y="575758"/>
                    <a:pt x="6921856" y="574818"/>
                    <a:pt x="6933746" y="532544"/>
                  </a:cubicBezTo>
                  <a:cubicBezTo>
                    <a:pt x="6933755" y="532544"/>
                    <a:pt x="6933852" y="532544"/>
                    <a:pt x="6935013" y="532544"/>
                  </a:cubicBezTo>
                  <a:lnTo>
                    <a:pt x="6943880" y="532544"/>
                  </a:lnTo>
                  <a:cubicBezTo>
                    <a:pt x="6943885" y="532567"/>
                    <a:pt x="6944111" y="533533"/>
                    <a:pt x="6954013" y="575779"/>
                  </a:cubicBezTo>
                  <a:cubicBezTo>
                    <a:pt x="6954019" y="575779"/>
                    <a:pt x="6954093" y="575779"/>
                    <a:pt x="6955026" y="575779"/>
                  </a:cubicBezTo>
                  <a:lnTo>
                    <a:pt x="6962120" y="575779"/>
                  </a:lnTo>
                  <a:cubicBezTo>
                    <a:pt x="6962120" y="575790"/>
                    <a:pt x="6962120" y="576457"/>
                    <a:pt x="6962120" y="614691"/>
                  </a:cubicBezTo>
                  <a:cubicBezTo>
                    <a:pt x="6962127" y="614691"/>
                    <a:pt x="6962226" y="614691"/>
                    <a:pt x="6963893" y="614691"/>
                  </a:cubicBezTo>
                  <a:lnTo>
                    <a:pt x="6976307" y="614691"/>
                  </a:lnTo>
                  <a:cubicBezTo>
                    <a:pt x="6976307" y="614699"/>
                    <a:pt x="6976307" y="614821"/>
                    <a:pt x="6976307" y="616853"/>
                  </a:cubicBezTo>
                  <a:lnTo>
                    <a:pt x="6976307" y="631985"/>
                  </a:lnTo>
                  <a:cubicBezTo>
                    <a:pt x="6980360" y="631985"/>
                    <a:pt x="6980360" y="631985"/>
                    <a:pt x="6980360" y="629824"/>
                  </a:cubicBezTo>
                  <a:lnTo>
                    <a:pt x="6980360" y="614691"/>
                  </a:lnTo>
                  <a:cubicBezTo>
                    <a:pt x="6980370" y="614691"/>
                    <a:pt x="6980482" y="614691"/>
                    <a:pt x="6981880" y="614691"/>
                  </a:cubicBezTo>
                  <a:lnTo>
                    <a:pt x="6992520" y="614691"/>
                  </a:lnTo>
                  <a:cubicBezTo>
                    <a:pt x="6992520" y="614701"/>
                    <a:pt x="6992520" y="614818"/>
                    <a:pt x="6992520" y="616312"/>
                  </a:cubicBezTo>
                  <a:lnTo>
                    <a:pt x="6992520" y="627662"/>
                  </a:lnTo>
                  <a:cubicBezTo>
                    <a:pt x="6992536" y="627662"/>
                    <a:pt x="6993245" y="627662"/>
                    <a:pt x="7022921" y="627662"/>
                  </a:cubicBezTo>
                  <a:cubicBezTo>
                    <a:pt x="7022921" y="627645"/>
                    <a:pt x="7022921" y="626874"/>
                    <a:pt x="7022921" y="590912"/>
                  </a:cubicBezTo>
                  <a:cubicBezTo>
                    <a:pt x="7022929" y="590912"/>
                    <a:pt x="7023022" y="590912"/>
                    <a:pt x="7024187" y="590912"/>
                  </a:cubicBezTo>
                  <a:lnTo>
                    <a:pt x="7033054" y="590912"/>
                  </a:lnTo>
                  <a:cubicBezTo>
                    <a:pt x="7033054" y="590923"/>
                    <a:pt x="7033054" y="591417"/>
                    <a:pt x="7033054" y="612529"/>
                  </a:cubicBezTo>
                  <a:cubicBezTo>
                    <a:pt x="7035081" y="612529"/>
                    <a:pt x="7035081" y="612529"/>
                    <a:pt x="7035081" y="580103"/>
                  </a:cubicBezTo>
                  <a:cubicBezTo>
                    <a:pt x="7035095" y="580103"/>
                    <a:pt x="7035636" y="580103"/>
                    <a:pt x="7057374" y="580103"/>
                  </a:cubicBezTo>
                  <a:cubicBezTo>
                    <a:pt x="7057374" y="580093"/>
                    <a:pt x="7057374" y="579973"/>
                    <a:pt x="7057374" y="578481"/>
                  </a:cubicBezTo>
                  <a:lnTo>
                    <a:pt x="7057374" y="567132"/>
                  </a:lnTo>
                  <a:cubicBezTo>
                    <a:pt x="7057382" y="567132"/>
                    <a:pt x="7057457" y="567132"/>
                    <a:pt x="7058134" y="567132"/>
                  </a:cubicBezTo>
                  <a:lnTo>
                    <a:pt x="7063454" y="567132"/>
                  </a:lnTo>
                  <a:cubicBezTo>
                    <a:pt x="7063454" y="567126"/>
                    <a:pt x="7063454" y="567013"/>
                    <a:pt x="7063454" y="565241"/>
                  </a:cubicBezTo>
                  <a:lnTo>
                    <a:pt x="7063454" y="552000"/>
                  </a:lnTo>
                  <a:lnTo>
                    <a:pt x="7067508" y="558485"/>
                  </a:lnTo>
                  <a:cubicBezTo>
                    <a:pt x="7067516" y="558485"/>
                    <a:pt x="7067645" y="558485"/>
                    <a:pt x="7069788" y="558485"/>
                  </a:cubicBezTo>
                  <a:lnTo>
                    <a:pt x="7085748" y="558485"/>
                  </a:lnTo>
                  <a:cubicBezTo>
                    <a:pt x="7085748" y="558477"/>
                    <a:pt x="7085748" y="558409"/>
                    <a:pt x="7085748" y="557674"/>
                  </a:cubicBezTo>
                  <a:lnTo>
                    <a:pt x="7085748" y="552000"/>
                  </a:lnTo>
                  <a:cubicBezTo>
                    <a:pt x="7085757" y="552000"/>
                    <a:pt x="7085831" y="552000"/>
                    <a:pt x="7086508" y="552000"/>
                  </a:cubicBezTo>
                  <a:lnTo>
                    <a:pt x="7091828" y="552000"/>
                  </a:lnTo>
                  <a:cubicBezTo>
                    <a:pt x="7091828" y="552009"/>
                    <a:pt x="7091828" y="552109"/>
                    <a:pt x="7091828" y="553351"/>
                  </a:cubicBezTo>
                  <a:lnTo>
                    <a:pt x="7091828" y="562809"/>
                  </a:lnTo>
                  <a:cubicBezTo>
                    <a:pt x="7091843" y="562809"/>
                    <a:pt x="7092576" y="562809"/>
                    <a:pt x="7130335" y="562809"/>
                  </a:cubicBezTo>
                  <a:cubicBezTo>
                    <a:pt x="7130335" y="562827"/>
                    <a:pt x="7130335" y="564337"/>
                    <a:pt x="7130335" y="701162"/>
                  </a:cubicBezTo>
                  <a:cubicBezTo>
                    <a:pt x="7130345" y="701162"/>
                    <a:pt x="7130460" y="701162"/>
                    <a:pt x="7131855" y="701162"/>
                  </a:cubicBezTo>
                  <a:lnTo>
                    <a:pt x="7142495" y="701162"/>
                  </a:lnTo>
                  <a:cubicBezTo>
                    <a:pt x="7142495" y="696839"/>
                    <a:pt x="7142495" y="692515"/>
                    <a:pt x="7142495" y="688192"/>
                  </a:cubicBezTo>
                  <a:cubicBezTo>
                    <a:pt x="7144522" y="688192"/>
                    <a:pt x="7144522" y="688192"/>
                    <a:pt x="7146549" y="688192"/>
                  </a:cubicBezTo>
                  <a:cubicBezTo>
                    <a:pt x="7146549" y="692515"/>
                    <a:pt x="7146549" y="696839"/>
                    <a:pt x="7146549" y="701162"/>
                  </a:cubicBezTo>
                  <a:cubicBezTo>
                    <a:pt x="7156682" y="701162"/>
                    <a:pt x="7166816" y="701162"/>
                    <a:pt x="7176949" y="701162"/>
                  </a:cubicBezTo>
                  <a:cubicBezTo>
                    <a:pt x="7176949" y="690353"/>
                    <a:pt x="7176949" y="681706"/>
                    <a:pt x="7176949" y="670897"/>
                  </a:cubicBezTo>
                  <a:cubicBezTo>
                    <a:pt x="7181003" y="670897"/>
                    <a:pt x="7185056" y="670897"/>
                    <a:pt x="7189109" y="670897"/>
                  </a:cubicBezTo>
                  <a:lnTo>
                    <a:pt x="7201269" y="668736"/>
                  </a:lnTo>
                  <a:cubicBezTo>
                    <a:pt x="7203296" y="668736"/>
                    <a:pt x="7203296" y="670897"/>
                    <a:pt x="7205323" y="670897"/>
                  </a:cubicBezTo>
                  <a:lnTo>
                    <a:pt x="7215456" y="670897"/>
                  </a:lnTo>
                  <a:cubicBezTo>
                    <a:pt x="7215456" y="681706"/>
                    <a:pt x="7215456" y="692515"/>
                    <a:pt x="7215456" y="701162"/>
                  </a:cubicBezTo>
                  <a:cubicBezTo>
                    <a:pt x="7217483" y="701162"/>
                    <a:pt x="7219510" y="701162"/>
                    <a:pt x="7223563" y="701162"/>
                  </a:cubicBezTo>
                  <a:cubicBezTo>
                    <a:pt x="7223563" y="707648"/>
                    <a:pt x="7223563" y="714133"/>
                    <a:pt x="7223563" y="718457"/>
                  </a:cubicBezTo>
                  <a:lnTo>
                    <a:pt x="7232899" y="719362"/>
                  </a:lnTo>
                  <a:lnTo>
                    <a:pt x="7245857" y="719362"/>
                  </a:lnTo>
                  <a:cubicBezTo>
                    <a:pt x="7245857" y="713553"/>
                    <a:pt x="7245857" y="709381"/>
                    <a:pt x="7245857" y="703324"/>
                  </a:cubicBezTo>
                  <a:lnTo>
                    <a:pt x="7313813" y="703324"/>
                  </a:lnTo>
                  <a:lnTo>
                    <a:pt x="7313813" y="618071"/>
                  </a:lnTo>
                  <a:lnTo>
                    <a:pt x="7385821" y="618071"/>
                  </a:lnTo>
                  <a:lnTo>
                    <a:pt x="7385821" y="696839"/>
                  </a:lnTo>
                  <a:cubicBezTo>
                    <a:pt x="7386456" y="696839"/>
                    <a:pt x="7387091" y="696839"/>
                    <a:pt x="7387725" y="696839"/>
                  </a:cubicBezTo>
                  <a:lnTo>
                    <a:pt x="7388967" y="719362"/>
                  </a:lnTo>
                  <a:lnTo>
                    <a:pt x="7398643" y="719362"/>
                  </a:lnTo>
                  <a:cubicBezTo>
                    <a:pt x="7399179" y="712148"/>
                    <a:pt x="7399885" y="704494"/>
                    <a:pt x="7399885" y="696839"/>
                  </a:cubicBezTo>
                  <a:cubicBezTo>
                    <a:pt x="7401912" y="696839"/>
                    <a:pt x="7403939" y="696839"/>
                    <a:pt x="7405965" y="696839"/>
                  </a:cubicBezTo>
                  <a:lnTo>
                    <a:pt x="7407207" y="719362"/>
                  </a:lnTo>
                  <a:lnTo>
                    <a:pt x="7457829" y="719362"/>
                  </a:lnTo>
                  <a:lnTo>
                    <a:pt x="7457829" y="556334"/>
                  </a:lnTo>
                  <a:lnTo>
                    <a:pt x="7655156" y="556334"/>
                  </a:lnTo>
                  <a:lnTo>
                    <a:pt x="7655156" y="719362"/>
                  </a:lnTo>
                  <a:lnTo>
                    <a:pt x="7673853" y="719362"/>
                  </a:lnTo>
                  <a:lnTo>
                    <a:pt x="7673853" y="636669"/>
                  </a:lnTo>
                  <a:lnTo>
                    <a:pt x="7768973" y="636669"/>
                  </a:lnTo>
                  <a:lnTo>
                    <a:pt x="7773382" y="519115"/>
                  </a:lnTo>
                  <a:lnTo>
                    <a:pt x="7819759" y="519115"/>
                  </a:lnTo>
                  <a:lnTo>
                    <a:pt x="7821437" y="571456"/>
                  </a:lnTo>
                  <a:cubicBezTo>
                    <a:pt x="7843732" y="571456"/>
                    <a:pt x="7866024" y="571456"/>
                    <a:pt x="7886292" y="571456"/>
                  </a:cubicBezTo>
                  <a:cubicBezTo>
                    <a:pt x="7886292" y="597397"/>
                    <a:pt x="7886292" y="623338"/>
                    <a:pt x="7886292" y="647118"/>
                  </a:cubicBezTo>
                  <a:cubicBezTo>
                    <a:pt x="7890345" y="647118"/>
                    <a:pt x="7892372" y="647118"/>
                    <a:pt x="7894398" y="647118"/>
                  </a:cubicBezTo>
                  <a:cubicBezTo>
                    <a:pt x="7894398" y="644956"/>
                    <a:pt x="7896425" y="642794"/>
                    <a:pt x="7896425" y="640633"/>
                  </a:cubicBezTo>
                  <a:cubicBezTo>
                    <a:pt x="7898452" y="640633"/>
                    <a:pt x="7900478" y="640633"/>
                    <a:pt x="7902505" y="640633"/>
                  </a:cubicBezTo>
                  <a:cubicBezTo>
                    <a:pt x="7902505" y="642794"/>
                    <a:pt x="7902505" y="644956"/>
                    <a:pt x="7904533" y="649280"/>
                  </a:cubicBezTo>
                  <a:cubicBezTo>
                    <a:pt x="7908585" y="649280"/>
                    <a:pt x="7912638" y="649280"/>
                    <a:pt x="7916693" y="649280"/>
                  </a:cubicBezTo>
                  <a:cubicBezTo>
                    <a:pt x="7916693" y="647118"/>
                    <a:pt x="7916693" y="644956"/>
                    <a:pt x="7916693" y="642794"/>
                  </a:cubicBezTo>
                  <a:cubicBezTo>
                    <a:pt x="7924798" y="642794"/>
                    <a:pt x="7930878" y="642794"/>
                    <a:pt x="7938985" y="642794"/>
                  </a:cubicBezTo>
                  <a:cubicBezTo>
                    <a:pt x="7938985" y="644956"/>
                    <a:pt x="7938985" y="647118"/>
                    <a:pt x="7938985" y="649280"/>
                  </a:cubicBezTo>
                  <a:cubicBezTo>
                    <a:pt x="7945065" y="649280"/>
                    <a:pt x="7953173" y="649280"/>
                    <a:pt x="7959253" y="649280"/>
                  </a:cubicBezTo>
                  <a:cubicBezTo>
                    <a:pt x="7959253" y="664412"/>
                    <a:pt x="7959253" y="679545"/>
                    <a:pt x="7959253" y="694677"/>
                  </a:cubicBezTo>
                  <a:cubicBezTo>
                    <a:pt x="7963306" y="694677"/>
                    <a:pt x="7969386" y="694677"/>
                    <a:pt x="7973440" y="694677"/>
                  </a:cubicBezTo>
                  <a:cubicBezTo>
                    <a:pt x="7973440" y="690353"/>
                    <a:pt x="7973440" y="686030"/>
                    <a:pt x="7973440" y="681706"/>
                  </a:cubicBezTo>
                  <a:cubicBezTo>
                    <a:pt x="7979520" y="681706"/>
                    <a:pt x="7985600" y="681706"/>
                    <a:pt x="7989653" y="681706"/>
                  </a:cubicBezTo>
                  <a:cubicBezTo>
                    <a:pt x="7989653" y="621177"/>
                    <a:pt x="7989653" y="562809"/>
                    <a:pt x="7989653" y="502279"/>
                  </a:cubicBezTo>
                  <a:cubicBezTo>
                    <a:pt x="7991680" y="500117"/>
                    <a:pt x="7993706" y="497955"/>
                    <a:pt x="7995733" y="495793"/>
                  </a:cubicBezTo>
                  <a:cubicBezTo>
                    <a:pt x="8020053" y="495793"/>
                    <a:pt x="8044373" y="495793"/>
                    <a:pt x="8068694" y="495793"/>
                  </a:cubicBezTo>
                  <a:lnTo>
                    <a:pt x="8068694" y="504441"/>
                  </a:lnTo>
                  <a:lnTo>
                    <a:pt x="8078828" y="504441"/>
                  </a:lnTo>
                  <a:cubicBezTo>
                    <a:pt x="8078828" y="543353"/>
                    <a:pt x="8078828" y="582265"/>
                    <a:pt x="8078828" y="619015"/>
                  </a:cubicBezTo>
                  <a:cubicBezTo>
                    <a:pt x="8086934" y="619015"/>
                    <a:pt x="8093014" y="619015"/>
                    <a:pt x="8101121" y="619015"/>
                  </a:cubicBezTo>
                  <a:cubicBezTo>
                    <a:pt x="8101121" y="597397"/>
                    <a:pt x="8101121" y="575779"/>
                    <a:pt x="8101121" y="552000"/>
                  </a:cubicBezTo>
                  <a:cubicBezTo>
                    <a:pt x="8109228" y="552000"/>
                    <a:pt x="8119361" y="552000"/>
                    <a:pt x="8127469" y="552000"/>
                  </a:cubicBezTo>
                  <a:cubicBezTo>
                    <a:pt x="8129494" y="552000"/>
                    <a:pt x="8129494" y="549838"/>
                    <a:pt x="8131521" y="547676"/>
                  </a:cubicBezTo>
                  <a:lnTo>
                    <a:pt x="8139629" y="547676"/>
                  </a:lnTo>
                  <a:cubicBezTo>
                    <a:pt x="8141654" y="549838"/>
                    <a:pt x="8141654" y="552000"/>
                    <a:pt x="8143681" y="552000"/>
                  </a:cubicBezTo>
                  <a:cubicBezTo>
                    <a:pt x="8149761" y="552000"/>
                    <a:pt x="8157869" y="552000"/>
                    <a:pt x="8165976" y="552000"/>
                  </a:cubicBezTo>
                  <a:cubicBezTo>
                    <a:pt x="8165976" y="513088"/>
                    <a:pt x="8165976" y="474176"/>
                    <a:pt x="8165976" y="435264"/>
                  </a:cubicBezTo>
                  <a:cubicBezTo>
                    <a:pt x="8165989" y="435261"/>
                    <a:pt x="8166856" y="435097"/>
                    <a:pt x="8222722" y="424455"/>
                  </a:cubicBezTo>
                  <a:cubicBezTo>
                    <a:pt x="8222722" y="424462"/>
                    <a:pt x="8222722" y="424536"/>
                    <a:pt x="8222722" y="425536"/>
                  </a:cubicBezTo>
                  <a:lnTo>
                    <a:pt x="8222722" y="433102"/>
                  </a:lnTo>
                  <a:cubicBezTo>
                    <a:pt x="8222740" y="433102"/>
                    <a:pt x="8223384" y="433102"/>
                    <a:pt x="8249069" y="433102"/>
                  </a:cubicBezTo>
                  <a:cubicBezTo>
                    <a:pt x="8249069" y="433124"/>
                    <a:pt x="8249069" y="435495"/>
                    <a:pt x="8249069" y="688192"/>
                  </a:cubicBezTo>
                  <a:cubicBezTo>
                    <a:pt x="8255149" y="688192"/>
                    <a:pt x="8263256" y="688192"/>
                    <a:pt x="8271364" y="688192"/>
                  </a:cubicBezTo>
                  <a:cubicBezTo>
                    <a:pt x="8271364" y="686030"/>
                    <a:pt x="8271364" y="686030"/>
                    <a:pt x="8271364" y="683868"/>
                  </a:cubicBezTo>
                  <a:cubicBezTo>
                    <a:pt x="8275416" y="683868"/>
                    <a:pt x="8279469" y="683868"/>
                    <a:pt x="8283524" y="683868"/>
                  </a:cubicBezTo>
                  <a:cubicBezTo>
                    <a:pt x="8283524" y="686030"/>
                    <a:pt x="8283524" y="686030"/>
                    <a:pt x="8283524" y="688192"/>
                  </a:cubicBezTo>
                  <a:cubicBezTo>
                    <a:pt x="8291630" y="688192"/>
                    <a:pt x="8299736" y="688192"/>
                    <a:pt x="8307844" y="688192"/>
                  </a:cubicBezTo>
                  <a:cubicBezTo>
                    <a:pt x="8307844" y="683868"/>
                    <a:pt x="8307844" y="679545"/>
                    <a:pt x="8307844" y="675221"/>
                  </a:cubicBezTo>
                  <a:cubicBezTo>
                    <a:pt x="8317977" y="675221"/>
                    <a:pt x="8328110" y="675221"/>
                    <a:pt x="8336217" y="675221"/>
                  </a:cubicBezTo>
                  <a:cubicBezTo>
                    <a:pt x="8340270" y="670897"/>
                    <a:pt x="8344325" y="670897"/>
                    <a:pt x="8348377" y="670897"/>
                  </a:cubicBezTo>
                  <a:cubicBezTo>
                    <a:pt x="8354457" y="675221"/>
                    <a:pt x="8362565" y="675221"/>
                    <a:pt x="8368645" y="675221"/>
                  </a:cubicBezTo>
                  <a:cubicBezTo>
                    <a:pt x="8368645" y="668736"/>
                    <a:pt x="8368645" y="664412"/>
                    <a:pt x="8368645" y="657927"/>
                  </a:cubicBezTo>
                  <a:lnTo>
                    <a:pt x="8376752" y="657927"/>
                  </a:lnTo>
                  <a:cubicBezTo>
                    <a:pt x="8376752" y="653603"/>
                    <a:pt x="8376752" y="649280"/>
                    <a:pt x="8376752" y="644956"/>
                  </a:cubicBezTo>
                  <a:cubicBezTo>
                    <a:pt x="8394992" y="644956"/>
                    <a:pt x="8415258" y="644956"/>
                    <a:pt x="8433498" y="644956"/>
                  </a:cubicBezTo>
                  <a:cubicBezTo>
                    <a:pt x="8433498" y="634147"/>
                    <a:pt x="8433498" y="625500"/>
                    <a:pt x="8433498" y="614691"/>
                  </a:cubicBezTo>
                  <a:cubicBezTo>
                    <a:pt x="8439578" y="614691"/>
                    <a:pt x="8445658" y="614691"/>
                    <a:pt x="8451738" y="614691"/>
                  </a:cubicBezTo>
                  <a:cubicBezTo>
                    <a:pt x="8451738" y="612529"/>
                    <a:pt x="8451738" y="610368"/>
                    <a:pt x="8451738" y="608206"/>
                  </a:cubicBezTo>
                  <a:cubicBezTo>
                    <a:pt x="8455792" y="608206"/>
                    <a:pt x="8459845" y="608206"/>
                    <a:pt x="8463898" y="608206"/>
                  </a:cubicBezTo>
                  <a:cubicBezTo>
                    <a:pt x="8463898" y="610368"/>
                    <a:pt x="8463898" y="612529"/>
                    <a:pt x="8463898" y="614691"/>
                  </a:cubicBezTo>
                  <a:cubicBezTo>
                    <a:pt x="8469978" y="614691"/>
                    <a:pt x="8474032" y="614691"/>
                    <a:pt x="8480112" y="614691"/>
                  </a:cubicBezTo>
                  <a:cubicBezTo>
                    <a:pt x="8480112" y="629824"/>
                    <a:pt x="8480112" y="647118"/>
                    <a:pt x="8480112" y="664412"/>
                  </a:cubicBezTo>
                  <a:cubicBezTo>
                    <a:pt x="8490245" y="664412"/>
                    <a:pt x="8502406" y="664412"/>
                    <a:pt x="8512540" y="664412"/>
                  </a:cubicBezTo>
                  <a:cubicBezTo>
                    <a:pt x="8512540" y="655765"/>
                    <a:pt x="8512540" y="647118"/>
                    <a:pt x="8512540" y="638471"/>
                  </a:cubicBezTo>
                  <a:cubicBezTo>
                    <a:pt x="8524700" y="638471"/>
                    <a:pt x="8538886" y="638471"/>
                    <a:pt x="8551046" y="638471"/>
                  </a:cubicBezTo>
                  <a:cubicBezTo>
                    <a:pt x="8551046" y="627662"/>
                    <a:pt x="8551046" y="619015"/>
                    <a:pt x="8551046" y="608206"/>
                  </a:cubicBezTo>
                  <a:cubicBezTo>
                    <a:pt x="8567261" y="608206"/>
                    <a:pt x="8583473" y="608206"/>
                    <a:pt x="8599688" y="608206"/>
                  </a:cubicBezTo>
                  <a:cubicBezTo>
                    <a:pt x="8599688" y="608235"/>
                    <a:pt x="8599688" y="610010"/>
                    <a:pt x="8599688" y="719362"/>
                  </a:cubicBezTo>
                  <a:lnTo>
                    <a:pt x="8599688" y="733141"/>
                  </a:lnTo>
                  <a:lnTo>
                    <a:pt x="8665562" y="733141"/>
                  </a:lnTo>
                  <a:lnTo>
                    <a:pt x="8665562" y="838913"/>
                  </a:lnTo>
                  <a:lnTo>
                    <a:pt x="8665562" y="862160"/>
                  </a:lnTo>
                  <a:lnTo>
                    <a:pt x="8680522" y="862160"/>
                  </a:lnTo>
                  <a:cubicBezTo>
                    <a:pt x="8680522" y="862160"/>
                    <a:pt x="8680522" y="862160"/>
                    <a:pt x="8680522" y="860998"/>
                  </a:cubicBezTo>
                  <a:lnTo>
                    <a:pt x="8680522" y="852862"/>
                  </a:lnTo>
                  <a:cubicBezTo>
                    <a:pt x="8680522" y="852862"/>
                    <a:pt x="8680522" y="852862"/>
                    <a:pt x="8725102" y="852862"/>
                  </a:cubicBezTo>
                  <a:cubicBezTo>
                    <a:pt x="8725102" y="852862"/>
                    <a:pt x="8725102" y="852862"/>
                    <a:pt x="8725102" y="855477"/>
                  </a:cubicBezTo>
                  <a:lnTo>
                    <a:pt x="8725102" y="861131"/>
                  </a:lnTo>
                  <a:lnTo>
                    <a:pt x="8733569" y="852574"/>
                  </a:lnTo>
                  <a:cubicBezTo>
                    <a:pt x="8731340" y="852574"/>
                    <a:pt x="8731340" y="850249"/>
                    <a:pt x="8729111" y="850249"/>
                  </a:cubicBezTo>
                  <a:cubicBezTo>
                    <a:pt x="8729111" y="847924"/>
                    <a:pt x="8729111" y="845600"/>
                    <a:pt x="8729111" y="843275"/>
                  </a:cubicBezTo>
                  <a:cubicBezTo>
                    <a:pt x="8731340" y="843275"/>
                    <a:pt x="8733569" y="840950"/>
                    <a:pt x="8735797" y="840950"/>
                  </a:cubicBezTo>
                  <a:cubicBezTo>
                    <a:pt x="8735797" y="836301"/>
                    <a:pt x="8735797" y="833976"/>
                    <a:pt x="8735797" y="831652"/>
                  </a:cubicBezTo>
                  <a:cubicBezTo>
                    <a:pt x="8738027" y="831652"/>
                    <a:pt x="8738027" y="831652"/>
                    <a:pt x="8740256" y="831652"/>
                  </a:cubicBezTo>
                  <a:cubicBezTo>
                    <a:pt x="8740256" y="824678"/>
                    <a:pt x="8740256" y="817704"/>
                    <a:pt x="8740256" y="810730"/>
                  </a:cubicBezTo>
                  <a:cubicBezTo>
                    <a:pt x="8738027" y="810730"/>
                    <a:pt x="8738027" y="810730"/>
                    <a:pt x="8735797" y="810730"/>
                  </a:cubicBezTo>
                  <a:cubicBezTo>
                    <a:pt x="8735797" y="808405"/>
                    <a:pt x="8735797" y="808405"/>
                    <a:pt x="8735797" y="806081"/>
                  </a:cubicBezTo>
                  <a:lnTo>
                    <a:pt x="8740256" y="803756"/>
                  </a:lnTo>
                  <a:cubicBezTo>
                    <a:pt x="8744713" y="799107"/>
                    <a:pt x="8746943" y="794457"/>
                    <a:pt x="8751401" y="787483"/>
                  </a:cubicBezTo>
                  <a:cubicBezTo>
                    <a:pt x="8753629" y="782834"/>
                    <a:pt x="8753629" y="780510"/>
                    <a:pt x="8753629" y="778185"/>
                  </a:cubicBezTo>
                  <a:cubicBezTo>
                    <a:pt x="8749172" y="771211"/>
                    <a:pt x="8749172" y="759588"/>
                    <a:pt x="8753629" y="752614"/>
                  </a:cubicBezTo>
                  <a:cubicBezTo>
                    <a:pt x="8753631" y="752611"/>
                    <a:pt x="8753645" y="752565"/>
                    <a:pt x="8753909" y="751742"/>
                  </a:cubicBezTo>
                  <a:lnTo>
                    <a:pt x="8755767" y="745928"/>
                  </a:lnTo>
                  <a:lnTo>
                    <a:pt x="8754080" y="745928"/>
                  </a:lnTo>
                  <a:cubicBezTo>
                    <a:pt x="8754080" y="745928"/>
                    <a:pt x="8754080" y="745928"/>
                    <a:pt x="8754080" y="744766"/>
                  </a:cubicBezTo>
                  <a:lnTo>
                    <a:pt x="8754080" y="736629"/>
                  </a:lnTo>
                  <a:cubicBezTo>
                    <a:pt x="8754080" y="736629"/>
                    <a:pt x="8754080" y="736629"/>
                    <a:pt x="8755194" y="736629"/>
                  </a:cubicBezTo>
                  <a:lnTo>
                    <a:pt x="8762996" y="736629"/>
                  </a:lnTo>
                  <a:cubicBezTo>
                    <a:pt x="8762996" y="736629"/>
                    <a:pt x="8762996" y="736629"/>
                    <a:pt x="8762996" y="735467"/>
                  </a:cubicBezTo>
                  <a:lnTo>
                    <a:pt x="8762996" y="727331"/>
                  </a:lnTo>
                  <a:cubicBezTo>
                    <a:pt x="8762996" y="727331"/>
                    <a:pt x="8762996" y="727331"/>
                    <a:pt x="8761881" y="727331"/>
                  </a:cubicBezTo>
                  <a:lnTo>
                    <a:pt x="8754080" y="727331"/>
                  </a:lnTo>
                  <a:cubicBezTo>
                    <a:pt x="8754080" y="727331"/>
                    <a:pt x="8754080" y="727331"/>
                    <a:pt x="8754080" y="726168"/>
                  </a:cubicBezTo>
                  <a:lnTo>
                    <a:pt x="8754080" y="718032"/>
                  </a:lnTo>
                  <a:cubicBezTo>
                    <a:pt x="8754080" y="718032"/>
                    <a:pt x="8754080" y="718032"/>
                    <a:pt x="8755194" y="718032"/>
                  </a:cubicBezTo>
                  <a:lnTo>
                    <a:pt x="8762996" y="718032"/>
                  </a:lnTo>
                  <a:cubicBezTo>
                    <a:pt x="8762996" y="718032"/>
                    <a:pt x="8762996" y="718032"/>
                    <a:pt x="8762996" y="717160"/>
                  </a:cubicBezTo>
                  <a:lnTo>
                    <a:pt x="8762996" y="711058"/>
                  </a:lnTo>
                  <a:cubicBezTo>
                    <a:pt x="8762996" y="711058"/>
                    <a:pt x="8762996" y="711058"/>
                    <a:pt x="8761881" y="711058"/>
                  </a:cubicBezTo>
                  <a:lnTo>
                    <a:pt x="8754080" y="711058"/>
                  </a:lnTo>
                  <a:cubicBezTo>
                    <a:pt x="8754080" y="711058"/>
                    <a:pt x="8754080" y="711058"/>
                    <a:pt x="8754080" y="709896"/>
                  </a:cubicBezTo>
                  <a:lnTo>
                    <a:pt x="8754080" y="701759"/>
                  </a:lnTo>
                  <a:cubicBezTo>
                    <a:pt x="8754080" y="701759"/>
                    <a:pt x="8754080" y="701759"/>
                    <a:pt x="8755194" y="701759"/>
                  </a:cubicBezTo>
                  <a:lnTo>
                    <a:pt x="8762996" y="701759"/>
                  </a:lnTo>
                  <a:cubicBezTo>
                    <a:pt x="8762996" y="701759"/>
                    <a:pt x="8762996" y="701759"/>
                    <a:pt x="8761881" y="700016"/>
                  </a:cubicBezTo>
                  <a:lnTo>
                    <a:pt x="8754080" y="687812"/>
                  </a:lnTo>
                  <a:cubicBezTo>
                    <a:pt x="8754080" y="687812"/>
                    <a:pt x="8754080" y="687812"/>
                    <a:pt x="8754080" y="650617"/>
                  </a:cubicBezTo>
                  <a:cubicBezTo>
                    <a:pt x="8754080" y="650617"/>
                    <a:pt x="8754080" y="650617"/>
                    <a:pt x="8903424" y="650617"/>
                  </a:cubicBezTo>
                  <a:cubicBezTo>
                    <a:pt x="8903424" y="650617"/>
                    <a:pt x="8903424" y="650617"/>
                    <a:pt x="8905096" y="653232"/>
                  </a:cubicBezTo>
                  <a:lnTo>
                    <a:pt x="8908543" y="658626"/>
                  </a:lnTo>
                  <a:lnTo>
                    <a:pt x="8908543" y="647687"/>
                  </a:lnTo>
                  <a:cubicBezTo>
                    <a:pt x="8908543" y="636001"/>
                    <a:pt x="8908543" y="622669"/>
                    <a:pt x="8908543" y="607460"/>
                  </a:cubicBezTo>
                  <a:cubicBezTo>
                    <a:pt x="8908552" y="607460"/>
                    <a:pt x="8908671" y="607460"/>
                    <a:pt x="8910570" y="607460"/>
                  </a:cubicBezTo>
                  <a:lnTo>
                    <a:pt x="8924757" y="607460"/>
                  </a:lnTo>
                  <a:cubicBezTo>
                    <a:pt x="8924757" y="607441"/>
                    <a:pt x="8924757" y="606126"/>
                    <a:pt x="8924757" y="515723"/>
                  </a:cubicBezTo>
                  <a:lnTo>
                    <a:pt x="8924757" y="490724"/>
                  </a:lnTo>
                  <a:lnTo>
                    <a:pt x="9078786" y="490724"/>
                  </a:lnTo>
                  <a:lnTo>
                    <a:pt x="9078786" y="506306"/>
                  </a:lnTo>
                  <a:cubicBezTo>
                    <a:pt x="9078786" y="526935"/>
                    <a:pt x="9078786" y="559711"/>
                    <a:pt x="9078786" y="611783"/>
                  </a:cubicBezTo>
                  <a:cubicBezTo>
                    <a:pt x="9078796" y="611782"/>
                    <a:pt x="9078908" y="611761"/>
                    <a:pt x="9080306" y="611513"/>
                  </a:cubicBezTo>
                  <a:lnTo>
                    <a:pt x="9090946" y="609622"/>
                  </a:lnTo>
                  <a:cubicBezTo>
                    <a:pt x="9090946" y="609644"/>
                    <a:pt x="9090916" y="610978"/>
                    <a:pt x="9088919" y="698254"/>
                  </a:cubicBezTo>
                  <a:cubicBezTo>
                    <a:pt x="9088929" y="698256"/>
                    <a:pt x="9089040" y="698276"/>
                    <a:pt x="9090439" y="698525"/>
                  </a:cubicBezTo>
                  <a:lnTo>
                    <a:pt x="9101079" y="700416"/>
                  </a:lnTo>
                  <a:cubicBezTo>
                    <a:pt x="9101081" y="700423"/>
                    <a:pt x="9101101" y="700487"/>
                    <a:pt x="9101332" y="701227"/>
                  </a:cubicBezTo>
                  <a:lnTo>
                    <a:pt x="9103106" y="706902"/>
                  </a:lnTo>
                  <a:cubicBezTo>
                    <a:pt x="9103108" y="706893"/>
                    <a:pt x="9103153" y="706750"/>
                    <a:pt x="9103866" y="704470"/>
                  </a:cubicBezTo>
                  <a:lnTo>
                    <a:pt x="9109186" y="687446"/>
                  </a:lnTo>
                  <a:cubicBezTo>
                    <a:pt x="9109193" y="687446"/>
                    <a:pt x="9109293" y="687446"/>
                    <a:pt x="9110959" y="687446"/>
                  </a:cubicBezTo>
                  <a:lnTo>
                    <a:pt x="9123373" y="687446"/>
                  </a:lnTo>
                  <a:cubicBezTo>
                    <a:pt x="9123373" y="687463"/>
                    <a:pt x="9123373" y="688156"/>
                    <a:pt x="9123373" y="719872"/>
                  </a:cubicBezTo>
                  <a:cubicBezTo>
                    <a:pt x="9123379" y="719877"/>
                    <a:pt x="9123456" y="719917"/>
                    <a:pt x="9124386" y="720413"/>
                  </a:cubicBezTo>
                  <a:lnTo>
                    <a:pt x="9131480" y="724196"/>
                  </a:lnTo>
                  <a:cubicBezTo>
                    <a:pt x="9131480" y="724205"/>
                    <a:pt x="9131480" y="724306"/>
                    <a:pt x="9131480" y="725547"/>
                  </a:cubicBezTo>
                  <a:lnTo>
                    <a:pt x="9131480" y="735005"/>
                  </a:lnTo>
                  <a:cubicBezTo>
                    <a:pt x="9131500" y="735005"/>
                    <a:pt x="9132408" y="735005"/>
                    <a:pt x="9176067" y="735005"/>
                  </a:cubicBezTo>
                  <a:cubicBezTo>
                    <a:pt x="9176067" y="735013"/>
                    <a:pt x="9176067" y="735096"/>
                    <a:pt x="9176067" y="736086"/>
                  </a:cubicBezTo>
                  <a:lnTo>
                    <a:pt x="9176067" y="743652"/>
                  </a:lnTo>
                  <a:cubicBezTo>
                    <a:pt x="9176076" y="743652"/>
                    <a:pt x="9176197" y="743652"/>
                    <a:pt x="9178093" y="743652"/>
                  </a:cubicBezTo>
                  <a:lnTo>
                    <a:pt x="9192280" y="743652"/>
                  </a:lnTo>
                  <a:cubicBezTo>
                    <a:pt x="9192280" y="743634"/>
                    <a:pt x="9192280" y="742905"/>
                    <a:pt x="9192280" y="713387"/>
                  </a:cubicBezTo>
                  <a:cubicBezTo>
                    <a:pt x="9192301" y="713387"/>
                    <a:pt x="9193231" y="713387"/>
                    <a:pt x="9236867" y="713387"/>
                  </a:cubicBezTo>
                  <a:cubicBezTo>
                    <a:pt x="9236867" y="713379"/>
                    <a:pt x="9236867" y="713282"/>
                    <a:pt x="9236867" y="712036"/>
                  </a:cubicBezTo>
                  <a:lnTo>
                    <a:pt x="9236867" y="702578"/>
                  </a:lnTo>
                  <a:cubicBezTo>
                    <a:pt x="9236873" y="702578"/>
                    <a:pt x="9236947" y="702578"/>
                    <a:pt x="9237881" y="702578"/>
                  </a:cubicBezTo>
                  <a:lnTo>
                    <a:pt x="9244974" y="702578"/>
                  </a:lnTo>
                  <a:cubicBezTo>
                    <a:pt x="9244974" y="702571"/>
                    <a:pt x="9244974" y="702458"/>
                    <a:pt x="9244974" y="700687"/>
                  </a:cubicBezTo>
                  <a:lnTo>
                    <a:pt x="9244974" y="687446"/>
                  </a:lnTo>
                  <a:cubicBezTo>
                    <a:pt x="9244983" y="687446"/>
                    <a:pt x="9245055" y="687446"/>
                    <a:pt x="9245734" y="687446"/>
                  </a:cubicBezTo>
                  <a:lnTo>
                    <a:pt x="9251054" y="687446"/>
                  </a:lnTo>
                  <a:cubicBezTo>
                    <a:pt x="9251054" y="687439"/>
                    <a:pt x="9251054" y="687354"/>
                    <a:pt x="9251054" y="686365"/>
                  </a:cubicBezTo>
                  <a:lnTo>
                    <a:pt x="9251054" y="678798"/>
                  </a:lnTo>
                  <a:cubicBezTo>
                    <a:pt x="9251062" y="678798"/>
                    <a:pt x="9251186" y="678798"/>
                    <a:pt x="9253081" y="678798"/>
                  </a:cubicBezTo>
                  <a:lnTo>
                    <a:pt x="9267268" y="678798"/>
                  </a:lnTo>
                  <a:cubicBezTo>
                    <a:pt x="9267268" y="678805"/>
                    <a:pt x="9267268" y="678882"/>
                    <a:pt x="9267268" y="679879"/>
                  </a:cubicBezTo>
                  <a:lnTo>
                    <a:pt x="9267268" y="687446"/>
                  </a:lnTo>
                  <a:cubicBezTo>
                    <a:pt x="9267279" y="687446"/>
                    <a:pt x="9267780" y="687446"/>
                    <a:pt x="9289561" y="687446"/>
                  </a:cubicBezTo>
                  <a:cubicBezTo>
                    <a:pt x="9289561" y="687438"/>
                    <a:pt x="9289561" y="687324"/>
                    <a:pt x="9289561" y="685554"/>
                  </a:cubicBezTo>
                  <a:lnTo>
                    <a:pt x="9289561" y="672313"/>
                  </a:lnTo>
                  <a:cubicBezTo>
                    <a:pt x="9289567" y="672313"/>
                    <a:pt x="9289664" y="672313"/>
                    <a:pt x="9291335" y="672313"/>
                  </a:cubicBezTo>
                  <a:lnTo>
                    <a:pt x="9303748" y="672313"/>
                  </a:lnTo>
                  <a:cubicBezTo>
                    <a:pt x="9303748" y="672325"/>
                    <a:pt x="9303748" y="672839"/>
                    <a:pt x="9303748" y="696093"/>
                  </a:cubicBezTo>
                  <a:cubicBezTo>
                    <a:pt x="9303755" y="696093"/>
                    <a:pt x="9303835" y="696093"/>
                    <a:pt x="9304762" y="696093"/>
                  </a:cubicBezTo>
                  <a:lnTo>
                    <a:pt x="9311855" y="696093"/>
                  </a:lnTo>
                  <a:cubicBezTo>
                    <a:pt x="9311855" y="696087"/>
                    <a:pt x="9311855" y="696006"/>
                    <a:pt x="9311855" y="695012"/>
                  </a:cubicBezTo>
                  <a:lnTo>
                    <a:pt x="9311855" y="687446"/>
                  </a:lnTo>
                  <a:cubicBezTo>
                    <a:pt x="9311864" y="687446"/>
                    <a:pt x="9311982" y="687446"/>
                    <a:pt x="9313628" y="687446"/>
                  </a:cubicBezTo>
                  <a:lnTo>
                    <a:pt x="9326042" y="687446"/>
                  </a:lnTo>
                  <a:cubicBezTo>
                    <a:pt x="9326042" y="687459"/>
                    <a:pt x="9326042" y="688018"/>
                    <a:pt x="9326042" y="713387"/>
                  </a:cubicBezTo>
                  <a:cubicBezTo>
                    <a:pt x="9326050" y="713387"/>
                    <a:pt x="9326168" y="713387"/>
                    <a:pt x="9328069" y="713387"/>
                  </a:cubicBezTo>
                  <a:lnTo>
                    <a:pt x="9342255" y="713387"/>
                  </a:lnTo>
                  <a:cubicBezTo>
                    <a:pt x="9342255" y="713398"/>
                    <a:pt x="9342255" y="713513"/>
                    <a:pt x="9342255" y="715008"/>
                  </a:cubicBezTo>
                  <a:lnTo>
                    <a:pt x="9342255" y="726358"/>
                  </a:lnTo>
                  <a:cubicBezTo>
                    <a:pt x="9342263" y="726358"/>
                    <a:pt x="9342334" y="726358"/>
                    <a:pt x="9343015" y="726358"/>
                  </a:cubicBezTo>
                  <a:lnTo>
                    <a:pt x="9348336" y="726358"/>
                  </a:lnTo>
                  <a:cubicBezTo>
                    <a:pt x="9348336" y="726350"/>
                    <a:pt x="9348336" y="726274"/>
                    <a:pt x="9348336" y="725547"/>
                  </a:cubicBezTo>
                  <a:lnTo>
                    <a:pt x="9348336" y="719872"/>
                  </a:lnTo>
                  <a:cubicBezTo>
                    <a:pt x="9348353" y="719872"/>
                    <a:pt x="9349072" y="719872"/>
                    <a:pt x="9378736" y="719872"/>
                  </a:cubicBezTo>
                  <a:cubicBezTo>
                    <a:pt x="9378736" y="719886"/>
                    <a:pt x="9378736" y="720449"/>
                    <a:pt x="9378736" y="743652"/>
                  </a:cubicBezTo>
                  <a:cubicBezTo>
                    <a:pt x="9378743" y="743652"/>
                    <a:pt x="9378822" y="743652"/>
                    <a:pt x="9379749" y="743652"/>
                  </a:cubicBezTo>
                  <a:lnTo>
                    <a:pt x="9386843" y="743652"/>
                  </a:lnTo>
                  <a:cubicBezTo>
                    <a:pt x="9386843" y="743659"/>
                    <a:pt x="9386843" y="743732"/>
                    <a:pt x="9386843" y="744733"/>
                  </a:cubicBezTo>
                  <a:lnTo>
                    <a:pt x="9386843" y="752299"/>
                  </a:lnTo>
                  <a:cubicBezTo>
                    <a:pt x="9386852" y="752299"/>
                    <a:pt x="9386925" y="752299"/>
                    <a:pt x="9387603" y="752299"/>
                  </a:cubicBezTo>
                  <a:lnTo>
                    <a:pt x="9392923" y="752299"/>
                  </a:lnTo>
                  <a:cubicBezTo>
                    <a:pt x="9392923" y="752292"/>
                    <a:pt x="9392923" y="752172"/>
                    <a:pt x="9392923" y="750137"/>
                  </a:cubicBezTo>
                  <a:lnTo>
                    <a:pt x="9392923" y="735005"/>
                  </a:lnTo>
                  <a:cubicBezTo>
                    <a:pt x="9392930" y="735005"/>
                    <a:pt x="9393008" y="735005"/>
                    <a:pt x="9393936" y="735005"/>
                  </a:cubicBezTo>
                  <a:lnTo>
                    <a:pt x="9401030" y="735005"/>
                  </a:lnTo>
                  <a:cubicBezTo>
                    <a:pt x="9401030" y="735013"/>
                    <a:pt x="9401030" y="735096"/>
                    <a:pt x="9401030" y="736086"/>
                  </a:cubicBezTo>
                  <a:lnTo>
                    <a:pt x="9401030" y="743652"/>
                  </a:lnTo>
                  <a:lnTo>
                    <a:pt x="9406350" y="741659"/>
                  </a:lnTo>
                  <a:cubicBezTo>
                    <a:pt x="9407110" y="741287"/>
                    <a:pt x="9407110" y="741085"/>
                    <a:pt x="9407110" y="740679"/>
                  </a:cubicBezTo>
                  <a:lnTo>
                    <a:pt x="9407110" y="735005"/>
                  </a:lnTo>
                  <a:cubicBezTo>
                    <a:pt x="9407127" y="735005"/>
                    <a:pt x="9407928" y="735005"/>
                    <a:pt x="9445617" y="735005"/>
                  </a:cubicBezTo>
                  <a:cubicBezTo>
                    <a:pt x="9445617" y="735019"/>
                    <a:pt x="9445617" y="735566"/>
                    <a:pt x="9445617" y="758784"/>
                  </a:cubicBezTo>
                  <a:cubicBezTo>
                    <a:pt x="9445625" y="758784"/>
                    <a:pt x="9445743" y="758784"/>
                    <a:pt x="9447643" y="758784"/>
                  </a:cubicBezTo>
                  <a:lnTo>
                    <a:pt x="9461830" y="758784"/>
                  </a:lnTo>
                  <a:cubicBezTo>
                    <a:pt x="9461830" y="758792"/>
                    <a:pt x="9461830" y="758874"/>
                    <a:pt x="9461830" y="759865"/>
                  </a:cubicBezTo>
                  <a:lnTo>
                    <a:pt x="9461830" y="767431"/>
                  </a:lnTo>
                  <a:cubicBezTo>
                    <a:pt x="9461839" y="767431"/>
                    <a:pt x="9461962" y="767431"/>
                    <a:pt x="9463604" y="767431"/>
                  </a:cubicBezTo>
                  <a:lnTo>
                    <a:pt x="9476017" y="767431"/>
                  </a:lnTo>
                  <a:cubicBezTo>
                    <a:pt x="9476017" y="767419"/>
                    <a:pt x="9476017" y="766908"/>
                    <a:pt x="9476017" y="743652"/>
                  </a:cubicBezTo>
                  <a:cubicBezTo>
                    <a:pt x="9476024" y="743652"/>
                    <a:pt x="9476102" y="743652"/>
                    <a:pt x="9477030" y="743652"/>
                  </a:cubicBezTo>
                  <a:lnTo>
                    <a:pt x="9484124" y="743652"/>
                  </a:lnTo>
                  <a:cubicBezTo>
                    <a:pt x="9484124" y="743633"/>
                    <a:pt x="9484124" y="742862"/>
                    <a:pt x="9484124" y="711225"/>
                  </a:cubicBezTo>
                  <a:cubicBezTo>
                    <a:pt x="9484131" y="711225"/>
                    <a:pt x="9484208" y="711225"/>
                    <a:pt x="9485137" y="711225"/>
                  </a:cubicBezTo>
                  <a:lnTo>
                    <a:pt x="9492231" y="711225"/>
                  </a:lnTo>
                  <a:cubicBezTo>
                    <a:pt x="9492231" y="711219"/>
                    <a:pt x="9492231" y="711110"/>
                    <a:pt x="9492231" y="709334"/>
                  </a:cubicBezTo>
                  <a:lnTo>
                    <a:pt x="9492231" y="696093"/>
                  </a:lnTo>
                  <a:cubicBezTo>
                    <a:pt x="9490204" y="696093"/>
                    <a:pt x="9490204" y="696093"/>
                    <a:pt x="9490964" y="694471"/>
                  </a:cubicBezTo>
                  <a:lnTo>
                    <a:pt x="9496284" y="683122"/>
                  </a:lnTo>
                  <a:cubicBezTo>
                    <a:pt x="9496289" y="683139"/>
                    <a:pt x="9496484" y="683813"/>
                    <a:pt x="9504391" y="711225"/>
                  </a:cubicBezTo>
                  <a:cubicBezTo>
                    <a:pt x="9504399" y="711225"/>
                    <a:pt x="9504472" y="711225"/>
                    <a:pt x="9505151" y="711225"/>
                  </a:cubicBezTo>
                  <a:lnTo>
                    <a:pt x="9510471" y="711225"/>
                  </a:lnTo>
                  <a:cubicBezTo>
                    <a:pt x="9510471" y="711212"/>
                    <a:pt x="9510471" y="710033"/>
                    <a:pt x="9510471" y="605298"/>
                  </a:cubicBezTo>
                  <a:cubicBezTo>
                    <a:pt x="9510481" y="605298"/>
                    <a:pt x="9510595" y="605298"/>
                    <a:pt x="9511991" y="605298"/>
                  </a:cubicBezTo>
                  <a:lnTo>
                    <a:pt x="9522631" y="605298"/>
                  </a:lnTo>
                  <a:cubicBezTo>
                    <a:pt x="9522631" y="605276"/>
                    <a:pt x="9522631" y="604266"/>
                    <a:pt x="9522631" y="557739"/>
                  </a:cubicBezTo>
                  <a:cubicBezTo>
                    <a:pt x="9522648" y="557739"/>
                    <a:pt x="9523273" y="557739"/>
                    <a:pt x="9548978" y="557739"/>
                  </a:cubicBezTo>
                  <a:cubicBezTo>
                    <a:pt x="9548978" y="557727"/>
                    <a:pt x="9548978" y="557217"/>
                    <a:pt x="9548978" y="536121"/>
                  </a:cubicBezTo>
                  <a:cubicBezTo>
                    <a:pt x="9548997" y="536121"/>
                    <a:pt x="9549786" y="536121"/>
                    <a:pt x="9583432" y="536121"/>
                  </a:cubicBezTo>
                  <a:cubicBezTo>
                    <a:pt x="9583432" y="536129"/>
                    <a:pt x="9583432" y="536259"/>
                    <a:pt x="9583432" y="538553"/>
                  </a:cubicBezTo>
                  <a:lnTo>
                    <a:pt x="9583432" y="555577"/>
                  </a:lnTo>
                  <a:cubicBezTo>
                    <a:pt x="9583441" y="555577"/>
                    <a:pt x="9583572" y="555577"/>
                    <a:pt x="9585712" y="555577"/>
                  </a:cubicBezTo>
                  <a:lnTo>
                    <a:pt x="9601672" y="555577"/>
                  </a:lnTo>
                  <a:cubicBezTo>
                    <a:pt x="9601672" y="555595"/>
                    <a:pt x="9601672" y="556489"/>
                    <a:pt x="9601672" y="603136"/>
                  </a:cubicBezTo>
                  <a:cubicBezTo>
                    <a:pt x="9601678" y="603136"/>
                    <a:pt x="9601754" y="603136"/>
                    <a:pt x="9602685" y="603136"/>
                  </a:cubicBezTo>
                  <a:lnTo>
                    <a:pt x="9609779" y="603136"/>
                  </a:lnTo>
                  <a:lnTo>
                    <a:pt x="9623966" y="607460"/>
                  </a:lnTo>
                  <a:cubicBezTo>
                    <a:pt x="9623966" y="607470"/>
                    <a:pt x="9623966" y="608120"/>
                    <a:pt x="9623966" y="646372"/>
                  </a:cubicBezTo>
                  <a:cubicBezTo>
                    <a:pt x="9623972" y="646372"/>
                    <a:pt x="9624047" y="646372"/>
                    <a:pt x="9624979" y="646372"/>
                  </a:cubicBezTo>
                  <a:lnTo>
                    <a:pt x="9632072" y="646372"/>
                  </a:lnTo>
                  <a:cubicBezTo>
                    <a:pt x="9632072" y="646382"/>
                    <a:pt x="9632072" y="646488"/>
                    <a:pt x="9632072" y="647993"/>
                  </a:cubicBezTo>
                  <a:lnTo>
                    <a:pt x="9632072" y="659342"/>
                  </a:lnTo>
                  <a:cubicBezTo>
                    <a:pt x="9632080" y="659342"/>
                    <a:pt x="9632204" y="659342"/>
                    <a:pt x="9634099" y="659342"/>
                  </a:cubicBezTo>
                  <a:lnTo>
                    <a:pt x="9648286" y="659342"/>
                  </a:lnTo>
                  <a:lnTo>
                    <a:pt x="9654366" y="665828"/>
                  </a:lnTo>
                  <a:cubicBezTo>
                    <a:pt x="9654366" y="665840"/>
                    <a:pt x="9654366" y="666326"/>
                    <a:pt x="9654366" y="687446"/>
                  </a:cubicBezTo>
                  <a:cubicBezTo>
                    <a:pt x="9654375" y="687446"/>
                    <a:pt x="9654506" y="687446"/>
                    <a:pt x="9656646" y="687446"/>
                  </a:cubicBezTo>
                  <a:lnTo>
                    <a:pt x="9672606" y="687446"/>
                  </a:lnTo>
                  <a:cubicBezTo>
                    <a:pt x="9672606" y="687453"/>
                    <a:pt x="9672606" y="687533"/>
                    <a:pt x="9672606" y="688526"/>
                  </a:cubicBezTo>
                  <a:lnTo>
                    <a:pt x="9672606" y="696093"/>
                  </a:lnTo>
                  <a:cubicBezTo>
                    <a:pt x="9672615" y="696093"/>
                    <a:pt x="9672714" y="696093"/>
                    <a:pt x="9673873" y="696093"/>
                  </a:cubicBezTo>
                  <a:lnTo>
                    <a:pt x="9682740" y="696093"/>
                  </a:lnTo>
                  <a:cubicBezTo>
                    <a:pt x="9682740" y="696102"/>
                    <a:pt x="9682740" y="696231"/>
                    <a:pt x="9682740" y="698254"/>
                  </a:cubicBezTo>
                  <a:lnTo>
                    <a:pt x="9682740" y="713387"/>
                  </a:lnTo>
                  <a:cubicBezTo>
                    <a:pt x="9686793" y="713387"/>
                    <a:pt x="9686793" y="713387"/>
                    <a:pt x="9686793" y="711495"/>
                  </a:cubicBezTo>
                  <a:lnTo>
                    <a:pt x="9686793" y="698254"/>
                  </a:lnTo>
                  <a:cubicBezTo>
                    <a:pt x="9686799" y="698254"/>
                    <a:pt x="9686877" y="698254"/>
                    <a:pt x="9687806" y="698254"/>
                  </a:cubicBezTo>
                  <a:lnTo>
                    <a:pt x="9694900" y="698254"/>
                  </a:lnTo>
                  <a:cubicBezTo>
                    <a:pt x="9694900" y="698265"/>
                    <a:pt x="9694900" y="698384"/>
                    <a:pt x="9694900" y="699876"/>
                  </a:cubicBezTo>
                  <a:lnTo>
                    <a:pt x="9694900" y="711225"/>
                  </a:lnTo>
                  <a:cubicBezTo>
                    <a:pt x="9694909" y="711225"/>
                    <a:pt x="9694982" y="711225"/>
                    <a:pt x="9695660" y="711225"/>
                  </a:cubicBezTo>
                  <a:lnTo>
                    <a:pt x="9700980" y="711225"/>
                  </a:lnTo>
                  <a:cubicBezTo>
                    <a:pt x="9700980" y="706902"/>
                    <a:pt x="9700980" y="706902"/>
                    <a:pt x="9749620" y="706902"/>
                  </a:cubicBezTo>
                  <a:cubicBezTo>
                    <a:pt x="9749620" y="706911"/>
                    <a:pt x="9749620" y="707012"/>
                    <a:pt x="9749620" y="708253"/>
                  </a:cubicBezTo>
                  <a:lnTo>
                    <a:pt x="9749620" y="717710"/>
                  </a:lnTo>
                  <a:cubicBezTo>
                    <a:pt x="9749628" y="717710"/>
                    <a:pt x="9749703" y="717710"/>
                    <a:pt x="9750380" y="717710"/>
                  </a:cubicBezTo>
                  <a:lnTo>
                    <a:pt x="9755702" y="717710"/>
                  </a:lnTo>
                  <a:cubicBezTo>
                    <a:pt x="9755702" y="717719"/>
                    <a:pt x="9755702" y="717841"/>
                    <a:pt x="9755702" y="719872"/>
                  </a:cubicBezTo>
                  <a:lnTo>
                    <a:pt x="9755702" y="735005"/>
                  </a:lnTo>
                  <a:cubicBezTo>
                    <a:pt x="9755710" y="735001"/>
                    <a:pt x="9755826" y="734923"/>
                    <a:pt x="9757728" y="733654"/>
                  </a:cubicBezTo>
                  <a:lnTo>
                    <a:pt x="9771914" y="724196"/>
                  </a:lnTo>
                  <a:cubicBezTo>
                    <a:pt x="9771916" y="724177"/>
                    <a:pt x="9772048" y="723302"/>
                    <a:pt x="9777994" y="683122"/>
                  </a:cubicBezTo>
                  <a:cubicBezTo>
                    <a:pt x="9778004" y="683120"/>
                    <a:pt x="9778072" y="683094"/>
                    <a:pt x="9778754" y="682852"/>
                  </a:cubicBezTo>
                  <a:lnTo>
                    <a:pt x="9784074" y="680960"/>
                  </a:lnTo>
                  <a:cubicBezTo>
                    <a:pt x="9784074" y="680944"/>
                    <a:pt x="9784108" y="679883"/>
                    <a:pt x="9786102" y="611783"/>
                  </a:cubicBezTo>
                  <a:cubicBezTo>
                    <a:pt x="9786102" y="611801"/>
                    <a:pt x="9786134" y="612892"/>
                    <a:pt x="9788128" y="680960"/>
                  </a:cubicBezTo>
                  <a:cubicBezTo>
                    <a:pt x="9788138" y="680963"/>
                    <a:pt x="9788208" y="680988"/>
                    <a:pt x="9788888" y="681230"/>
                  </a:cubicBezTo>
                  <a:lnTo>
                    <a:pt x="9794208" y="683122"/>
                  </a:lnTo>
                  <a:cubicBezTo>
                    <a:pt x="9794208" y="683102"/>
                    <a:pt x="9794208" y="681769"/>
                    <a:pt x="9794208" y="596651"/>
                  </a:cubicBezTo>
                  <a:cubicBezTo>
                    <a:pt x="9798262" y="596651"/>
                    <a:pt x="9798262" y="596651"/>
                    <a:pt x="9798262" y="564224"/>
                  </a:cubicBezTo>
                  <a:cubicBezTo>
                    <a:pt x="9798274" y="564224"/>
                    <a:pt x="9798960" y="564224"/>
                    <a:pt x="9836768" y="564224"/>
                  </a:cubicBezTo>
                  <a:cubicBezTo>
                    <a:pt x="9836768" y="564241"/>
                    <a:pt x="9836768" y="564959"/>
                    <a:pt x="9836768" y="596651"/>
                  </a:cubicBezTo>
                  <a:cubicBezTo>
                    <a:pt x="9836778" y="596651"/>
                    <a:pt x="9836850" y="596651"/>
                    <a:pt x="9837528" y="596651"/>
                  </a:cubicBezTo>
                  <a:lnTo>
                    <a:pt x="9842848" y="596651"/>
                  </a:lnTo>
                  <a:cubicBezTo>
                    <a:pt x="9842848" y="596630"/>
                    <a:pt x="9842848" y="595324"/>
                    <a:pt x="9842848" y="514503"/>
                  </a:cubicBezTo>
                  <a:cubicBezTo>
                    <a:pt x="9842854" y="514503"/>
                    <a:pt x="9842954" y="514503"/>
                    <a:pt x="9844622" y="514503"/>
                  </a:cubicBezTo>
                  <a:lnTo>
                    <a:pt x="9857036" y="514503"/>
                  </a:lnTo>
                  <a:cubicBezTo>
                    <a:pt x="9857036" y="514496"/>
                    <a:pt x="9857036" y="514385"/>
                    <a:pt x="9857036" y="512612"/>
                  </a:cubicBezTo>
                  <a:lnTo>
                    <a:pt x="9857036" y="499371"/>
                  </a:lnTo>
                  <a:cubicBezTo>
                    <a:pt x="9857046" y="499371"/>
                    <a:pt x="9857544" y="499371"/>
                    <a:pt x="9879330" y="499371"/>
                  </a:cubicBezTo>
                  <a:cubicBezTo>
                    <a:pt x="9879330" y="499364"/>
                    <a:pt x="9879330" y="499283"/>
                    <a:pt x="9879330" y="498290"/>
                  </a:cubicBezTo>
                  <a:lnTo>
                    <a:pt x="9879330" y="490724"/>
                  </a:lnTo>
                  <a:cubicBezTo>
                    <a:pt x="9879336" y="490724"/>
                    <a:pt x="9879446" y="490724"/>
                    <a:pt x="9881102" y="490724"/>
                  </a:cubicBezTo>
                  <a:lnTo>
                    <a:pt x="9893516" y="490724"/>
                  </a:lnTo>
                  <a:cubicBezTo>
                    <a:pt x="9893516" y="490732"/>
                    <a:pt x="9893516" y="490811"/>
                    <a:pt x="9893516" y="491805"/>
                  </a:cubicBezTo>
                  <a:lnTo>
                    <a:pt x="9893516" y="499371"/>
                  </a:lnTo>
                  <a:cubicBezTo>
                    <a:pt x="9893526" y="499371"/>
                    <a:pt x="9893598" y="499371"/>
                    <a:pt x="9894276" y="499371"/>
                  </a:cubicBezTo>
                  <a:lnTo>
                    <a:pt x="9899596" y="499371"/>
                  </a:lnTo>
                  <a:lnTo>
                    <a:pt x="9909730" y="495047"/>
                  </a:lnTo>
                  <a:lnTo>
                    <a:pt x="9913782" y="498290"/>
                  </a:lnTo>
                  <a:lnTo>
                    <a:pt x="9913782" y="490724"/>
                  </a:lnTo>
                  <a:cubicBezTo>
                    <a:pt x="9913792" y="490724"/>
                    <a:pt x="9913928" y="490724"/>
                    <a:pt x="9916062" y="490724"/>
                  </a:cubicBezTo>
                  <a:lnTo>
                    <a:pt x="9932024" y="490724"/>
                  </a:lnTo>
                  <a:cubicBezTo>
                    <a:pt x="9932024" y="490732"/>
                    <a:pt x="9932024" y="490811"/>
                    <a:pt x="9932024" y="491805"/>
                  </a:cubicBezTo>
                  <a:lnTo>
                    <a:pt x="9932024" y="499371"/>
                  </a:lnTo>
                  <a:cubicBezTo>
                    <a:pt x="9932042" y="499371"/>
                    <a:pt x="9932778" y="499371"/>
                    <a:pt x="9962424" y="499371"/>
                  </a:cubicBezTo>
                  <a:cubicBezTo>
                    <a:pt x="9962424" y="499381"/>
                    <a:pt x="9962424" y="499490"/>
                    <a:pt x="9962424" y="500992"/>
                  </a:cubicBezTo>
                  <a:lnTo>
                    <a:pt x="9962424" y="512342"/>
                  </a:lnTo>
                  <a:cubicBezTo>
                    <a:pt x="9962440" y="512342"/>
                    <a:pt x="9963080" y="512342"/>
                    <a:pt x="9988770" y="512342"/>
                  </a:cubicBezTo>
                  <a:cubicBezTo>
                    <a:pt x="9988770" y="512358"/>
                    <a:pt x="9988770" y="513038"/>
                    <a:pt x="9988770" y="542606"/>
                  </a:cubicBezTo>
                  <a:cubicBezTo>
                    <a:pt x="9988780" y="542606"/>
                    <a:pt x="9988852" y="542606"/>
                    <a:pt x="9989530" y="542606"/>
                  </a:cubicBezTo>
                  <a:lnTo>
                    <a:pt x="9994850" y="542606"/>
                  </a:lnTo>
                  <a:cubicBezTo>
                    <a:pt x="9994850" y="542613"/>
                    <a:pt x="9994850" y="542699"/>
                    <a:pt x="9994850" y="543687"/>
                  </a:cubicBezTo>
                  <a:lnTo>
                    <a:pt x="9994850" y="551254"/>
                  </a:lnTo>
                  <a:cubicBezTo>
                    <a:pt x="9998904" y="551254"/>
                    <a:pt x="9998904" y="551254"/>
                    <a:pt x="9998904" y="581518"/>
                  </a:cubicBezTo>
                  <a:cubicBezTo>
                    <a:pt x="9998914" y="581518"/>
                    <a:pt x="9998988" y="581518"/>
                    <a:pt x="9999664" y="581518"/>
                  </a:cubicBezTo>
                  <a:lnTo>
                    <a:pt x="10004984" y="581518"/>
                  </a:lnTo>
                  <a:cubicBezTo>
                    <a:pt x="10004984" y="581527"/>
                    <a:pt x="10004984" y="581594"/>
                    <a:pt x="10004984" y="582329"/>
                  </a:cubicBezTo>
                  <a:lnTo>
                    <a:pt x="10004984" y="588004"/>
                  </a:lnTo>
                  <a:cubicBezTo>
                    <a:pt x="10004990" y="588004"/>
                    <a:pt x="10005068" y="588004"/>
                    <a:pt x="10005998" y="588004"/>
                  </a:cubicBezTo>
                  <a:lnTo>
                    <a:pt x="10013090" y="588004"/>
                  </a:lnTo>
                  <a:cubicBezTo>
                    <a:pt x="10013090" y="588021"/>
                    <a:pt x="10013090" y="588734"/>
                    <a:pt x="10013090" y="618269"/>
                  </a:cubicBezTo>
                  <a:cubicBezTo>
                    <a:pt x="10013098" y="618269"/>
                    <a:pt x="10013218" y="618269"/>
                    <a:pt x="10015118" y="618269"/>
                  </a:cubicBezTo>
                  <a:lnTo>
                    <a:pt x="10029304" y="618269"/>
                  </a:lnTo>
                  <a:cubicBezTo>
                    <a:pt x="10029304" y="618285"/>
                    <a:pt x="10029304" y="618865"/>
                    <a:pt x="10029304" y="642048"/>
                  </a:cubicBezTo>
                  <a:cubicBezTo>
                    <a:pt x="10031332" y="642048"/>
                    <a:pt x="10031332" y="642048"/>
                    <a:pt x="10031332" y="643669"/>
                  </a:cubicBezTo>
                  <a:lnTo>
                    <a:pt x="10031332" y="655019"/>
                  </a:lnTo>
                  <a:cubicBezTo>
                    <a:pt x="10031340" y="655019"/>
                    <a:pt x="10031410" y="655019"/>
                    <a:pt x="10032092" y="655019"/>
                  </a:cubicBezTo>
                  <a:lnTo>
                    <a:pt x="10037412" y="655019"/>
                  </a:lnTo>
                  <a:cubicBezTo>
                    <a:pt x="10037412" y="655033"/>
                    <a:pt x="10037412" y="655596"/>
                    <a:pt x="10037412" y="678798"/>
                  </a:cubicBezTo>
                  <a:cubicBezTo>
                    <a:pt x="10037420" y="678798"/>
                    <a:pt x="10037518" y="678798"/>
                    <a:pt x="10038678" y="678798"/>
                  </a:cubicBezTo>
                  <a:lnTo>
                    <a:pt x="10047544" y="678798"/>
                  </a:lnTo>
                  <a:cubicBezTo>
                    <a:pt x="10049572" y="680960"/>
                    <a:pt x="10049572" y="680960"/>
                    <a:pt x="10049572" y="682852"/>
                  </a:cubicBezTo>
                  <a:lnTo>
                    <a:pt x="10049572" y="696093"/>
                  </a:lnTo>
                  <a:cubicBezTo>
                    <a:pt x="10049576" y="696086"/>
                    <a:pt x="10049664" y="695979"/>
                    <a:pt x="10051092" y="694201"/>
                  </a:cubicBezTo>
                  <a:lnTo>
                    <a:pt x="10061732" y="680960"/>
                  </a:lnTo>
                  <a:cubicBezTo>
                    <a:pt x="10061746" y="680960"/>
                    <a:pt x="10062386" y="680960"/>
                    <a:pt x="10090106" y="680960"/>
                  </a:cubicBezTo>
                  <a:cubicBezTo>
                    <a:pt x="10090106" y="680985"/>
                    <a:pt x="10090106" y="682386"/>
                    <a:pt x="10090106" y="767431"/>
                  </a:cubicBezTo>
                  <a:cubicBezTo>
                    <a:pt x="10090114" y="767431"/>
                    <a:pt x="10090190" y="767431"/>
                    <a:pt x="10090866" y="767431"/>
                  </a:cubicBezTo>
                  <a:lnTo>
                    <a:pt x="10096186" y="767431"/>
                  </a:lnTo>
                  <a:cubicBezTo>
                    <a:pt x="10096190" y="767423"/>
                    <a:pt x="10096248" y="767323"/>
                    <a:pt x="10096946" y="766080"/>
                  </a:cubicBezTo>
                  <a:lnTo>
                    <a:pt x="10102266" y="756622"/>
                  </a:lnTo>
                  <a:cubicBezTo>
                    <a:pt x="10102266" y="756629"/>
                    <a:pt x="10102266" y="756728"/>
                    <a:pt x="10102266" y="758514"/>
                  </a:cubicBezTo>
                  <a:lnTo>
                    <a:pt x="10102266" y="771755"/>
                  </a:lnTo>
                  <a:cubicBezTo>
                    <a:pt x="10106318" y="771755"/>
                    <a:pt x="10106318" y="771755"/>
                    <a:pt x="10106318" y="726358"/>
                  </a:cubicBezTo>
                  <a:cubicBezTo>
                    <a:pt x="10106328" y="726358"/>
                    <a:pt x="10106398" y="726358"/>
                    <a:pt x="10107078" y="726358"/>
                  </a:cubicBezTo>
                  <a:lnTo>
                    <a:pt x="10112398" y="726358"/>
                  </a:lnTo>
                  <a:cubicBezTo>
                    <a:pt x="10112398" y="726343"/>
                    <a:pt x="10112398" y="725343"/>
                    <a:pt x="10112398" y="661504"/>
                  </a:cubicBezTo>
                  <a:cubicBezTo>
                    <a:pt x="10112406" y="661504"/>
                    <a:pt x="10112486" y="661504"/>
                    <a:pt x="10113412" y="661504"/>
                  </a:cubicBezTo>
                  <a:lnTo>
                    <a:pt x="10120506" y="661504"/>
                  </a:lnTo>
                  <a:cubicBezTo>
                    <a:pt x="10120512" y="661483"/>
                    <a:pt x="10120776" y="660543"/>
                    <a:pt x="10132666" y="618269"/>
                  </a:cubicBezTo>
                  <a:cubicBezTo>
                    <a:pt x="10132674" y="618269"/>
                    <a:pt x="10132772" y="618269"/>
                    <a:pt x="10133932" y="618269"/>
                  </a:cubicBezTo>
                  <a:lnTo>
                    <a:pt x="10142800" y="618269"/>
                  </a:lnTo>
                  <a:cubicBezTo>
                    <a:pt x="10142804" y="618292"/>
                    <a:pt x="10143030" y="619258"/>
                    <a:pt x="10152932" y="661504"/>
                  </a:cubicBezTo>
                  <a:cubicBezTo>
                    <a:pt x="10152938" y="661504"/>
                    <a:pt x="10153012" y="661504"/>
                    <a:pt x="10153946" y="661504"/>
                  </a:cubicBezTo>
                  <a:lnTo>
                    <a:pt x="10161040" y="661504"/>
                  </a:lnTo>
                  <a:cubicBezTo>
                    <a:pt x="10161040" y="661515"/>
                    <a:pt x="10161040" y="662182"/>
                    <a:pt x="10161040" y="700416"/>
                  </a:cubicBezTo>
                  <a:cubicBezTo>
                    <a:pt x="10161046" y="700416"/>
                    <a:pt x="10161146" y="700416"/>
                    <a:pt x="10162812" y="700416"/>
                  </a:cubicBezTo>
                  <a:lnTo>
                    <a:pt x="10175226" y="700416"/>
                  </a:lnTo>
                  <a:cubicBezTo>
                    <a:pt x="10175226" y="700424"/>
                    <a:pt x="10175226" y="700546"/>
                    <a:pt x="10175226" y="702578"/>
                  </a:cubicBezTo>
                  <a:lnTo>
                    <a:pt x="10175226" y="717710"/>
                  </a:lnTo>
                  <a:cubicBezTo>
                    <a:pt x="10179280" y="717710"/>
                    <a:pt x="10179280" y="717710"/>
                    <a:pt x="10179280" y="715549"/>
                  </a:cubicBezTo>
                  <a:lnTo>
                    <a:pt x="10179280" y="700416"/>
                  </a:lnTo>
                  <a:cubicBezTo>
                    <a:pt x="10179290" y="700416"/>
                    <a:pt x="10179402" y="700416"/>
                    <a:pt x="10180800" y="700416"/>
                  </a:cubicBezTo>
                  <a:lnTo>
                    <a:pt x="10191440" y="700416"/>
                  </a:lnTo>
                  <a:cubicBezTo>
                    <a:pt x="10191440" y="700426"/>
                    <a:pt x="10191440" y="700543"/>
                    <a:pt x="10191440" y="702037"/>
                  </a:cubicBezTo>
                  <a:lnTo>
                    <a:pt x="10191440" y="713387"/>
                  </a:lnTo>
                  <a:cubicBezTo>
                    <a:pt x="10191456" y="713387"/>
                    <a:pt x="10192164" y="713387"/>
                    <a:pt x="10221840" y="713387"/>
                  </a:cubicBezTo>
                  <a:cubicBezTo>
                    <a:pt x="10221840" y="713370"/>
                    <a:pt x="10221840" y="712599"/>
                    <a:pt x="10221840" y="676637"/>
                  </a:cubicBezTo>
                  <a:cubicBezTo>
                    <a:pt x="10221848" y="676637"/>
                    <a:pt x="10221942" y="676637"/>
                    <a:pt x="10223106" y="676637"/>
                  </a:cubicBezTo>
                  <a:lnTo>
                    <a:pt x="10231974" y="676637"/>
                  </a:lnTo>
                  <a:cubicBezTo>
                    <a:pt x="10231974" y="676648"/>
                    <a:pt x="10231974" y="677142"/>
                    <a:pt x="10231974" y="698254"/>
                  </a:cubicBezTo>
                  <a:cubicBezTo>
                    <a:pt x="10234000" y="698254"/>
                    <a:pt x="10234000" y="698254"/>
                    <a:pt x="10234000" y="665828"/>
                  </a:cubicBezTo>
                  <a:cubicBezTo>
                    <a:pt x="10234014" y="665828"/>
                    <a:pt x="10234556" y="665828"/>
                    <a:pt x="10256294" y="665828"/>
                  </a:cubicBezTo>
                  <a:cubicBezTo>
                    <a:pt x="10256294" y="665818"/>
                    <a:pt x="10256294" y="665698"/>
                    <a:pt x="10256294" y="664206"/>
                  </a:cubicBezTo>
                  <a:lnTo>
                    <a:pt x="10256294" y="652857"/>
                  </a:lnTo>
                  <a:cubicBezTo>
                    <a:pt x="10256302" y="652857"/>
                    <a:pt x="10256376" y="652857"/>
                    <a:pt x="10257054" y="652857"/>
                  </a:cubicBezTo>
                  <a:lnTo>
                    <a:pt x="10262374" y="652857"/>
                  </a:lnTo>
                  <a:cubicBezTo>
                    <a:pt x="10262374" y="652851"/>
                    <a:pt x="10262374" y="652738"/>
                    <a:pt x="10262374" y="650966"/>
                  </a:cubicBezTo>
                  <a:lnTo>
                    <a:pt x="10262374" y="637725"/>
                  </a:lnTo>
                  <a:lnTo>
                    <a:pt x="10266428" y="644210"/>
                  </a:lnTo>
                  <a:cubicBezTo>
                    <a:pt x="10266436" y="644210"/>
                    <a:pt x="10266564" y="644210"/>
                    <a:pt x="10268708" y="644210"/>
                  </a:cubicBezTo>
                  <a:lnTo>
                    <a:pt x="10284668" y="644210"/>
                  </a:lnTo>
                  <a:cubicBezTo>
                    <a:pt x="10284668" y="644202"/>
                    <a:pt x="10284668" y="644134"/>
                    <a:pt x="10284668" y="643399"/>
                  </a:cubicBezTo>
                  <a:lnTo>
                    <a:pt x="10284668" y="637725"/>
                  </a:lnTo>
                  <a:cubicBezTo>
                    <a:pt x="10284676" y="637725"/>
                    <a:pt x="10284750" y="637725"/>
                    <a:pt x="10285428" y="637725"/>
                  </a:cubicBezTo>
                  <a:lnTo>
                    <a:pt x="10290748" y="637725"/>
                  </a:lnTo>
                  <a:cubicBezTo>
                    <a:pt x="10290748" y="637734"/>
                    <a:pt x="10290748" y="637834"/>
                    <a:pt x="10290748" y="639076"/>
                  </a:cubicBezTo>
                  <a:lnTo>
                    <a:pt x="10290748" y="648534"/>
                  </a:lnTo>
                  <a:cubicBezTo>
                    <a:pt x="10290762" y="648534"/>
                    <a:pt x="10291496" y="648534"/>
                    <a:pt x="10329254" y="648534"/>
                  </a:cubicBezTo>
                  <a:cubicBezTo>
                    <a:pt x="10329254" y="648552"/>
                    <a:pt x="10329254" y="650062"/>
                    <a:pt x="10329254" y="786887"/>
                  </a:cubicBezTo>
                  <a:cubicBezTo>
                    <a:pt x="10329264" y="786887"/>
                    <a:pt x="10329380" y="786887"/>
                    <a:pt x="10330774" y="786887"/>
                  </a:cubicBezTo>
                  <a:lnTo>
                    <a:pt x="10341414" y="786887"/>
                  </a:lnTo>
                  <a:cubicBezTo>
                    <a:pt x="10341414" y="782564"/>
                    <a:pt x="10341414" y="778240"/>
                    <a:pt x="10341414" y="773917"/>
                  </a:cubicBezTo>
                  <a:cubicBezTo>
                    <a:pt x="10343442" y="773917"/>
                    <a:pt x="10343442" y="773917"/>
                    <a:pt x="10345468" y="773917"/>
                  </a:cubicBezTo>
                  <a:cubicBezTo>
                    <a:pt x="10345468" y="778240"/>
                    <a:pt x="10345468" y="782564"/>
                    <a:pt x="10345468" y="786887"/>
                  </a:cubicBezTo>
                  <a:cubicBezTo>
                    <a:pt x="10355602" y="786887"/>
                    <a:pt x="10365736" y="786887"/>
                    <a:pt x="10375868" y="786887"/>
                  </a:cubicBezTo>
                  <a:cubicBezTo>
                    <a:pt x="10375868" y="776078"/>
                    <a:pt x="10375868" y="767431"/>
                    <a:pt x="10375868" y="756622"/>
                  </a:cubicBezTo>
                  <a:cubicBezTo>
                    <a:pt x="10379922" y="756622"/>
                    <a:pt x="10383976" y="756622"/>
                    <a:pt x="10388028" y="756622"/>
                  </a:cubicBezTo>
                  <a:lnTo>
                    <a:pt x="10400188" y="754461"/>
                  </a:lnTo>
                  <a:cubicBezTo>
                    <a:pt x="10402216" y="754461"/>
                    <a:pt x="10402216" y="756622"/>
                    <a:pt x="10404242" y="756622"/>
                  </a:cubicBezTo>
                  <a:lnTo>
                    <a:pt x="10414376" y="756622"/>
                  </a:lnTo>
                  <a:cubicBezTo>
                    <a:pt x="10414376" y="767431"/>
                    <a:pt x="10414376" y="778240"/>
                    <a:pt x="10414376" y="786887"/>
                  </a:cubicBezTo>
                  <a:cubicBezTo>
                    <a:pt x="10416402" y="786887"/>
                    <a:pt x="10418430" y="786887"/>
                    <a:pt x="10422482" y="786887"/>
                  </a:cubicBezTo>
                  <a:cubicBezTo>
                    <a:pt x="10422482" y="793373"/>
                    <a:pt x="10422482" y="799858"/>
                    <a:pt x="10422482" y="804182"/>
                  </a:cubicBezTo>
                  <a:lnTo>
                    <a:pt x="10431818" y="805087"/>
                  </a:lnTo>
                  <a:lnTo>
                    <a:pt x="10444776" y="805087"/>
                  </a:lnTo>
                  <a:cubicBezTo>
                    <a:pt x="10444776" y="799278"/>
                    <a:pt x="10444776" y="795106"/>
                    <a:pt x="10444776" y="789049"/>
                  </a:cubicBezTo>
                  <a:lnTo>
                    <a:pt x="10512732" y="789049"/>
                  </a:lnTo>
                  <a:lnTo>
                    <a:pt x="10512732" y="703796"/>
                  </a:lnTo>
                  <a:lnTo>
                    <a:pt x="10584740" y="703796"/>
                  </a:lnTo>
                  <a:lnTo>
                    <a:pt x="10584740" y="782564"/>
                  </a:lnTo>
                  <a:cubicBezTo>
                    <a:pt x="10585376" y="782564"/>
                    <a:pt x="10586010" y="782564"/>
                    <a:pt x="10586644" y="782564"/>
                  </a:cubicBezTo>
                  <a:lnTo>
                    <a:pt x="10587886" y="805087"/>
                  </a:lnTo>
                  <a:lnTo>
                    <a:pt x="10597562" y="805087"/>
                  </a:lnTo>
                  <a:cubicBezTo>
                    <a:pt x="10598098" y="797873"/>
                    <a:pt x="10598804" y="790219"/>
                    <a:pt x="10598804" y="782564"/>
                  </a:cubicBezTo>
                  <a:cubicBezTo>
                    <a:pt x="10600832" y="782564"/>
                    <a:pt x="10602858" y="782564"/>
                    <a:pt x="10604884" y="782564"/>
                  </a:cubicBezTo>
                  <a:lnTo>
                    <a:pt x="10606126" y="805087"/>
                  </a:lnTo>
                  <a:lnTo>
                    <a:pt x="10656748" y="805087"/>
                  </a:lnTo>
                  <a:lnTo>
                    <a:pt x="10656748" y="642059"/>
                  </a:lnTo>
                  <a:lnTo>
                    <a:pt x="10854076" y="642059"/>
                  </a:lnTo>
                  <a:lnTo>
                    <a:pt x="10854076" y="805087"/>
                  </a:lnTo>
                  <a:lnTo>
                    <a:pt x="10872772" y="805087"/>
                  </a:lnTo>
                  <a:lnTo>
                    <a:pt x="10872772" y="722394"/>
                  </a:lnTo>
                  <a:lnTo>
                    <a:pt x="10967892" y="722394"/>
                  </a:lnTo>
                  <a:cubicBezTo>
                    <a:pt x="10971967" y="616373"/>
                    <a:pt x="10975346" y="510899"/>
                    <a:pt x="10979823" y="404253"/>
                  </a:cubicBezTo>
                  <a:cubicBezTo>
                    <a:pt x="10969690" y="404253"/>
                    <a:pt x="10945370" y="391282"/>
                    <a:pt x="10967663" y="382635"/>
                  </a:cubicBezTo>
                  <a:cubicBezTo>
                    <a:pt x="10965635" y="380473"/>
                    <a:pt x="10963610" y="378311"/>
                    <a:pt x="10961583" y="378311"/>
                  </a:cubicBezTo>
                  <a:cubicBezTo>
                    <a:pt x="10961583" y="365341"/>
                    <a:pt x="10959555" y="363179"/>
                    <a:pt x="10969690" y="354532"/>
                  </a:cubicBezTo>
                  <a:cubicBezTo>
                    <a:pt x="10969690" y="350208"/>
                    <a:pt x="10969690" y="343723"/>
                    <a:pt x="10969690" y="337238"/>
                  </a:cubicBezTo>
                  <a:cubicBezTo>
                    <a:pt x="10973743" y="337238"/>
                    <a:pt x="10977796" y="337238"/>
                    <a:pt x="10983876" y="337238"/>
                  </a:cubicBezTo>
                  <a:cubicBezTo>
                    <a:pt x="10983876" y="328590"/>
                    <a:pt x="10983876" y="322105"/>
                    <a:pt x="10983876" y="315620"/>
                  </a:cubicBezTo>
                  <a:cubicBezTo>
                    <a:pt x="10983876" y="313458"/>
                    <a:pt x="10985903" y="313458"/>
                    <a:pt x="10985903" y="311296"/>
                  </a:cubicBezTo>
                  <a:cubicBezTo>
                    <a:pt x="10985903" y="285355"/>
                    <a:pt x="10985903" y="259414"/>
                    <a:pt x="10985903" y="233472"/>
                  </a:cubicBezTo>
                  <a:cubicBezTo>
                    <a:pt x="10985903" y="231310"/>
                    <a:pt x="10983876" y="229149"/>
                    <a:pt x="10983876" y="226987"/>
                  </a:cubicBezTo>
                  <a:cubicBezTo>
                    <a:pt x="10985903" y="224825"/>
                    <a:pt x="10987930" y="222663"/>
                    <a:pt x="10989956" y="220501"/>
                  </a:cubicBezTo>
                  <a:cubicBezTo>
                    <a:pt x="10989956" y="201045"/>
                    <a:pt x="10989956" y="181589"/>
                    <a:pt x="10989956" y="162133"/>
                  </a:cubicBezTo>
                  <a:cubicBezTo>
                    <a:pt x="10989956" y="159972"/>
                    <a:pt x="10989956" y="159972"/>
                    <a:pt x="10991983" y="157810"/>
                  </a:cubicBezTo>
                  <a:cubicBezTo>
                    <a:pt x="10991983" y="140516"/>
                    <a:pt x="10991983" y="121060"/>
                    <a:pt x="10991983" y="101604"/>
                  </a:cubicBezTo>
                  <a:cubicBezTo>
                    <a:pt x="10994010" y="92957"/>
                    <a:pt x="10994010" y="88633"/>
                    <a:pt x="10994010" y="82148"/>
                  </a:cubicBezTo>
                  <a:cubicBezTo>
                    <a:pt x="10998063" y="88633"/>
                    <a:pt x="10998063" y="92957"/>
                    <a:pt x="10998063" y="99442"/>
                  </a:cubicBezTo>
                  <a:cubicBezTo>
                    <a:pt x="11000090" y="121060"/>
                    <a:pt x="11000090" y="140516"/>
                    <a:pt x="11000090" y="157810"/>
                  </a:cubicBezTo>
                  <a:cubicBezTo>
                    <a:pt x="11002116" y="181589"/>
                    <a:pt x="11002116" y="201045"/>
                    <a:pt x="11002116" y="220501"/>
                  </a:cubicBezTo>
                  <a:cubicBezTo>
                    <a:pt x="11004143" y="222663"/>
                    <a:pt x="11006170" y="224825"/>
                    <a:pt x="11008196" y="226987"/>
                  </a:cubicBezTo>
                  <a:cubicBezTo>
                    <a:pt x="11008196" y="229149"/>
                    <a:pt x="11006170" y="231310"/>
                    <a:pt x="11006170" y="233472"/>
                  </a:cubicBezTo>
                  <a:cubicBezTo>
                    <a:pt x="11006170" y="259414"/>
                    <a:pt x="11006170" y="285355"/>
                    <a:pt x="11006170" y="311296"/>
                  </a:cubicBezTo>
                  <a:cubicBezTo>
                    <a:pt x="11006170" y="313458"/>
                    <a:pt x="11008196" y="313458"/>
                    <a:pt x="11008196" y="315620"/>
                  </a:cubicBezTo>
                  <a:cubicBezTo>
                    <a:pt x="11008196" y="322105"/>
                    <a:pt x="11008196" y="328590"/>
                    <a:pt x="11008196" y="337238"/>
                  </a:cubicBezTo>
                  <a:cubicBezTo>
                    <a:pt x="11012250" y="337238"/>
                    <a:pt x="11018330" y="337238"/>
                    <a:pt x="11022383" y="337238"/>
                  </a:cubicBezTo>
                  <a:cubicBezTo>
                    <a:pt x="11022383" y="343723"/>
                    <a:pt x="11022383" y="350208"/>
                    <a:pt x="11022383" y="354532"/>
                  </a:cubicBezTo>
                  <a:cubicBezTo>
                    <a:pt x="11030491" y="363179"/>
                    <a:pt x="11030491" y="363179"/>
                    <a:pt x="11030491" y="378311"/>
                  </a:cubicBezTo>
                  <a:cubicBezTo>
                    <a:pt x="11028463" y="378311"/>
                    <a:pt x="11026436" y="380473"/>
                    <a:pt x="11024411" y="382635"/>
                  </a:cubicBezTo>
                  <a:cubicBezTo>
                    <a:pt x="11044676" y="393444"/>
                    <a:pt x="11020356" y="402091"/>
                    <a:pt x="11012250" y="404253"/>
                  </a:cubicBezTo>
                  <a:cubicBezTo>
                    <a:pt x="11014276" y="488562"/>
                    <a:pt x="11018330" y="572871"/>
                    <a:pt x="11020356" y="657181"/>
                  </a:cubicBezTo>
                  <a:cubicBezTo>
                    <a:pt x="11042651" y="657181"/>
                    <a:pt x="11064943" y="657181"/>
                    <a:pt x="11085211" y="657181"/>
                  </a:cubicBezTo>
                  <a:cubicBezTo>
                    <a:pt x="11085211" y="683122"/>
                    <a:pt x="11085211" y="709063"/>
                    <a:pt x="11085211" y="732843"/>
                  </a:cubicBezTo>
                  <a:cubicBezTo>
                    <a:pt x="11089264" y="732843"/>
                    <a:pt x="11091291" y="732843"/>
                    <a:pt x="11093318" y="732843"/>
                  </a:cubicBezTo>
                  <a:cubicBezTo>
                    <a:pt x="11093318" y="730681"/>
                    <a:pt x="11095344" y="728519"/>
                    <a:pt x="11095344" y="726358"/>
                  </a:cubicBezTo>
                  <a:cubicBezTo>
                    <a:pt x="11097371" y="726358"/>
                    <a:pt x="11099398" y="726358"/>
                    <a:pt x="11101424" y="726358"/>
                  </a:cubicBezTo>
                  <a:cubicBezTo>
                    <a:pt x="11101424" y="728519"/>
                    <a:pt x="11101424" y="730681"/>
                    <a:pt x="11103452" y="735005"/>
                  </a:cubicBezTo>
                  <a:cubicBezTo>
                    <a:pt x="11107504" y="735005"/>
                    <a:pt x="11111558" y="735005"/>
                    <a:pt x="11115612" y="735005"/>
                  </a:cubicBezTo>
                  <a:cubicBezTo>
                    <a:pt x="11115612" y="732843"/>
                    <a:pt x="11115612" y="730681"/>
                    <a:pt x="11115612" y="728519"/>
                  </a:cubicBezTo>
                  <a:cubicBezTo>
                    <a:pt x="11123718" y="728519"/>
                    <a:pt x="11129798" y="728519"/>
                    <a:pt x="11137904" y="728519"/>
                  </a:cubicBezTo>
                  <a:cubicBezTo>
                    <a:pt x="11137904" y="730681"/>
                    <a:pt x="11137904" y="732843"/>
                    <a:pt x="11137904" y="735005"/>
                  </a:cubicBezTo>
                  <a:cubicBezTo>
                    <a:pt x="11143984" y="735005"/>
                    <a:pt x="11152092" y="735005"/>
                    <a:pt x="11158172" y="735005"/>
                  </a:cubicBezTo>
                  <a:cubicBezTo>
                    <a:pt x="11158172" y="750137"/>
                    <a:pt x="11158172" y="765270"/>
                    <a:pt x="11158172" y="780402"/>
                  </a:cubicBezTo>
                  <a:cubicBezTo>
                    <a:pt x="11162226" y="780402"/>
                    <a:pt x="11168306" y="780402"/>
                    <a:pt x="11172359" y="780402"/>
                  </a:cubicBezTo>
                  <a:cubicBezTo>
                    <a:pt x="11172359" y="776078"/>
                    <a:pt x="11172359" y="771755"/>
                    <a:pt x="11172359" y="767431"/>
                  </a:cubicBezTo>
                  <a:cubicBezTo>
                    <a:pt x="11178439" y="767431"/>
                    <a:pt x="11184519" y="767431"/>
                    <a:pt x="11188572" y="767431"/>
                  </a:cubicBezTo>
                  <a:cubicBezTo>
                    <a:pt x="11188572" y="706902"/>
                    <a:pt x="11188572" y="648534"/>
                    <a:pt x="11188572" y="588004"/>
                  </a:cubicBezTo>
                  <a:cubicBezTo>
                    <a:pt x="11190599" y="585842"/>
                    <a:pt x="11192626" y="583680"/>
                    <a:pt x="11194652" y="581518"/>
                  </a:cubicBezTo>
                  <a:cubicBezTo>
                    <a:pt x="11218972" y="581518"/>
                    <a:pt x="11243292" y="581518"/>
                    <a:pt x="11267614" y="581518"/>
                  </a:cubicBezTo>
                  <a:lnTo>
                    <a:pt x="11267614" y="590166"/>
                  </a:lnTo>
                  <a:lnTo>
                    <a:pt x="11277747" y="590166"/>
                  </a:lnTo>
                  <a:cubicBezTo>
                    <a:pt x="11277747" y="629078"/>
                    <a:pt x="11277747" y="667990"/>
                    <a:pt x="11277747" y="704740"/>
                  </a:cubicBezTo>
                  <a:cubicBezTo>
                    <a:pt x="11285854" y="704740"/>
                    <a:pt x="11291934" y="704740"/>
                    <a:pt x="11300040" y="704740"/>
                  </a:cubicBezTo>
                  <a:cubicBezTo>
                    <a:pt x="11300040" y="683122"/>
                    <a:pt x="11300040" y="661504"/>
                    <a:pt x="11300040" y="637725"/>
                  </a:cubicBezTo>
                  <a:cubicBezTo>
                    <a:pt x="11308147" y="637725"/>
                    <a:pt x="11318280" y="637725"/>
                    <a:pt x="11326388" y="637725"/>
                  </a:cubicBezTo>
                  <a:cubicBezTo>
                    <a:pt x="11328414" y="637725"/>
                    <a:pt x="11328414" y="635563"/>
                    <a:pt x="11330440" y="633401"/>
                  </a:cubicBezTo>
                  <a:lnTo>
                    <a:pt x="11338548" y="633401"/>
                  </a:lnTo>
                  <a:cubicBezTo>
                    <a:pt x="11340574" y="635563"/>
                    <a:pt x="11340574" y="637725"/>
                    <a:pt x="11342600" y="637725"/>
                  </a:cubicBezTo>
                  <a:cubicBezTo>
                    <a:pt x="11348680" y="637725"/>
                    <a:pt x="11356788" y="637725"/>
                    <a:pt x="11364895" y="637725"/>
                  </a:cubicBezTo>
                  <a:cubicBezTo>
                    <a:pt x="11364895" y="598813"/>
                    <a:pt x="11364895" y="559901"/>
                    <a:pt x="11364895" y="520989"/>
                  </a:cubicBezTo>
                  <a:cubicBezTo>
                    <a:pt x="11364908" y="520986"/>
                    <a:pt x="11365775" y="520822"/>
                    <a:pt x="11421642" y="510180"/>
                  </a:cubicBezTo>
                  <a:cubicBezTo>
                    <a:pt x="11421642" y="510187"/>
                    <a:pt x="11421642" y="510261"/>
                    <a:pt x="11421642" y="511261"/>
                  </a:cubicBezTo>
                  <a:lnTo>
                    <a:pt x="11421642" y="518827"/>
                  </a:lnTo>
                  <a:cubicBezTo>
                    <a:pt x="11421659" y="518827"/>
                    <a:pt x="11422303" y="518827"/>
                    <a:pt x="11447988" y="518827"/>
                  </a:cubicBezTo>
                  <a:cubicBezTo>
                    <a:pt x="11447988" y="518849"/>
                    <a:pt x="11447988" y="521220"/>
                    <a:pt x="11447988" y="773917"/>
                  </a:cubicBezTo>
                  <a:cubicBezTo>
                    <a:pt x="11454068" y="773917"/>
                    <a:pt x="11462175" y="773917"/>
                    <a:pt x="11470283" y="773917"/>
                  </a:cubicBezTo>
                  <a:cubicBezTo>
                    <a:pt x="11470283" y="771755"/>
                    <a:pt x="11470283" y="771755"/>
                    <a:pt x="11470283" y="769593"/>
                  </a:cubicBezTo>
                  <a:cubicBezTo>
                    <a:pt x="11474335" y="769593"/>
                    <a:pt x="11478388" y="769593"/>
                    <a:pt x="11482443" y="769593"/>
                  </a:cubicBezTo>
                  <a:cubicBezTo>
                    <a:pt x="11482443" y="771755"/>
                    <a:pt x="11482443" y="771755"/>
                    <a:pt x="11482443" y="773917"/>
                  </a:cubicBezTo>
                  <a:cubicBezTo>
                    <a:pt x="11490550" y="773917"/>
                    <a:pt x="11498655" y="773917"/>
                    <a:pt x="11506763" y="773917"/>
                  </a:cubicBezTo>
                  <a:cubicBezTo>
                    <a:pt x="11506763" y="769593"/>
                    <a:pt x="11506763" y="765270"/>
                    <a:pt x="11506763" y="760946"/>
                  </a:cubicBezTo>
                  <a:cubicBezTo>
                    <a:pt x="11516896" y="760946"/>
                    <a:pt x="11527030" y="760946"/>
                    <a:pt x="11535136" y="760946"/>
                  </a:cubicBezTo>
                  <a:cubicBezTo>
                    <a:pt x="11539190" y="756622"/>
                    <a:pt x="11543244" y="756622"/>
                    <a:pt x="11547296" y="756622"/>
                  </a:cubicBezTo>
                  <a:cubicBezTo>
                    <a:pt x="11553376" y="760946"/>
                    <a:pt x="11561484" y="760946"/>
                    <a:pt x="11567564" y="760946"/>
                  </a:cubicBezTo>
                  <a:cubicBezTo>
                    <a:pt x="11567564" y="754461"/>
                    <a:pt x="11567564" y="750137"/>
                    <a:pt x="11567564" y="743652"/>
                  </a:cubicBezTo>
                  <a:lnTo>
                    <a:pt x="11575671" y="743652"/>
                  </a:lnTo>
                  <a:cubicBezTo>
                    <a:pt x="11575671" y="739328"/>
                    <a:pt x="11575671" y="735005"/>
                    <a:pt x="11575671" y="730681"/>
                  </a:cubicBezTo>
                  <a:cubicBezTo>
                    <a:pt x="11593911" y="730681"/>
                    <a:pt x="11614178" y="730681"/>
                    <a:pt x="11632418" y="730681"/>
                  </a:cubicBezTo>
                  <a:cubicBezTo>
                    <a:pt x="11632418" y="719872"/>
                    <a:pt x="11632418" y="711225"/>
                    <a:pt x="11632418" y="700416"/>
                  </a:cubicBezTo>
                  <a:cubicBezTo>
                    <a:pt x="11638498" y="700416"/>
                    <a:pt x="11644578" y="700416"/>
                    <a:pt x="11650658" y="700416"/>
                  </a:cubicBezTo>
                  <a:cubicBezTo>
                    <a:pt x="11650658" y="698254"/>
                    <a:pt x="11650658" y="696093"/>
                    <a:pt x="11650658" y="693931"/>
                  </a:cubicBezTo>
                  <a:cubicBezTo>
                    <a:pt x="11654711" y="693931"/>
                    <a:pt x="11658764" y="693931"/>
                    <a:pt x="11662818" y="693931"/>
                  </a:cubicBezTo>
                  <a:cubicBezTo>
                    <a:pt x="11662818" y="696093"/>
                    <a:pt x="11662818" y="698254"/>
                    <a:pt x="11662818" y="700416"/>
                  </a:cubicBezTo>
                  <a:cubicBezTo>
                    <a:pt x="11668898" y="700416"/>
                    <a:pt x="11672951" y="700416"/>
                    <a:pt x="11679031" y="700416"/>
                  </a:cubicBezTo>
                  <a:cubicBezTo>
                    <a:pt x="11679031" y="715549"/>
                    <a:pt x="11679031" y="732843"/>
                    <a:pt x="11679031" y="750137"/>
                  </a:cubicBezTo>
                  <a:cubicBezTo>
                    <a:pt x="11689164" y="750137"/>
                    <a:pt x="11701326" y="750137"/>
                    <a:pt x="11711459" y="750137"/>
                  </a:cubicBezTo>
                  <a:cubicBezTo>
                    <a:pt x="11711459" y="741490"/>
                    <a:pt x="11711459" y="732843"/>
                    <a:pt x="11711459" y="724196"/>
                  </a:cubicBezTo>
                  <a:cubicBezTo>
                    <a:pt x="11723619" y="724196"/>
                    <a:pt x="11737806" y="724196"/>
                    <a:pt x="11749966" y="724196"/>
                  </a:cubicBezTo>
                  <a:cubicBezTo>
                    <a:pt x="11749966" y="713387"/>
                    <a:pt x="11749966" y="704740"/>
                    <a:pt x="11749966" y="693931"/>
                  </a:cubicBezTo>
                  <a:cubicBezTo>
                    <a:pt x="11766180" y="693931"/>
                    <a:pt x="11782392" y="693931"/>
                    <a:pt x="11798607" y="693931"/>
                  </a:cubicBezTo>
                  <a:cubicBezTo>
                    <a:pt x="11798607" y="693960"/>
                    <a:pt x="11798607" y="695735"/>
                    <a:pt x="11798607" y="805087"/>
                  </a:cubicBezTo>
                  <a:lnTo>
                    <a:pt x="11798607" y="818866"/>
                  </a:lnTo>
                  <a:lnTo>
                    <a:pt x="11864482" y="818866"/>
                  </a:lnTo>
                  <a:lnTo>
                    <a:pt x="11864482" y="924638"/>
                  </a:lnTo>
                  <a:lnTo>
                    <a:pt x="11864482" y="947885"/>
                  </a:lnTo>
                  <a:lnTo>
                    <a:pt x="11879442" y="947885"/>
                  </a:lnTo>
                  <a:cubicBezTo>
                    <a:pt x="11879442" y="947885"/>
                    <a:pt x="11879442" y="947885"/>
                    <a:pt x="11879442" y="946723"/>
                  </a:cubicBezTo>
                  <a:lnTo>
                    <a:pt x="11879442" y="938587"/>
                  </a:lnTo>
                  <a:cubicBezTo>
                    <a:pt x="11879442" y="938587"/>
                    <a:pt x="11879442" y="938587"/>
                    <a:pt x="11924022" y="938587"/>
                  </a:cubicBezTo>
                  <a:cubicBezTo>
                    <a:pt x="11924022" y="938587"/>
                    <a:pt x="11924022" y="938587"/>
                    <a:pt x="11924022" y="959508"/>
                  </a:cubicBezTo>
                  <a:cubicBezTo>
                    <a:pt x="11924022" y="959508"/>
                    <a:pt x="11924022" y="959508"/>
                    <a:pt x="11926250" y="960671"/>
                  </a:cubicBezTo>
                  <a:lnTo>
                    <a:pt x="11941854" y="968807"/>
                  </a:lnTo>
                  <a:cubicBezTo>
                    <a:pt x="11941854" y="968807"/>
                    <a:pt x="11941854" y="968807"/>
                    <a:pt x="11941854" y="999027"/>
                  </a:cubicBezTo>
                  <a:cubicBezTo>
                    <a:pt x="11941854" y="999027"/>
                    <a:pt x="11941854" y="999027"/>
                    <a:pt x="11943247" y="999609"/>
                  </a:cubicBezTo>
                  <a:lnTo>
                    <a:pt x="11952999" y="1003677"/>
                  </a:lnTo>
                  <a:cubicBezTo>
                    <a:pt x="11952999" y="1003677"/>
                    <a:pt x="11952999" y="1003677"/>
                    <a:pt x="11952999" y="1002515"/>
                  </a:cubicBezTo>
                  <a:lnTo>
                    <a:pt x="11952999" y="994378"/>
                  </a:lnTo>
                  <a:cubicBezTo>
                    <a:pt x="11952999" y="994378"/>
                    <a:pt x="11952999" y="994378"/>
                    <a:pt x="11954114" y="994378"/>
                  </a:cubicBezTo>
                  <a:lnTo>
                    <a:pt x="11961915" y="994378"/>
                  </a:lnTo>
                  <a:cubicBezTo>
                    <a:pt x="11961915" y="994378"/>
                    <a:pt x="11961915" y="994378"/>
                    <a:pt x="11961915" y="993506"/>
                  </a:cubicBezTo>
                  <a:lnTo>
                    <a:pt x="11961915" y="987404"/>
                  </a:lnTo>
                  <a:cubicBezTo>
                    <a:pt x="11961915" y="987404"/>
                    <a:pt x="11961915" y="987404"/>
                    <a:pt x="11960800" y="987404"/>
                  </a:cubicBezTo>
                  <a:lnTo>
                    <a:pt x="11952999" y="987404"/>
                  </a:lnTo>
                  <a:cubicBezTo>
                    <a:pt x="11952999" y="987404"/>
                    <a:pt x="11952999" y="987404"/>
                    <a:pt x="11952999" y="986242"/>
                  </a:cubicBezTo>
                  <a:lnTo>
                    <a:pt x="11952999" y="978106"/>
                  </a:lnTo>
                  <a:cubicBezTo>
                    <a:pt x="11952999" y="978106"/>
                    <a:pt x="11952999" y="978106"/>
                    <a:pt x="11954114" y="978106"/>
                  </a:cubicBezTo>
                  <a:lnTo>
                    <a:pt x="11961915" y="978106"/>
                  </a:lnTo>
                  <a:cubicBezTo>
                    <a:pt x="11961915" y="978106"/>
                    <a:pt x="11961915" y="978106"/>
                    <a:pt x="11961915" y="976943"/>
                  </a:cubicBezTo>
                  <a:lnTo>
                    <a:pt x="11961915" y="968807"/>
                  </a:lnTo>
                  <a:cubicBezTo>
                    <a:pt x="11961915" y="968807"/>
                    <a:pt x="11961915" y="968807"/>
                    <a:pt x="11960800" y="968807"/>
                  </a:cubicBezTo>
                  <a:lnTo>
                    <a:pt x="11952999" y="968807"/>
                  </a:lnTo>
                  <a:cubicBezTo>
                    <a:pt x="11952999" y="968807"/>
                    <a:pt x="11952999" y="968807"/>
                    <a:pt x="11952999" y="967645"/>
                  </a:cubicBezTo>
                  <a:lnTo>
                    <a:pt x="11952999" y="959508"/>
                  </a:lnTo>
                  <a:cubicBezTo>
                    <a:pt x="11952999" y="959508"/>
                    <a:pt x="11952999" y="959508"/>
                    <a:pt x="11954114" y="959508"/>
                  </a:cubicBezTo>
                  <a:lnTo>
                    <a:pt x="11961915" y="959508"/>
                  </a:lnTo>
                  <a:cubicBezTo>
                    <a:pt x="11961915" y="959508"/>
                    <a:pt x="11961915" y="959508"/>
                    <a:pt x="11961915" y="958637"/>
                  </a:cubicBezTo>
                  <a:lnTo>
                    <a:pt x="11961915" y="952535"/>
                  </a:lnTo>
                  <a:cubicBezTo>
                    <a:pt x="11961915" y="952535"/>
                    <a:pt x="11961915" y="952535"/>
                    <a:pt x="11960800" y="952535"/>
                  </a:cubicBezTo>
                  <a:lnTo>
                    <a:pt x="11952999" y="952535"/>
                  </a:lnTo>
                  <a:cubicBezTo>
                    <a:pt x="11952999" y="952535"/>
                    <a:pt x="11952999" y="952535"/>
                    <a:pt x="11952999" y="951372"/>
                  </a:cubicBezTo>
                  <a:lnTo>
                    <a:pt x="11952999" y="943236"/>
                  </a:lnTo>
                  <a:cubicBezTo>
                    <a:pt x="11952999" y="943236"/>
                    <a:pt x="11952999" y="943236"/>
                    <a:pt x="11954114" y="943236"/>
                  </a:cubicBezTo>
                  <a:lnTo>
                    <a:pt x="11961915" y="943236"/>
                  </a:lnTo>
                  <a:cubicBezTo>
                    <a:pt x="11961915" y="943236"/>
                    <a:pt x="11961915" y="943236"/>
                    <a:pt x="11961915" y="942074"/>
                  </a:cubicBezTo>
                  <a:lnTo>
                    <a:pt x="11961915" y="933937"/>
                  </a:lnTo>
                  <a:cubicBezTo>
                    <a:pt x="11961915" y="933937"/>
                    <a:pt x="11961915" y="933937"/>
                    <a:pt x="11960800" y="933937"/>
                  </a:cubicBezTo>
                  <a:lnTo>
                    <a:pt x="11952999" y="933937"/>
                  </a:lnTo>
                  <a:cubicBezTo>
                    <a:pt x="11952999" y="933937"/>
                    <a:pt x="11952999" y="933937"/>
                    <a:pt x="11952999" y="933066"/>
                  </a:cubicBezTo>
                  <a:lnTo>
                    <a:pt x="11952999" y="926963"/>
                  </a:lnTo>
                  <a:cubicBezTo>
                    <a:pt x="11952999" y="926963"/>
                    <a:pt x="11952999" y="926963"/>
                    <a:pt x="11954114" y="926963"/>
                  </a:cubicBezTo>
                  <a:lnTo>
                    <a:pt x="11961915" y="926963"/>
                  </a:lnTo>
                  <a:cubicBezTo>
                    <a:pt x="11961915" y="926963"/>
                    <a:pt x="11961915" y="926963"/>
                    <a:pt x="11961915" y="925801"/>
                  </a:cubicBezTo>
                  <a:lnTo>
                    <a:pt x="11961915" y="917665"/>
                  </a:lnTo>
                  <a:cubicBezTo>
                    <a:pt x="11961915" y="917665"/>
                    <a:pt x="11961915" y="917665"/>
                    <a:pt x="11960800" y="917665"/>
                  </a:cubicBezTo>
                  <a:lnTo>
                    <a:pt x="11952999" y="917665"/>
                  </a:lnTo>
                  <a:cubicBezTo>
                    <a:pt x="11952999" y="917665"/>
                    <a:pt x="11952999" y="917665"/>
                    <a:pt x="11952999" y="916503"/>
                  </a:cubicBezTo>
                  <a:lnTo>
                    <a:pt x="11952999" y="908366"/>
                  </a:lnTo>
                  <a:cubicBezTo>
                    <a:pt x="11952999" y="908366"/>
                    <a:pt x="11952999" y="908366"/>
                    <a:pt x="11954114" y="908366"/>
                  </a:cubicBezTo>
                  <a:lnTo>
                    <a:pt x="11961915" y="908366"/>
                  </a:lnTo>
                  <a:cubicBezTo>
                    <a:pt x="11961915" y="908366"/>
                    <a:pt x="11961915" y="908366"/>
                    <a:pt x="11961915" y="907204"/>
                  </a:cubicBezTo>
                  <a:lnTo>
                    <a:pt x="11961915" y="899068"/>
                  </a:lnTo>
                  <a:cubicBezTo>
                    <a:pt x="11961915" y="899068"/>
                    <a:pt x="11961915" y="899068"/>
                    <a:pt x="11960800" y="899068"/>
                  </a:cubicBezTo>
                  <a:lnTo>
                    <a:pt x="11952999" y="899068"/>
                  </a:lnTo>
                  <a:cubicBezTo>
                    <a:pt x="11952999" y="899068"/>
                    <a:pt x="11952999" y="899068"/>
                    <a:pt x="11952999" y="898196"/>
                  </a:cubicBezTo>
                  <a:lnTo>
                    <a:pt x="11952999" y="892094"/>
                  </a:lnTo>
                  <a:cubicBezTo>
                    <a:pt x="11952999" y="892094"/>
                    <a:pt x="11952999" y="892094"/>
                    <a:pt x="11954114" y="892094"/>
                  </a:cubicBezTo>
                  <a:lnTo>
                    <a:pt x="11961915" y="892094"/>
                  </a:lnTo>
                  <a:cubicBezTo>
                    <a:pt x="11961915" y="892094"/>
                    <a:pt x="11961915" y="892094"/>
                    <a:pt x="11961915" y="890931"/>
                  </a:cubicBezTo>
                  <a:lnTo>
                    <a:pt x="11961915" y="882795"/>
                  </a:lnTo>
                  <a:cubicBezTo>
                    <a:pt x="11961915" y="882795"/>
                    <a:pt x="11961915" y="882795"/>
                    <a:pt x="11960800" y="882795"/>
                  </a:cubicBezTo>
                  <a:lnTo>
                    <a:pt x="11952999" y="882795"/>
                  </a:lnTo>
                  <a:cubicBezTo>
                    <a:pt x="11952999" y="882795"/>
                    <a:pt x="11952999" y="882795"/>
                    <a:pt x="11952999" y="881633"/>
                  </a:cubicBezTo>
                  <a:lnTo>
                    <a:pt x="11952999" y="873496"/>
                  </a:lnTo>
                  <a:cubicBezTo>
                    <a:pt x="11952999" y="873496"/>
                    <a:pt x="11952999" y="873496"/>
                    <a:pt x="11954114" y="873496"/>
                  </a:cubicBezTo>
                  <a:lnTo>
                    <a:pt x="11961915" y="873496"/>
                  </a:lnTo>
                  <a:cubicBezTo>
                    <a:pt x="11961915" y="873496"/>
                    <a:pt x="11961915" y="873496"/>
                    <a:pt x="11961915" y="872625"/>
                  </a:cubicBezTo>
                  <a:lnTo>
                    <a:pt x="11961915" y="866523"/>
                  </a:lnTo>
                  <a:cubicBezTo>
                    <a:pt x="11961915" y="866523"/>
                    <a:pt x="11961915" y="866523"/>
                    <a:pt x="11960800" y="866523"/>
                  </a:cubicBezTo>
                  <a:lnTo>
                    <a:pt x="11952999" y="866523"/>
                  </a:lnTo>
                  <a:cubicBezTo>
                    <a:pt x="11952999" y="866523"/>
                    <a:pt x="11952999" y="866523"/>
                    <a:pt x="11952999" y="865360"/>
                  </a:cubicBezTo>
                  <a:lnTo>
                    <a:pt x="11952999" y="857224"/>
                  </a:lnTo>
                  <a:cubicBezTo>
                    <a:pt x="11952999" y="857224"/>
                    <a:pt x="11952999" y="857224"/>
                    <a:pt x="11954114" y="857224"/>
                  </a:cubicBezTo>
                  <a:lnTo>
                    <a:pt x="11961915" y="857224"/>
                  </a:lnTo>
                  <a:cubicBezTo>
                    <a:pt x="11961915" y="857224"/>
                    <a:pt x="11961915" y="857224"/>
                    <a:pt x="11961915" y="856062"/>
                  </a:cubicBezTo>
                  <a:lnTo>
                    <a:pt x="11961915" y="847925"/>
                  </a:lnTo>
                  <a:cubicBezTo>
                    <a:pt x="11961915" y="847925"/>
                    <a:pt x="11961915" y="847925"/>
                    <a:pt x="11960800" y="847925"/>
                  </a:cubicBezTo>
                  <a:lnTo>
                    <a:pt x="11952999" y="847925"/>
                  </a:lnTo>
                  <a:cubicBezTo>
                    <a:pt x="11952999" y="847925"/>
                    <a:pt x="11952999" y="847925"/>
                    <a:pt x="11952999" y="846763"/>
                  </a:cubicBezTo>
                  <a:lnTo>
                    <a:pt x="11952999" y="838627"/>
                  </a:lnTo>
                  <a:cubicBezTo>
                    <a:pt x="11952999" y="838627"/>
                    <a:pt x="11952999" y="838627"/>
                    <a:pt x="11954114" y="838627"/>
                  </a:cubicBezTo>
                  <a:lnTo>
                    <a:pt x="11961915" y="838627"/>
                  </a:lnTo>
                  <a:cubicBezTo>
                    <a:pt x="11961915" y="838627"/>
                    <a:pt x="11961915" y="838627"/>
                    <a:pt x="11961915" y="837755"/>
                  </a:cubicBezTo>
                  <a:lnTo>
                    <a:pt x="11961915" y="831653"/>
                  </a:lnTo>
                  <a:cubicBezTo>
                    <a:pt x="11961915" y="831653"/>
                    <a:pt x="11961915" y="831653"/>
                    <a:pt x="11960800" y="831653"/>
                  </a:cubicBezTo>
                  <a:lnTo>
                    <a:pt x="11952999" y="831653"/>
                  </a:lnTo>
                  <a:cubicBezTo>
                    <a:pt x="11952999" y="831653"/>
                    <a:pt x="11952999" y="831653"/>
                    <a:pt x="11952999" y="830491"/>
                  </a:cubicBezTo>
                  <a:lnTo>
                    <a:pt x="11952999" y="822354"/>
                  </a:lnTo>
                  <a:cubicBezTo>
                    <a:pt x="11952999" y="822354"/>
                    <a:pt x="11952999" y="822354"/>
                    <a:pt x="11954114" y="822354"/>
                  </a:cubicBezTo>
                  <a:lnTo>
                    <a:pt x="11961915" y="822354"/>
                  </a:lnTo>
                  <a:cubicBezTo>
                    <a:pt x="11961915" y="822354"/>
                    <a:pt x="11961915" y="822354"/>
                    <a:pt x="11961915" y="821192"/>
                  </a:cubicBezTo>
                  <a:lnTo>
                    <a:pt x="11961915" y="813056"/>
                  </a:lnTo>
                  <a:cubicBezTo>
                    <a:pt x="11961915" y="813056"/>
                    <a:pt x="11961915" y="813056"/>
                    <a:pt x="11960800" y="813056"/>
                  </a:cubicBezTo>
                  <a:lnTo>
                    <a:pt x="11952999" y="813056"/>
                  </a:lnTo>
                  <a:cubicBezTo>
                    <a:pt x="11952999" y="813056"/>
                    <a:pt x="11952999" y="813056"/>
                    <a:pt x="11952999" y="811893"/>
                  </a:cubicBezTo>
                  <a:lnTo>
                    <a:pt x="11952999" y="803757"/>
                  </a:lnTo>
                  <a:cubicBezTo>
                    <a:pt x="11952999" y="803757"/>
                    <a:pt x="11952999" y="803757"/>
                    <a:pt x="11954114" y="803757"/>
                  </a:cubicBezTo>
                  <a:lnTo>
                    <a:pt x="11961915" y="803757"/>
                  </a:lnTo>
                  <a:cubicBezTo>
                    <a:pt x="11961915" y="803757"/>
                    <a:pt x="11961915" y="803757"/>
                    <a:pt x="11961915" y="802885"/>
                  </a:cubicBezTo>
                  <a:lnTo>
                    <a:pt x="11961915" y="796783"/>
                  </a:lnTo>
                  <a:cubicBezTo>
                    <a:pt x="11961915" y="796783"/>
                    <a:pt x="11961915" y="796783"/>
                    <a:pt x="11960800" y="796783"/>
                  </a:cubicBezTo>
                  <a:lnTo>
                    <a:pt x="11952999" y="796783"/>
                  </a:lnTo>
                  <a:cubicBezTo>
                    <a:pt x="11952999" y="796783"/>
                    <a:pt x="11952999" y="796783"/>
                    <a:pt x="11952999" y="795621"/>
                  </a:cubicBezTo>
                  <a:lnTo>
                    <a:pt x="11952999" y="787484"/>
                  </a:lnTo>
                  <a:cubicBezTo>
                    <a:pt x="11952999" y="787484"/>
                    <a:pt x="11952999" y="787484"/>
                    <a:pt x="11954114" y="787484"/>
                  </a:cubicBezTo>
                  <a:lnTo>
                    <a:pt x="11961915" y="787484"/>
                  </a:lnTo>
                  <a:cubicBezTo>
                    <a:pt x="11961915" y="787484"/>
                    <a:pt x="11961915" y="787484"/>
                    <a:pt x="11960800" y="785741"/>
                  </a:cubicBezTo>
                  <a:lnTo>
                    <a:pt x="11952999" y="773537"/>
                  </a:lnTo>
                  <a:cubicBezTo>
                    <a:pt x="11952999" y="773537"/>
                    <a:pt x="11952999" y="773537"/>
                    <a:pt x="11952999" y="736342"/>
                  </a:cubicBezTo>
                  <a:cubicBezTo>
                    <a:pt x="11952999" y="736342"/>
                    <a:pt x="11952999" y="736342"/>
                    <a:pt x="12102343" y="736342"/>
                  </a:cubicBezTo>
                  <a:cubicBezTo>
                    <a:pt x="12102343" y="736342"/>
                    <a:pt x="12102343" y="736342"/>
                    <a:pt x="12115716" y="757264"/>
                  </a:cubicBezTo>
                  <a:cubicBezTo>
                    <a:pt x="12115716" y="757264"/>
                    <a:pt x="12115716" y="757264"/>
                    <a:pt x="12115716" y="803757"/>
                  </a:cubicBezTo>
                  <a:cubicBezTo>
                    <a:pt x="12115716" y="803757"/>
                    <a:pt x="12115716" y="803757"/>
                    <a:pt x="12114602" y="803757"/>
                  </a:cubicBezTo>
                  <a:lnTo>
                    <a:pt x="12106800" y="803757"/>
                  </a:lnTo>
                  <a:cubicBezTo>
                    <a:pt x="12106800" y="803757"/>
                    <a:pt x="12106800" y="803757"/>
                    <a:pt x="12106800" y="804919"/>
                  </a:cubicBezTo>
                  <a:lnTo>
                    <a:pt x="12106800" y="813056"/>
                  </a:lnTo>
                  <a:cubicBezTo>
                    <a:pt x="12106800" y="813056"/>
                    <a:pt x="12106800" y="813056"/>
                    <a:pt x="12107915" y="813056"/>
                  </a:cubicBezTo>
                  <a:lnTo>
                    <a:pt x="12115716" y="813056"/>
                  </a:lnTo>
                  <a:cubicBezTo>
                    <a:pt x="12115716" y="813056"/>
                    <a:pt x="12115716" y="813056"/>
                    <a:pt x="12115716" y="814218"/>
                  </a:cubicBezTo>
                  <a:lnTo>
                    <a:pt x="12115716" y="822354"/>
                  </a:lnTo>
                  <a:cubicBezTo>
                    <a:pt x="12115716" y="822354"/>
                    <a:pt x="12115716" y="822354"/>
                    <a:pt x="12114602" y="822354"/>
                  </a:cubicBezTo>
                  <a:lnTo>
                    <a:pt x="12106800" y="822354"/>
                  </a:lnTo>
                  <a:cubicBezTo>
                    <a:pt x="12106800" y="822354"/>
                    <a:pt x="12106800" y="822354"/>
                    <a:pt x="12106800" y="823516"/>
                  </a:cubicBezTo>
                  <a:lnTo>
                    <a:pt x="12106800" y="831653"/>
                  </a:lnTo>
                  <a:cubicBezTo>
                    <a:pt x="12106800" y="831653"/>
                    <a:pt x="12106800" y="831653"/>
                    <a:pt x="12107915" y="831653"/>
                  </a:cubicBezTo>
                  <a:lnTo>
                    <a:pt x="12115716" y="831653"/>
                  </a:lnTo>
                  <a:cubicBezTo>
                    <a:pt x="12115716" y="831653"/>
                    <a:pt x="12115716" y="831653"/>
                    <a:pt x="12115716" y="832525"/>
                  </a:cubicBezTo>
                  <a:lnTo>
                    <a:pt x="12115716" y="838627"/>
                  </a:lnTo>
                  <a:cubicBezTo>
                    <a:pt x="12115716" y="838627"/>
                    <a:pt x="12115716" y="838627"/>
                    <a:pt x="12114602" y="838627"/>
                  </a:cubicBezTo>
                  <a:lnTo>
                    <a:pt x="12106800" y="838627"/>
                  </a:lnTo>
                  <a:cubicBezTo>
                    <a:pt x="12106800" y="838627"/>
                    <a:pt x="12106800" y="838627"/>
                    <a:pt x="12106800" y="839789"/>
                  </a:cubicBezTo>
                  <a:lnTo>
                    <a:pt x="12106800" y="847925"/>
                  </a:lnTo>
                  <a:cubicBezTo>
                    <a:pt x="12106800" y="847925"/>
                    <a:pt x="12106800" y="847925"/>
                    <a:pt x="12107915" y="847925"/>
                  </a:cubicBezTo>
                  <a:lnTo>
                    <a:pt x="12115716" y="847925"/>
                  </a:lnTo>
                  <a:cubicBezTo>
                    <a:pt x="12115716" y="847925"/>
                    <a:pt x="12115716" y="847925"/>
                    <a:pt x="12115716" y="849088"/>
                  </a:cubicBezTo>
                  <a:lnTo>
                    <a:pt x="12115716" y="857224"/>
                  </a:lnTo>
                  <a:cubicBezTo>
                    <a:pt x="12115716" y="857224"/>
                    <a:pt x="12115716" y="857224"/>
                    <a:pt x="12114602" y="857224"/>
                  </a:cubicBezTo>
                  <a:lnTo>
                    <a:pt x="12106800" y="857224"/>
                  </a:lnTo>
                  <a:cubicBezTo>
                    <a:pt x="12106800" y="857224"/>
                    <a:pt x="12106800" y="857224"/>
                    <a:pt x="12106800" y="858386"/>
                  </a:cubicBezTo>
                  <a:lnTo>
                    <a:pt x="12106800" y="866523"/>
                  </a:lnTo>
                  <a:cubicBezTo>
                    <a:pt x="12106800" y="866523"/>
                    <a:pt x="12106800" y="866523"/>
                    <a:pt x="12107915" y="866523"/>
                  </a:cubicBezTo>
                  <a:lnTo>
                    <a:pt x="12115716" y="866523"/>
                  </a:lnTo>
                  <a:cubicBezTo>
                    <a:pt x="12115716" y="866523"/>
                    <a:pt x="12115716" y="866523"/>
                    <a:pt x="12115716" y="867394"/>
                  </a:cubicBezTo>
                  <a:lnTo>
                    <a:pt x="12115716" y="873496"/>
                  </a:lnTo>
                  <a:cubicBezTo>
                    <a:pt x="12115716" y="873496"/>
                    <a:pt x="12115716" y="873496"/>
                    <a:pt x="12114602" y="873496"/>
                  </a:cubicBezTo>
                  <a:lnTo>
                    <a:pt x="12106800" y="873496"/>
                  </a:lnTo>
                  <a:cubicBezTo>
                    <a:pt x="12106800" y="873496"/>
                    <a:pt x="12106800" y="873496"/>
                    <a:pt x="12106800" y="874659"/>
                  </a:cubicBezTo>
                  <a:lnTo>
                    <a:pt x="12106800" y="882795"/>
                  </a:lnTo>
                  <a:cubicBezTo>
                    <a:pt x="12106800" y="882795"/>
                    <a:pt x="12106800" y="882795"/>
                    <a:pt x="12107915" y="882795"/>
                  </a:cubicBezTo>
                  <a:lnTo>
                    <a:pt x="12115716" y="882795"/>
                  </a:lnTo>
                  <a:cubicBezTo>
                    <a:pt x="12115716" y="882795"/>
                    <a:pt x="12115716" y="882795"/>
                    <a:pt x="12115716" y="883957"/>
                  </a:cubicBezTo>
                  <a:lnTo>
                    <a:pt x="12115716" y="892094"/>
                  </a:lnTo>
                  <a:cubicBezTo>
                    <a:pt x="12115716" y="892094"/>
                    <a:pt x="12115716" y="892094"/>
                    <a:pt x="12114602" y="892094"/>
                  </a:cubicBezTo>
                  <a:lnTo>
                    <a:pt x="12106800" y="892094"/>
                  </a:lnTo>
                  <a:cubicBezTo>
                    <a:pt x="12106800" y="892094"/>
                    <a:pt x="12106800" y="892094"/>
                    <a:pt x="12106800" y="892965"/>
                  </a:cubicBezTo>
                  <a:lnTo>
                    <a:pt x="12106800" y="899068"/>
                  </a:lnTo>
                  <a:cubicBezTo>
                    <a:pt x="12106800" y="899068"/>
                    <a:pt x="12106800" y="899068"/>
                    <a:pt x="12107915" y="899068"/>
                  </a:cubicBezTo>
                  <a:lnTo>
                    <a:pt x="12115716" y="899068"/>
                  </a:lnTo>
                  <a:cubicBezTo>
                    <a:pt x="12115716" y="899068"/>
                    <a:pt x="12115716" y="899068"/>
                    <a:pt x="12115716" y="900230"/>
                  </a:cubicBezTo>
                  <a:lnTo>
                    <a:pt x="12115716" y="908366"/>
                  </a:lnTo>
                  <a:cubicBezTo>
                    <a:pt x="12115716" y="908366"/>
                    <a:pt x="12115716" y="908366"/>
                    <a:pt x="12114602" y="908366"/>
                  </a:cubicBezTo>
                  <a:lnTo>
                    <a:pt x="12106800" y="908366"/>
                  </a:lnTo>
                  <a:cubicBezTo>
                    <a:pt x="12106800" y="908366"/>
                    <a:pt x="12106800" y="908366"/>
                    <a:pt x="12106800" y="909528"/>
                  </a:cubicBezTo>
                  <a:lnTo>
                    <a:pt x="12106800" y="917665"/>
                  </a:lnTo>
                  <a:cubicBezTo>
                    <a:pt x="12106800" y="917665"/>
                    <a:pt x="12106800" y="917665"/>
                    <a:pt x="12107915" y="917665"/>
                  </a:cubicBezTo>
                  <a:lnTo>
                    <a:pt x="12115716" y="917665"/>
                  </a:lnTo>
                  <a:cubicBezTo>
                    <a:pt x="12115716" y="917665"/>
                    <a:pt x="12115716" y="917665"/>
                    <a:pt x="12115716" y="918827"/>
                  </a:cubicBezTo>
                  <a:lnTo>
                    <a:pt x="12115716" y="926963"/>
                  </a:lnTo>
                  <a:cubicBezTo>
                    <a:pt x="12115716" y="926963"/>
                    <a:pt x="12115716" y="926963"/>
                    <a:pt x="12114602" y="926963"/>
                  </a:cubicBezTo>
                  <a:lnTo>
                    <a:pt x="12106800" y="926963"/>
                  </a:lnTo>
                  <a:cubicBezTo>
                    <a:pt x="12106800" y="926963"/>
                    <a:pt x="12106800" y="926963"/>
                    <a:pt x="12106800" y="927835"/>
                  </a:cubicBezTo>
                  <a:lnTo>
                    <a:pt x="12106800" y="933937"/>
                  </a:lnTo>
                  <a:cubicBezTo>
                    <a:pt x="12106800" y="933937"/>
                    <a:pt x="12106800" y="933937"/>
                    <a:pt x="12107915" y="933937"/>
                  </a:cubicBezTo>
                  <a:lnTo>
                    <a:pt x="12115716" y="933937"/>
                  </a:lnTo>
                  <a:cubicBezTo>
                    <a:pt x="12115716" y="933937"/>
                    <a:pt x="12115716" y="933937"/>
                    <a:pt x="12115716" y="935100"/>
                  </a:cubicBezTo>
                  <a:lnTo>
                    <a:pt x="12115716" y="943236"/>
                  </a:lnTo>
                  <a:cubicBezTo>
                    <a:pt x="12115716" y="943236"/>
                    <a:pt x="12115716" y="943236"/>
                    <a:pt x="12114602" y="943236"/>
                  </a:cubicBezTo>
                  <a:lnTo>
                    <a:pt x="12106800" y="943236"/>
                  </a:lnTo>
                  <a:cubicBezTo>
                    <a:pt x="12106800" y="943236"/>
                    <a:pt x="12106800" y="943236"/>
                    <a:pt x="12106800" y="944398"/>
                  </a:cubicBezTo>
                  <a:lnTo>
                    <a:pt x="12106800" y="952535"/>
                  </a:lnTo>
                  <a:cubicBezTo>
                    <a:pt x="12106800" y="952535"/>
                    <a:pt x="12106800" y="952535"/>
                    <a:pt x="12107915" y="952535"/>
                  </a:cubicBezTo>
                  <a:lnTo>
                    <a:pt x="12115716" y="952535"/>
                  </a:lnTo>
                  <a:cubicBezTo>
                    <a:pt x="12115716" y="952535"/>
                    <a:pt x="12115716" y="952535"/>
                    <a:pt x="12115716" y="953406"/>
                  </a:cubicBezTo>
                  <a:lnTo>
                    <a:pt x="12115716" y="959508"/>
                  </a:lnTo>
                  <a:cubicBezTo>
                    <a:pt x="12115716" y="959508"/>
                    <a:pt x="12115716" y="959508"/>
                    <a:pt x="12114602" y="959508"/>
                  </a:cubicBezTo>
                  <a:lnTo>
                    <a:pt x="12106800" y="959508"/>
                  </a:lnTo>
                  <a:cubicBezTo>
                    <a:pt x="12106800" y="959508"/>
                    <a:pt x="12106800" y="959508"/>
                    <a:pt x="12106800" y="960671"/>
                  </a:cubicBezTo>
                  <a:lnTo>
                    <a:pt x="12106800" y="968807"/>
                  </a:lnTo>
                  <a:cubicBezTo>
                    <a:pt x="12106800" y="968807"/>
                    <a:pt x="12106800" y="968807"/>
                    <a:pt x="12107915" y="968807"/>
                  </a:cubicBezTo>
                  <a:lnTo>
                    <a:pt x="12115716" y="968807"/>
                  </a:lnTo>
                  <a:cubicBezTo>
                    <a:pt x="12115716" y="968807"/>
                    <a:pt x="12115716" y="968807"/>
                    <a:pt x="12115716" y="969969"/>
                  </a:cubicBezTo>
                  <a:lnTo>
                    <a:pt x="12115716" y="978106"/>
                  </a:lnTo>
                  <a:cubicBezTo>
                    <a:pt x="12115716" y="978106"/>
                    <a:pt x="12115716" y="978106"/>
                    <a:pt x="12114602" y="978106"/>
                  </a:cubicBezTo>
                  <a:lnTo>
                    <a:pt x="12106800" y="978106"/>
                  </a:lnTo>
                  <a:cubicBezTo>
                    <a:pt x="12106800" y="978106"/>
                    <a:pt x="12106800" y="978106"/>
                    <a:pt x="12106800" y="979268"/>
                  </a:cubicBezTo>
                  <a:lnTo>
                    <a:pt x="12106800" y="987404"/>
                  </a:lnTo>
                  <a:cubicBezTo>
                    <a:pt x="12106800" y="987404"/>
                    <a:pt x="12106800" y="987404"/>
                    <a:pt x="12107915" y="987404"/>
                  </a:cubicBezTo>
                  <a:lnTo>
                    <a:pt x="12115716" y="987404"/>
                  </a:lnTo>
                  <a:cubicBezTo>
                    <a:pt x="12115716" y="987404"/>
                    <a:pt x="12115716" y="987404"/>
                    <a:pt x="12115716" y="988276"/>
                  </a:cubicBezTo>
                  <a:lnTo>
                    <a:pt x="12115716" y="994378"/>
                  </a:lnTo>
                  <a:cubicBezTo>
                    <a:pt x="12115716" y="994378"/>
                    <a:pt x="12115716" y="994378"/>
                    <a:pt x="12114602" y="994378"/>
                  </a:cubicBezTo>
                  <a:lnTo>
                    <a:pt x="12106800" y="994378"/>
                  </a:lnTo>
                  <a:cubicBezTo>
                    <a:pt x="12106800" y="994378"/>
                    <a:pt x="12106800" y="994378"/>
                    <a:pt x="12106800" y="995540"/>
                  </a:cubicBezTo>
                  <a:lnTo>
                    <a:pt x="12106800" y="1003677"/>
                  </a:lnTo>
                  <a:cubicBezTo>
                    <a:pt x="12106800" y="1003677"/>
                    <a:pt x="12106800" y="1003677"/>
                    <a:pt x="12131319" y="1024599"/>
                  </a:cubicBezTo>
                  <a:cubicBezTo>
                    <a:pt x="12131319" y="1029248"/>
                    <a:pt x="12131319" y="1029248"/>
                    <a:pt x="12130206" y="1029248"/>
                  </a:cubicBezTo>
                  <a:lnTo>
                    <a:pt x="12122403" y="1029248"/>
                  </a:lnTo>
                  <a:cubicBezTo>
                    <a:pt x="12122403" y="1029248"/>
                    <a:pt x="12122403" y="1029248"/>
                    <a:pt x="12122403" y="1040036"/>
                  </a:cubicBezTo>
                  <a:lnTo>
                    <a:pt x="12122403" y="1046874"/>
                  </a:lnTo>
                  <a:lnTo>
                    <a:pt x="12131319" y="1046874"/>
                  </a:lnTo>
                  <a:lnTo>
                    <a:pt x="12131319" y="1043196"/>
                  </a:lnTo>
                  <a:cubicBezTo>
                    <a:pt x="12131319" y="1043196"/>
                    <a:pt x="12131319" y="1043196"/>
                    <a:pt x="12132434" y="1042615"/>
                  </a:cubicBezTo>
                  <a:lnTo>
                    <a:pt x="12140235" y="1038547"/>
                  </a:lnTo>
                  <a:cubicBezTo>
                    <a:pt x="12140235" y="1038547"/>
                    <a:pt x="12140235" y="1038547"/>
                    <a:pt x="12142186" y="1038547"/>
                  </a:cubicBezTo>
                  <a:lnTo>
                    <a:pt x="12155839" y="1038547"/>
                  </a:lnTo>
                  <a:cubicBezTo>
                    <a:pt x="12155839" y="1038547"/>
                    <a:pt x="12155839" y="1038547"/>
                    <a:pt x="12155839" y="1039709"/>
                  </a:cubicBezTo>
                  <a:lnTo>
                    <a:pt x="12155839" y="1046874"/>
                  </a:lnTo>
                  <a:lnTo>
                    <a:pt x="12192000" y="1046874"/>
                  </a:lnTo>
                  <a:lnTo>
                    <a:pt x="12192000" y="1070905"/>
                  </a:lnTo>
                  <a:lnTo>
                    <a:pt x="12192000" y="1121663"/>
                  </a:lnTo>
                  <a:lnTo>
                    <a:pt x="12192000" y="1608850"/>
                  </a:lnTo>
                  <a:lnTo>
                    <a:pt x="0" y="1608850"/>
                  </a:lnTo>
                  <a:lnTo>
                    <a:pt x="0" y="1046874"/>
                  </a:lnTo>
                  <a:lnTo>
                    <a:pt x="65773" y="1046874"/>
                  </a:lnTo>
                  <a:lnTo>
                    <a:pt x="82231" y="1045519"/>
                  </a:lnTo>
                  <a:cubicBezTo>
                    <a:pt x="82231" y="1033896"/>
                    <a:pt x="82231" y="1024598"/>
                    <a:pt x="82231" y="1012974"/>
                  </a:cubicBezTo>
                  <a:cubicBezTo>
                    <a:pt x="97834" y="1012974"/>
                    <a:pt x="113436" y="1012974"/>
                    <a:pt x="126811" y="1012974"/>
                  </a:cubicBezTo>
                  <a:cubicBezTo>
                    <a:pt x="126811" y="1006000"/>
                    <a:pt x="126811" y="1001351"/>
                    <a:pt x="126811" y="994377"/>
                  </a:cubicBezTo>
                  <a:cubicBezTo>
                    <a:pt x="158018" y="994377"/>
                    <a:pt x="189224" y="994377"/>
                    <a:pt x="220430" y="994377"/>
                  </a:cubicBezTo>
                  <a:cubicBezTo>
                    <a:pt x="220430" y="999026"/>
                    <a:pt x="220430" y="1001351"/>
                    <a:pt x="220430" y="1006000"/>
                  </a:cubicBezTo>
                  <a:cubicBezTo>
                    <a:pt x="240491" y="1006000"/>
                    <a:pt x="260552" y="1006000"/>
                    <a:pt x="280612" y="1006000"/>
                  </a:cubicBezTo>
                  <a:cubicBezTo>
                    <a:pt x="280612" y="1008325"/>
                    <a:pt x="280612" y="1010650"/>
                    <a:pt x="280612" y="1012974"/>
                  </a:cubicBezTo>
                  <a:cubicBezTo>
                    <a:pt x="285071" y="1012974"/>
                    <a:pt x="291758" y="1012974"/>
                    <a:pt x="298444" y="1012974"/>
                  </a:cubicBezTo>
                  <a:cubicBezTo>
                    <a:pt x="298444" y="1015299"/>
                    <a:pt x="298444" y="1017624"/>
                    <a:pt x="298444" y="1019948"/>
                  </a:cubicBezTo>
                  <a:cubicBezTo>
                    <a:pt x="302903" y="1019948"/>
                    <a:pt x="309590" y="1019948"/>
                    <a:pt x="314048" y="1019948"/>
                  </a:cubicBezTo>
                  <a:cubicBezTo>
                    <a:pt x="314048" y="985079"/>
                    <a:pt x="314048" y="950209"/>
                    <a:pt x="314048" y="915339"/>
                  </a:cubicBezTo>
                  <a:cubicBezTo>
                    <a:pt x="329651" y="910690"/>
                    <a:pt x="345255" y="906041"/>
                    <a:pt x="360858" y="901391"/>
                  </a:cubicBezTo>
                  <a:cubicBezTo>
                    <a:pt x="389835" y="901391"/>
                    <a:pt x="418812" y="901391"/>
                    <a:pt x="447789" y="901391"/>
                  </a:cubicBezTo>
                  <a:cubicBezTo>
                    <a:pt x="447789" y="845600"/>
                    <a:pt x="447789" y="789808"/>
                    <a:pt x="447789" y="734017"/>
                  </a:cubicBezTo>
                  <a:cubicBezTo>
                    <a:pt x="454476" y="729367"/>
                    <a:pt x="463392" y="727043"/>
                    <a:pt x="472308" y="722393"/>
                  </a:cubicBezTo>
                  <a:cubicBezTo>
                    <a:pt x="507972" y="717744"/>
                    <a:pt x="543636" y="710770"/>
                    <a:pt x="579301" y="703796"/>
                  </a:cubicBezTo>
                  <a:cubicBezTo>
                    <a:pt x="592675" y="708445"/>
                    <a:pt x="603820" y="713095"/>
                    <a:pt x="617194" y="715419"/>
                  </a:cubicBezTo>
                  <a:cubicBezTo>
                    <a:pt x="619423" y="717744"/>
                    <a:pt x="621652" y="720069"/>
                    <a:pt x="623881" y="722393"/>
                  </a:cubicBezTo>
                  <a:cubicBezTo>
                    <a:pt x="623881" y="827002"/>
                    <a:pt x="623881" y="931612"/>
                    <a:pt x="623881" y="1033896"/>
                  </a:cubicBezTo>
                  <a:cubicBezTo>
                    <a:pt x="628339" y="1033896"/>
                    <a:pt x="632796" y="1033896"/>
                    <a:pt x="639484" y="1033896"/>
                  </a:cubicBezTo>
                  <a:cubicBezTo>
                    <a:pt x="639484" y="992053"/>
                    <a:pt x="639484" y="950209"/>
                    <a:pt x="639484" y="908365"/>
                  </a:cubicBezTo>
                  <a:cubicBezTo>
                    <a:pt x="643942" y="908365"/>
                    <a:pt x="648400" y="908365"/>
                    <a:pt x="652858" y="908365"/>
                  </a:cubicBezTo>
                  <a:cubicBezTo>
                    <a:pt x="652858" y="903716"/>
                    <a:pt x="652858" y="901391"/>
                    <a:pt x="652858" y="896742"/>
                  </a:cubicBezTo>
                  <a:cubicBezTo>
                    <a:pt x="657316" y="894417"/>
                    <a:pt x="661774" y="892093"/>
                    <a:pt x="666232" y="889768"/>
                  </a:cubicBezTo>
                  <a:lnTo>
                    <a:pt x="677377" y="889768"/>
                  </a:lnTo>
                  <a:cubicBezTo>
                    <a:pt x="677377" y="885119"/>
                    <a:pt x="677377" y="882794"/>
                    <a:pt x="677377" y="878145"/>
                  </a:cubicBezTo>
                  <a:cubicBezTo>
                    <a:pt x="679606" y="875820"/>
                    <a:pt x="684064" y="873495"/>
                    <a:pt x="686293" y="871171"/>
                  </a:cubicBezTo>
                  <a:cubicBezTo>
                    <a:pt x="692981" y="871171"/>
                    <a:pt x="701896" y="871171"/>
                    <a:pt x="708584" y="871171"/>
                  </a:cubicBezTo>
                  <a:cubicBezTo>
                    <a:pt x="708584" y="882794"/>
                    <a:pt x="708584" y="896742"/>
                    <a:pt x="708584" y="908365"/>
                  </a:cubicBezTo>
                  <a:cubicBezTo>
                    <a:pt x="724187" y="908365"/>
                    <a:pt x="739790" y="908365"/>
                    <a:pt x="755393" y="908365"/>
                  </a:cubicBezTo>
                  <a:cubicBezTo>
                    <a:pt x="755393" y="952534"/>
                    <a:pt x="755393" y="994377"/>
                    <a:pt x="755393" y="1038546"/>
                  </a:cubicBezTo>
                  <a:cubicBezTo>
                    <a:pt x="762080" y="1038546"/>
                    <a:pt x="768767" y="1038546"/>
                    <a:pt x="773225" y="1038546"/>
                  </a:cubicBezTo>
                  <a:cubicBezTo>
                    <a:pt x="779912" y="1036221"/>
                    <a:pt x="784370" y="1033896"/>
                    <a:pt x="791057" y="1031572"/>
                  </a:cubicBezTo>
                  <a:cubicBezTo>
                    <a:pt x="791057" y="1026922"/>
                    <a:pt x="791057" y="1024598"/>
                    <a:pt x="791057" y="1022273"/>
                  </a:cubicBezTo>
                  <a:cubicBezTo>
                    <a:pt x="788828" y="1022273"/>
                    <a:pt x="786599" y="1019948"/>
                    <a:pt x="784370" y="1019948"/>
                  </a:cubicBezTo>
                  <a:cubicBezTo>
                    <a:pt x="784370" y="1017624"/>
                    <a:pt x="784370" y="1015299"/>
                    <a:pt x="784370" y="1012974"/>
                  </a:cubicBezTo>
                  <a:cubicBezTo>
                    <a:pt x="786599" y="1010650"/>
                    <a:pt x="788828" y="1010650"/>
                    <a:pt x="791057" y="1008325"/>
                  </a:cubicBezTo>
                  <a:cubicBezTo>
                    <a:pt x="791057" y="992053"/>
                    <a:pt x="791057" y="973455"/>
                    <a:pt x="791057" y="957183"/>
                  </a:cubicBezTo>
                  <a:cubicBezTo>
                    <a:pt x="788828" y="957183"/>
                    <a:pt x="786599" y="954858"/>
                    <a:pt x="784370" y="954858"/>
                  </a:cubicBezTo>
                  <a:cubicBezTo>
                    <a:pt x="784370" y="952534"/>
                    <a:pt x="784370" y="950209"/>
                    <a:pt x="784370" y="947884"/>
                  </a:cubicBezTo>
                  <a:cubicBezTo>
                    <a:pt x="786599" y="945560"/>
                    <a:pt x="788828" y="945560"/>
                    <a:pt x="791057" y="943235"/>
                  </a:cubicBezTo>
                  <a:lnTo>
                    <a:pt x="795515" y="938586"/>
                  </a:lnTo>
                  <a:lnTo>
                    <a:pt x="795515" y="929287"/>
                  </a:lnTo>
                  <a:cubicBezTo>
                    <a:pt x="793286" y="929287"/>
                    <a:pt x="793286" y="929287"/>
                    <a:pt x="791057" y="929287"/>
                  </a:cubicBezTo>
                  <a:cubicBezTo>
                    <a:pt x="791057" y="926962"/>
                    <a:pt x="791057" y="924638"/>
                    <a:pt x="791057" y="922313"/>
                  </a:cubicBezTo>
                  <a:cubicBezTo>
                    <a:pt x="793286" y="922313"/>
                    <a:pt x="795515" y="919988"/>
                    <a:pt x="797744" y="917664"/>
                  </a:cubicBezTo>
                  <a:cubicBezTo>
                    <a:pt x="799972" y="889768"/>
                    <a:pt x="806660" y="866522"/>
                    <a:pt x="833408" y="852574"/>
                  </a:cubicBezTo>
                  <a:cubicBezTo>
                    <a:pt x="831179" y="852574"/>
                    <a:pt x="831179" y="850249"/>
                    <a:pt x="828950" y="850249"/>
                  </a:cubicBezTo>
                  <a:cubicBezTo>
                    <a:pt x="828950" y="847924"/>
                    <a:pt x="828950" y="845600"/>
                    <a:pt x="828950" y="843275"/>
                  </a:cubicBezTo>
                  <a:cubicBezTo>
                    <a:pt x="831179" y="843275"/>
                    <a:pt x="833408" y="840950"/>
                    <a:pt x="835637" y="840950"/>
                  </a:cubicBezTo>
                  <a:cubicBezTo>
                    <a:pt x="835637" y="836301"/>
                    <a:pt x="835637" y="833976"/>
                    <a:pt x="835637" y="831652"/>
                  </a:cubicBezTo>
                  <a:cubicBezTo>
                    <a:pt x="837866" y="831652"/>
                    <a:pt x="837866" y="831652"/>
                    <a:pt x="840095" y="831652"/>
                  </a:cubicBezTo>
                  <a:cubicBezTo>
                    <a:pt x="840095" y="824678"/>
                    <a:pt x="840095" y="817704"/>
                    <a:pt x="840095" y="810730"/>
                  </a:cubicBezTo>
                  <a:cubicBezTo>
                    <a:pt x="837866" y="810730"/>
                    <a:pt x="837866" y="810730"/>
                    <a:pt x="835637" y="810730"/>
                  </a:cubicBezTo>
                  <a:cubicBezTo>
                    <a:pt x="835637" y="808405"/>
                    <a:pt x="835637" y="808405"/>
                    <a:pt x="835637" y="806081"/>
                  </a:cubicBezTo>
                  <a:lnTo>
                    <a:pt x="840095" y="803756"/>
                  </a:lnTo>
                  <a:cubicBezTo>
                    <a:pt x="844552" y="799107"/>
                    <a:pt x="846782" y="794457"/>
                    <a:pt x="851240" y="787483"/>
                  </a:cubicBezTo>
                  <a:cubicBezTo>
                    <a:pt x="853469" y="782834"/>
                    <a:pt x="853469" y="780510"/>
                    <a:pt x="853469" y="778185"/>
                  </a:cubicBezTo>
                  <a:cubicBezTo>
                    <a:pt x="849011" y="771211"/>
                    <a:pt x="849011" y="759588"/>
                    <a:pt x="853469" y="752614"/>
                  </a:cubicBezTo>
                  <a:cubicBezTo>
                    <a:pt x="853470" y="752611"/>
                    <a:pt x="853485" y="752565"/>
                    <a:pt x="853748" y="751742"/>
                  </a:cubicBezTo>
                  <a:lnTo>
                    <a:pt x="855698" y="745640"/>
                  </a:lnTo>
                  <a:cubicBezTo>
                    <a:pt x="855699" y="745643"/>
                    <a:pt x="855714" y="745689"/>
                    <a:pt x="855977" y="746512"/>
                  </a:cubicBezTo>
                  <a:lnTo>
                    <a:pt x="857927" y="752614"/>
                  </a:lnTo>
                  <a:cubicBezTo>
                    <a:pt x="862384" y="759588"/>
                    <a:pt x="864614" y="771211"/>
                    <a:pt x="860156" y="778185"/>
                  </a:cubicBezTo>
                  <a:cubicBezTo>
                    <a:pt x="860156" y="780510"/>
                    <a:pt x="860156" y="782834"/>
                    <a:pt x="860156" y="785159"/>
                  </a:cubicBezTo>
                  <a:cubicBezTo>
                    <a:pt x="864614" y="792133"/>
                    <a:pt x="869072" y="799107"/>
                    <a:pt x="871302" y="803756"/>
                  </a:cubicBezTo>
                  <a:cubicBezTo>
                    <a:pt x="873531" y="803756"/>
                    <a:pt x="873531" y="806081"/>
                    <a:pt x="875760" y="806081"/>
                  </a:cubicBezTo>
                  <a:cubicBezTo>
                    <a:pt x="875760" y="808405"/>
                    <a:pt x="875760" y="808405"/>
                    <a:pt x="875760" y="810730"/>
                  </a:cubicBezTo>
                  <a:cubicBezTo>
                    <a:pt x="873531" y="817704"/>
                    <a:pt x="873531" y="824678"/>
                    <a:pt x="873531" y="831652"/>
                  </a:cubicBezTo>
                  <a:cubicBezTo>
                    <a:pt x="877989" y="833976"/>
                    <a:pt x="877989" y="836301"/>
                    <a:pt x="877989" y="840950"/>
                  </a:cubicBezTo>
                  <a:lnTo>
                    <a:pt x="882447" y="843275"/>
                  </a:lnTo>
                  <a:cubicBezTo>
                    <a:pt x="882447" y="845600"/>
                    <a:pt x="882447" y="847924"/>
                    <a:pt x="882447" y="850249"/>
                  </a:cubicBezTo>
                  <a:cubicBezTo>
                    <a:pt x="880218" y="852574"/>
                    <a:pt x="880218" y="852574"/>
                    <a:pt x="877989" y="852574"/>
                  </a:cubicBezTo>
                  <a:cubicBezTo>
                    <a:pt x="891362" y="859548"/>
                    <a:pt x="899165" y="868846"/>
                    <a:pt x="904180" y="879888"/>
                  </a:cubicBezTo>
                  <a:lnTo>
                    <a:pt x="913070" y="915339"/>
                  </a:lnTo>
                  <a:lnTo>
                    <a:pt x="944859" y="915339"/>
                  </a:lnTo>
                  <a:lnTo>
                    <a:pt x="944859" y="886329"/>
                  </a:lnTo>
                  <a:lnTo>
                    <a:pt x="939475" y="886329"/>
                  </a:lnTo>
                  <a:cubicBezTo>
                    <a:pt x="939475" y="886306"/>
                    <a:pt x="939475" y="884414"/>
                    <a:pt x="939475" y="724196"/>
                  </a:cubicBezTo>
                  <a:cubicBezTo>
                    <a:pt x="939487" y="724196"/>
                    <a:pt x="939957" y="724196"/>
                    <a:pt x="959742" y="724196"/>
                  </a:cubicBezTo>
                  <a:cubicBezTo>
                    <a:pt x="959747" y="724190"/>
                    <a:pt x="959783" y="724108"/>
                    <a:pt x="960249" y="723115"/>
                  </a:cubicBezTo>
                  <a:lnTo>
                    <a:pt x="963795" y="715549"/>
                  </a:lnTo>
                  <a:cubicBezTo>
                    <a:pt x="963804" y="715550"/>
                    <a:pt x="963917" y="715568"/>
                    <a:pt x="965569" y="715819"/>
                  </a:cubicBezTo>
                  <a:lnTo>
                    <a:pt x="977982" y="717710"/>
                  </a:lnTo>
                  <a:cubicBezTo>
                    <a:pt x="977985" y="717720"/>
                    <a:pt x="978023" y="717821"/>
                    <a:pt x="978489" y="719062"/>
                  </a:cubicBezTo>
                  <a:lnTo>
                    <a:pt x="982035" y="728519"/>
                  </a:lnTo>
                  <a:cubicBezTo>
                    <a:pt x="982049" y="728520"/>
                    <a:pt x="982645" y="728570"/>
                    <a:pt x="1008382" y="730681"/>
                  </a:cubicBezTo>
                  <a:cubicBezTo>
                    <a:pt x="1008382" y="730661"/>
                    <a:pt x="1008382" y="729131"/>
                    <a:pt x="1008382" y="607460"/>
                  </a:cubicBezTo>
                  <a:cubicBezTo>
                    <a:pt x="1008391" y="607460"/>
                    <a:pt x="1008510" y="607460"/>
                    <a:pt x="1010409" y="607460"/>
                  </a:cubicBezTo>
                  <a:lnTo>
                    <a:pt x="1024597" y="607460"/>
                  </a:lnTo>
                  <a:cubicBezTo>
                    <a:pt x="1024597" y="607438"/>
                    <a:pt x="1024597" y="605724"/>
                    <a:pt x="1024597" y="471268"/>
                  </a:cubicBezTo>
                  <a:cubicBezTo>
                    <a:pt x="1024605" y="471268"/>
                    <a:pt x="1024712" y="471268"/>
                    <a:pt x="1026369" y="471268"/>
                  </a:cubicBezTo>
                  <a:lnTo>
                    <a:pt x="1038783" y="471268"/>
                  </a:lnTo>
                  <a:cubicBezTo>
                    <a:pt x="1038783" y="471251"/>
                    <a:pt x="1038783" y="469845"/>
                    <a:pt x="1038783" y="356694"/>
                  </a:cubicBezTo>
                  <a:cubicBezTo>
                    <a:pt x="1042837" y="354532"/>
                    <a:pt x="1042837" y="354532"/>
                    <a:pt x="1042837" y="328590"/>
                  </a:cubicBezTo>
                  <a:cubicBezTo>
                    <a:pt x="1042843" y="328590"/>
                    <a:pt x="1042963" y="328590"/>
                    <a:pt x="1044863" y="328590"/>
                  </a:cubicBezTo>
                  <a:lnTo>
                    <a:pt x="1059050" y="328590"/>
                  </a:lnTo>
                  <a:cubicBezTo>
                    <a:pt x="1059061" y="328567"/>
                    <a:pt x="1059667" y="327200"/>
                    <a:pt x="1095531" y="246443"/>
                  </a:cubicBezTo>
                  <a:cubicBezTo>
                    <a:pt x="1095531" y="246429"/>
                    <a:pt x="1095565" y="244478"/>
                    <a:pt x="10995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Rectangle 5">
            <a:extLst>
              <a:ext uri="{FF2B5EF4-FFF2-40B4-BE49-F238E27FC236}">
                <a16:creationId xmlns:a16="http://schemas.microsoft.com/office/drawing/2014/main" id="{35068011-3E24-404B-997C-ABD66374BC7E}"/>
              </a:ext>
            </a:extLst>
          </p:cNvPr>
          <p:cNvSpPr/>
          <p:nvPr userDrawn="1"/>
        </p:nvSpPr>
        <p:spPr>
          <a:xfrm>
            <a:off x="0" y="5006857"/>
            <a:ext cx="12192000" cy="18511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Rectangle 10">
            <a:extLst>
              <a:ext uri="{FF2B5EF4-FFF2-40B4-BE49-F238E27FC236}">
                <a16:creationId xmlns:a16="http://schemas.microsoft.com/office/drawing/2014/main" id="{AD1DE5BA-BA06-4EBF-9938-3F11999554D9}"/>
              </a:ext>
            </a:extLst>
          </p:cNvPr>
          <p:cNvSpPr/>
          <p:nvPr userDrawn="1"/>
        </p:nvSpPr>
        <p:spPr>
          <a:xfrm>
            <a:off x="2795451" y="3970007"/>
            <a:ext cx="6773112" cy="612000"/>
          </a:xfrm>
          <a:prstGeom prst="rect">
            <a:avLst/>
          </a:prstGeom>
          <a:solidFill>
            <a:schemeClr val="accent4"/>
          </a:solidFill>
          <a:ln w="635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28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F7A08108-4EE6-461B-9FF3-F537D87628DE}"/>
              </a:ext>
            </a:extLst>
          </p:cNvPr>
          <p:cNvSpPr/>
          <p:nvPr userDrawn="1"/>
        </p:nvSpPr>
        <p:spPr>
          <a:xfrm>
            <a:off x="2795452" y="1804578"/>
            <a:ext cx="8674446" cy="612000"/>
          </a:xfrm>
          <a:prstGeom prst="rect">
            <a:avLst/>
          </a:prstGeom>
          <a:solidFill>
            <a:schemeClr val="accent1"/>
          </a:solidFill>
          <a:ln w="635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28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70B55793-022B-40B7-AD0E-44BFA6CCA944}"/>
              </a:ext>
            </a:extLst>
          </p:cNvPr>
          <p:cNvSpPr/>
          <p:nvPr userDrawn="1"/>
        </p:nvSpPr>
        <p:spPr>
          <a:xfrm>
            <a:off x="2795452" y="2526388"/>
            <a:ext cx="8040025" cy="612000"/>
          </a:xfrm>
          <a:prstGeom prst="rect">
            <a:avLst/>
          </a:prstGeom>
          <a:solidFill>
            <a:schemeClr val="accent2"/>
          </a:solidFill>
          <a:ln w="635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28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Rectangle 8">
            <a:extLst>
              <a:ext uri="{FF2B5EF4-FFF2-40B4-BE49-F238E27FC236}">
                <a16:creationId xmlns:a16="http://schemas.microsoft.com/office/drawing/2014/main" id="{AE96286A-6E16-47F3-8E5A-2F3D95830AF1}"/>
              </a:ext>
            </a:extLst>
          </p:cNvPr>
          <p:cNvSpPr/>
          <p:nvPr userDrawn="1"/>
        </p:nvSpPr>
        <p:spPr>
          <a:xfrm>
            <a:off x="2795452" y="3248198"/>
            <a:ext cx="7406569" cy="612000"/>
          </a:xfrm>
          <a:prstGeom prst="rect">
            <a:avLst/>
          </a:prstGeom>
          <a:solidFill>
            <a:schemeClr val="accent3"/>
          </a:solidFill>
          <a:ln w="635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28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Rounded Rectangle 39">
            <a:extLst>
              <a:ext uri="{FF2B5EF4-FFF2-40B4-BE49-F238E27FC236}">
                <a16:creationId xmlns:a16="http://schemas.microsoft.com/office/drawing/2014/main" id="{8E77609A-C716-4CBD-BEA4-A609FE58474A}"/>
              </a:ext>
            </a:extLst>
          </p:cNvPr>
          <p:cNvSpPr/>
          <p:nvPr userDrawn="1"/>
        </p:nvSpPr>
        <p:spPr>
          <a:xfrm rot="2483232">
            <a:off x="-67621" y="1813625"/>
            <a:ext cx="4223096" cy="5102585"/>
          </a:xfrm>
          <a:custGeom>
            <a:avLst/>
            <a:gdLst>
              <a:gd name="connsiteX0" fmla="*/ 670001 w 2194524"/>
              <a:gd name="connsiteY0" fmla="*/ 41365 h 3010473"/>
              <a:gd name="connsiteX1" fmla="*/ 769866 w 2194524"/>
              <a:gd name="connsiteY1" fmla="*/ 0 h 3010473"/>
              <a:gd name="connsiteX2" fmla="*/ 911097 w 2194524"/>
              <a:gd name="connsiteY2" fmla="*/ 141231 h 3010473"/>
              <a:gd name="connsiteX3" fmla="*/ 911097 w 2194524"/>
              <a:gd name="connsiteY3" fmla="*/ 753742 h 3010473"/>
              <a:gd name="connsiteX4" fmla="*/ 1594794 w 2194524"/>
              <a:gd name="connsiteY4" fmla="*/ 789196 h 3010473"/>
              <a:gd name="connsiteX5" fmla="*/ 1875818 w 2194524"/>
              <a:gd name="connsiteY5" fmla="*/ 1808656 h 3010473"/>
              <a:gd name="connsiteX6" fmla="*/ 2194524 w 2194524"/>
              <a:gd name="connsiteY6" fmla="*/ 2178856 h 3010473"/>
              <a:gd name="connsiteX7" fmla="*/ 1488044 w 2194524"/>
              <a:gd name="connsiteY7" fmla="*/ 3010473 h 3010473"/>
              <a:gd name="connsiteX8" fmla="*/ 1136947 w 2194524"/>
              <a:gd name="connsiteY8" fmla="*/ 2468062 h 3010473"/>
              <a:gd name="connsiteX9" fmla="*/ 519460 w 2194524"/>
              <a:gd name="connsiteY9" fmla="*/ 2013663 h 3010473"/>
              <a:gd name="connsiteX10" fmla="*/ 0 w 2194524"/>
              <a:gd name="connsiteY10" fmla="*/ 1326467 h 3010473"/>
              <a:gd name="connsiteX11" fmla="*/ 628635 w 2194524"/>
              <a:gd name="connsiteY11" fmla="*/ 1589678 h 3010473"/>
              <a:gd name="connsiteX12" fmla="*/ 628635 w 2194524"/>
              <a:gd name="connsiteY12" fmla="*/ 141231 h 3010473"/>
              <a:gd name="connsiteX13" fmla="*/ 670001 w 2194524"/>
              <a:gd name="connsiteY13" fmla="*/ 41365 h 3010473"/>
              <a:gd name="connsiteX0" fmla="*/ 670001 w 2194524"/>
              <a:gd name="connsiteY0" fmla="*/ 41365 h 3010473"/>
              <a:gd name="connsiteX1" fmla="*/ 769866 w 2194524"/>
              <a:gd name="connsiteY1" fmla="*/ 0 h 3010473"/>
              <a:gd name="connsiteX2" fmla="*/ 911097 w 2194524"/>
              <a:gd name="connsiteY2" fmla="*/ 141231 h 3010473"/>
              <a:gd name="connsiteX3" fmla="*/ 960469 w 2194524"/>
              <a:gd name="connsiteY3" fmla="*/ 784060 h 3010473"/>
              <a:gd name="connsiteX4" fmla="*/ 1594794 w 2194524"/>
              <a:gd name="connsiteY4" fmla="*/ 789196 h 3010473"/>
              <a:gd name="connsiteX5" fmla="*/ 1875818 w 2194524"/>
              <a:gd name="connsiteY5" fmla="*/ 1808656 h 3010473"/>
              <a:gd name="connsiteX6" fmla="*/ 2194524 w 2194524"/>
              <a:gd name="connsiteY6" fmla="*/ 2178856 h 3010473"/>
              <a:gd name="connsiteX7" fmla="*/ 1488044 w 2194524"/>
              <a:gd name="connsiteY7" fmla="*/ 3010473 h 3010473"/>
              <a:gd name="connsiteX8" fmla="*/ 1136947 w 2194524"/>
              <a:gd name="connsiteY8" fmla="*/ 2468062 h 3010473"/>
              <a:gd name="connsiteX9" fmla="*/ 519460 w 2194524"/>
              <a:gd name="connsiteY9" fmla="*/ 2013663 h 3010473"/>
              <a:gd name="connsiteX10" fmla="*/ 0 w 2194524"/>
              <a:gd name="connsiteY10" fmla="*/ 1326467 h 3010473"/>
              <a:gd name="connsiteX11" fmla="*/ 628635 w 2194524"/>
              <a:gd name="connsiteY11" fmla="*/ 1589678 h 3010473"/>
              <a:gd name="connsiteX12" fmla="*/ 628635 w 2194524"/>
              <a:gd name="connsiteY12" fmla="*/ 141231 h 3010473"/>
              <a:gd name="connsiteX13" fmla="*/ 670001 w 2194524"/>
              <a:gd name="connsiteY13" fmla="*/ 41365 h 3010473"/>
              <a:gd name="connsiteX0" fmla="*/ 670001 w 2194524"/>
              <a:gd name="connsiteY0" fmla="*/ 41365 h 3010473"/>
              <a:gd name="connsiteX1" fmla="*/ 769866 w 2194524"/>
              <a:gd name="connsiteY1" fmla="*/ 0 h 3010473"/>
              <a:gd name="connsiteX2" fmla="*/ 911097 w 2194524"/>
              <a:gd name="connsiteY2" fmla="*/ 141231 h 3010473"/>
              <a:gd name="connsiteX3" fmla="*/ 960469 w 2194524"/>
              <a:gd name="connsiteY3" fmla="*/ 784060 h 3010473"/>
              <a:gd name="connsiteX4" fmla="*/ 1594794 w 2194524"/>
              <a:gd name="connsiteY4" fmla="*/ 789196 h 3010473"/>
              <a:gd name="connsiteX5" fmla="*/ 1875818 w 2194524"/>
              <a:gd name="connsiteY5" fmla="*/ 1808656 h 3010473"/>
              <a:gd name="connsiteX6" fmla="*/ 2194524 w 2194524"/>
              <a:gd name="connsiteY6" fmla="*/ 2178856 h 3010473"/>
              <a:gd name="connsiteX7" fmla="*/ 1488044 w 2194524"/>
              <a:gd name="connsiteY7" fmla="*/ 3010473 h 3010473"/>
              <a:gd name="connsiteX8" fmla="*/ 1136947 w 2194524"/>
              <a:gd name="connsiteY8" fmla="*/ 2468062 h 3010473"/>
              <a:gd name="connsiteX9" fmla="*/ 519460 w 2194524"/>
              <a:gd name="connsiteY9" fmla="*/ 2013663 h 3010473"/>
              <a:gd name="connsiteX10" fmla="*/ 0 w 2194524"/>
              <a:gd name="connsiteY10" fmla="*/ 1326467 h 3010473"/>
              <a:gd name="connsiteX11" fmla="*/ 628635 w 2194524"/>
              <a:gd name="connsiteY11" fmla="*/ 1589678 h 3010473"/>
              <a:gd name="connsiteX12" fmla="*/ 628635 w 2194524"/>
              <a:gd name="connsiteY12" fmla="*/ 141231 h 3010473"/>
              <a:gd name="connsiteX13" fmla="*/ 670001 w 2194524"/>
              <a:gd name="connsiteY13" fmla="*/ 41365 h 3010473"/>
              <a:gd name="connsiteX0" fmla="*/ 670001 w 2194524"/>
              <a:gd name="connsiteY0" fmla="*/ 41365 h 3010473"/>
              <a:gd name="connsiteX1" fmla="*/ 769866 w 2194524"/>
              <a:gd name="connsiteY1" fmla="*/ 0 h 3010473"/>
              <a:gd name="connsiteX2" fmla="*/ 911097 w 2194524"/>
              <a:gd name="connsiteY2" fmla="*/ 141231 h 3010473"/>
              <a:gd name="connsiteX3" fmla="*/ 960469 w 2194524"/>
              <a:gd name="connsiteY3" fmla="*/ 784060 h 3010473"/>
              <a:gd name="connsiteX4" fmla="*/ 1594794 w 2194524"/>
              <a:gd name="connsiteY4" fmla="*/ 789196 h 3010473"/>
              <a:gd name="connsiteX5" fmla="*/ 1875818 w 2194524"/>
              <a:gd name="connsiteY5" fmla="*/ 1808656 h 3010473"/>
              <a:gd name="connsiteX6" fmla="*/ 2194524 w 2194524"/>
              <a:gd name="connsiteY6" fmla="*/ 2178856 h 3010473"/>
              <a:gd name="connsiteX7" fmla="*/ 1488044 w 2194524"/>
              <a:gd name="connsiteY7" fmla="*/ 3010473 h 3010473"/>
              <a:gd name="connsiteX8" fmla="*/ 1136947 w 2194524"/>
              <a:gd name="connsiteY8" fmla="*/ 2468062 h 3010473"/>
              <a:gd name="connsiteX9" fmla="*/ 519460 w 2194524"/>
              <a:gd name="connsiteY9" fmla="*/ 2013663 h 3010473"/>
              <a:gd name="connsiteX10" fmla="*/ 0 w 2194524"/>
              <a:gd name="connsiteY10" fmla="*/ 1326467 h 3010473"/>
              <a:gd name="connsiteX11" fmla="*/ 628635 w 2194524"/>
              <a:gd name="connsiteY11" fmla="*/ 1589678 h 3010473"/>
              <a:gd name="connsiteX12" fmla="*/ 628635 w 2194524"/>
              <a:gd name="connsiteY12" fmla="*/ 141231 h 3010473"/>
              <a:gd name="connsiteX13" fmla="*/ 670001 w 2194524"/>
              <a:gd name="connsiteY13" fmla="*/ 41365 h 3010473"/>
              <a:gd name="connsiteX0" fmla="*/ 670001 w 2194524"/>
              <a:gd name="connsiteY0" fmla="*/ 41365 h 3010473"/>
              <a:gd name="connsiteX1" fmla="*/ 769866 w 2194524"/>
              <a:gd name="connsiteY1" fmla="*/ 0 h 3010473"/>
              <a:gd name="connsiteX2" fmla="*/ 911097 w 2194524"/>
              <a:gd name="connsiteY2" fmla="*/ 141231 h 3010473"/>
              <a:gd name="connsiteX3" fmla="*/ 960469 w 2194524"/>
              <a:gd name="connsiteY3" fmla="*/ 784060 h 3010473"/>
              <a:gd name="connsiteX4" fmla="*/ 1594794 w 2194524"/>
              <a:gd name="connsiteY4" fmla="*/ 789196 h 3010473"/>
              <a:gd name="connsiteX5" fmla="*/ 1848308 w 2194524"/>
              <a:gd name="connsiteY5" fmla="*/ 1898342 h 3010473"/>
              <a:gd name="connsiteX6" fmla="*/ 2194524 w 2194524"/>
              <a:gd name="connsiteY6" fmla="*/ 2178856 h 3010473"/>
              <a:gd name="connsiteX7" fmla="*/ 1488044 w 2194524"/>
              <a:gd name="connsiteY7" fmla="*/ 3010473 h 3010473"/>
              <a:gd name="connsiteX8" fmla="*/ 1136947 w 2194524"/>
              <a:gd name="connsiteY8" fmla="*/ 2468062 h 3010473"/>
              <a:gd name="connsiteX9" fmla="*/ 519460 w 2194524"/>
              <a:gd name="connsiteY9" fmla="*/ 2013663 h 3010473"/>
              <a:gd name="connsiteX10" fmla="*/ 0 w 2194524"/>
              <a:gd name="connsiteY10" fmla="*/ 1326467 h 3010473"/>
              <a:gd name="connsiteX11" fmla="*/ 628635 w 2194524"/>
              <a:gd name="connsiteY11" fmla="*/ 1589678 h 3010473"/>
              <a:gd name="connsiteX12" fmla="*/ 628635 w 2194524"/>
              <a:gd name="connsiteY12" fmla="*/ 141231 h 3010473"/>
              <a:gd name="connsiteX13" fmla="*/ 670001 w 2194524"/>
              <a:gd name="connsiteY13" fmla="*/ 41365 h 3010473"/>
              <a:gd name="connsiteX0" fmla="*/ 670001 w 2145453"/>
              <a:gd name="connsiteY0" fmla="*/ 41365 h 3010473"/>
              <a:gd name="connsiteX1" fmla="*/ 769866 w 2145453"/>
              <a:gd name="connsiteY1" fmla="*/ 0 h 3010473"/>
              <a:gd name="connsiteX2" fmla="*/ 911097 w 2145453"/>
              <a:gd name="connsiteY2" fmla="*/ 141231 h 3010473"/>
              <a:gd name="connsiteX3" fmla="*/ 960469 w 2145453"/>
              <a:gd name="connsiteY3" fmla="*/ 784060 h 3010473"/>
              <a:gd name="connsiteX4" fmla="*/ 1594794 w 2145453"/>
              <a:gd name="connsiteY4" fmla="*/ 789196 h 3010473"/>
              <a:gd name="connsiteX5" fmla="*/ 1848308 w 2145453"/>
              <a:gd name="connsiteY5" fmla="*/ 1898342 h 3010473"/>
              <a:gd name="connsiteX6" fmla="*/ 2145453 w 2145453"/>
              <a:gd name="connsiteY6" fmla="*/ 2249789 h 3010473"/>
              <a:gd name="connsiteX7" fmla="*/ 1488044 w 2145453"/>
              <a:gd name="connsiteY7" fmla="*/ 3010473 h 3010473"/>
              <a:gd name="connsiteX8" fmla="*/ 1136947 w 2145453"/>
              <a:gd name="connsiteY8" fmla="*/ 2468062 h 3010473"/>
              <a:gd name="connsiteX9" fmla="*/ 519460 w 2145453"/>
              <a:gd name="connsiteY9" fmla="*/ 2013663 h 3010473"/>
              <a:gd name="connsiteX10" fmla="*/ 0 w 2145453"/>
              <a:gd name="connsiteY10" fmla="*/ 1326467 h 3010473"/>
              <a:gd name="connsiteX11" fmla="*/ 628635 w 2145453"/>
              <a:gd name="connsiteY11" fmla="*/ 1589678 h 3010473"/>
              <a:gd name="connsiteX12" fmla="*/ 628635 w 2145453"/>
              <a:gd name="connsiteY12" fmla="*/ 141231 h 3010473"/>
              <a:gd name="connsiteX13" fmla="*/ 670001 w 2145453"/>
              <a:gd name="connsiteY13" fmla="*/ 41365 h 3010473"/>
              <a:gd name="connsiteX0" fmla="*/ 670001 w 2145453"/>
              <a:gd name="connsiteY0" fmla="*/ 41365 h 2912664"/>
              <a:gd name="connsiteX1" fmla="*/ 769866 w 2145453"/>
              <a:gd name="connsiteY1" fmla="*/ 0 h 2912664"/>
              <a:gd name="connsiteX2" fmla="*/ 911097 w 2145453"/>
              <a:gd name="connsiteY2" fmla="*/ 141231 h 2912664"/>
              <a:gd name="connsiteX3" fmla="*/ 960469 w 2145453"/>
              <a:gd name="connsiteY3" fmla="*/ 784060 h 2912664"/>
              <a:gd name="connsiteX4" fmla="*/ 1594794 w 2145453"/>
              <a:gd name="connsiteY4" fmla="*/ 789196 h 2912664"/>
              <a:gd name="connsiteX5" fmla="*/ 1848308 w 2145453"/>
              <a:gd name="connsiteY5" fmla="*/ 1898342 h 2912664"/>
              <a:gd name="connsiteX6" fmla="*/ 2145453 w 2145453"/>
              <a:gd name="connsiteY6" fmla="*/ 2249789 h 2912664"/>
              <a:gd name="connsiteX7" fmla="*/ 1535243 w 2145453"/>
              <a:gd name="connsiteY7" fmla="*/ 2912664 h 2912664"/>
              <a:gd name="connsiteX8" fmla="*/ 1136947 w 2145453"/>
              <a:gd name="connsiteY8" fmla="*/ 2468062 h 2912664"/>
              <a:gd name="connsiteX9" fmla="*/ 519460 w 2145453"/>
              <a:gd name="connsiteY9" fmla="*/ 2013663 h 2912664"/>
              <a:gd name="connsiteX10" fmla="*/ 0 w 2145453"/>
              <a:gd name="connsiteY10" fmla="*/ 1326467 h 2912664"/>
              <a:gd name="connsiteX11" fmla="*/ 628635 w 2145453"/>
              <a:gd name="connsiteY11" fmla="*/ 1589678 h 2912664"/>
              <a:gd name="connsiteX12" fmla="*/ 628635 w 2145453"/>
              <a:gd name="connsiteY12" fmla="*/ 141231 h 2912664"/>
              <a:gd name="connsiteX13" fmla="*/ 670001 w 2145453"/>
              <a:gd name="connsiteY13" fmla="*/ 41365 h 2912664"/>
              <a:gd name="connsiteX0" fmla="*/ 670001 w 2145453"/>
              <a:gd name="connsiteY0" fmla="*/ 41365 h 2912664"/>
              <a:gd name="connsiteX1" fmla="*/ 769866 w 2145453"/>
              <a:gd name="connsiteY1" fmla="*/ 0 h 2912664"/>
              <a:gd name="connsiteX2" fmla="*/ 911097 w 2145453"/>
              <a:gd name="connsiteY2" fmla="*/ 141231 h 2912664"/>
              <a:gd name="connsiteX3" fmla="*/ 960469 w 2145453"/>
              <a:gd name="connsiteY3" fmla="*/ 784060 h 2912664"/>
              <a:gd name="connsiteX4" fmla="*/ 1594794 w 2145453"/>
              <a:gd name="connsiteY4" fmla="*/ 789196 h 2912664"/>
              <a:gd name="connsiteX5" fmla="*/ 1848308 w 2145453"/>
              <a:gd name="connsiteY5" fmla="*/ 1898342 h 2912664"/>
              <a:gd name="connsiteX6" fmla="*/ 2145453 w 2145453"/>
              <a:gd name="connsiteY6" fmla="*/ 2249789 h 2912664"/>
              <a:gd name="connsiteX7" fmla="*/ 1535243 w 2145453"/>
              <a:gd name="connsiteY7" fmla="*/ 2912664 h 2912664"/>
              <a:gd name="connsiteX8" fmla="*/ 1136947 w 2145453"/>
              <a:gd name="connsiteY8" fmla="*/ 2468062 h 2912664"/>
              <a:gd name="connsiteX9" fmla="*/ 530391 w 2145453"/>
              <a:gd name="connsiteY9" fmla="*/ 2073665 h 2912664"/>
              <a:gd name="connsiteX10" fmla="*/ 0 w 2145453"/>
              <a:gd name="connsiteY10" fmla="*/ 1326467 h 2912664"/>
              <a:gd name="connsiteX11" fmla="*/ 628635 w 2145453"/>
              <a:gd name="connsiteY11" fmla="*/ 1589678 h 2912664"/>
              <a:gd name="connsiteX12" fmla="*/ 628635 w 2145453"/>
              <a:gd name="connsiteY12" fmla="*/ 141231 h 2912664"/>
              <a:gd name="connsiteX13" fmla="*/ 670001 w 2145453"/>
              <a:gd name="connsiteY13" fmla="*/ 41365 h 2912664"/>
              <a:gd name="connsiteX0" fmla="*/ 670001 w 2145453"/>
              <a:gd name="connsiteY0" fmla="*/ 41365 h 2912664"/>
              <a:gd name="connsiteX1" fmla="*/ 769866 w 2145453"/>
              <a:gd name="connsiteY1" fmla="*/ 0 h 2912664"/>
              <a:gd name="connsiteX2" fmla="*/ 911097 w 2145453"/>
              <a:gd name="connsiteY2" fmla="*/ 141231 h 2912664"/>
              <a:gd name="connsiteX3" fmla="*/ 960469 w 2145453"/>
              <a:gd name="connsiteY3" fmla="*/ 784060 h 2912664"/>
              <a:gd name="connsiteX4" fmla="*/ 1594794 w 2145453"/>
              <a:gd name="connsiteY4" fmla="*/ 789196 h 2912664"/>
              <a:gd name="connsiteX5" fmla="*/ 1848308 w 2145453"/>
              <a:gd name="connsiteY5" fmla="*/ 1898342 h 2912664"/>
              <a:gd name="connsiteX6" fmla="*/ 2145453 w 2145453"/>
              <a:gd name="connsiteY6" fmla="*/ 2249789 h 2912664"/>
              <a:gd name="connsiteX7" fmla="*/ 1535243 w 2145453"/>
              <a:gd name="connsiteY7" fmla="*/ 2912664 h 2912664"/>
              <a:gd name="connsiteX8" fmla="*/ 1136947 w 2145453"/>
              <a:gd name="connsiteY8" fmla="*/ 2468062 h 2912664"/>
              <a:gd name="connsiteX9" fmla="*/ 530391 w 2145453"/>
              <a:gd name="connsiteY9" fmla="*/ 2073665 h 2912664"/>
              <a:gd name="connsiteX10" fmla="*/ 0 w 2145453"/>
              <a:gd name="connsiteY10" fmla="*/ 1326467 h 2912664"/>
              <a:gd name="connsiteX11" fmla="*/ 628635 w 2145453"/>
              <a:gd name="connsiteY11" fmla="*/ 1589678 h 2912664"/>
              <a:gd name="connsiteX12" fmla="*/ 628635 w 2145453"/>
              <a:gd name="connsiteY12" fmla="*/ 141231 h 2912664"/>
              <a:gd name="connsiteX13" fmla="*/ 670001 w 2145453"/>
              <a:gd name="connsiteY13" fmla="*/ 41365 h 2912664"/>
              <a:gd name="connsiteX0" fmla="*/ 670001 w 2145453"/>
              <a:gd name="connsiteY0" fmla="*/ 41365 h 2912664"/>
              <a:gd name="connsiteX1" fmla="*/ 769866 w 2145453"/>
              <a:gd name="connsiteY1" fmla="*/ 0 h 2912664"/>
              <a:gd name="connsiteX2" fmla="*/ 911097 w 2145453"/>
              <a:gd name="connsiteY2" fmla="*/ 141231 h 2912664"/>
              <a:gd name="connsiteX3" fmla="*/ 960469 w 2145453"/>
              <a:gd name="connsiteY3" fmla="*/ 784060 h 2912664"/>
              <a:gd name="connsiteX4" fmla="*/ 1594794 w 2145453"/>
              <a:gd name="connsiteY4" fmla="*/ 789196 h 2912664"/>
              <a:gd name="connsiteX5" fmla="*/ 1848308 w 2145453"/>
              <a:gd name="connsiteY5" fmla="*/ 1898342 h 2912664"/>
              <a:gd name="connsiteX6" fmla="*/ 2145453 w 2145453"/>
              <a:gd name="connsiteY6" fmla="*/ 2249789 h 2912664"/>
              <a:gd name="connsiteX7" fmla="*/ 1535243 w 2145453"/>
              <a:gd name="connsiteY7" fmla="*/ 2912664 h 2912664"/>
              <a:gd name="connsiteX8" fmla="*/ 1136947 w 2145453"/>
              <a:gd name="connsiteY8" fmla="*/ 2468062 h 2912664"/>
              <a:gd name="connsiteX9" fmla="*/ 530391 w 2145453"/>
              <a:gd name="connsiteY9" fmla="*/ 2073665 h 2912664"/>
              <a:gd name="connsiteX10" fmla="*/ 0 w 2145453"/>
              <a:gd name="connsiteY10" fmla="*/ 1326467 h 2912664"/>
              <a:gd name="connsiteX11" fmla="*/ 679880 w 2145453"/>
              <a:gd name="connsiteY11" fmla="*/ 1646872 h 2912664"/>
              <a:gd name="connsiteX12" fmla="*/ 628635 w 2145453"/>
              <a:gd name="connsiteY12" fmla="*/ 141231 h 2912664"/>
              <a:gd name="connsiteX13" fmla="*/ 670001 w 2145453"/>
              <a:gd name="connsiteY13" fmla="*/ 41365 h 2912664"/>
              <a:gd name="connsiteX0" fmla="*/ 670001 w 2145453"/>
              <a:gd name="connsiteY0" fmla="*/ 41365 h 2912664"/>
              <a:gd name="connsiteX1" fmla="*/ 769866 w 2145453"/>
              <a:gd name="connsiteY1" fmla="*/ 0 h 2912664"/>
              <a:gd name="connsiteX2" fmla="*/ 911097 w 2145453"/>
              <a:gd name="connsiteY2" fmla="*/ 141231 h 2912664"/>
              <a:gd name="connsiteX3" fmla="*/ 960469 w 2145453"/>
              <a:gd name="connsiteY3" fmla="*/ 784060 h 2912664"/>
              <a:gd name="connsiteX4" fmla="*/ 1594794 w 2145453"/>
              <a:gd name="connsiteY4" fmla="*/ 789196 h 2912664"/>
              <a:gd name="connsiteX5" fmla="*/ 1848308 w 2145453"/>
              <a:gd name="connsiteY5" fmla="*/ 1898342 h 2912664"/>
              <a:gd name="connsiteX6" fmla="*/ 2145453 w 2145453"/>
              <a:gd name="connsiteY6" fmla="*/ 2249789 h 2912664"/>
              <a:gd name="connsiteX7" fmla="*/ 1535243 w 2145453"/>
              <a:gd name="connsiteY7" fmla="*/ 2912664 h 2912664"/>
              <a:gd name="connsiteX8" fmla="*/ 1136947 w 2145453"/>
              <a:gd name="connsiteY8" fmla="*/ 2468062 h 2912664"/>
              <a:gd name="connsiteX9" fmla="*/ 530391 w 2145453"/>
              <a:gd name="connsiteY9" fmla="*/ 2073665 h 2912664"/>
              <a:gd name="connsiteX10" fmla="*/ 0 w 2145453"/>
              <a:gd name="connsiteY10" fmla="*/ 1326467 h 2912664"/>
              <a:gd name="connsiteX11" fmla="*/ 679880 w 2145453"/>
              <a:gd name="connsiteY11" fmla="*/ 1646872 h 2912664"/>
              <a:gd name="connsiteX12" fmla="*/ 628635 w 2145453"/>
              <a:gd name="connsiteY12" fmla="*/ 141231 h 2912664"/>
              <a:gd name="connsiteX13" fmla="*/ 670001 w 2145453"/>
              <a:gd name="connsiteY13" fmla="*/ 41365 h 2912664"/>
              <a:gd name="connsiteX0" fmla="*/ 670001 w 2145453"/>
              <a:gd name="connsiteY0" fmla="*/ 41365 h 2912664"/>
              <a:gd name="connsiteX1" fmla="*/ 769866 w 2145453"/>
              <a:gd name="connsiteY1" fmla="*/ 0 h 2912664"/>
              <a:gd name="connsiteX2" fmla="*/ 911097 w 2145453"/>
              <a:gd name="connsiteY2" fmla="*/ 141231 h 2912664"/>
              <a:gd name="connsiteX3" fmla="*/ 979523 w 2145453"/>
              <a:gd name="connsiteY3" fmla="*/ 863751 h 2912664"/>
              <a:gd name="connsiteX4" fmla="*/ 1594794 w 2145453"/>
              <a:gd name="connsiteY4" fmla="*/ 789196 h 2912664"/>
              <a:gd name="connsiteX5" fmla="*/ 1848308 w 2145453"/>
              <a:gd name="connsiteY5" fmla="*/ 1898342 h 2912664"/>
              <a:gd name="connsiteX6" fmla="*/ 2145453 w 2145453"/>
              <a:gd name="connsiteY6" fmla="*/ 2249789 h 2912664"/>
              <a:gd name="connsiteX7" fmla="*/ 1535243 w 2145453"/>
              <a:gd name="connsiteY7" fmla="*/ 2912664 h 2912664"/>
              <a:gd name="connsiteX8" fmla="*/ 1136947 w 2145453"/>
              <a:gd name="connsiteY8" fmla="*/ 2468062 h 2912664"/>
              <a:gd name="connsiteX9" fmla="*/ 530391 w 2145453"/>
              <a:gd name="connsiteY9" fmla="*/ 2073665 h 2912664"/>
              <a:gd name="connsiteX10" fmla="*/ 0 w 2145453"/>
              <a:gd name="connsiteY10" fmla="*/ 1326467 h 2912664"/>
              <a:gd name="connsiteX11" fmla="*/ 679880 w 2145453"/>
              <a:gd name="connsiteY11" fmla="*/ 1646872 h 2912664"/>
              <a:gd name="connsiteX12" fmla="*/ 628635 w 2145453"/>
              <a:gd name="connsiteY12" fmla="*/ 141231 h 2912664"/>
              <a:gd name="connsiteX13" fmla="*/ 670001 w 2145453"/>
              <a:gd name="connsiteY13" fmla="*/ 41365 h 2912664"/>
              <a:gd name="connsiteX0" fmla="*/ 670001 w 2145453"/>
              <a:gd name="connsiteY0" fmla="*/ 41365 h 2912664"/>
              <a:gd name="connsiteX1" fmla="*/ 769866 w 2145453"/>
              <a:gd name="connsiteY1" fmla="*/ 0 h 2912664"/>
              <a:gd name="connsiteX2" fmla="*/ 911097 w 2145453"/>
              <a:gd name="connsiteY2" fmla="*/ 141231 h 2912664"/>
              <a:gd name="connsiteX3" fmla="*/ 979523 w 2145453"/>
              <a:gd name="connsiteY3" fmla="*/ 863751 h 2912664"/>
              <a:gd name="connsiteX4" fmla="*/ 1594794 w 2145453"/>
              <a:gd name="connsiteY4" fmla="*/ 789196 h 2912664"/>
              <a:gd name="connsiteX5" fmla="*/ 1848308 w 2145453"/>
              <a:gd name="connsiteY5" fmla="*/ 1898342 h 2912664"/>
              <a:gd name="connsiteX6" fmla="*/ 2145453 w 2145453"/>
              <a:gd name="connsiteY6" fmla="*/ 2249789 h 2912664"/>
              <a:gd name="connsiteX7" fmla="*/ 1535243 w 2145453"/>
              <a:gd name="connsiteY7" fmla="*/ 2912664 h 2912664"/>
              <a:gd name="connsiteX8" fmla="*/ 1136947 w 2145453"/>
              <a:gd name="connsiteY8" fmla="*/ 2468062 h 2912664"/>
              <a:gd name="connsiteX9" fmla="*/ 530391 w 2145453"/>
              <a:gd name="connsiteY9" fmla="*/ 2073665 h 2912664"/>
              <a:gd name="connsiteX10" fmla="*/ 0 w 2145453"/>
              <a:gd name="connsiteY10" fmla="*/ 1326467 h 2912664"/>
              <a:gd name="connsiteX11" fmla="*/ 679880 w 2145453"/>
              <a:gd name="connsiteY11" fmla="*/ 1646872 h 2912664"/>
              <a:gd name="connsiteX12" fmla="*/ 628635 w 2145453"/>
              <a:gd name="connsiteY12" fmla="*/ 141231 h 2912664"/>
              <a:gd name="connsiteX13" fmla="*/ 670001 w 2145453"/>
              <a:gd name="connsiteY13" fmla="*/ 41365 h 2912664"/>
              <a:gd name="connsiteX0" fmla="*/ 670001 w 2145453"/>
              <a:gd name="connsiteY0" fmla="*/ 41365 h 2912664"/>
              <a:gd name="connsiteX1" fmla="*/ 769866 w 2145453"/>
              <a:gd name="connsiteY1" fmla="*/ 0 h 2912664"/>
              <a:gd name="connsiteX2" fmla="*/ 911097 w 2145453"/>
              <a:gd name="connsiteY2" fmla="*/ 141231 h 2912664"/>
              <a:gd name="connsiteX3" fmla="*/ 979523 w 2145453"/>
              <a:gd name="connsiteY3" fmla="*/ 863751 h 2912664"/>
              <a:gd name="connsiteX4" fmla="*/ 1578849 w 2145453"/>
              <a:gd name="connsiteY4" fmla="*/ 851069 h 2912664"/>
              <a:gd name="connsiteX5" fmla="*/ 1848308 w 2145453"/>
              <a:gd name="connsiteY5" fmla="*/ 1898342 h 2912664"/>
              <a:gd name="connsiteX6" fmla="*/ 2145453 w 2145453"/>
              <a:gd name="connsiteY6" fmla="*/ 2249789 h 2912664"/>
              <a:gd name="connsiteX7" fmla="*/ 1535243 w 2145453"/>
              <a:gd name="connsiteY7" fmla="*/ 2912664 h 2912664"/>
              <a:gd name="connsiteX8" fmla="*/ 1136947 w 2145453"/>
              <a:gd name="connsiteY8" fmla="*/ 2468062 h 2912664"/>
              <a:gd name="connsiteX9" fmla="*/ 530391 w 2145453"/>
              <a:gd name="connsiteY9" fmla="*/ 2073665 h 2912664"/>
              <a:gd name="connsiteX10" fmla="*/ 0 w 2145453"/>
              <a:gd name="connsiteY10" fmla="*/ 1326467 h 2912664"/>
              <a:gd name="connsiteX11" fmla="*/ 679880 w 2145453"/>
              <a:gd name="connsiteY11" fmla="*/ 1646872 h 2912664"/>
              <a:gd name="connsiteX12" fmla="*/ 628635 w 2145453"/>
              <a:gd name="connsiteY12" fmla="*/ 141231 h 2912664"/>
              <a:gd name="connsiteX13" fmla="*/ 670001 w 2145453"/>
              <a:gd name="connsiteY13" fmla="*/ 41365 h 2912664"/>
              <a:gd name="connsiteX0" fmla="*/ 670001 w 2145453"/>
              <a:gd name="connsiteY0" fmla="*/ 41365 h 2912664"/>
              <a:gd name="connsiteX1" fmla="*/ 769866 w 2145453"/>
              <a:gd name="connsiteY1" fmla="*/ 0 h 2912664"/>
              <a:gd name="connsiteX2" fmla="*/ 911097 w 2145453"/>
              <a:gd name="connsiteY2" fmla="*/ 141231 h 2912664"/>
              <a:gd name="connsiteX3" fmla="*/ 979523 w 2145453"/>
              <a:gd name="connsiteY3" fmla="*/ 863751 h 2912664"/>
              <a:gd name="connsiteX4" fmla="*/ 1578849 w 2145453"/>
              <a:gd name="connsiteY4" fmla="*/ 851069 h 2912664"/>
              <a:gd name="connsiteX5" fmla="*/ 1848308 w 2145453"/>
              <a:gd name="connsiteY5" fmla="*/ 1898342 h 2912664"/>
              <a:gd name="connsiteX6" fmla="*/ 2145453 w 2145453"/>
              <a:gd name="connsiteY6" fmla="*/ 2249789 h 2912664"/>
              <a:gd name="connsiteX7" fmla="*/ 1535243 w 2145453"/>
              <a:gd name="connsiteY7" fmla="*/ 2912664 h 2912664"/>
              <a:gd name="connsiteX8" fmla="*/ 1136947 w 2145453"/>
              <a:gd name="connsiteY8" fmla="*/ 2468062 h 2912664"/>
              <a:gd name="connsiteX9" fmla="*/ 530391 w 2145453"/>
              <a:gd name="connsiteY9" fmla="*/ 2073665 h 2912664"/>
              <a:gd name="connsiteX10" fmla="*/ 0 w 2145453"/>
              <a:gd name="connsiteY10" fmla="*/ 1326467 h 2912664"/>
              <a:gd name="connsiteX11" fmla="*/ 679880 w 2145453"/>
              <a:gd name="connsiteY11" fmla="*/ 1646872 h 2912664"/>
              <a:gd name="connsiteX12" fmla="*/ 628635 w 2145453"/>
              <a:gd name="connsiteY12" fmla="*/ 141231 h 2912664"/>
              <a:gd name="connsiteX13" fmla="*/ 670001 w 2145453"/>
              <a:gd name="connsiteY13" fmla="*/ 41365 h 2912664"/>
              <a:gd name="connsiteX0" fmla="*/ 670001 w 2145453"/>
              <a:gd name="connsiteY0" fmla="*/ 41365 h 2912664"/>
              <a:gd name="connsiteX1" fmla="*/ 769866 w 2145453"/>
              <a:gd name="connsiteY1" fmla="*/ 0 h 2912664"/>
              <a:gd name="connsiteX2" fmla="*/ 911097 w 2145453"/>
              <a:gd name="connsiteY2" fmla="*/ 141231 h 2912664"/>
              <a:gd name="connsiteX3" fmla="*/ 979523 w 2145453"/>
              <a:gd name="connsiteY3" fmla="*/ 863751 h 2912664"/>
              <a:gd name="connsiteX4" fmla="*/ 1578849 w 2145453"/>
              <a:gd name="connsiteY4" fmla="*/ 851069 h 2912664"/>
              <a:gd name="connsiteX5" fmla="*/ 1848308 w 2145453"/>
              <a:gd name="connsiteY5" fmla="*/ 1898342 h 2912664"/>
              <a:gd name="connsiteX6" fmla="*/ 2145453 w 2145453"/>
              <a:gd name="connsiteY6" fmla="*/ 2249789 h 2912664"/>
              <a:gd name="connsiteX7" fmla="*/ 1535243 w 2145453"/>
              <a:gd name="connsiteY7" fmla="*/ 2912664 h 2912664"/>
              <a:gd name="connsiteX8" fmla="*/ 1136947 w 2145453"/>
              <a:gd name="connsiteY8" fmla="*/ 2468062 h 2912664"/>
              <a:gd name="connsiteX9" fmla="*/ 530391 w 2145453"/>
              <a:gd name="connsiteY9" fmla="*/ 2073665 h 2912664"/>
              <a:gd name="connsiteX10" fmla="*/ 0 w 2145453"/>
              <a:gd name="connsiteY10" fmla="*/ 1326467 h 2912664"/>
              <a:gd name="connsiteX11" fmla="*/ 710556 w 2145453"/>
              <a:gd name="connsiteY11" fmla="*/ 1634217 h 2912664"/>
              <a:gd name="connsiteX12" fmla="*/ 628635 w 2145453"/>
              <a:gd name="connsiteY12" fmla="*/ 141231 h 2912664"/>
              <a:gd name="connsiteX13" fmla="*/ 670001 w 2145453"/>
              <a:gd name="connsiteY13" fmla="*/ 41365 h 2912664"/>
              <a:gd name="connsiteX0" fmla="*/ 733305 w 2208757"/>
              <a:gd name="connsiteY0" fmla="*/ 41365 h 2912664"/>
              <a:gd name="connsiteX1" fmla="*/ 833170 w 2208757"/>
              <a:gd name="connsiteY1" fmla="*/ 0 h 2912664"/>
              <a:gd name="connsiteX2" fmla="*/ 974401 w 2208757"/>
              <a:gd name="connsiteY2" fmla="*/ 141231 h 2912664"/>
              <a:gd name="connsiteX3" fmla="*/ 1042827 w 2208757"/>
              <a:gd name="connsiteY3" fmla="*/ 863751 h 2912664"/>
              <a:gd name="connsiteX4" fmla="*/ 1642153 w 2208757"/>
              <a:gd name="connsiteY4" fmla="*/ 851069 h 2912664"/>
              <a:gd name="connsiteX5" fmla="*/ 1911612 w 2208757"/>
              <a:gd name="connsiteY5" fmla="*/ 1898342 h 2912664"/>
              <a:gd name="connsiteX6" fmla="*/ 2208757 w 2208757"/>
              <a:gd name="connsiteY6" fmla="*/ 2249789 h 2912664"/>
              <a:gd name="connsiteX7" fmla="*/ 1598547 w 2208757"/>
              <a:gd name="connsiteY7" fmla="*/ 2912664 h 2912664"/>
              <a:gd name="connsiteX8" fmla="*/ 1200251 w 2208757"/>
              <a:gd name="connsiteY8" fmla="*/ 2468062 h 2912664"/>
              <a:gd name="connsiteX9" fmla="*/ 593695 w 2208757"/>
              <a:gd name="connsiteY9" fmla="*/ 2073665 h 2912664"/>
              <a:gd name="connsiteX10" fmla="*/ 0 w 2208757"/>
              <a:gd name="connsiteY10" fmla="*/ 1399250 h 2912664"/>
              <a:gd name="connsiteX11" fmla="*/ 773860 w 2208757"/>
              <a:gd name="connsiteY11" fmla="*/ 1634217 h 2912664"/>
              <a:gd name="connsiteX12" fmla="*/ 691939 w 2208757"/>
              <a:gd name="connsiteY12" fmla="*/ 141231 h 2912664"/>
              <a:gd name="connsiteX13" fmla="*/ 733305 w 2208757"/>
              <a:gd name="connsiteY13" fmla="*/ 41365 h 2912664"/>
              <a:gd name="connsiteX0" fmla="*/ 787104 w 2262556"/>
              <a:gd name="connsiteY0" fmla="*/ 41365 h 2912664"/>
              <a:gd name="connsiteX1" fmla="*/ 886969 w 2262556"/>
              <a:gd name="connsiteY1" fmla="*/ 0 h 2912664"/>
              <a:gd name="connsiteX2" fmla="*/ 1028200 w 2262556"/>
              <a:gd name="connsiteY2" fmla="*/ 141231 h 2912664"/>
              <a:gd name="connsiteX3" fmla="*/ 1096626 w 2262556"/>
              <a:gd name="connsiteY3" fmla="*/ 863751 h 2912664"/>
              <a:gd name="connsiteX4" fmla="*/ 1695952 w 2262556"/>
              <a:gd name="connsiteY4" fmla="*/ 851069 h 2912664"/>
              <a:gd name="connsiteX5" fmla="*/ 1965411 w 2262556"/>
              <a:gd name="connsiteY5" fmla="*/ 1898342 h 2912664"/>
              <a:gd name="connsiteX6" fmla="*/ 2262556 w 2262556"/>
              <a:gd name="connsiteY6" fmla="*/ 2249789 h 2912664"/>
              <a:gd name="connsiteX7" fmla="*/ 1652346 w 2262556"/>
              <a:gd name="connsiteY7" fmla="*/ 2912664 h 2912664"/>
              <a:gd name="connsiteX8" fmla="*/ 1254050 w 2262556"/>
              <a:gd name="connsiteY8" fmla="*/ 2468062 h 2912664"/>
              <a:gd name="connsiteX9" fmla="*/ 647494 w 2262556"/>
              <a:gd name="connsiteY9" fmla="*/ 2073665 h 2912664"/>
              <a:gd name="connsiteX10" fmla="*/ 0 w 2262556"/>
              <a:gd name="connsiteY10" fmla="*/ 1381959 h 2912664"/>
              <a:gd name="connsiteX11" fmla="*/ 827659 w 2262556"/>
              <a:gd name="connsiteY11" fmla="*/ 1634217 h 2912664"/>
              <a:gd name="connsiteX12" fmla="*/ 745738 w 2262556"/>
              <a:gd name="connsiteY12" fmla="*/ 141231 h 2912664"/>
              <a:gd name="connsiteX13" fmla="*/ 787104 w 2262556"/>
              <a:gd name="connsiteY13" fmla="*/ 41365 h 2912664"/>
              <a:gd name="connsiteX0" fmla="*/ 787104 w 2262556"/>
              <a:gd name="connsiteY0" fmla="*/ 41365 h 2912664"/>
              <a:gd name="connsiteX1" fmla="*/ 886969 w 2262556"/>
              <a:gd name="connsiteY1" fmla="*/ 0 h 2912664"/>
              <a:gd name="connsiteX2" fmla="*/ 1028200 w 2262556"/>
              <a:gd name="connsiteY2" fmla="*/ 141231 h 2912664"/>
              <a:gd name="connsiteX3" fmla="*/ 1096626 w 2262556"/>
              <a:gd name="connsiteY3" fmla="*/ 863751 h 2912664"/>
              <a:gd name="connsiteX4" fmla="*/ 1695952 w 2262556"/>
              <a:gd name="connsiteY4" fmla="*/ 851069 h 2912664"/>
              <a:gd name="connsiteX5" fmla="*/ 1965411 w 2262556"/>
              <a:gd name="connsiteY5" fmla="*/ 1898342 h 2912664"/>
              <a:gd name="connsiteX6" fmla="*/ 2262556 w 2262556"/>
              <a:gd name="connsiteY6" fmla="*/ 2249789 h 2912664"/>
              <a:gd name="connsiteX7" fmla="*/ 1652346 w 2262556"/>
              <a:gd name="connsiteY7" fmla="*/ 2912664 h 2912664"/>
              <a:gd name="connsiteX8" fmla="*/ 1254050 w 2262556"/>
              <a:gd name="connsiteY8" fmla="*/ 2468062 h 2912664"/>
              <a:gd name="connsiteX9" fmla="*/ 647494 w 2262556"/>
              <a:gd name="connsiteY9" fmla="*/ 2073665 h 2912664"/>
              <a:gd name="connsiteX10" fmla="*/ 0 w 2262556"/>
              <a:gd name="connsiteY10" fmla="*/ 1381959 h 2912664"/>
              <a:gd name="connsiteX11" fmla="*/ 827659 w 2262556"/>
              <a:gd name="connsiteY11" fmla="*/ 1634217 h 2912664"/>
              <a:gd name="connsiteX12" fmla="*/ 745738 w 2262556"/>
              <a:gd name="connsiteY12" fmla="*/ 141231 h 2912664"/>
              <a:gd name="connsiteX13" fmla="*/ 787104 w 2262556"/>
              <a:gd name="connsiteY13" fmla="*/ 41365 h 2912664"/>
              <a:gd name="connsiteX0" fmla="*/ 787104 w 2262556"/>
              <a:gd name="connsiteY0" fmla="*/ 41365 h 2912664"/>
              <a:gd name="connsiteX1" fmla="*/ 886969 w 2262556"/>
              <a:gd name="connsiteY1" fmla="*/ 0 h 2912664"/>
              <a:gd name="connsiteX2" fmla="*/ 1028200 w 2262556"/>
              <a:gd name="connsiteY2" fmla="*/ 141231 h 2912664"/>
              <a:gd name="connsiteX3" fmla="*/ 1096626 w 2262556"/>
              <a:gd name="connsiteY3" fmla="*/ 863751 h 2912664"/>
              <a:gd name="connsiteX4" fmla="*/ 1695952 w 2262556"/>
              <a:gd name="connsiteY4" fmla="*/ 851069 h 2912664"/>
              <a:gd name="connsiteX5" fmla="*/ 1965411 w 2262556"/>
              <a:gd name="connsiteY5" fmla="*/ 1898342 h 2912664"/>
              <a:gd name="connsiteX6" fmla="*/ 2262556 w 2262556"/>
              <a:gd name="connsiteY6" fmla="*/ 2249789 h 2912664"/>
              <a:gd name="connsiteX7" fmla="*/ 1652346 w 2262556"/>
              <a:gd name="connsiteY7" fmla="*/ 2912664 h 2912664"/>
              <a:gd name="connsiteX8" fmla="*/ 1254050 w 2262556"/>
              <a:gd name="connsiteY8" fmla="*/ 2468062 h 2912664"/>
              <a:gd name="connsiteX9" fmla="*/ 647494 w 2262556"/>
              <a:gd name="connsiteY9" fmla="*/ 2073665 h 2912664"/>
              <a:gd name="connsiteX10" fmla="*/ 0 w 2262556"/>
              <a:gd name="connsiteY10" fmla="*/ 1381959 h 2912664"/>
              <a:gd name="connsiteX11" fmla="*/ 827659 w 2262556"/>
              <a:gd name="connsiteY11" fmla="*/ 1634217 h 2912664"/>
              <a:gd name="connsiteX12" fmla="*/ 745738 w 2262556"/>
              <a:gd name="connsiteY12" fmla="*/ 141231 h 2912664"/>
              <a:gd name="connsiteX13" fmla="*/ 787104 w 2262556"/>
              <a:gd name="connsiteY13" fmla="*/ 41365 h 2912664"/>
              <a:gd name="connsiteX0" fmla="*/ 787104 w 2262556"/>
              <a:gd name="connsiteY0" fmla="*/ 41365 h 3204020"/>
              <a:gd name="connsiteX1" fmla="*/ 886969 w 2262556"/>
              <a:gd name="connsiteY1" fmla="*/ 0 h 3204020"/>
              <a:gd name="connsiteX2" fmla="*/ 1028200 w 2262556"/>
              <a:gd name="connsiteY2" fmla="*/ 141231 h 3204020"/>
              <a:gd name="connsiteX3" fmla="*/ 1096626 w 2262556"/>
              <a:gd name="connsiteY3" fmla="*/ 863751 h 3204020"/>
              <a:gd name="connsiteX4" fmla="*/ 1695952 w 2262556"/>
              <a:gd name="connsiteY4" fmla="*/ 851069 h 3204020"/>
              <a:gd name="connsiteX5" fmla="*/ 1965411 w 2262556"/>
              <a:gd name="connsiteY5" fmla="*/ 1898342 h 3204020"/>
              <a:gd name="connsiteX6" fmla="*/ 2262556 w 2262556"/>
              <a:gd name="connsiteY6" fmla="*/ 2249789 h 3204020"/>
              <a:gd name="connsiteX7" fmla="*/ 1875442 w 2262556"/>
              <a:gd name="connsiteY7" fmla="*/ 3204020 h 3204020"/>
              <a:gd name="connsiteX8" fmla="*/ 1254050 w 2262556"/>
              <a:gd name="connsiteY8" fmla="*/ 2468062 h 3204020"/>
              <a:gd name="connsiteX9" fmla="*/ 647494 w 2262556"/>
              <a:gd name="connsiteY9" fmla="*/ 2073665 h 3204020"/>
              <a:gd name="connsiteX10" fmla="*/ 0 w 2262556"/>
              <a:gd name="connsiteY10" fmla="*/ 1381959 h 3204020"/>
              <a:gd name="connsiteX11" fmla="*/ 827659 w 2262556"/>
              <a:gd name="connsiteY11" fmla="*/ 1634217 h 3204020"/>
              <a:gd name="connsiteX12" fmla="*/ 745738 w 2262556"/>
              <a:gd name="connsiteY12" fmla="*/ 141231 h 3204020"/>
              <a:gd name="connsiteX13" fmla="*/ 787104 w 2262556"/>
              <a:gd name="connsiteY13" fmla="*/ 41365 h 3204020"/>
              <a:gd name="connsiteX0" fmla="*/ 787104 w 2616797"/>
              <a:gd name="connsiteY0" fmla="*/ 41365 h 3204020"/>
              <a:gd name="connsiteX1" fmla="*/ 886969 w 2616797"/>
              <a:gd name="connsiteY1" fmla="*/ 0 h 3204020"/>
              <a:gd name="connsiteX2" fmla="*/ 1028200 w 2616797"/>
              <a:gd name="connsiteY2" fmla="*/ 141231 h 3204020"/>
              <a:gd name="connsiteX3" fmla="*/ 1096626 w 2616797"/>
              <a:gd name="connsiteY3" fmla="*/ 863751 h 3204020"/>
              <a:gd name="connsiteX4" fmla="*/ 1695952 w 2616797"/>
              <a:gd name="connsiteY4" fmla="*/ 851069 h 3204020"/>
              <a:gd name="connsiteX5" fmla="*/ 1965411 w 2616797"/>
              <a:gd name="connsiteY5" fmla="*/ 1898342 h 3204020"/>
              <a:gd name="connsiteX6" fmla="*/ 2616797 w 2616797"/>
              <a:gd name="connsiteY6" fmla="*/ 2518120 h 3204020"/>
              <a:gd name="connsiteX7" fmla="*/ 1875442 w 2616797"/>
              <a:gd name="connsiteY7" fmla="*/ 3204020 h 3204020"/>
              <a:gd name="connsiteX8" fmla="*/ 1254050 w 2616797"/>
              <a:gd name="connsiteY8" fmla="*/ 2468062 h 3204020"/>
              <a:gd name="connsiteX9" fmla="*/ 647494 w 2616797"/>
              <a:gd name="connsiteY9" fmla="*/ 2073665 h 3204020"/>
              <a:gd name="connsiteX10" fmla="*/ 0 w 2616797"/>
              <a:gd name="connsiteY10" fmla="*/ 1381959 h 3204020"/>
              <a:gd name="connsiteX11" fmla="*/ 827659 w 2616797"/>
              <a:gd name="connsiteY11" fmla="*/ 1634217 h 3204020"/>
              <a:gd name="connsiteX12" fmla="*/ 745738 w 2616797"/>
              <a:gd name="connsiteY12" fmla="*/ 141231 h 3204020"/>
              <a:gd name="connsiteX13" fmla="*/ 787104 w 2616797"/>
              <a:gd name="connsiteY13" fmla="*/ 41365 h 3204020"/>
              <a:gd name="connsiteX0" fmla="*/ 787104 w 2616797"/>
              <a:gd name="connsiteY0" fmla="*/ 41365 h 3204020"/>
              <a:gd name="connsiteX1" fmla="*/ 886969 w 2616797"/>
              <a:gd name="connsiteY1" fmla="*/ 0 h 3204020"/>
              <a:gd name="connsiteX2" fmla="*/ 1028200 w 2616797"/>
              <a:gd name="connsiteY2" fmla="*/ 141231 h 3204020"/>
              <a:gd name="connsiteX3" fmla="*/ 1096626 w 2616797"/>
              <a:gd name="connsiteY3" fmla="*/ 863751 h 3204020"/>
              <a:gd name="connsiteX4" fmla="*/ 1695952 w 2616797"/>
              <a:gd name="connsiteY4" fmla="*/ 851069 h 3204020"/>
              <a:gd name="connsiteX5" fmla="*/ 1965411 w 2616797"/>
              <a:gd name="connsiteY5" fmla="*/ 1898342 h 3204020"/>
              <a:gd name="connsiteX6" fmla="*/ 2616797 w 2616797"/>
              <a:gd name="connsiteY6" fmla="*/ 2518120 h 3204020"/>
              <a:gd name="connsiteX7" fmla="*/ 1875442 w 2616797"/>
              <a:gd name="connsiteY7" fmla="*/ 3204020 h 3204020"/>
              <a:gd name="connsiteX8" fmla="*/ 1254050 w 2616797"/>
              <a:gd name="connsiteY8" fmla="*/ 2468062 h 3204020"/>
              <a:gd name="connsiteX9" fmla="*/ 647494 w 2616797"/>
              <a:gd name="connsiteY9" fmla="*/ 2073665 h 3204020"/>
              <a:gd name="connsiteX10" fmla="*/ 0 w 2616797"/>
              <a:gd name="connsiteY10" fmla="*/ 1381959 h 3204020"/>
              <a:gd name="connsiteX11" fmla="*/ 827659 w 2616797"/>
              <a:gd name="connsiteY11" fmla="*/ 1634217 h 3204020"/>
              <a:gd name="connsiteX12" fmla="*/ 745738 w 2616797"/>
              <a:gd name="connsiteY12" fmla="*/ 141231 h 3204020"/>
              <a:gd name="connsiteX13" fmla="*/ 787104 w 2616797"/>
              <a:gd name="connsiteY13" fmla="*/ 41365 h 3204020"/>
              <a:gd name="connsiteX0" fmla="*/ 787104 w 2635848"/>
              <a:gd name="connsiteY0" fmla="*/ 41365 h 3204020"/>
              <a:gd name="connsiteX1" fmla="*/ 886969 w 2635848"/>
              <a:gd name="connsiteY1" fmla="*/ 0 h 3204020"/>
              <a:gd name="connsiteX2" fmla="*/ 1028200 w 2635848"/>
              <a:gd name="connsiteY2" fmla="*/ 141231 h 3204020"/>
              <a:gd name="connsiteX3" fmla="*/ 1096626 w 2635848"/>
              <a:gd name="connsiteY3" fmla="*/ 863751 h 3204020"/>
              <a:gd name="connsiteX4" fmla="*/ 1695952 w 2635848"/>
              <a:gd name="connsiteY4" fmla="*/ 851069 h 3204020"/>
              <a:gd name="connsiteX5" fmla="*/ 1965411 w 2635848"/>
              <a:gd name="connsiteY5" fmla="*/ 1898342 h 3204020"/>
              <a:gd name="connsiteX6" fmla="*/ 2635848 w 2635848"/>
              <a:gd name="connsiteY6" fmla="*/ 2523197 h 3204020"/>
              <a:gd name="connsiteX7" fmla="*/ 1875442 w 2635848"/>
              <a:gd name="connsiteY7" fmla="*/ 3204020 h 3204020"/>
              <a:gd name="connsiteX8" fmla="*/ 1254050 w 2635848"/>
              <a:gd name="connsiteY8" fmla="*/ 2468062 h 3204020"/>
              <a:gd name="connsiteX9" fmla="*/ 647494 w 2635848"/>
              <a:gd name="connsiteY9" fmla="*/ 2073665 h 3204020"/>
              <a:gd name="connsiteX10" fmla="*/ 0 w 2635848"/>
              <a:gd name="connsiteY10" fmla="*/ 1381959 h 3204020"/>
              <a:gd name="connsiteX11" fmla="*/ 827659 w 2635848"/>
              <a:gd name="connsiteY11" fmla="*/ 1634217 h 3204020"/>
              <a:gd name="connsiteX12" fmla="*/ 745738 w 2635848"/>
              <a:gd name="connsiteY12" fmla="*/ 141231 h 3204020"/>
              <a:gd name="connsiteX13" fmla="*/ 787104 w 2635848"/>
              <a:gd name="connsiteY13" fmla="*/ 41365 h 3204020"/>
              <a:gd name="connsiteX0" fmla="*/ 787104 w 2651771"/>
              <a:gd name="connsiteY0" fmla="*/ 41365 h 3204020"/>
              <a:gd name="connsiteX1" fmla="*/ 886969 w 2651771"/>
              <a:gd name="connsiteY1" fmla="*/ 0 h 3204020"/>
              <a:gd name="connsiteX2" fmla="*/ 1028200 w 2651771"/>
              <a:gd name="connsiteY2" fmla="*/ 141231 h 3204020"/>
              <a:gd name="connsiteX3" fmla="*/ 1096626 w 2651771"/>
              <a:gd name="connsiteY3" fmla="*/ 863751 h 3204020"/>
              <a:gd name="connsiteX4" fmla="*/ 1695952 w 2651771"/>
              <a:gd name="connsiteY4" fmla="*/ 851069 h 3204020"/>
              <a:gd name="connsiteX5" fmla="*/ 1965411 w 2651771"/>
              <a:gd name="connsiteY5" fmla="*/ 1898342 h 3204020"/>
              <a:gd name="connsiteX6" fmla="*/ 2651771 w 2651771"/>
              <a:gd name="connsiteY6" fmla="*/ 2516454 h 3204020"/>
              <a:gd name="connsiteX7" fmla="*/ 1875442 w 2651771"/>
              <a:gd name="connsiteY7" fmla="*/ 3204020 h 3204020"/>
              <a:gd name="connsiteX8" fmla="*/ 1254050 w 2651771"/>
              <a:gd name="connsiteY8" fmla="*/ 2468062 h 3204020"/>
              <a:gd name="connsiteX9" fmla="*/ 647494 w 2651771"/>
              <a:gd name="connsiteY9" fmla="*/ 2073665 h 3204020"/>
              <a:gd name="connsiteX10" fmla="*/ 0 w 2651771"/>
              <a:gd name="connsiteY10" fmla="*/ 1381959 h 3204020"/>
              <a:gd name="connsiteX11" fmla="*/ 827659 w 2651771"/>
              <a:gd name="connsiteY11" fmla="*/ 1634217 h 3204020"/>
              <a:gd name="connsiteX12" fmla="*/ 745738 w 2651771"/>
              <a:gd name="connsiteY12" fmla="*/ 141231 h 3204020"/>
              <a:gd name="connsiteX13" fmla="*/ 787104 w 2651771"/>
              <a:gd name="connsiteY13" fmla="*/ 41365 h 3204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51771" h="3204020">
                <a:moveTo>
                  <a:pt x="787104" y="41365"/>
                </a:moveTo>
                <a:cubicBezTo>
                  <a:pt x="812661" y="15808"/>
                  <a:pt x="847969" y="0"/>
                  <a:pt x="886969" y="0"/>
                </a:cubicBezTo>
                <a:cubicBezTo>
                  <a:pt x="964969" y="0"/>
                  <a:pt x="1028200" y="63231"/>
                  <a:pt x="1028200" y="141231"/>
                </a:cubicBezTo>
                <a:lnTo>
                  <a:pt x="1096626" y="863751"/>
                </a:lnTo>
                <a:cubicBezTo>
                  <a:pt x="1324950" y="817026"/>
                  <a:pt x="1594219" y="679679"/>
                  <a:pt x="1695952" y="851069"/>
                </a:cubicBezTo>
                <a:cubicBezTo>
                  <a:pt x="1896857" y="1284096"/>
                  <a:pt x="2012961" y="1443677"/>
                  <a:pt x="1965411" y="1898342"/>
                </a:cubicBezTo>
                <a:cubicBezTo>
                  <a:pt x="2062863" y="2027881"/>
                  <a:pt x="2521735" y="2407218"/>
                  <a:pt x="2651771" y="2516454"/>
                </a:cubicBezTo>
                <a:lnTo>
                  <a:pt x="1875442" y="3204020"/>
                </a:lnTo>
                <a:lnTo>
                  <a:pt x="1254050" y="2468062"/>
                </a:lnTo>
                <a:cubicBezTo>
                  <a:pt x="1117281" y="2338792"/>
                  <a:pt x="856388" y="2269133"/>
                  <a:pt x="647494" y="2073665"/>
                </a:cubicBezTo>
                <a:cubicBezTo>
                  <a:pt x="560013" y="2007911"/>
                  <a:pt x="439289" y="1645529"/>
                  <a:pt x="0" y="1381959"/>
                </a:cubicBezTo>
                <a:cubicBezTo>
                  <a:pt x="137000" y="1119373"/>
                  <a:pt x="679491" y="1549956"/>
                  <a:pt x="827659" y="1634217"/>
                </a:cubicBezTo>
                <a:lnTo>
                  <a:pt x="745738" y="141231"/>
                </a:lnTo>
                <a:cubicBezTo>
                  <a:pt x="745738" y="102231"/>
                  <a:pt x="761546" y="66923"/>
                  <a:pt x="787104" y="41365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61F7B881-6EF6-4009-B5CA-70A7BDBB74F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402" y="704676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CE41AB9-0B82-44E3-B68B-FDD78E308CED}"/>
              </a:ext>
            </a:extLst>
          </p:cNvPr>
          <p:cNvGrpSpPr/>
          <p:nvPr userDrawn="1"/>
        </p:nvGrpSpPr>
        <p:grpSpPr>
          <a:xfrm rot="20703830">
            <a:off x="1161693" y="1386468"/>
            <a:ext cx="2040464" cy="3808371"/>
            <a:chOff x="3501573" y="3178068"/>
            <a:chExt cx="1340594" cy="2737840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88873E8-C7AE-4389-ADFA-468BD99D57C2}"/>
                </a:ext>
              </a:extLst>
            </p:cNvPr>
            <p:cNvSpPr/>
            <p:nvPr/>
          </p:nvSpPr>
          <p:spPr>
            <a:xfrm>
              <a:off x="3504728" y="3612346"/>
              <a:ext cx="62939" cy="220286"/>
            </a:xfrm>
            <a:custGeom>
              <a:avLst/>
              <a:gdLst>
                <a:gd name="connsiteX0" fmla="*/ 12859 w 19050"/>
                <a:gd name="connsiteY0" fmla="*/ 68104 h 66675"/>
                <a:gd name="connsiteX1" fmla="*/ 12859 w 19050"/>
                <a:gd name="connsiteY1" fmla="*/ 68104 h 66675"/>
                <a:gd name="connsiteX2" fmla="*/ 7144 w 19050"/>
                <a:gd name="connsiteY2" fmla="*/ 62389 h 66675"/>
                <a:gd name="connsiteX3" fmla="*/ 7144 w 19050"/>
                <a:gd name="connsiteY3" fmla="*/ 12859 h 66675"/>
                <a:gd name="connsiteX4" fmla="*/ 12859 w 19050"/>
                <a:gd name="connsiteY4" fmla="*/ 7144 h 66675"/>
                <a:gd name="connsiteX5" fmla="*/ 12859 w 19050"/>
                <a:gd name="connsiteY5" fmla="*/ 7144 h 66675"/>
                <a:gd name="connsiteX6" fmla="*/ 18574 w 19050"/>
                <a:gd name="connsiteY6" fmla="*/ 12859 h 66675"/>
                <a:gd name="connsiteX7" fmla="*/ 18574 w 19050"/>
                <a:gd name="connsiteY7" fmla="*/ 62389 h 66675"/>
                <a:gd name="connsiteX8" fmla="*/ 12859 w 19050"/>
                <a:gd name="connsiteY8" fmla="*/ 6810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50" h="66675">
                  <a:moveTo>
                    <a:pt x="12859" y="68104"/>
                  </a:moveTo>
                  <a:lnTo>
                    <a:pt x="12859" y="68104"/>
                  </a:lnTo>
                  <a:cubicBezTo>
                    <a:pt x="10001" y="68104"/>
                    <a:pt x="7144" y="65246"/>
                    <a:pt x="7144" y="62389"/>
                  </a:cubicBezTo>
                  <a:lnTo>
                    <a:pt x="7144" y="12859"/>
                  </a:lnTo>
                  <a:cubicBezTo>
                    <a:pt x="7144" y="10001"/>
                    <a:pt x="10001" y="7144"/>
                    <a:pt x="12859" y="7144"/>
                  </a:cubicBezTo>
                  <a:lnTo>
                    <a:pt x="12859" y="7144"/>
                  </a:lnTo>
                  <a:cubicBezTo>
                    <a:pt x="15716" y="7144"/>
                    <a:pt x="18574" y="10001"/>
                    <a:pt x="18574" y="12859"/>
                  </a:cubicBezTo>
                  <a:lnTo>
                    <a:pt x="18574" y="62389"/>
                  </a:lnTo>
                  <a:cubicBezTo>
                    <a:pt x="18574" y="65246"/>
                    <a:pt x="15716" y="68104"/>
                    <a:pt x="12859" y="68104"/>
                  </a:cubicBezTo>
                  <a:close/>
                </a:path>
              </a:pathLst>
            </a:custGeom>
            <a:solidFill>
              <a:srgbClr val="80808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2F40C01-EC64-45DE-9ABA-479C367A6809}"/>
                </a:ext>
              </a:extLst>
            </p:cNvPr>
            <p:cNvSpPr/>
            <p:nvPr/>
          </p:nvSpPr>
          <p:spPr>
            <a:xfrm>
              <a:off x="3501573" y="3832632"/>
              <a:ext cx="62939" cy="220286"/>
            </a:xfrm>
            <a:custGeom>
              <a:avLst/>
              <a:gdLst>
                <a:gd name="connsiteX0" fmla="*/ 12859 w 19050"/>
                <a:gd name="connsiteY0" fmla="*/ 68104 h 66675"/>
                <a:gd name="connsiteX1" fmla="*/ 12859 w 19050"/>
                <a:gd name="connsiteY1" fmla="*/ 68104 h 66675"/>
                <a:gd name="connsiteX2" fmla="*/ 7144 w 19050"/>
                <a:gd name="connsiteY2" fmla="*/ 62389 h 66675"/>
                <a:gd name="connsiteX3" fmla="*/ 7144 w 19050"/>
                <a:gd name="connsiteY3" fmla="*/ 12859 h 66675"/>
                <a:gd name="connsiteX4" fmla="*/ 12859 w 19050"/>
                <a:gd name="connsiteY4" fmla="*/ 7144 h 66675"/>
                <a:gd name="connsiteX5" fmla="*/ 12859 w 19050"/>
                <a:gd name="connsiteY5" fmla="*/ 7144 h 66675"/>
                <a:gd name="connsiteX6" fmla="*/ 18574 w 19050"/>
                <a:gd name="connsiteY6" fmla="*/ 12859 h 66675"/>
                <a:gd name="connsiteX7" fmla="*/ 18574 w 19050"/>
                <a:gd name="connsiteY7" fmla="*/ 62389 h 66675"/>
                <a:gd name="connsiteX8" fmla="*/ 12859 w 19050"/>
                <a:gd name="connsiteY8" fmla="*/ 6810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50" h="66675">
                  <a:moveTo>
                    <a:pt x="12859" y="68104"/>
                  </a:moveTo>
                  <a:lnTo>
                    <a:pt x="12859" y="68104"/>
                  </a:lnTo>
                  <a:cubicBezTo>
                    <a:pt x="10001" y="68104"/>
                    <a:pt x="7144" y="65246"/>
                    <a:pt x="7144" y="62389"/>
                  </a:cubicBezTo>
                  <a:lnTo>
                    <a:pt x="7144" y="12859"/>
                  </a:lnTo>
                  <a:cubicBezTo>
                    <a:pt x="7144" y="10001"/>
                    <a:pt x="10001" y="7144"/>
                    <a:pt x="12859" y="7144"/>
                  </a:cubicBezTo>
                  <a:lnTo>
                    <a:pt x="12859" y="7144"/>
                  </a:lnTo>
                  <a:cubicBezTo>
                    <a:pt x="15716" y="7144"/>
                    <a:pt x="18574" y="10001"/>
                    <a:pt x="18574" y="12859"/>
                  </a:cubicBezTo>
                  <a:lnTo>
                    <a:pt x="18574" y="62389"/>
                  </a:lnTo>
                  <a:cubicBezTo>
                    <a:pt x="18574" y="65246"/>
                    <a:pt x="15716" y="68104"/>
                    <a:pt x="12859" y="68104"/>
                  </a:cubicBezTo>
                  <a:close/>
                </a:path>
              </a:pathLst>
            </a:custGeom>
            <a:solidFill>
              <a:srgbClr val="80808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28CAD5C-9490-4B5D-B6C4-D2031429C76B}"/>
                </a:ext>
              </a:extLst>
            </p:cNvPr>
            <p:cNvSpPr/>
            <p:nvPr/>
          </p:nvSpPr>
          <p:spPr>
            <a:xfrm>
              <a:off x="4776089" y="3829487"/>
              <a:ext cx="62939" cy="220286"/>
            </a:xfrm>
            <a:custGeom>
              <a:avLst/>
              <a:gdLst>
                <a:gd name="connsiteX0" fmla="*/ 12859 w 19050"/>
                <a:gd name="connsiteY0" fmla="*/ 68104 h 66675"/>
                <a:gd name="connsiteX1" fmla="*/ 12859 w 19050"/>
                <a:gd name="connsiteY1" fmla="*/ 68104 h 66675"/>
                <a:gd name="connsiteX2" fmla="*/ 7144 w 19050"/>
                <a:gd name="connsiteY2" fmla="*/ 62389 h 66675"/>
                <a:gd name="connsiteX3" fmla="*/ 7144 w 19050"/>
                <a:gd name="connsiteY3" fmla="*/ 12859 h 66675"/>
                <a:gd name="connsiteX4" fmla="*/ 12859 w 19050"/>
                <a:gd name="connsiteY4" fmla="*/ 7144 h 66675"/>
                <a:gd name="connsiteX5" fmla="*/ 12859 w 19050"/>
                <a:gd name="connsiteY5" fmla="*/ 7144 h 66675"/>
                <a:gd name="connsiteX6" fmla="*/ 18574 w 19050"/>
                <a:gd name="connsiteY6" fmla="*/ 12859 h 66675"/>
                <a:gd name="connsiteX7" fmla="*/ 18574 w 19050"/>
                <a:gd name="connsiteY7" fmla="*/ 62389 h 66675"/>
                <a:gd name="connsiteX8" fmla="*/ 12859 w 19050"/>
                <a:gd name="connsiteY8" fmla="*/ 6810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50" h="66675">
                  <a:moveTo>
                    <a:pt x="12859" y="68104"/>
                  </a:moveTo>
                  <a:lnTo>
                    <a:pt x="12859" y="68104"/>
                  </a:lnTo>
                  <a:cubicBezTo>
                    <a:pt x="10001" y="68104"/>
                    <a:pt x="7144" y="65246"/>
                    <a:pt x="7144" y="62389"/>
                  </a:cubicBezTo>
                  <a:lnTo>
                    <a:pt x="7144" y="12859"/>
                  </a:lnTo>
                  <a:cubicBezTo>
                    <a:pt x="7144" y="10001"/>
                    <a:pt x="10001" y="7144"/>
                    <a:pt x="12859" y="7144"/>
                  </a:cubicBezTo>
                  <a:lnTo>
                    <a:pt x="12859" y="7144"/>
                  </a:lnTo>
                  <a:cubicBezTo>
                    <a:pt x="15716" y="7144"/>
                    <a:pt x="18574" y="10001"/>
                    <a:pt x="18574" y="12859"/>
                  </a:cubicBezTo>
                  <a:lnTo>
                    <a:pt x="18574" y="62389"/>
                  </a:lnTo>
                  <a:cubicBezTo>
                    <a:pt x="19526" y="65246"/>
                    <a:pt x="16669" y="68104"/>
                    <a:pt x="12859" y="68104"/>
                  </a:cubicBezTo>
                  <a:close/>
                </a:path>
              </a:pathLst>
            </a:custGeom>
            <a:solidFill>
              <a:srgbClr val="80808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4424811-4BD6-4766-A6FC-79F0EC6E3FB1}"/>
                </a:ext>
              </a:extLst>
            </p:cNvPr>
            <p:cNvSpPr/>
            <p:nvPr/>
          </p:nvSpPr>
          <p:spPr>
            <a:xfrm>
              <a:off x="3520451" y="3178068"/>
              <a:ext cx="1321716" cy="2737840"/>
            </a:xfrm>
            <a:custGeom>
              <a:avLst/>
              <a:gdLst>
                <a:gd name="connsiteX0" fmla="*/ 350044 w 400050"/>
                <a:gd name="connsiteY0" fmla="*/ 7144 h 828675"/>
                <a:gd name="connsiteX1" fmla="*/ 53816 w 400050"/>
                <a:gd name="connsiteY1" fmla="*/ 7144 h 828675"/>
                <a:gd name="connsiteX2" fmla="*/ 7144 w 400050"/>
                <a:gd name="connsiteY2" fmla="*/ 53816 h 828675"/>
                <a:gd name="connsiteX3" fmla="*/ 7144 w 400050"/>
                <a:gd name="connsiteY3" fmla="*/ 781526 h 828675"/>
                <a:gd name="connsiteX4" fmla="*/ 53816 w 400050"/>
                <a:gd name="connsiteY4" fmla="*/ 828199 h 828675"/>
                <a:gd name="connsiteX5" fmla="*/ 350044 w 400050"/>
                <a:gd name="connsiteY5" fmla="*/ 828199 h 828675"/>
                <a:gd name="connsiteX6" fmla="*/ 396716 w 400050"/>
                <a:gd name="connsiteY6" fmla="*/ 781526 h 828675"/>
                <a:gd name="connsiteX7" fmla="*/ 396716 w 400050"/>
                <a:gd name="connsiteY7" fmla="*/ 53816 h 828675"/>
                <a:gd name="connsiteX8" fmla="*/ 350044 w 400050"/>
                <a:gd name="connsiteY8" fmla="*/ 7144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0050" h="828675">
                  <a:moveTo>
                    <a:pt x="350044" y="7144"/>
                  </a:moveTo>
                  <a:lnTo>
                    <a:pt x="53816" y="7144"/>
                  </a:lnTo>
                  <a:cubicBezTo>
                    <a:pt x="28099" y="7144"/>
                    <a:pt x="7144" y="28099"/>
                    <a:pt x="7144" y="53816"/>
                  </a:cubicBezTo>
                  <a:lnTo>
                    <a:pt x="7144" y="781526"/>
                  </a:lnTo>
                  <a:cubicBezTo>
                    <a:pt x="7144" y="807244"/>
                    <a:pt x="28099" y="828199"/>
                    <a:pt x="53816" y="828199"/>
                  </a:cubicBezTo>
                  <a:lnTo>
                    <a:pt x="350044" y="828199"/>
                  </a:lnTo>
                  <a:cubicBezTo>
                    <a:pt x="375761" y="828199"/>
                    <a:pt x="396716" y="807244"/>
                    <a:pt x="396716" y="781526"/>
                  </a:cubicBezTo>
                  <a:lnTo>
                    <a:pt x="396716" y="53816"/>
                  </a:lnTo>
                  <a:cubicBezTo>
                    <a:pt x="396716" y="28099"/>
                    <a:pt x="375761" y="7144"/>
                    <a:pt x="350044" y="7144"/>
                  </a:cubicBezTo>
                  <a:close/>
                </a:path>
              </a:pathLst>
            </a:custGeom>
            <a:solidFill>
              <a:srgbClr val="80808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18B538C-5F8E-4141-959A-C41B6C0D5FD7}"/>
                </a:ext>
              </a:extLst>
            </p:cNvPr>
            <p:cNvSpPr/>
            <p:nvPr/>
          </p:nvSpPr>
          <p:spPr>
            <a:xfrm>
              <a:off x="3529897" y="3190652"/>
              <a:ext cx="1290246" cy="2706371"/>
            </a:xfrm>
            <a:custGeom>
              <a:avLst/>
              <a:gdLst>
                <a:gd name="connsiteX0" fmla="*/ 345281 w 390525"/>
                <a:gd name="connsiteY0" fmla="*/ 7144 h 819150"/>
                <a:gd name="connsiteX1" fmla="*/ 52864 w 390525"/>
                <a:gd name="connsiteY1" fmla="*/ 7144 h 819150"/>
                <a:gd name="connsiteX2" fmla="*/ 7144 w 390525"/>
                <a:gd name="connsiteY2" fmla="*/ 52864 h 819150"/>
                <a:gd name="connsiteX3" fmla="*/ 7144 w 390525"/>
                <a:gd name="connsiteY3" fmla="*/ 772954 h 819150"/>
                <a:gd name="connsiteX4" fmla="*/ 52864 w 390525"/>
                <a:gd name="connsiteY4" fmla="*/ 818674 h 819150"/>
                <a:gd name="connsiteX5" fmla="*/ 345281 w 390525"/>
                <a:gd name="connsiteY5" fmla="*/ 818674 h 819150"/>
                <a:gd name="connsiteX6" fmla="*/ 391001 w 390525"/>
                <a:gd name="connsiteY6" fmla="*/ 772954 h 819150"/>
                <a:gd name="connsiteX7" fmla="*/ 391001 w 390525"/>
                <a:gd name="connsiteY7" fmla="*/ 52864 h 819150"/>
                <a:gd name="connsiteX8" fmla="*/ 345281 w 390525"/>
                <a:gd name="connsiteY8" fmla="*/ 7144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0525" h="819150">
                  <a:moveTo>
                    <a:pt x="345281" y="7144"/>
                  </a:moveTo>
                  <a:lnTo>
                    <a:pt x="52864" y="7144"/>
                  </a:lnTo>
                  <a:cubicBezTo>
                    <a:pt x="27146" y="7144"/>
                    <a:pt x="7144" y="27146"/>
                    <a:pt x="7144" y="52864"/>
                  </a:cubicBezTo>
                  <a:lnTo>
                    <a:pt x="7144" y="772954"/>
                  </a:lnTo>
                  <a:cubicBezTo>
                    <a:pt x="7144" y="798671"/>
                    <a:pt x="27146" y="818674"/>
                    <a:pt x="52864" y="818674"/>
                  </a:cubicBezTo>
                  <a:lnTo>
                    <a:pt x="345281" y="818674"/>
                  </a:lnTo>
                  <a:cubicBezTo>
                    <a:pt x="370999" y="818674"/>
                    <a:pt x="391001" y="798671"/>
                    <a:pt x="391001" y="772954"/>
                  </a:cubicBezTo>
                  <a:lnTo>
                    <a:pt x="391001" y="52864"/>
                  </a:lnTo>
                  <a:cubicBezTo>
                    <a:pt x="391001" y="28099"/>
                    <a:pt x="370046" y="7144"/>
                    <a:pt x="345281" y="7144"/>
                  </a:cubicBezTo>
                  <a:close/>
                </a:path>
              </a:pathLst>
            </a:custGeom>
            <a:solidFill>
              <a:srgbClr val="1A1A1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36AB7D1-B558-4679-813F-36AAA6B505FC}"/>
                </a:ext>
              </a:extLst>
            </p:cNvPr>
            <p:cNvSpPr/>
            <p:nvPr/>
          </p:nvSpPr>
          <p:spPr>
            <a:xfrm>
              <a:off x="3627447" y="3596610"/>
              <a:ext cx="1101430" cy="1951104"/>
            </a:xfrm>
            <a:custGeom>
              <a:avLst/>
              <a:gdLst>
                <a:gd name="connsiteX0" fmla="*/ 7144 w 333375"/>
                <a:gd name="connsiteY0" fmla="*/ 7144 h 590550"/>
                <a:gd name="connsiteX1" fmla="*/ 331946 w 333375"/>
                <a:gd name="connsiteY1" fmla="*/ 7144 h 590550"/>
                <a:gd name="connsiteX2" fmla="*/ 331946 w 333375"/>
                <a:gd name="connsiteY2" fmla="*/ 586264 h 590550"/>
                <a:gd name="connsiteX3" fmla="*/ 7144 w 333375"/>
                <a:gd name="connsiteY3" fmla="*/ 586264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75" h="590550">
                  <a:moveTo>
                    <a:pt x="7144" y="7144"/>
                  </a:moveTo>
                  <a:lnTo>
                    <a:pt x="331946" y="7144"/>
                  </a:lnTo>
                  <a:lnTo>
                    <a:pt x="331946" y="586264"/>
                  </a:lnTo>
                  <a:lnTo>
                    <a:pt x="7144" y="58626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C34BB56B-79FA-456E-B647-F33BC0A7D81C}"/>
                </a:ext>
              </a:extLst>
            </p:cNvPr>
            <p:cNvGrpSpPr/>
            <p:nvPr/>
          </p:nvGrpSpPr>
          <p:grpSpPr>
            <a:xfrm>
              <a:off x="4088523" y="5635852"/>
              <a:ext cx="156199" cy="173080"/>
              <a:chOff x="6768665" y="6038214"/>
              <a:chExt cx="133536" cy="147968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99A2DEB0-C294-47B6-B636-CB3585E30917}"/>
                  </a:ext>
                </a:extLst>
              </p:cNvPr>
              <p:cNvSpPr/>
              <p:nvPr/>
            </p:nvSpPr>
            <p:spPr>
              <a:xfrm>
                <a:off x="6768665" y="6038214"/>
                <a:ext cx="133536" cy="147968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CA825310-956C-401C-9CFC-8057C6CA4492}"/>
                  </a:ext>
                </a:extLst>
              </p:cNvPr>
              <p:cNvSpPr/>
              <p:nvPr/>
            </p:nvSpPr>
            <p:spPr>
              <a:xfrm>
                <a:off x="6802088" y="6071634"/>
                <a:ext cx="71904" cy="8118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D743BC3-0A34-4698-AFFD-E0FCDE7D6B33}"/>
                </a:ext>
              </a:extLst>
            </p:cNvPr>
            <p:cNvSpPr/>
            <p:nvPr/>
          </p:nvSpPr>
          <p:spPr>
            <a:xfrm>
              <a:off x="3821102" y="3628406"/>
              <a:ext cx="906450" cy="1887518"/>
            </a:xfrm>
            <a:custGeom>
              <a:avLst/>
              <a:gdLst>
                <a:gd name="connsiteX0" fmla="*/ 614149 w 1119116"/>
                <a:gd name="connsiteY0" fmla="*/ 0 h 2330356"/>
                <a:gd name="connsiteX1" fmla="*/ 1115704 w 1119116"/>
                <a:gd name="connsiteY1" fmla="*/ 6824 h 2330356"/>
                <a:gd name="connsiteX2" fmla="*/ 1119116 w 1119116"/>
                <a:gd name="connsiteY2" fmla="*/ 2330356 h 2330356"/>
                <a:gd name="connsiteX3" fmla="*/ 0 w 1119116"/>
                <a:gd name="connsiteY3" fmla="*/ 2330356 h 2330356"/>
                <a:gd name="connsiteX4" fmla="*/ 614149 w 1119116"/>
                <a:gd name="connsiteY4" fmla="*/ 0 h 2330356"/>
                <a:gd name="connsiteX0" fmla="*/ 614149 w 1119116"/>
                <a:gd name="connsiteY0" fmla="*/ 0 h 2330356"/>
                <a:gd name="connsiteX1" fmla="*/ 1115704 w 1119116"/>
                <a:gd name="connsiteY1" fmla="*/ 3412 h 2330356"/>
                <a:gd name="connsiteX2" fmla="*/ 1119116 w 1119116"/>
                <a:gd name="connsiteY2" fmla="*/ 2330356 h 2330356"/>
                <a:gd name="connsiteX3" fmla="*/ 0 w 1119116"/>
                <a:gd name="connsiteY3" fmla="*/ 2330356 h 2330356"/>
                <a:gd name="connsiteX4" fmla="*/ 614149 w 1119116"/>
                <a:gd name="connsiteY4" fmla="*/ 0 h 2330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9116" h="2330356">
                  <a:moveTo>
                    <a:pt x="614149" y="0"/>
                  </a:moveTo>
                  <a:lnTo>
                    <a:pt x="1115704" y="3412"/>
                  </a:lnTo>
                  <a:cubicBezTo>
                    <a:pt x="1116841" y="777923"/>
                    <a:pt x="1117979" y="1555845"/>
                    <a:pt x="1119116" y="2330356"/>
                  </a:cubicBezTo>
                  <a:lnTo>
                    <a:pt x="0" y="2330356"/>
                  </a:lnTo>
                  <a:lnTo>
                    <a:pt x="614149" y="0"/>
                  </a:lnTo>
                  <a:close/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1E8E65F1-81B7-4570-B544-C403821DF7DD}"/>
                </a:ext>
              </a:extLst>
            </p:cNvPr>
            <p:cNvSpPr/>
            <p:nvPr/>
          </p:nvSpPr>
          <p:spPr>
            <a:xfrm>
              <a:off x="4058661" y="3449093"/>
              <a:ext cx="254255" cy="5839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9FDE41C-1E15-4710-A536-818D89F3BEEF}"/>
                </a:ext>
              </a:extLst>
            </p:cNvPr>
            <p:cNvSpPr/>
            <p:nvPr/>
          </p:nvSpPr>
          <p:spPr>
            <a:xfrm>
              <a:off x="3922825" y="3449093"/>
              <a:ext cx="58393" cy="5839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580C7545-90AC-4A60-96DA-F91A324F4C1A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 rot="20700000">
            <a:off x="1368747" y="1959609"/>
            <a:ext cx="1664534" cy="27590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122142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248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41199815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090B2-0048-45A8-A736-3EBE379DFA5C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F9CD-A97E-400E-A063-4DCA89081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69177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38311546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3BBCC57E-E2CE-48F6-986D-4DCC519638EA}"/>
              </a:ext>
            </a:extLst>
          </p:cNvPr>
          <p:cNvSpPr/>
          <p:nvPr userDrawn="1"/>
        </p:nvSpPr>
        <p:spPr>
          <a:xfrm>
            <a:off x="4751851" y="0"/>
            <a:ext cx="268829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그림 개체 틀 2">
            <a:extLst>
              <a:ext uri="{FF2B5EF4-FFF2-40B4-BE49-F238E27FC236}">
                <a16:creationId xmlns:a16="http://schemas.microsoft.com/office/drawing/2014/main" id="{BF64823A-9D96-4704-9538-98AA25DEFE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751851" y="663027"/>
            <a:ext cx="7440149" cy="23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13356438-4E75-4009-8161-869896F0E5D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63346"/>
            <a:ext cx="7440149" cy="23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6425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B3CA5F7E-D45F-4887-AF9C-BB7E27A9C9CE}"/>
              </a:ext>
            </a:extLst>
          </p:cNvPr>
          <p:cNvSpPr/>
          <p:nvPr userDrawn="1"/>
        </p:nvSpPr>
        <p:spPr>
          <a:xfrm>
            <a:off x="7228120" y="1876149"/>
            <a:ext cx="4320000" cy="43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그림 개체 틀 5">
            <a:extLst>
              <a:ext uri="{FF2B5EF4-FFF2-40B4-BE49-F238E27FC236}">
                <a16:creationId xmlns:a16="http://schemas.microsoft.com/office/drawing/2014/main" id="{1C677DB5-A9F3-459B-9D51-37160E0851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00213" y="653142"/>
            <a:ext cx="4320000" cy="4320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9678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5">
            <a:extLst>
              <a:ext uri="{FF2B5EF4-FFF2-40B4-BE49-F238E27FC236}">
                <a16:creationId xmlns:a16="http://schemas.microsoft.com/office/drawing/2014/main" id="{6F64E99E-F198-4C78-B779-6E8D9BDC6EE5}"/>
              </a:ext>
            </a:extLst>
          </p:cNvPr>
          <p:cNvSpPr/>
          <p:nvPr userDrawn="1"/>
        </p:nvSpPr>
        <p:spPr>
          <a:xfrm>
            <a:off x="0" y="635635"/>
            <a:ext cx="4277360" cy="55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>
              <a:latin typeface="+mn-lt"/>
              <a:cs typeface="Arial" pitchFamily="34" charset="0"/>
            </a:endParaRP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64227BB5-E33A-492C-BC7C-D7D79AA186A2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418680" y="635635"/>
            <a:ext cx="6984000" cy="27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Rectangle 26">
            <a:extLst>
              <a:ext uri="{FF2B5EF4-FFF2-40B4-BE49-F238E27FC236}">
                <a16:creationId xmlns:a16="http://schemas.microsoft.com/office/drawing/2014/main" id="{6EE6FE4D-0A35-4FB2-A327-71BFEAF09171}"/>
              </a:ext>
            </a:extLst>
          </p:cNvPr>
          <p:cNvSpPr/>
          <p:nvPr userDrawn="1"/>
        </p:nvSpPr>
        <p:spPr>
          <a:xfrm>
            <a:off x="11544000" y="635635"/>
            <a:ext cx="648000" cy="55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>
              <a:latin typeface="+mn-lt"/>
              <a:cs typeface="Arial" pitchFamily="34" charset="0"/>
            </a:endParaRPr>
          </a:p>
        </p:txBody>
      </p:sp>
      <p:sp>
        <p:nvSpPr>
          <p:cNvPr id="5" name="그림 개체 틀 2">
            <a:extLst>
              <a:ext uri="{FF2B5EF4-FFF2-40B4-BE49-F238E27FC236}">
                <a16:creationId xmlns:a16="http://schemas.microsoft.com/office/drawing/2014/main" id="{12ABD49D-EC42-4F59-A393-0BE94DA7553E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4418680" y="3515635"/>
            <a:ext cx="6984000" cy="27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06132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7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>
            <a:extLst>
              <a:ext uri="{FF2B5EF4-FFF2-40B4-BE49-F238E27FC236}">
                <a16:creationId xmlns:a16="http://schemas.microsoft.com/office/drawing/2014/main" id="{2E541B56-E562-45F7-AF65-DC212716E3B3}"/>
              </a:ext>
            </a:extLst>
          </p:cNvPr>
          <p:cNvSpPr/>
          <p:nvPr userDrawn="1"/>
        </p:nvSpPr>
        <p:spPr>
          <a:xfrm>
            <a:off x="0" y="863125"/>
            <a:ext cx="6546079" cy="5131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그림 개체 틀 2">
            <a:extLst>
              <a:ext uri="{FF2B5EF4-FFF2-40B4-BE49-F238E27FC236}">
                <a16:creationId xmlns:a16="http://schemas.microsoft.com/office/drawing/2014/main" id="{1D487A8B-D75C-45FC-8BC1-0D4AF5ACE0C7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096000" y="2959216"/>
            <a:ext cx="6096000" cy="27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8" name="그림 개체 틀 2">
            <a:extLst>
              <a:ext uri="{FF2B5EF4-FFF2-40B4-BE49-F238E27FC236}">
                <a16:creationId xmlns:a16="http://schemas.microsoft.com/office/drawing/2014/main" id="{79C5F99C-EA45-41DC-966E-F17A247EA3C2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842387" y="478948"/>
            <a:ext cx="2232409" cy="574098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98334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E354D97B-D1A0-4604-AD5D-D53A78B788EF}"/>
              </a:ext>
            </a:extLst>
          </p:cNvPr>
          <p:cNvGrpSpPr/>
          <p:nvPr userDrawn="1"/>
        </p:nvGrpSpPr>
        <p:grpSpPr>
          <a:xfrm>
            <a:off x="7690813" y="-9527"/>
            <a:ext cx="4510712" cy="1287974"/>
            <a:chOff x="7690813" y="-9527"/>
            <a:chExt cx="4510712" cy="1287974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536156F0-F29E-4E2B-A422-8AC9517A5654}"/>
                </a:ext>
              </a:extLst>
            </p:cNvPr>
            <p:cNvSpPr/>
            <p:nvPr userDrawn="1"/>
          </p:nvSpPr>
          <p:spPr>
            <a:xfrm rot="9719239">
              <a:off x="8748655" y="451183"/>
              <a:ext cx="1000612" cy="800490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9C6136C0-2DFB-4A9F-99B7-4C86971BCCC2}"/>
                </a:ext>
              </a:extLst>
            </p:cNvPr>
            <p:cNvSpPr/>
            <p:nvPr userDrawn="1"/>
          </p:nvSpPr>
          <p:spPr>
            <a:xfrm>
              <a:off x="10392406" y="-9525"/>
              <a:ext cx="800490" cy="800490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10072BB-2AE4-4997-9D39-E67D55CFCEA0}"/>
                </a:ext>
              </a:extLst>
            </p:cNvPr>
            <p:cNvSpPr/>
            <p:nvPr userDrawn="1"/>
          </p:nvSpPr>
          <p:spPr>
            <a:xfrm>
              <a:off x="11601157" y="-9525"/>
              <a:ext cx="600368" cy="800490"/>
            </a:xfrm>
            <a:custGeom>
              <a:avLst/>
              <a:gdLst>
                <a:gd name="connsiteX0" fmla="*/ 220672 w 442678"/>
                <a:gd name="connsiteY0" fmla="*/ 1219 h 590237"/>
                <a:gd name="connsiteX1" fmla="*/ 420228 w 442678"/>
                <a:gd name="connsiteY1" fmla="*/ 516 h 590237"/>
                <a:gd name="connsiteX2" fmla="*/ 443416 w 442678"/>
                <a:gd name="connsiteY2" fmla="*/ 23002 h 590237"/>
                <a:gd name="connsiteX3" fmla="*/ 443416 w 442678"/>
                <a:gd name="connsiteY3" fmla="*/ 420007 h 590237"/>
                <a:gd name="connsiteX4" fmla="*/ 419526 w 442678"/>
                <a:gd name="connsiteY4" fmla="*/ 443897 h 590237"/>
                <a:gd name="connsiteX5" fmla="*/ 304289 w 442678"/>
                <a:gd name="connsiteY5" fmla="*/ 443194 h 590237"/>
                <a:gd name="connsiteX6" fmla="*/ 274777 w 442678"/>
                <a:gd name="connsiteY6" fmla="*/ 453734 h 590237"/>
                <a:gd name="connsiteX7" fmla="*/ 275480 w 442678"/>
                <a:gd name="connsiteY7" fmla="*/ 481841 h 590237"/>
                <a:gd name="connsiteX8" fmla="*/ 302181 w 442678"/>
                <a:gd name="connsiteY8" fmla="*/ 536649 h 590237"/>
                <a:gd name="connsiteX9" fmla="*/ 244562 w 442678"/>
                <a:gd name="connsiteY9" fmla="*/ 589349 h 590237"/>
                <a:gd name="connsiteX10" fmla="*/ 147595 w 442678"/>
                <a:gd name="connsiteY10" fmla="*/ 552107 h 590237"/>
                <a:gd name="connsiteX11" fmla="*/ 160243 w 442678"/>
                <a:gd name="connsiteY11" fmla="*/ 487462 h 590237"/>
                <a:gd name="connsiteX12" fmla="*/ 175701 w 442678"/>
                <a:gd name="connsiteY12" fmla="*/ 464977 h 590237"/>
                <a:gd name="connsiteX13" fmla="*/ 144081 w 442678"/>
                <a:gd name="connsiteY13" fmla="*/ 443194 h 590237"/>
                <a:gd name="connsiteX14" fmla="*/ 23926 w 442678"/>
                <a:gd name="connsiteY14" fmla="*/ 443897 h 590237"/>
                <a:gd name="connsiteX15" fmla="*/ 35 w 442678"/>
                <a:gd name="connsiteY15" fmla="*/ 419304 h 590237"/>
                <a:gd name="connsiteX16" fmla="*/ 35 w 442678"/>
                <a:gd name="connsiteY16" fmla="*/ 301959 h 590237"/>
                <a:gd name="connsiteX17" fmla="*/ 25331 w 442678"/>
                <a:gd name="connsiteY17" fmla="*/ 256989 h 590237"/>
                <a:gd name="connsiteX18" fmla="*/ 54843 w 442678"/>
                <a:gd name="connsiteY18" fmla="*/ 259799 h 590237"/>
                <a:gd name="connsiteX19" fmla="*/ 129325 w 442678"/>
                <a:gd name="connsiteY19" fmla="*/ 273852 h 590237"/>
                <a:gd name="connsiteX20" fmla="*/ 132839 w 442678"/>
                <a:gd name="connsiteY20" fmla="*/ 174074 h 590237"/>
                <a:gd name="connsiteX21" fmla="*/ 63275 w 442678"/>
                <a:gd name="connsiteY21" fmla="*/ 172669 h 590237"/>
                <a:gd name="connsiteX22" fmla="*/ 36574 w 442678"/>
                <a:gd name="connsiteY22" fmla="*/ 190938 h 590237"/>
                <a:gd name="connsiteX23" fmla="*/ 2143 w 442678"/>
                <a:gd name="connsiteY23" fmla="*/ 155805 h 590237"/>
                <a:gd name="connsiteX24" fmla="*/ 738 w 442678"/>
                <a:gd name="connsiteY24" fmla="*/ 11056 h 590237"/>
                <a:gd name="connsiteX25" fmla="*/ 21115 w 442678"/>
                <a:gd name="connsiteY25" fmla="*/ 1219 h 590237"/>
                <a:gd name="connsiteX26" fmla="*/ 220672 w 442678"/>
                <a:gd name="connsiteY26" fmla="*/ 1219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42678" h="590237">
                  <a:moveTo>
                    <a:pt x="220672" y="1219"/>
                  </a:moveTo>
                  <a:cubicBezTo>
                    <a:pt x="287425" y="1219"/>
                    <a:pt x="354178" y="1922"/>
                    <a:pt x="420228" y="516"/>
                  </a:cubicBezTo>
                  <a:cubicBezTo>
                    <a:pt x="437795" y="516"/>
                    <a:pt x="443416" y="4732"/>
                    <a:pt x="443416" y="23002"/>
                  </a:cubicBezTo>
                  <a:cubicBezTo>
                    <a:pt x="442714" y="155102"/>
                    <a:pt x="442714" y="287906"/>
                    <a:pt x="443416" y="420007"/>
                  </a:cubicBezTo>
                  <a:cubicBezTo>
                    <a:pt x="443416" y="438978"/>
                    <a:pt x="438498" y="444600"/>
                    <a:pt x="419526" y="443897"/>
                  </a:cubicBezTo>
                  <a:cubicBezTo>
                    <a:pt x="381582" y="442492"/>
                    <a:pt x="342935" y="443194"/>
                    <a:pt x="304289" y="443194"/>
                  </a:cubicBezTo>
                  <a:cubicBezTo>
                    <a:pt x="293046" y="443194"/>
                    <a:pt x="283209" y="444600"/>
                    <a:pt x="274777" y="453734"/>
                  </a:cubicBezTo>
                  <a:cubicBezTo>
                    <a:pt x="264940" y="463572"/>
                    <a:pt x="261426" y="472004"/>
                    <a:pt x="275480" y="481841"/>
                  </a:cubicBezTo>
                  <a:cubicBezTo>
                    <a:pt x="294451" y="494489"/>
                    <a:pt x="310613" y="511353"/>
                    <a:pt x="302181" y="536649"/>
                  </a:cubicBezTo>
                  <a:cubicBezTo>
                    <a:pt x="293046" y="564053"/>
                    <a:pt x="274777" y="583025"/>
                    <a:pt x="244562" y="589349"/>
                  </a:cubicBezTo>
                  <a:cubicBezTo>
                    <a:pt x="200997" y="597781"/>
                    <a:pt x="167269" y="585133"/>
                    <a:pt x="147595" y="552107"/>
                  </a:cubicBezTo>
                  <a:cubicBezTo>
                    <a:pt x="132136" y="526811"/>
                    <a:pt x="136352" y="509948"/>
                    <a:pt x="160243" y="487462"/>
                  </a:cubicBezTo>
                  <a:cubicBezTo>
                    <a:pt x="167269" y="481138"/>
                    <a:pt x="181323" y="478328"/>
                    <a:pt x="175701" y="464977"/>
                  </a:cubicBezTo>
                  <a:cubicBezTo>
                    <a:pt x="170080" y="452329"/>
                    <a:pt x="159540" y="443194"/>
                    <a:pt x="144081" y="443194"/>
                  </a:cubicBezTo>
                  <a:cubicBezTo>
                    <a:pt x="104030" y="443194"/>
                    <a:pt x="63978" y="441789"/>
                    <a:pt x="23926" y="443897"/>
                  </a:cubicBezTo>
                  <a:cubicBezTo>
                    <a:pt x="4251" y="444600"/>
                    <a:pt x="35" y="438276"/>
                    <a:pt x="35" y="419304"/>
                  </a:cubicBezTo>
                  <a:cubicBezTo>
                    <a:pt x="1441" y="379955"/>
                    <a:pt x="738" y="340605"/>
                    <a:pt x="35" y="301959"/>
                  </a:cubicBezTo>
                  <a:cubicBezTo>
                    <a:pt x="-667" y="281582"/>
                    <a:pt x="9170" y="267528"/>
                    <a:pt x="25331" y="256989"/>
                  </a:cubicBezTo>
                  <a:cubicBezTo>
                    <a:pt x="35871" y="249962"/>
                    <a:pt x="45006" y="250665"/>
                    <a:pt x="54843" y="259799"/>
                  </a:cubicBezTo>
                  <a:cubicBezTo>
                    <a:pt x="94895" y="297743"/>
                    <a:pt x="103327" y="299148"/>
                    <a:pt x="129325" y="273852"/>
                  </a:cubicBezTo>
                  <a:cubicBezTo>
                    <a:pt x="153919" y="249259"/>
                    <a:pt x="156027" y="200073"/>
                    <a:pt x="132839" y="174074"/>
                  </a:cubicBezTo>
                  <a:cubicBezTo>
                    <a:pt x="107543" y="144562"/>
                    <a:pt x="87868" y="144562"/>
                    <a:pt x="63275" y="172669"/>
                  </a:cubicBezTo>
                  <a:cubicBezTo>
                    <a:pt x="56248" y="181101"/>
                    <a:pt x="50627" y="195154"/>
                    <a:pt x="36574" y="190938"/>
                  </a:cubicBezTo>
                  <a:cubicBezTo>
                    <a:pt x="19007" y="186019"/>
                    <a:pt x="2846" y="174074"/>
                    <a:pt x="2143" y="155805"/>
                  </a:cubicBezTo>
                  <a:cubicBezTo>
                    <a:pt x="-667" y="107321"/>
                    <a:pt x="738" y="58837"/>
                    <a:pt x="738" y="11056"/>
                  </a:cubicBezTo>
                  <a:cubicBezTo>
                    <a:pt x="738" y="-5105"/>
                    <a:pt x="13386" y="1219"/>
                    <a:pt x="21115" y="1219"/>
                  </a:cubicBezTo>
                  <a:cubicBezTo>
                    <a:pt x="87868" y="1219"/>
                    <a:pt x="153919" y="1219"/>
                    <a:pt x="220672" y="121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C8914A60-F2EA-4710-83DF-714904734F5E}"/>
                </a:ext>
              </a:extLst>
            </p:cNvPr>
            <p:cNvSpPr/>
            <p:nvPr userDrawn="1"/>
          </p:nvSpPr>
          <p:spPr>
            <a:xfrm>
              <a:off x="10992752" y="-9525"/>
              <a:ext cx="800490" cy="600368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C8CAF85-8529-4F74-A5BD-8571014A6E8D}"/>
                </a:ext>
              </a:extLst>
            </p:cNvPr>
            <p:cNvSpPr/>
            <p:nvPr userDrawn="1"/>
          </p:nvSpPr>
          <p:spPr>
            <a:xfrm>
              <a:off x="10197806" y="580875"/>
              <a:ext cx="1000612" cy="600368"/>
            </a:xfrm>
            <a:custGeom>
              <a:avLst/>
              <a:gdLst>
                <a:gd name="connsiteX0" fmla="*/ 370725 w 737797"/>
                <a:gd name="connsiteY0" fmla="*/ 441321 h 442678"/>
                <a:gd name="connsiteX1" fmla="*/ 178898 w 737797"/>
                <a:gd name="connsiteY1" fmla="*/ 442023 h 442678"/>
                <a:gd name="connsiteX2" fmla="*/ 148684 w 737797"/>
                <a:gd name="connsiteY2" fmla="*/ 413214 h 442678"/>
                <a:gd name="connsiteX3" fmla="*/ 149386 w 737797"/>
                <a:gd name="connsiteY3" fmla="*/ 303599 h 442678"/>
                <a:gd name="connsiteX4" fmla="*/ 138846 w 737797"/>
                <a:gd name="connsiteY4" fmla="*/ 274087 h 442678"/>
                <a:gd name="connsiteX5" fmla="*/ 110037 w 737797"/>
                <a:gd name="connsiteY5" fmla="*/ 274790 h 442678"/>
                <a:gd name="connsiteX6" fmla="*/ 55230 w 737797"/>
                <a:gd name="connsiteY6" fmla="*/ 301491 h 442678"/>
                <a:gd name="connsiteX7" fmla="*/ 2530 w 737797"/>
                <a:gd name="connsiteY7" fmla="*/ 243872 h 442678"/>
                <a:gd name="connsiteX8" fmla="*/ 40473 w 737797"/>
                <a:gd name="connsiteY8" fmla="*/ 146905 h 442678"/>
                <a:gd name="connsiteX9" fmla="*/ 105119 w 737797"/>
                <a:gd name="connsiteY9" fmla="*/ 160255 h 442678"/>
                <a:gd name="connsiteX10" fmla="*/ 127604 w 737797"/>
                <a:gd name="connsiteY10" fmla="*/ 175714 h 442678"/>
                <a:gd name="connsiteX11" fmla="*/ 149386 w 737797"/>
                <a:gd name="connsiteY11" fmla="*/ 143391 h 442678"/>
                <a:gd name="connsiteX12" fmla="*/ 148684 w 737797"/>
                <a:gd name="connsiteY12" fmla="*/ 23236 h 442678"/>
                <a:gd name="connsiteX13" fmla="*/ 170466 w 737797"/>
                <a:gd name="connsiteY13" fmla="*/ 48 h 442678"/>
                <a:gd name="connsiteX14" fmla="*/ 290622 w 737797"/>
                <a:gd name="connsiteY14" fmla="*/ 751 h 442678"/>
                <a:gd name="connsiteX15" fmla="*/ 330673 w 737797"/>
                <a:gd name="connsiteY15" fmla="*/ 19722 h 442678"/>
                <a:gd name="connsiteX16" fmla="*/ 327160 w 737797"/>
                <a:gd name="connsiteY16" fmla="*/ 59072 h 442678"/>
                <a:gd name="connsiteX17" fmla="*/ 301864 w 737797"/>
                <a:gd name="connsiteY17" fmla="*/ 105447 h 442678"/>
                <a:gd name="connsiteX18" fmla="*/ 357375 w 737797"/>
                <a:gd name="connsiteY18" fmla="*/ 148310 h 442678"/>
                <a:gd name="connsiteX19" fmla="*/ 419209 w 737797"/>
                <a:gd name="connsiteY19" fmla="*/ 132851 h 442678"/>
                <a:gd name="connsiteX20" fmla="*/ 419209 w 737797"/>
                <a:gd name="connsiteY20" fmla="*/ 63287 h 442678"/>
                <a:gd name="connsiteX21" fmla="*/ 401643 w 737797"/>
                <a:gd name="connsiteY21" fmla="*/ 35884 h 442678"/>
                <a:gd name="connsiteX22" fmla="*/ 437478 w 737797"/>
                <a:gd name="connsiteY22" fmla="*/ 2156 h 442678"/>
                <a:gd name="connsiteX23" fmla="*/ 582228 w 737797"/>
                <a:gd name="connsiteY23" fmla="*/ 751 h 442678"/>
                <a:gd name="connsiteX24" fmla="*/ 591362 w 737797"/>
                <a:gd name="connsiteY24" fmla="*/ 19020 h 442678"/>
                <a:gd name="connsiteX25" fmla="*/ 591362 w 737797"/>
                <a:gd name="connsiteY25" fmla="*/ 134257 h 442678"/>
                <a:gd name="connsiteX26" fmla="*/ 596983 w 737797"/>
                <a:gd name="connsiteY26" fmla="*/ 160255 h 442678"/>
                <a:gd name="connsiteX27" fmla="*/ 634224 w 737797"/>
                <a:gd name="connsiteY27" fmla="*/ 164471 h 442678"/>
                <a:gd name="connsiteX28" fmla="*/ 722760 w 737797"/>
                <a:gd name="connsiteY28" fmla="*/ 165174 h 442678"/>
                <a:gd name="connsiteX29" fmla="*/ 695356 w 737797"/>
                <a:gd name="connsiteY29" fmla="*/ 298680 h 442678"/>
                <a:gd name="connsiteX30" fmla="*/ 637035 w 737797"/>
                <a:gd name="connsiteY30" fmla="*/ 283221 h 442678"/>
                <a:gd name="connsiteX31" fmla="*/ 613144 w 737797"/>
                <a:gd name="connsiteY31" fmla="*/ 267060 h 442678"/>
                <a:gd name="connsiteX32" fmla="*/ 591362 w 737797"/>
                <a:gd name="connsiteY32" fmla="*/ 302193 h 442678"/>
                <a:gd name="connsiteX33" fmla="*/ 592065 w 737797"/>
                <a:gd name="connsiteY33" fmla="*/ 420241 h 442678"/>
                <a:gd name="connsiteX34" fmla="*/ 570282 w 737797"/>
                <a:gd name="connsiteY34" fmla="*/ 442726 h 442678"/>
                <a:gd name="connsiteX35" fmla="*/ 370725 w 737797"/>
                <a:gd name="connsiteY35" fmla="*/ 441321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37797" h="442678">
                  <a:moveTo>
                    <a:pt x="370725" y="441321"/>
                  </a:moveTo>
                  <a:cubicBezTo>
                    <a:pt x="306783" y="441321"/>
                    <a:pt x="242840" y="440618"/>
                    <a:pt x="178898" y="442023"/>
                  </a:cubicBezTo>
                  <a:cubicBezTo>
                    <a:pt x="155710" y="442726"/>
                    <a:pt x="146576" y="438510"/>
                    <a:pt x="148684" y="413214"/>
                  </a:cubicBezTo>
                  <a:cubicBezTo>
                    <a:pt x="151494" y="376676"/>
                    <a:pt x="149386" y="340137"/>
                    <a:pt x="149386" y="303599"/>
                  </a:cubicBezTo>
                  <a:cubicBezTo>
                    <a:pt x="149386" y="292356"/>
                    <a:pt x="147981" y="282519"/>
                    <a:pt x="138846" y="274087"/>
                  </a:cubicBezTo>
                  <a:cubicBezTo>
                    <a:pt x="128306" y="264250"/>
                    <a:pt x="119874" y="260736"/>
                    <a:pt x="110037" y="274790"/>
                  </a:cubicBezTo>
                  <a:cubicBezTo>
                    <a:pt x="96686" y="293761"/>
                    <a:pt x="79823" y="309923"/>
                    <a:pt x="55230" y="301491"/>
                  </a:cubicBezTo>
                  <a:cubicBezTo>
                    <a:pt x="28528" y="292356"/>
                    <a:pt x="8853" y="274087"/>
                    <a:pt x="2530" y="243872"/>
                  </a:cubicBezTo>
                  <a:cubicBezTo>
                    <a:pt x="-5902" y="201010"/>
                    <a:pt x="6746" y="166579"/>
                    <a:pt x="40473" y="146905"/>
                  </a:cubicBezTo>
                  <a:cubicBezTo>
                    <a:pt x="65067" y="132148"/>
                    <a:pt x="82633" y="136365"/>
                    <a:pt x="105119" y="160255"/>
                  </a:cubicBezTo>
                  <a:cubicBezTo>
                    <a:pt x="111443" y="167282"/>
                    <a:pt x="114956" y="181335"/>
                    <a:pt x="127604" y="175714"/>
                  </a:cubicBezTo>
                  <a:cubicBezTo>
                    <a:pt x="140252" y="170092"/>
                    <a:pt x="149386" y="159552"/>
                    <a:pt x="149386" y="143391"/>
                  </a:cubicBezTo>
                  <a:cubicBezTo>
                    <a:pt x="149386" y="103339"/>
                    <a:pt x="150089" y="63287"/>
                    <a:pt x="148684" y="23236"/>
                  </a:cubicBezTo>
                  <a:cubicBezTo>
                    <a:pt x="147981" y="6372"/>
                    <a:pt x="150792" y="-655"/>
                    <a:pt x="170466" y="48"/>
                  </a:cubicBezTo>
                  <a:cubicBezTo>
                    <a:pt x="210518" y="2156"/>
                    <a:pt x="250570" y="751"/>
                    <a:pt x="290622" y="751"/>
                  </a:cubicBezTo>
                  <a:cubicBezTo>
                    <a:pt x="307486" y="751"/>
                    <a:pt x="320836" y="7074"/>
                    <a:pt x="330673" y="19722"/>
                  </a:cubicBezTo>
                  <a:cubicBezTo>
                    <a:pt x="341916" y="33775"/>
                    <a:pt x="344024" y="46424"/>
                    <a:pt x="327160" y="59072"/>
                  </a:cubicBezTo>
                  <a:cubicBezTo>
                    <a:pt x="312404" y="70314"/>
                    <a:pt x="292730" y="82259"/>
                    <a:pt x="301864" y="105447"/>
                  </a:cubicBezTo>
                  <a:cubicBezTo>
                    <a:pt x="311702" y="129338"/>
                    <a:pt x="329268" y="146202"/>
                    <a:pt x="357375" y="148310"/>
                  </a:cubicBezTo>
                  <a:cubicBezTo>
                    <a:pt x="379860" y="150418"/>
                    <a:pt x="400940" y="149013"/>
                    <a:pt x="419209" y="132851"/>
                  </a:cubicBezTo>
                  <a:cubicBezTo>
                    <a:pt x="448018" y="106150"/>
                    <a:pt x="448018" y="89286"/>
                    <a:pt x="419209" y="63287"/>
                  </a:cubicBezTo>
                  <a:cubicBezTo>
                    <a:pt x="410777" y="56261"/>
                    <a:pt x="396724" y="50640"/>
                    <a:pt x="401643" y="35884"/>
                  </a:cubicBezTo>
                  <a:cubicBezTo>
                    <a:pt x="407264" y="19020"/>
                    <a:pt x="418506" y="2859"/>
                    <a:pt x="437478" y="2156"/>
                  </a:cubicBezTo>
                  <a:cubicBezTo>
                    <a:pt x="485962" y="48"/>
                    <a:pt x="534446" y="751"/>
                    <a:pt x="582228" y="751"/>
                  </a:cubicBezTo>
                  <a:cubicBezTo>
                    <a:pt x="596983" y="751"/>
                    <a:pt x="591362" y="11993"/>
                    <a:pt x="591362" y="19020"/>
                  </a:cubicBezTo>
                  <a:cubicBezTo>
                    <a:pt x="592065" y="57666"/>
                    <a:pt x="591362" y="95610"/>
                    <a:pt x="591362" y="134257"/>
                  </a:cubicBezTo>
                  <a:cubicBezTo>
                    <a:pt x="591362" y="143391"/>
                    <a:pt x="592065" y="152526"/>
                    <a:pt x="596983" y="160255"/>
                  </a:cubicBezTo>
                  <a:cubicBezTo>
                    <a:pt x="608929" y="179930"/>
                    <a:pt x="618766" y="180632"/>
                    <a:pt x="634224" y="164471"/>
                  </a:cubicBezTo>
                  <a:cubicBezTo>
                    <a:pt x="665142" y="130041"/>
                    <a:pt x="692545" y="130743"/>
                    <a:pt x="722760" y="165174"/>
                  </a:cubicBezTo>
                  <a:cubicBezTo>
                    <a:pt x="758596" y="205928"/>
                    <a:pt x="743840" y="274790"/>
                    <a:pt x="695356" y="298680"/>
                  </a:cubicBezTo>
                  <a:cubicBezTo>
                    <a:pt x="671465" y="310625"/>
                    <a:pt x="653899" y="300788"/>
                    <a:pt x="637035" y="283221"/>
                  </a:cubicBezTo>
                  <a:cubicBezTo>
                    <a:pt x="630711" y="276195"/>
                    <a:pt x="627901" y="260033"/>
                    <a:pt x="613144" y="267060"/>
                  </a:cubicBezTo>
                  <a:cubicBezTo>
                    <a:pt x="599794" y="273384"/>
                    <a:pt x="591362" y="285330"/>
                    <a:pt x="591362" y="302193"/>
                  </a:cubicBezTo>
                  <a:cubicBezTo>
                    <a:pt x="591362" y="341543"/>
                    <a:pt x="590659" y="380892"/>
                    <a:pt x="592065" y="420241"/>
                  </a:cubicBezTo>
                  <a:cubicBezTo>
                    <a:pt x="592767" y="437807"/>
                    <a:pt x="588551" y="443429"/>
                    <a:pt x="570282" y="442726"/>
                  </a:cubicBezTo>
                  <a:cubicBezTo>
                    <a:pt x="504232" y="440618"/>
                    <a:pt x="437478" y="441321"/>
                    <a:pt x="370725" y="44132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E5DC3C8-30D8-483C-B4B2-0A4DD3A8915E}"/>
                </a:ext>
              </a:extLst>
            </p:cNvPr>
            <p:cNvSpPr/>
            <p:nvPr userDrawn="1"/>
          </p:nvSpPr>
          <p:spPr>
            <a:xfrm>
              <a:off x="10998829" y="380752"/>
              <a:ext cx="600368" cy="800490"/>
            </a:xfrm>
            <a:custGeom>
              <a:avLst/>
              <a:gdLst>
                <a:gd name="connsiteX0" fmla="*/ 222808 w 442678"/>
                <a:gd name="connsiteY0" fmla="*/ 592910 h 590237"/>
                <a:gd name="connsiteX1" fmla="*/ 22549 w 442678"/>
                <a:gd name="connsiteY1" fmla="*/ 593613 h 590237"/>
                <a:gd name="connsiteX2" fmla="*/ 64 w 442678"/>
                <a:gd name="connsiteY2" fmla="*/ 570425 h 590237"/>
                <a:gd name="connsiteX3" fmla="*/ 64 w 442678"/>
                <a:gd name="connsiteY3" fmla="*/ 457998 h 590237"/>
                <a:gd name="connsiteX4" fmla="*/ 15523 w 442678"/>
                <a:gd name="connsiteY4" fmla="*/ 415839 h 590237"/>
                <a:gd name="connsiteX5" fmla="*/ 62601 w 442678"/>
                <a:gd name="connsiteY5" fmla="*/ 417947 h 590237"/>
                <a:gd name="connsiteX6" fmla="*/ 104761 w 442678"/>
                <a:gd name="connsiteY6" fmla="*/ 440432 h 590237"/>
                <a:gd name="connsiteX7" fmla="*/ 147624 w 442678"/>
                <a:gd name="connsiteY7" fmla="*/ 391245 h 590237"/>
                <a:gd name="connsiteX8" fmla="*/ 127246 w 442678"/>
                <a:gd name="connsiteY8" fmla="*/ 316061 h 590237"/>
                <a:gd name="connsiteX9" fmla="*/ 66817 w 442678"/>
                <a:gd name="connsiteY9" fmla="*/ 319574 h 590237"/>
                <a:gd name="connsiteX10" fmla="*/ 35900 w 442678"/>
                <a:gd name="connsiteY10" fmla="*/ 339249 h 590237"/>
                <a:gd name="connsiteX11" fmla="*/ 1469 w 442678"/>
                <a:gd name="connsiteY11" fmla="*/ 297791 h 590237"/>
                <a:gd name="connsiteX12" fmla="*/ 767 w 442678"/>
                <a:gd name="connsiteY12" fmla="*/ 163583 h 590237"/>
                <a:gd name="connsiteX13" fmla="*/ 19036 w 442678"/>
                <a:gd name="connsiteY13" fmla="*/ 150934 h 590237"/>
                <a:gd name="connsiteX14" fmla="*/ 137084 w 442678"/>
                <a:gd name="connsiteY14" fmla="*/ 150934 h 590237"/>
                <a:gd name="connsiteX15" fmla="*/ 165190 w 442678"/>
                <a:gd name="connsiteY15" fmla="*/ 143205 h 590237"/>
                <a:gd name="connsiteX16" fmla="*/ 166595 w 442678"/>
                <a:gd name="connsiteY16" fmla="*/ 107369 h 590237"/>
                <a:gd name="connsiteX17" fmla="*/ 163785 w 442678"/>
                <a:gd name="connsiteY17" fmla="*/ 22347 h 590237"/>
                <a:gd name="connsiteX18" fmla="*/ 290967 w 442678"/>
                <a:gd name="connsiteY18" fmla="*/ 30779 h 590237"/>
                <a:gd name="connsiteX19" fmla="*/ 286048 w 442678"/>
                <a:gd name="connsiteY19" fmla="*/ 104559 h 590237"/>
                <a:gd name="connsiteX20" fmla="*/ 270590 w 442678"/>
                <a:gd name="connsiteY20" fmla="*/ 129152 h 590237"/>
                <a:gd name="connsiteX21" fmla="*/ 303615 w 442678"/>
                <a:gd name="connsiteY21" fmla="*/ 150232 h 590237"/>
                <a:gd name="connsiteX22" fmla="*/ 421662 w 442678"/>
                <a:gd name="connsiteY22" fmla="*/ 149529 h 590237"/>
                <a:gd name="connsiteX23" fmla="*/ 446256 w 442678"/>
                <a:gd name="connsiteY23" fmla="*/ 175528 h 590237"/>
                <a:gd name="connsiteX24" fmla="*/ 446256 w 442678"/>
                <a:gd name="connsiteY24" fmla="*/ 287954 h 590237"/>
                <a:gd name="connsiteX25" fmla="*/ 428689 w 442678"/>
                <a:gd name="connsiteY25" fmla="*/ 329411 h 590237"/>
                <a:gd name="connsiteX26" fmla="*/ 385827 w 442678"/>
                <a:gd name="connsiteY26" fmla="*/ 327303 h 590237"/>
                <a:gd name="connsiteX27" fmla="*/ 342261 w 442678"/>
                <a:gd name="connsiteY27" fmla="*/ 303412 h 590237"/>
                <a:gd name="connsiteX28" fmla="*/ 298696 w 442678"/>
                <a:gd name="connsiteY28" fmla="*/ 357518 h 590237"/>
                <a:gd name="connsiteX29" fmla="*/ 318371 w 442678"/>
                <a:gd name="connsiteY29" fmla="*/ 425676 h 590237"/>
                <a:gd name="connsiteX30" fmla="*/ 380908 w 442678"/>
                <a:gd name="connsiteY30" fmla="*/ 422865 h 590237"/>
                <a:gd name="connsiteX31" fmla="*/ 415338 w 442678"/>
                <a:gd name="connsiteY31" fmla="*/ 404596 h 590237"/>
                <a:gd name="connsiteX32" fmla="*/ 446256 w 442678"/>
                <a:gd name="connsiteY32" fmla="*/ 446054 h 590237"/>
                <a:gd name="connsiteX33" fmla="*/ 446958 w 442678"/>
                <a:gd name="connsiteY33" fmla="*/ 577451 h 590237"/>
                <a:gd name="connsiteX34" fmla="*/ 425878 w 442678"/>
                <a:gd name="connsiteY34" fmla="*/ 592910 h 590237"/>
                <a:gd name="connsiteX35" fmla="*/ 222808 w 442678"/>
                <a:gd name="connsiteY35" fmla="*/ 59291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222808" y="592910"/>
                  </a:moveTo>
                  <a:cubicBezTo>
                    <a:pt x="156055" y="592910"/>
                    <a:pt x="89302" y="592208"/>
                    <a:pt x="22549" y="593613"/>
                  </a:cubicBezTo>
                  <a:cubicBezTo>
                    <a:pt x="4280" y="593613"/>
                    <a:pt x="-639" y="588694"/>
                    <a:pt x="64" y="570425"/>
                  </a:cubicBezTo>
                  <a:cubicBezTo>
                    <a:pt x="1469" y="533184"/>
                    <a:pt x="767" y="495240"/>
                    <a:pt x="64" y="457998"/>
                  </a:cubicBezTo>
                  <a:cubicBezTo>
                    <a:pt x="64" y="441837"/>
                    <a:pt x="3577" y="427784"/>
                    <a:pt x="15523" y="415839"/>
                  </a:cubicBezTo>
                  <a:cubicBezTo>
                    <a:pt x="33792" y="397570"/>
                    <a:pt x="45035" y="397570"/>
                    <a:pt x="62601" y="417947"/>
                  </a:cubicBezTo>
                  <a:cubicBezTo>
                    <a:pt x="73844" y="431297"/>
                    <a:pt x="85086" y="448161"/>
                    <a:pt x="104761" y="440432"/>
                  </a:cubicBezTo>
                  <a:cubicBezTo>
                    <a:pt x="126544" y="432000"/>
                    <a:pt x="144813" y="417244"/>
                    <a:pt x="147624" y="391245"/>
                  </a:cubicBezTo>
                  <a:cubicBezTo>
                    <a:pt x="150434" y="363842"/>
                    <a:pt x="152542" y="336438"/>
                    <a:pt x="127246" y="316061"/>
                  </a:cubicBezTo>
                  <a:cubicBezTo>
                    <a:pt x="102653" y="295683"/>
                    <a:pt x="87897" y="296386"/>
                    <a:pt x="66817" y="319574"/>
                  </a:cubicBezTo>
                  <a:cubicBezTo>
                    <a:pt x="58385" y="328709"/>
                    <a:pt x="54169" y="345572"/>
                    <a:pt x="35900" y="339249"/>
                  </a:cubicBezTo>
                  <a:cubicBezTo>
                    <a:pt x="15523" y="332222"/>
                    <a:pt x="2172" y="318169"/>
                    <a:pt x="1469" y="297791"/>
                  </a:cubicBezTo>
                  <a:cubicBezTo>
                    <a:pt x="-639" y="252821"/>
                    <a:pt x="1469" y="208553"/>
                    <a:pt x="767" y="163583"/>
                  </a:cubicBezTo>
                  <a:cubicBezTo>
                    <a:pt x="767" y="148827"/>
                    <a:pt x="9901" y="150934"/>
                    <a:pt x="19036" y="150934"/>
                  </a:cubicBezTo>
                  <a:cubicBezTo>
                    <a:pt x="58385" y="150934"/>
                    <a:pt x="97734" y="150934"/>
                    <a:pt x="137084" y="150934"/>
                  </a:cubicBezTo>
                  <a:cubicBezTo>
                    <a:pt x="147624" y="150934"/>
                    <a:pt x="157461" y="150232"/>
                    <a:pt x="165190" y="143205"/>
                  </a:cubicBezTo>
                  <a:cubicBezTo>
                    <a:pt x="178541" y="131963"/>
                    <a:pt x="185567" y="122828"/>
                    <a:pt x="166595" y="107369"/>
                  </a:cubicBezTo>
                  <a:cubicBezTo>
                    <a:pt x="132165" y="80668"/>
                    <a:pt x="132165" y="53264"/>
                    <a:pt x="163785" y="22347"/>
                  </a:cubicBezTo>
                  <a:cubicBezTo>
                    <a:pt x="197513" y="-10678"/>
                    <a:pt x="260752" y="-6462"/>
                    <a:pt x="290967" y="30779"/>
                  </a:cubicBezTo>
                  <a:cubicBezTo>
                    <a:pt x="314155" y="58885"/>
                    <a:pt x="312047" y="79263"/>
                    <a:pt x="286048" y="104559"/>
                  </a:cubicBezTo>
                  <a:cubicBezTo>
                    <a:pt x="279022" y="111585"/>
                    <a:pt x="263563" y="115099"/>
                    <a:pt x="270590" y="129152"/>
                  </a:cubicBezTo>
                  <a:cubicBezTo>
                    <a:pt x="276914" y="141800"/>
                    <a:pt x="288156" y="150232"/>
                    <a:pt x="303615" y="150232"/>
                  </a:cubicBezTo>
                  <a:cubicBezTo>
                    <a:pt x="342964" y="150232"/>
                    <a:pt x="382313" y="151637"/>
                    <a:pt x="421662" y="149529"/>
                  </a:cubicBezTo>
                  <a:cubicBezTo>
                    <a:pt x="443445" y="148124"/>
                    <a:pt x="446958" y="155853"/>
                    <a:pt x="446256" y="175528"/>
                  </a:cubicBezTo>
                  <a:cubicBezTo>
                    <a:pt x="444850" y="212769"/>
                    <a:pt x="445553" y="250713"/>
                    <a:pt x="446256" y="287954"/>
                  </a:cubicBezTo>
                  <a:cubicBezTo>
                    <a:pt x="446256" y="304818"/>
                    <a:pt x="441337" y="318169"/>
                    <a:pt x="428689" y="329411"/>
                  </a:cubicBezTo>
                  <a:cubicBezTo>
                    <a:pt x="413933" y="342059"/>
                    <a:pt x="399880" y="346275"/>
                    <a:pt x="385827" y="327303"/>
                  </a:cubicBezTo>
                  <a:cubicBezTo>
                    <a:pt x="375287" y="313250"/>
                    <a:pt x="364044" y="295683"/>
                    <a:pt x="342261" y="303412"/>
                  </a:cubicBezTo>
                  <a:cubicBezTo>
                    <a:pt x="316965" y="312547"/>
                    <a:pt x="300804" y="330114"/>
                    <a:pt x="298696" y="357518"/>
                  </a:cubicBezTo>
                  <a:cubicBezTo>
                    <a:pt x="296588" y="382814"/>
                    <a:pt x="297994" y="406704"/>
                    <a:pt x="318371" y="425676"/>
                  </a:cubicBezTo>
                  <a:cubicBezTo>
                    <a:pt x="342964" y="448161"/>
                    <a:pt x="358423" y="447459"/>
                    <a:pt x="380908" y="422865"/>
                  </a:cubicBezTo>
                  <a:cubicBezTo>
                    <a:pt x="390043" y="412325"/>
                    <a:pt x="397069" y="395462"/>
                    <a:pt x="415338" y="404596"/>
                  </a:cubicBezTo>
                  <a:cubicBezTo>
                    <a:pt x="432202" y="413028"/>
                    <a:pt x="445553" y="425676"/>
                    <a:pt x="446256" y="446054"/>
                  </a:cubicBezTo>
                  <a:cubicBezTo>
                    <a:pt x="446958" y="489618"/>
                    <a:pt x="445553" y="533887"/>
                    <a:pt x="446958" y="577451"/>
                  </a:cubicBezTo>
                  <a:cubicBezTo>
                    <a:pt x="447661" y="595721"/>
                    <a:pt x="436418" y="592910"/>
                    <a:pt x="425878" y="592910"/>
                  </a:cubicBezTo>
                  <a:cubicBezTo>
                    <a:pt x="355612" y="592910"/>
                    <a:pt x="288859" y="592910"/>
                    <a:pt x="222808" y="59291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93CFB43-8838-4F8C-8ECD-EE2A906CE515}"/>
                </a:ext>
              </a:extLst>
            </p:cNvPr>
            <p:cNvSpPr/>
            <p:nvPr userDrawn="1"/>
          </p:nvSpPr>
          <p:spPr>
            <a:xfrm>
              <a:off x="11401036" y="580875"/>
              <a:ext cx="800489" cy="600367"/>
            </a:xfrm>
            <a:custGeom>
              <a:avLst/>
              <a:gdLst>
                <a:gd name="connsiteX0" fmla="*/ 591733 w 590237"/>
                <a:gd name="connsiteY0" fmla="*/ 225014 h 442678"/>
                <a:gd name="connsiteX1" fmla="*/ 592436 w 590237"/>
                <a:gd name="connsiteY1" fmla="*/ 425273 h 442678"/>
                <a:gd name="connsiteX2" fmla="*/ 572761 w 590237"/>
                <a:gd name="connsiteY2" fmla="*/ 444948 h 442678"/>
                <a:gd name="connsiteX3" fmla="*/ 170135 w 590237"/>
                <a:gd name="connsiteY3" fmla="*/ 444948 h 442678"/>
                <a:gd name="connsiteX4" fmla="*/ 149758 w 590237"/>
                <a:gd name="connsiteY4" fmla="*/ 423165 h 442678"/>
                <a:gd name="connsiteX5" fmla="*/ 150460 w 590237"/>
                <a:gd name="connsiteY5" fmla="*/ 313549 h 442678"/>
                <a:gd name="connsiteX6" fmla="*/ 145542 w 590237"/>
                <a:gd name="connsiteY6" fmla="*/ 284038 h 442678"/>
                <a:gd name="connsiteX7" fmla="*/ 108300 w 590237"/>
                <a:gd name="connsiteY7" fmla="*/ 279822 h 442678"/>
                <a:gd name="connsiteX8" fmla="*/ 21170 w 590237"/>
                <a:gd name="connsiteY8" fmla="*/ 281227 h 442678"/>
                <a:gd name="connsiteX9" fmla="*/ 42953 w 590237"/>
                <a:gd name="connsiteY9" fmla="*/ 147018 h 442678"/>
                <a:gd name="connsiteX10" fmla="*/ 103382 w 590237"/>
                <a:gd name="connsiteY10" fmla="*/ 160369 h 442678"/>
                <a:gd name="connsiteX11" fmla="*/ 127272 w 590237"/>
                <a:gd name="connsiteY11" fmla="*/ 177233 h 442678"/>
                <a:gd name="connsiteX12" fmla="*/ 149758 w 590237"/>
                <a:gd name="connsiteY12" fmla="*/ 142802 h 442678"/>
                <a:gd name="connsiteX13" fmla="*/ 149758 w 590237"/>
                <a:gd name="connsiteY13" fmla="*/ 24755 h 442678"/>
                <a:gd name="connsiteX14" fmla="*/ 172946 w 590237"/>
                <a:gd name="connsiteY14" fmla="*/ 162 h 442678"/>
                <a:gd name="connsiteX15" fmla="*/ 288182 w 590237"/>
                <a:gd name="connsiteY15" fmla="*/ 864 h 442678"/>
                <a:gd name="connsiteX16" fmla="*/ 328937 w 590237"/>
                <a:gd name="connsiteY16" fmla="*/ 19134 h 442678"/>
                <a:gd name="connsiteX17" fmla="*/ 326126 w 590237"/>
                <a:gd name="connsiteY17" fmla="*/ 62699 h 442678"/>
                <a:gd name="connsiteX18" fmla="*/ 302938 w 590237"/>
                <a:gd name="connsiteY18" fmla="*/ 106967 h 442678"/>
                <a:gd name="connsiteX19" fmla="*/ 357746 w 590237"/>
                <a:gd name="connsiteY19" fmla="*/ 149829 h 442678"/>
                <a:gd name="connsiteX20" fmla="*/ 432228 w 590237"/>
                <a:gd name="connsiteY20" fmla="*/ 121020 h 442678"/>
                <a:gd name="connsiteX21" fmla="*/ 423797 w 590237"/>
                <a:gd name="connsiteY21" fmla="*/ 69023 h 442678"/>
                <a:gd name="connsiteX22" fmla="*/ 402717 w 590237"/>
                <a:gd name="connsiteY22" fmla="*/ 35997 h 442678"/>
                <a:gd name="connsiteX23" fmla="*/ 444877 w 590237"/>
                <a:gd name="connsiteY23" fmla="*/ 2269 h 442678"/>
                <a:gd name="connsiteX24" fmla="*/ 579085 w 590237"/>
                <a:gd name="connsiteY24" fmla="*/ 1567 h 442678"/>
                <a:gd name="connsiteX25" fmla="*/ 591031 w 590237"/>
                <a:gd name="connsiteY25" fmla="*/ 19836 h 442678"/>
                <a:gd name="connsiteX26" fmla="*/ 591733 w 590237"/>
                <a:gd name="connsiteY26" fmla="*/ 225014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0237" h="442678">
                  <a:moveTo>
                    <a:pt x="591733" y="225014"/>
                  </a:moveTo>
                  <a:cubicBezTo>
                    <a:pt x="591733" y="291767"/>
                    <a:pt x="591031" y="358520"/>
                    <a:pt x="592436" y="425273"/>
                  </a:cubicBezTo>
                  <a:cubicBezTo>
                    <a:pt x="592436" y="440732"/>
                    <a:pt x="588923" y="444948"/>
                    <a:pt x="572761" y="444948"/>
                  </a:cubicBezTo>
                  <a:cubicBezTo>
                    <a:pt x="438552" y="444245"/>
                    <a:pt x="304344" y="444245"/>
                    <a:pt x="170135" y="444948"/>
                  </a:cubicBezTo>
                  <a:cubicBezTo>
                    <a:pt x="151866" y="444948"/>
                    <a:pt x="149758" y="438624"/>
                    <a:pt x="149758" y="423165"/>
                  </a:cubicBezTo>
                  <a:cubicBezTo>
                    <a:pt x="150460" y="386627"/>
                    <a:pt x="149758" y="350088"/>
                    <a:pt x="150460" y="313549"/>
                  </a:cubicBezTo>
                  <a:cubicBezTo>
                    <a:pt x="150460" y="303712"/>
                    <a:pt x="150460" y="293172"/>
                    <a:pt x="145542" y="284038"/>
                  </a:cubicBezTo>
                  <a:cubicBezTo>
                    <a:pt x="135002" y="265066"/>
                    <a:pt x="122354" y="263661"/>
                    <a:pt x="108300" y="279822"/>
                  </a:cubicBezTo>
                  <a:cubicBezTo>
                    <a:pt x="78086" y="314252"/>
                    <a:pt x="52087" y="314955"/>
                    <a:pt x="21170" y="281227"/>
                  </a:cubicBezTo>
                  <a:cubicBezTo>
                    <a:pt x="-14666" y="242581"/>
                    <a:pt x="-3423" y="172314"/>
                    <a:pt x="42953" y="147018"/>
                  </a:cubicBezTo>
                  <a:cubicBezTo>
                    <a:pt x="67546" y="133668"/>
                    <a:pt x="85815" y="141397"/>
                    <a:pt x="103382" y="160369"/>
                  </a:cubicBezTo>
                  <a:cubicBezTo>
                    <a:pt x="109706" y="167395"/>
                    <a:pt x="113219" y="182854"/>
                    <a:pt x="127272" y="177233"/>
                  </a:cubicBezTo>
                  <a:cubicBezTo>
                    <a:pt x="142028" y="171612"/>
                    <a:pt x="149758" y="158963"/>
                    <a:pt x="149758" y="142802"/>
                  </a:cubicBezTo>
                  <a:cubicBezTo>
                    <a:pt x="149758" y="103453"/>
                    <a:pt x="150460" y="64104"/>
                    <a:pt x="149758" y="24755"/>
                  </a:cubicBezTo>
                  <a:cubicBezTo>
                    <a:pt x="149055" y="6486"/>
                    <a:pt x="152568" y="-1244"/>
                    <a:pt x="172946" y="162"/>
                  </a:cubicBezTo>
                  <a:cubicBezTo>
                    <a:pt x="210889" y="2269"/>
                    <a:pt x="249536" y="864"/>
                    <a:pt x="288182" y="864"/>
                  </a:cubicBezTo>
                  <a:cubicBezTo>
                    <a:pt x="305046" y="864"/>
                    <a:pt x="318397" y="6486"/>
                    <a:pt x="328937" y="19134"/>
                  </a:cubicBezTo>
                  <a:cubicBezTo>
                    <a:pt x="342990" y="34592"/>
                    <a:pt x="345098" y="48646"/>
                    <a:pt x="326126" y="62699"/>
                  </a:cubicBezTo>
                  <a:cubicBezTo>
                    <a:pt x="312073" y="73239"/>
                    <a:pt x="293804" y="85184"/>
                    <a:pt x="302938" y="106967"/>
                  </a:cubicBezTo>
                  <a:cubicBezTo>
                    <a:pt x="312775" y="130857"/>
                    <a:pt x="328937" y="147721"/>
                    <a:pt x="357746" y="149829"/>
                  </a:cubicBezTo>
                  <a:cubicBezTo>
                    <a:pt x="387258" y="151234"/>
                    <a:pt x="413959" y="149126"/>
                    <a:pt x="432228" y="121020"/>
                  </a:cubicBezTo>
                  <a:cubicBezTo>
                    <a:pt x="446282" y="99940"/>
                    <a:pt x="441363" y="84481"/>
                    <a:pt x="423797" y="69023"/>
                  </a:cubicBezTo>
                  <a:cubicBezTo>
                    <a:pt x="413959" y="60590"/>
                    <a:pt x="395690" y="55672"/>
                    <a:pt x="402717" y="35997"/>
                  </a:cubicBezTo>
                  <a:cubicBezTo>
                    <a:pt x="409743" y="16323"/>
                    <a:pt x="424499" y="2972"/>
                    <a:pt x="444877" y="2269"/>
                  </a:cubicBezTo>
                  <a:cubicBezTo>
                    <a:pt x="489847" y="864"/>
                    <a:pt x="534115" y="2269"/>
                    <a:pt x="579085" y="1567"/>
                  </a:cubicBezTo>
                  <a:cubicBezTo>
                    <a:pt x="595246" y="1567"/>
                    <a:pt x="591031" y="12107"/>
                    <a:pt x="591031" y="19836"/>
                  </a:cubicBezTo>
                  <a:cubicBezTo>
                    <a:pt x="591733" y="87995"/>
                    <a:pt x="591733" y="156856"/>
                    <a:pt x="591733" y="22501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589940F-9F3B-4C59-9E6A-BA8FC4675A8C}"/>
                </a:ext>
              </a:extLst>
            </p:cNvPr>
            <p:cNvSpPr/>
            <p:nvPr userDrawn="1"/>
          </p:nvSpPr>
          <p:spPr>
            <a:xfrm rot="19800000">
              <a:off x="7690813" y="673466"/>
              <a:ext cx="595378" cy="604981"/>
            </a:xfrm>
            <a:custGeom>
              <a:avLst/>
              <a:gdLst>
                <a:gd name="connsiteX0" fmla="*/ 222744 w 435651"/>
                <a:gd name="connsiteY0" fmla="*/ 441468 h 442678"/>
                <a:gd name="connsiteX1" fmla="*/ 23188 w 435651"/>
                <a:gd name="connsiteY1" fmla="*/ 442171 h 442678"/>
                <a:gd name="connsiteX2" fmla="*/ 1405 w 435651"/>
                <a:gd name="connsiteY2" fmla="*/ 419686 h 442678"/>
                <a:gd name="connsiteX3" fmla="*/ 1405 w 435651"/>
                <a:gd name="connsiteY3" fmla="*/ 302341 h 442678"/>
                <a:gd name="connsiteX4" fmla="*/ 17567 w 435651"/>
                <a:gd name="connsiteY4" fmla="*/ 263694 h 442678"/>
                <a:gd name="connsiteX5" fmla="*/ 60429 w 435651"/>
                <a:gd name="connsiteY5" fmla="*/ 265802 h 442678"/>
                <a:gd name="connsiteX6" fmla="*/ 103994 w 435651"/>
                <a:gd name="connsiteY6" fmla="*/ 290395 h 442678"/>
                <a:gd name="connsiteX7" fmla="*/ 146857 w 435651"/>
                <a:gd name="connsiteY7" fmla="*/ 241912 h 442678"/>
                <a:gd name="connsiteX8" fmla="*/ 129993 w 435651"/>
                <a:gd name="connsiteY8" fmla="*/ 170942 h 442678"/>
                <a:gd name="connsiteX9" fmla="*/ 63942 w 435651"/>
                <a:gd name="connsiteY9" fmla="*/ 173051 h 442678"/>
                <a:gd name="connsiteX10" fmla="*/ 33728 w 435651"/>
                <a:gd name="connsiteY10" fmla="*/ 190617 h 442678"/>
                <a:gd name="connsiteX11" fmla="*/ 1405 w 435651"/>
                <a:gd name="connsiteY11" fmla="*/ 153376 h 442678"/>
                <a:gd name="connsiteX12" fmla="*/ 0 w 435651"/>
                <a:gd name="connsiteY12" fmla="*/ 10735 h 442678"/>
                <a:gd name="connsiteX13" fmla="*/ 14053 w 435651"/>
                <a:gd name="connsiteY13" fmla="*/ 195 h 442678"/>
                <a:gd name="connsiteX14" fmla="*/ 142641 w 435651"/>
                <a:gd name="connsiteY14" fmla="*/ 195 h 442678"/>
                <a:gd name="connsiteX15" fmla="*/ 179882 w 435651"/>
                <a:gd name="connsiteY15" fmla="*/ 19870 h 442678"/>
                <a:gd name="connsiteX16" fmla="*/ 176369 w 435651"/>
                <a:gd name="connsiteY16" fmla="*/ 61327 h 442678"/>
                <a:gd name="connsiteX17" fmla="*/ 151775 w 435651"/>
                <a:gd name="connsiteY17" fmla="*/ 104892 h 442678"/>
                <a:gd name="connsiteX18" fmla="*/ 205881 w 435651"/>
                <a:gd name="connsiteY18" fmla="*/ 148457 h 442678"/>
                <a:gd name="connsiteX19" fmla="*/ 275444 w 435651"/>
                <a:gd name="connsiteY19" fmla="*/ 127377 h 442678"/>
                <a:gd name="connsiteX20" fmla="*/ 271228 w 435651"/>
                <a:gd name="connsiteY20" fmla="*/ 66948 h 442678"/>
                <a:gd name="connsiteX21" fmla="*/ 252256 w 435651"/>
                <a:gd name="connsiteY21" fmla="*/ 32518 h 442678"/>
                <a:gd name="connsiteX22" fmla="*/ 293011 w 435651"/>
                <a:gd name="connsiteY22" fmla="*/ 898 h 442678"/>
                <a:gd name="connsiteX23" fmla="*/ 427220 w 435651"/>
                <a:gd name="connsiteY23" fmla="*/ 195 h 442678"/>
                <a:gd name="connsiteX24" fmla="*/ 440570 w 435651"/>
                <a:gd name="connsiteY24" fmla="*/ 15654 h 442678"/>
                <a:gd name="connsiteX25" fmla="*/ 440570 w 435651"/>
                <a:gd name="connsiteY25" fmla="*/ 144241 h 442678"/>
                <a:gd name="connsiteX26" fmla="*/ 410356 w 435651"/>
                <a:gd name="connsiteY26" fmla="*/ 189212 h 442678"/>
                <a:gd name="connsiteX27" fmla="*/ 373817 w 435651"/>
                <a:gd name="connsiteY27" fmla="*/ 169537 h 442678"/>
                <a:gd name="connsiteX28" fmla="*/ 317604 w 435651"/>
                <a:gd name="connsiteY28" fmla="*/ 164619 h 442678"/>
                <a:gd name="connsiteX29" fmla="*/ 314793 w 435651"/>
                <a:gd name="connsiteY29" fmla="*/ 277747 h 442678"/>
                <a:gd name="connsiteX30" fmla="*/ 375223 w 435651"/>
                <a:gd name="connsiteY30" fmla="*/ 273531 h 442678"/>
                <a:gd name="connsiteX31" fmla="*/ 406842 w 435651"/>
                <a:gd name="connsiteY31" fmla="*/ 253857 h 442678"/>
                <a:gd name="connsiteX32" fmla="*/ 440570 w 435651"/>
                <a:gd name="connsiteY32" fmla="*/ 296017 h 442678"/>
                <a:gd name="connsiteX33" fmla="*/ 441273 w 435651"/>
                <a:gd name="connsiteY33" fmla="*/ 430226 h 442678"/>
                <a:gd name="connsiteX34" fmla="*/ 420896 w 435651"/>
                <a:gd name="connsiteY34" fmla="*/ 442873 h 442678"/>
                <a:gd name="connsiteX35" fmla="*/ 222744 w 435651"/>
                <a:gd name="connsiteY35" fmla="*/ 441468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35651" h="442678">
                  <a:moveTo>
                    <a:pt x="222744" y="441468"/>
                  </a:moveTo>
                  <a:cubicBezTo>
                    <a:pt x="155991" y="441468"/>
                    <a:pt x="89238" y="440766"/>
                    <a:pt x="23188" y="442171"/>
                  </a:cubicBezTo>
                  <a:cubicBezTo>
                    <a:pt x="4919" y="442171"/>
                    <a:pt x="703" y="436550"/>
                    <a:pt x="1405" y="419686"/>
                  </a:cubicBezTo>
                  <a:cubicBezTo>
                    <a:pt x="2811" y="380336"/>
                    <a:pt x="2108" y="340987"/>
                    <a:pt x="1405" y="302341"/>
                  </a:cubicBezTo>
                  <a:cubicBezTo>
                    <a:pt x="1405" y="286180"/>
                    <a:pt x="6324" y="274234"/>
                    <a:pt x="17567" y="263694"/>
                  </a:cubicBezTo>
                  <a:cubicBezTo>
                    <a:pt x="32323" y="250344"/>
                    <a:pt x="46376" y="246128"/>
                    <a:pt x="60429" y="265802"/>
                  </a:cubicBezTo>
                  <a:cubicBezTo>
                    <a:pt x="70969" y="279855"/>
                    <a:pt x="81509" y="297422"/>
                    <a:pt x="103994" y="290395"/>
                  </a:cubicBezTo>
                  <a:cubicBezTo>
                    <a:pt x="127182" y="282666"/>
                    <a:pt x="142641" y="266505"/>
                    <a:pt x="146857" y="241912"/>
                  </a:cubicBezTo>
                  <a:cubicBezTo>
                    <a:pt x="151775" y="215913"/>
                    <a:pt x="149667" y="190617"/>
                    <a:pt x="129993" y="170942"/>
                  </a:cubicBezTo>
                  <a:cubicBezTo>
                    <a:pt x="105400" y="145647"/>
                    <a:pt x="87130" y="146349"/>
                    <a:pt x="63942" y="173051"/>
                  </a:cubicBezTo>
                  <a:cubicBezTo>
                    <a:pt x="56213" y="182185"/>
                    <a:pt x="49889" y="196941"/>
                    <a:pt x="33728" y="190617"/>
                  </a:cubicBezTo>
                  <a:cubicBezTo>
                    <a:pt x="16864" y="184293"/>
                    <a:pt x="2108" y="172348"/>
                    <a:pt x="1405" y="153376"/>
                  </a:cubicBezTo>
                  <a:cubicBezTo>
                    <a:pt x="0" y="106298"/>
                    <a:pt x="703" y="58516"/>
                    <a:pt x="0" y="10735"/>
                  </a:cubicBezTo>
                  <a:cubicBezTo>
                    <a:pt x="0" y="195"/>
                    <a:pt x="6324" y="-508"/>
                    <a:pt x="14053" y="195"/>
                  </a:cubicBezTo>
                  <a:cubicBezTo>
                    <a:pt x="56916" y="195"/>
                    <a:pt x="99778" y="195"/>
                    <a:pt x="142641" y="195"/>
                  </a:cubicBezTo>
                  <a:cubicBezTo>
                    <a:pt x="158802" y="195"/>
                    <a:pt x="170045" y="7925"/>
                    <a:pt x="179882" y="19870"/>
                  </a:cubicBezTo>
                  <a:cubicBezTo>
                    <a:pt x="192530" y="34626"/>
                    <a:pt x="193935" y="47976"/>
                    <a:pt x="176369" y="61327"/>
                  </a:cubicBezTo>
                  <a:cubicBezTo>
                    <a:pt x="162315" y="71867"/>
                    <a:pt x="144046" y="83109"/>
                    <a:pt x="151775" y="104892"/>
                  </a:cubicBezTo>
                  <a:cubicBezTo>
                    <a:pt x="160910" y="129485"/>
                    <a:pt x="177071" y="146349"/>
                    <a:pt x="205881" y="148457"/>
                  </a:cubicBezTo>
                  <a:cubicBezTo>
                    <a:pt x="231879" y="150565"/>
                    <a:pt x="256472" y="149863"/>
                    <a:pt x="275444" y="127377"/>
                  </a:cubicBezTo>
                  <a:cubicBezTo>
                    <a:pt x="296524" y="102784"/>
                    <a:pt x="295822" y="88028"/>
                    <a:pt x="271228" y="66948"/>
                  </a:cubicBezTo>
                  <a:cubicBezTo>
                    <a:pt x="260688" y="57814"/>
                    <a:pt x="243824" y="51490"/>
                    <a:pt x="252256" y="32518"/>
                  </a:cubicBezTo>
                  <a:cubicBezTo>
                    <a:pt x="259986" y="14951"/>
                    <a:pt x="273336" y="1601"/>
                    <a:pt x="293011" y="898"/>
                  </a:cubicBezTo>
                  <a:cubicBezTo>
                    <a:pt x="337981" y="-508"/>
                    <a:pt x="382249" y="898"/>
                    <a:pt x="427220" y="195"/>
                  </a:cubicBezTo>
                  <a:cubicBezTo>
                    <a:pt x="439165" y="195"/>
                    <a:pt x="440570" y="6519"/>
                    <a:pt x="440570" y="15654"/>
                  </a:cubicBezTo>
                  <a:cubicBezTo>
                    <a:pt x="440570" y="58516"/>
                    <a:pt x="440570" y="101379"/>
                    <a:pt x="440570" y="144241"/>
                  </a:cubicBezTo>
                  <a:cubicBezTo>
                    <a:pt x="440570" y="166024"/>
                    <a:pt x="428625" y="180780"/>
                    <a:pt x="410356" y="189212"/>
                  </a:cubicBezTo>
                  <a:cubicBezTo>
                    <a:pt x="390681" y="198347"/>
                    <a:pt x="383655" y="180077"/>
                    <a:pt x="373817" y="169537"/>
                  </a:cubicBezTo>
                  <a:cubicBezTo>
                    <a:pt x="354143" y="147755"/>
                    <a:pt x="340089" y="146349"/>
                    <a:pt x="317604" y="164619"/>
                  </a:cubicBezTo>
                  <a:cubicBezTo>
                    <a:pt x="283876" y="192022"/>
                    <a:pt x="282471" y="249641"/>
                    <a:pt x="314793" y="277747"/>
                  </a:cubicBezTo>
                  <a:cubicBezTo>
                    <a:pt x="338684" y="298125"/>
                    <a:pt x="353440" y="296719"/>
                    <a:pt x="375223" y="273531"/>
                  </a:cubicBezTo>
                  <a:cubicBezTo>
                    <a:pt x="383655" y="264397"/>
                    <a:pt x="388573" y="246830"/>
                    <a:pt x="406842" y="253857"/>
                  </a:cubicBezTo>
                  <a:cubicBezTo>
                    <a:pt x="425814" y="260884"/>
                    <a:pt x="439868" y="274234"/>
                    <a:pt x="440570" y="296017"/>
                  </a:cubicBezTo>
                  <a:cubicBezTo>
                    <a:pt x="441273" y="340987"/>
                    <a:pt x="440570" y="385255"/>
                    <a:pt x="441273" y="430226"/>
                  </a:cubicBezTo>
                  <a:cubicBezTo>
                    <a:pt x="441273" y="448495"/>
                    <a:pt x="429328" y="442171"/>
                    <a:pt x="420896" y="442873"/>
                  </a:cubicBezTo>
                  <a:cubicBezTo>
                    <a:pt x="356251" y="441468"/>
                    <a:pt x="289498" y="441468"/>
                    <a:pt x="222744" y="44146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87D4C6B-100B-4A5A-B573-56C9FED1AE1E}"/>
                </a:ext>
              </a:extLst>
            </p:cNvPr>
            <p:cNvSpPr/>
            <p:nvPr userDrawn="1"/>
          </p:nvSpPr>
          <p:spPr>
            <a:xfrm rot="10800000">
              <a:off x="9581096" y="-9527"/>
              <a:ext cx="1030193" cy="618117"/>
            </a:xfrm>
            <a:custGeom>
              <a:avLst/>
              <a:gdLst>
                <a:gd name="connsiteX0" fmla="*/ 370725 w 737797"/>
                <a:gd name="connsiteY0" fmla="*/ 441321 h 442678"/>
                <a:gd name="connsiteX1" fmla="*/ 178898 w 737797"/>
                <a:gd name="connsiteY1" fmla="*/ 442023 h 442678"/>
                <a:gd name="connsiteX2" fmla="*/ 148684 w 737797"/>
                <a:gd name="connsiteY2" fmla="*/ 413214 h 442678"/>
                <a:gd name="connsiteX3" fmla="*/ 149386 w 737797"/>
                <a:gd name="connsiteY3" fmla="*/ 303599 h 442678"/>
                <a:gd name="connsiteX4" fmla="*/ 138846 w 737797"/>
                <a:gd name="connsiteY4" fmla="*/ 274087 h 442678"/>
                <a:gd name="connsiteX5" fmla="*/ 110037 w 737797"/>
                <a:gd name="connsiteY5" fmla="*/ 274790 h 442678"/>
                <a:gd name="connsiteX6" fmla="*/ 55230 w 737797"/>
                <a:gd name="connsiteY6" fmla="*/ 301491 h 442678"/>
                <a:gd name="connsiteX7" fmla="*/ 2530 w 737797"/>
                <a:gd name="connsiteY7" fmla="*/ 243872 h 442678"/>
                <a:gd name="connsiteX8" fmla="*/ 40473 w 737797"/>
                <a:gd name="connsiteY8" fmla="*/ 146905 h 442678"/>
                <a:gd name="connsiteX9" fmla="*/ 105119 w 737797"/>
                <a:gd name="connsiteY9" fmla="*/ 160255 h 442678"/>
                <a:gd name="connsiteX10" fmla="*/ 127604 w 737797"/>
                <a:gd name="connsiteY10" fmla="*/ 175714 h 442678"/>
                <a:gd name="connsiteX11" fmla="*/ 149386 w 737797"/>
                <a:gd name="connsiteY11" fmla="*/ 143391 h 442678"/>
                <a:gd name="connsiteX12" fmla="*/ 148684 w 737797"/>
                <a:gd name="connsiteY12" fmla="*/ 23236 h 442678"/>
                <a:gd name="connsiteX13" fmla="*/ 170466 w 737797"/>
                <a:gd name="connsiteY13" fmla="*/ 48 h 442678"/>
                <a:gd name="connsiteX14" fmla="*/ 290622 w 737797"/>
                <a:gd name="connsiteY14" fmla="*/ 751 h 442678"/>
                <a:gd name="connsiteX15" fmla="*/ 330673 w 737797"/>
                <a:gd name="connsiteY15" fmla="*/ 19722 h 442678"/>
                <a:gd name="connsiteX16" fmla="*/ 327160 w 737797"/>
                <a:gd name="connsiteY16" fmla="*/ 59072 h 442678"/>
                <a:gd name="connsiteX17" fmla="*/ 301864 w 737797"/>
                <a:gd name="connsiteY17" fmla="*/ 105447 h 442678"/>
                <a:gd name="connsiteX18" fmla="*/ 357375 w 737797"/>
                <a:gd name="connsiteY18" fmla="*/ 148310 h 442678"/>
                <a:gd name="connsiteX19" fmla="*/ 419209 w 737797"/>
                <a:gd name="connsiteY19" fmla="*/ 132851 h 442678"/>
                <a:gd name="connsiteX20" fmla="*/ 419209 w 737797"/>
                <a:gd name="connsiteY20" fmla="*/ 63287 h 442678"/>
                <a:gd name="connsiteX21" fmla="*/ 401643 w 737797"/>
                <a:gd name="connsiteY21" fmla="*/ 35884 h 442678"/>
                <a:gd name="connsiteX22" fmla="*/ 437478 w 737797"/>
                <a:gd name="connsiteY22" fmla="*/ 2156 h 442678"/>
                <a:gd name="connsiteX23" fmla="*/ 582228 w 737797"/>
                <a:gd name="connsiteY23" fmla="*/ 751 h 442678"/>
                <a:gd name="connsiteX24" fmla="*/ 591362 w 737797"/>
                <a:gd name="connsiteY24" fmla="*/ 19020 h 442678"/>
                <a:gd name="connsiteX25" fmla="*/ 591362 w 737797"/>
                <a:gd name="connsiteY25" fmla="*/ 134257 h 442678"/>
                <a:gd name="connsiteX26" fmla="*/ 596983 w 737797"/>
                <a:gd name="connsiteY26" fmla="*/ 160255 h 442678"/>
                <a:gd name="connsiteX27" fmla="*/ 634224 w 737797"/>
                <a:gd name="connsiteY27" fmla="*/ 164471 h 442678"/>
                <a:gd name="connsiteX28" fmla="*/ 722760 w 737797"/>
                <a:gd name="connsiteY28" fmla="*/ 165174 h 442678"/>
                <a:gd name="connsiteX29" fmla="*/ 695356 w 737797"/>
                <a:gd name="connsiteY29" fmla="*/ 298680 h 442678"/>
                <a:gd name="connsiteX30" fmla="*/ 637035 w 737797"/>
                <a:gd name="connsiteY30" fmla="*/ 283221 h 442678"/>
                <a:gd name="connsiteX31" fmla="*/ 613144 w 737797"/>
                <a:gd name="connsiteY31" fmla="*/ 267060 h 442678"/>
                <a:gd name="connsiteX32" fmla="*/ 591362 w 737797"/>
                <a:gd name="connsiteY32" fmla="*/ 302193 h 442678"/>
                <a:gd name="connsiteX33" fmla="*/ 592065 w 737797"/>
                <a:gd name="connsiteY33" fmla="*/ 420241 h 442678"/>
                <a:gd name="connsiteX34" fmla="*/ 570282 w 737797"/>
                <a:gd name="connsiteY34" fmla="*/ 442726 h 442678"/>
                <a:gd name="connsiteX35" fmla="*/ 370725 w 737797"/>
                <a:gd name="connsiteY35" fmla="*/ 441321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37797" h="442678">
                  <a:moveTo>
                    <a:pt x="370725" y="441321"/>
                  </a:moveTo>
                  <a:cubicBezTo>
                    <a:pt x="306783" y="441321"/>
                    <a:pt x="242840" y="440618"/>
                    <a:pt x="178898" y="442023"/>
                  </a:cubicBezTo>
                  <a:cubicBezTo>
                    <a:pt x="155710" y="442726"/>
                    <a:pt x="146576" y="438510"/>
                    <a:pt x="148684" y="413214"/>
                  </a:cubicBezTo>
                  <a:cubicBezTo>
                    <a:pt x="151494" y="376676"/>
                    <a:pt x="149386" y="340137"/>
                    <a:pt x="149386" y="303599"/>
                  </a:cubicBezTo>
                  <a:cubicBezTo>
                    <a:pt x="149386" y="292356"/>
                    <a:pt x="147981" y="282519"/>
                    <a:pt x="138846" y="274087"/>
                  </a:cubicBezTo>
                  <a:cubicBezTo>
                    <a:pt x="128306" y="264250"/>
                    <a:pt x="119874" y="260736"/>
                    <a:pt x="110037" y="274790"/>
                  </a:cubicBezTo>
                  <a:cubicBezTo>
                    <a:pt x="96686" y="293761"/>
                    <a:pt x="79823" y="309923"/>
                    <a:pt x="55230" y="301491"/>
                  </a:cubicBezTo>
                  <a:cubicBezTo>
                    <a:pt x="28528" y="292356"/>
                    <a:pt x="8853" y="274087"/>
                    <a:pt x="2530" y="243872"/>
                  </a:cubicBezTo>
                  <a:cubicBezTo>
                    <a:pt x="-5902" y="201010"/>
                    <a:pt x="6746" y="166579"/>
                    <a:pt x="40473" y="146905"/>
                  </a:cubicBezTo>
                  <a:cubicBezTo>
                    <a:pt x="65067" y="132148"/>
                    <a:pt x="82633" y="136365"/>
                    <a:pt x="105119" y="160255"/>
                  </a:cubicBezTo>
                  <a:cubicBezTo>
                    <a:pt x="111443" y="167282"/>
                    <a:pt x="114956" y="181335"/>
                    <a:pt x="127604" y="175714"/>
                  </a:cubicBezTo>
                  <a:cubicBezTo>
                    <a:pt x="140252" y="170092"/>
                    <a:pt x="149386" y="159552"/>
                    <a:pt x="149386" y="143391"/>
                  </a:cubicBezTo>
                  <a:cubicBezTo>
                    <a:pt x="149386" y="103339"/>
                    <a:pt x="150089" y="63287"/>
                    <a:pt x="148684" y="23236"/>
                  </a:cubicBezTo>
                  <a:cubicBezTo>
                    <a:pt x="147981" y="6372"/>
                    <a:pt x="150792" y="-655"/>
                    <a:pt x="170466" y="48"/>
                  </a:cubicBezTo>
                  <a:cubicBezTo>
                    <a:pt x="210518" y="2156"/>
                    <a:pt x="250570" y="751"/>
                    <a:pt x="290622" y="751"/>
                  </a:cubicBezTo>
                  <a:cubicBezTo>
                    <a:pt x="307486" y="751"/>
                    <a:pt x="320836" y="7074"/>
                    <a:pt x="330673" y="19722"/>
                  </a:cubicBezTo>
                  <a:cubicBezTo>
                    <a:pt x="341916" y="33775"/>
                    <a:pt x="344024" y="46424"/>
                    <a:pt x="327160" y="59072"/>
                  </a:cubicBezTo>
                  <a:cubicBezTo>
                    <a:pt x="312404" y="70314"/>
                    <a:pt x="292730" y="82259"/>
                    <a:pt x="301864" y="105447"/>
                  </a:cubicBezTo>
                  <a:cubicBezTo>
                    <a:pt x="311702" y="129338"/>
                    <a:pt x="329268" y="146202"/>
                    <a:pt x="357375" y="148310"/>
                  </a:cubicBezTo>
                  <a:cubicBezTo>
                    <a:pt x="379860" y="150418"/>
                    <a:pt x="400940" y="149013"/>
                    <a:pt x="419209" y="132851"/>
                  </a:cubicBezTo>
                  <a:cubicBezTo>
                    <a:pt x="448018" y="106150"/>
                    <a:pt x="448018" y="89286"/>
                    <a:pt x="419209" y="63287"/>
                  </a:cubicBezTo>
                  <a:cubicBezTo>
                    <a:pt x="410777" y="56261"/>
                    <a:pt x="396724" y="50640"/>
                    <a:pt x="401643" y="35884"/>
                  </a:cubicBezTo>
                  <a:cubicBezTo>
                    <a:pt x="407264" y="19020"/>
                    <a:pt x="418506" y="2859"/>
                    <a:pt x="437478" y="2156"/>
                  </a:cubicBezTo>
                  <a:cubicBezTo>
                    <a:pt x="485962" y="48"/>
                    <a:pt x="534446" y="751"/>
                    <a:pt x="582228" y="751"/>
                  </a:cubicBezTo>
                  <a:cubicBezTo>
                    <a:pt x="596983" y="751"/>
                    <a:pt x="591362" y="11993"/>
                    <a:pt x="591362" y="19020"/>
                  </a:cubicBezTo>
                  <a:cubicBezTo>
                    <a:pt x="592065" y="57666"/>
                    <a:pt x="591362" y="95610"/>
                    <a:pt x="591362" y="134257"/>
                  </a:cubicBezTo>
                  <a:cubicBezTo>
                    <a:pt x="591362" y="143391"/>
                    <a:pt x="592065" y="152526"/>
                    <a:pt x="596983" y="160255"/>
                  </a:cubicBezTo>
                  <a:cubicBezTo>
                    <a:pt x="608929" y="179930"/>
                    <a:pt x="618766" y="180632"/>
                    <a:pt x="634224" y="164471"/>
                  </a:cubicBezTo>
                  <a:cubicBezTo>
                    <a:pt x="665142" y="130041"/>
                    <a:pt x="692545" y="130743"/>
                    <a:pt x="722760" y="165174"/>
                  </a:cubicBezTo>
                  <a:cubicBezTo>
                    <a:pt x="758596" y="205928"/>
                    <a:pt x="743840" y="274790"/>
                    <a:pt x="695356" y="298680"/>
                  </a:cubicBezTo>
                  <a:cubicBezTo>
                    <a:pt x="671465" y="310625"/>
                    <a:pt x="653899" y="300788"/>
                    <a:pt x="637035" y="283221"/>
                  </a:cubicBezTo>
                  <a:cubicBezTo>
                    <a:pt x="630711" y="276195"/>
                    <a:pt x="627901" y="260033"/>
                    <a:pt x="613144" y="267060"/>
                  </a:cubicBezTo>
                  <a:cubicBezTo>
                    <a:pt x="599794" y="273384"/>
                    <a:pt x="591362" y="285330"/>
                    <a:pt x="591362" y="302193"/>
                  </a:cubicBezTo>
                  <a:cubicBezTo>
                    <a:pt x="591362" y="341543"/>
                    <a:pt x="590659" y="380892"/>
                    <a:pt x="592065" y="420241"/>
                  </a:cubicBezTo>
                  <a:cubicBezTo>
                    <a:pt x="592767" y="437807"/>
                    <a:pt x="588551" y="443429"/>
                    <a:pt x="570282" y="442726"/>
                  </a:cubicBezTo>
                  <a:cubicBezTo>
                    <a:pt x="504232" y="440618"/>
                    <a:pt x="437478" y="441321"/>
                    <a:pt x="370725" y="441321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8DAB490-F49C-4C22-A010-A22047CDDC51}"/>
                </a:ext>
              </a:extLst>
            </p:cNvPr>
            <p:cNvSpPr/>
            <p:nvPr userDrawn="1"/>
          </p:nvSpPr>
          <p:spPr>
            <a:xfrm rot="20646057">
              <a:off x="8156275" y="77241"/>
              <a:ext cx="835945" cy="626959"/>
            </a:xfrm>
            <a:custGeom>
              <a:avLst/>
              <a:gdLst>
                <a:gd name="connsiteX0" fmla="*/ 371948 w 590237"/>
                <a:gd name="connsiteY0" fmla="*/ 1405 h 442678"/>
                <a:gd name="connsiteX1" fmla="*/ 569397 w 590237"/>
                <a:gd name="connsiteY1" fmla="*/ 1405 h 442678"/>
                <a:gd name="connsiteX2" fmla="*/ 592584 w 590237"/>
                <a:gd name="connsiteY2" fmla="*/ 23188 h 442678"/>
                <a:gd name="connsiteX3" fmla="*/ 592584 w 590237"/>
                <a:gd name="connsiteY3" fmla="*/ 140533 h 442678"/>
                <a:gd name="connsiteX4" fmla="*/ 575018 w 590237"/>
                <a:gd name="connsiteY4" fmla="*/ 181287 h 442678"/>
                <a:gd name="connsiteX5" fmla="*/ 531453 w 590237"/>
                <a:gd name="connsiteY5" fmla="*/ 178477 h 442678"/>
                <a:gd name="connsiteX6" fmla="*/ 447836 w 590237"/>
                <a:gd name="connsiteY6" fmla="*/ 194638 h 442678"/>
                <a:gd name="connsiteX7" fmla="*/ 467510 w 590237"/>
                <a:gd name="connsiteY7" fmla="*/ 279660 h 442678"/>
                <a:gd name="connsiteX8" fmla="*/ 526534 w 590237"/>
                <a:gd name="connsiteY8" fmla="*/ 275444 h 442678"/>
                <a:gd name="connsiteX9" fmla="*/ 560262 w 590237"/>
                <a:gd name="connsiteY9" fmla="*/ 255067 h 442678"/>
                <a:gd name="connsiteX10" fmla="*/ 592584 w 590237"/>
                <a:gd name="connsiteY10" fmla="*/ 301443 h 442678"/>
                <a:gd name="connsiteX11" fmla="*/ 593287 w 590237"/>
                <a:gd name="connsiteY11" fmla="*/ 427220 h 442678"/>
                <a:gd name="connsiteX12" fmla="*/ 574315 w 590237"/>
                <a:gd name="connsiteY12" fmla="*/ 444786 h 442678"/>
                <a:gd name="connsiteX13" fmla="*/ 451349 w 590237"/>
                <a:gd name="connsiteY13" fmla="*/ 444786 h 442678"/>
                <a:gd name="connsiteX14" fmla="*/ 409892 w 590237"/>
                <a:gd name="connsiteY14" fmla="*/ 422301 h 442678"/>
                <a:gd name="connsiteX15" fmla="*/ 414108 w 590237"/>
                <a:gd name="connsiteY15" fmla="*/ 385060 h 442678"/>
                <a:gd name="connsiteX16" fmla="*/ 438701 w 590237"/>
                <a:gd name="connsiteY16" fmla="*/ 335873 h 442678"/>
                <a:gd name="connsiteX17" fmla="*/ 378975 w 590237"/>
                <a:gd name="connsiteY17" fmla="*/ 295821 h 442678"/>
                <a:gd name="connsiteX18" fmla="*/ 315032 w 590237"/>
                <a:gd name="connsiteY18" fmla="*/ 319010 h 442678"/>
                <a:gd name="connsiteX19" fmla="*/ 319248 w 590237"/>
                <a:gd name="connsiteY19" fmla="*/ 377331 h 442678"/>
                <a:gd name="connsiteX20" fmla="*/ 338923 w 590237"/>
                <a:gd name="connsiteY20" fmla="*/ 411761 h 442678"/>
                <a:gd name="connsiteX21" fmla="*/ 292547 w 590237"/>
                <a:gd name="connsiteY21" fmla="*/ 444084 h 442678"/>
                <a:gd name="connsiteX22" fmla="*/ 169581 w 590237"/>
                <a:gd name="connsiteY22" fmla="*/ 444786 h 442678"/>
                <a:gd name="connsiteX23" fmla="*/ 149203 w 590237"/>
                <a:gd name="connsiteY23" fmla="*/ 422301 h 442678"/>
                <a:gd name="connsiteX24" fmla="*/ 149203 w 590237"/>
                <a:gd name="connsiteY24" fmla="*/ 307064 h 442678"/>
                <a:gd name="connsiteX25" fmla="*/ 143582 w 590237"/>
                <a:gd name="connsiteY25" fmla="*/ 281066 h 442678"/>
                <a:gd name="connsiteX26" fmla="*/ 107746 w 590237"/>
                <a:gd name="connsiteY26" fmla="*/ 278958 h 442678"/>
                <a:gd name="connsiteX27" fmla="*/ 19913 w 590237"/>
                <a:gd name="connsiteY27" fmla="*/ 278958 h 442678"/>
                <a:gd name="connsiteX28" fmla="*/ 33966 w 590237"/>
                <a:gd name="connsiteY28" fmla="*/ 152478 h 442678"/>
                <a:gd name="connsiteX29" fmla="*/ 103530 w 590237"/>
                <a:gd name="connsiteY29" fmla="*/ 158802 h 442678"/>
                <a:gd name="connsiteX30" fmla="*/ 129529 w 590237"/>
                <a:gd name="connsiteY30" fmla="*/ 175666 h 442678"/>
                <a:gd name="connsiteX31" fmla="*/ 149203 w 590237"/>
                <a:gd name="connsiteY31" fmla="*/ 139830 h 442678"/>
                <a:gd name="connsiteX32" fmla="*/ 148501 w 590237"/>
                <a:gd name="connsiteY32" fmla="*/ 24593 h 442678"/>
                <a:gd name="connsiteX33" fmla="*/ 172391 w 590237"/>
                <a:gd name="connsiteY33" fmla="*/ 0 h 442678"/>
                <a:gd name="connsiteX34" fmla="*/ 371948 w 590237"/>
                <a:gd name="connsiteY34" fmla="*/ 140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90237" h="442678">
                  <a:moveTo>
                    <a:pt x="371948" y="1405"/>
                  </a:moveTo>
                  <a:cubicBezTo>
                    <a:pt x="437998" y="1405"/>
                    <a:pt x="503346" y="2108"/>
                    <a:pt x="569397" y="1405"/>
                  </a:cubicBezTo>
                  <a:cubicBezTo>
                    <a:pt x="585558" y="1405"/>
                    <a:pt x="593990" y="3513"/>
                    <a:pt x="592584" y="23188"/>
                  </a:cubicBezTo>
                  <a:cubicBezTo>
                    <a:pt x="591179" y="62537"/>
                    <a:pt x="591882" y="101886"/>
                    <a:pt x="592584" y="140533"/>
                  </a:cubicBezTo>
                  <a:cubicBezTo>
                    <a:pt x="592584" y="157397"/>
                    <a:pt x="586963" y="170747"/>
                    <a:pt x="575018" y="181287"/>
                  </a:cubicBezTo>
                  <a:cubicBezTo>
                    <a:pt x="559559" y="195340"/>
                    <a:pt x="546208" y="196043"/>
                    <a:pt x="531453" y="178477"/>
                  </a:cubicBezTo>
                  <a:cubicBezTo>
                    <a:pt x="501238" y="141938"/>
                    <a:pt x="463997" y="150370"/>
                    <a:pt x="447836" y="194638"/>
                  </a:cubicBezTo>
                  <a:cubicBezTo>
                    <a:pt x="436593" y="226258"/>
                    <a:pt x="444322" y="259283"/>
                    <a:pt x="467510" y="279660"/>
                  </a:cubicBezTo>
                  <a:cubicBezTo>
                    <a:pt x="489995" y="298632"/>
                    <a:pt x="506157" y="297227"/>
                    <a:pt x="526534" y="275444"/>
                  </a:cubicBezTo>
                  <a:cubicBezTo>
                    <a:pt x="535669" y="265607"/>
                    <a:pt x="541290" y="246635"/>
                    <a:pt x="560262" y="255067"/>
                  </a:cubicBezTo>
                  <a:cubicBezTo>
                    <a:pt x="579936" y="263499"/>
                    <a:pt x="592584" y="278255"/>
                    <a:pt x="592584" y="301443"/>
                  </a:cubicBezTo>
                  <a:cubicBezTo>
                    <a:pt x="592584" y="343603"/>
                    <a:pt x="591882" y="385763"/>
                    <a:pt x="593287" y="427220"/>
                  </a:cubicBezTo>
                  <a:cubicBezTo>
                    <a:pt x="593990" y="442678"/>
                    <a:pt x="587666" y="444786"/>
                    <a:pt x="574315" y="444786"/>
                  </a:cubicBezTo>
                  <a:cubicBezTo>
                    <a:pt x="533561" y="444084"/>
                    <a:pt x="492103" y="444084"/>
                    <a:pt x="451349" y="444786"/>
                  </a:cubicBezTo>
                  <a:cubicBezTo>
                    <a:pt x="433080" y="444786"/>
                    <a:pt x="420432" y="436354"/>
                    <a:pt x="409892" y="422301"/>
                  </a:cubicBezTo>
                  <a:cubicBezTo>
                    <a:pt x="399352" y="408248"/>
                    <a:pt x="399352" y="396303"/>
                    <a:pt x="414108" y="385060"/>
                  </a:cubicBezTo>
                  <a:cubicBezTo>
                    <a:pt x="430269" y="373114"/>
                    <a:pt x="449241" y="360467"/>
                    <a:pt x="438701" y="335873"/>
                  </a:cubicBezTo>
                  <a:cubicBezTo>
                    <a:pt x="427458" y="311280"/>
                    <a:pt x="408486" y="295821"/>
                    <a:pt x="378975" y="295821"/>
                  </a:cubicBezTo>
                  <a:cubicBezTo>
                    <a:pt x="354381" y="295821"/>
                    <a:pt x="331896" y="297930"/>
                    <a:pt x="315032" y="319010"/>
                  </a:cubicBezTo>
                  <a:cubicBezTo>
                    <a:pt x="296060" y="342197"/>
                    <a:pt x="297465" y="356953"/>
                    <a:pt x="319248" y="377331"/>
                  </a:cubicBezTo>
                  <a:cubicBezTo>
                    <a:pt x="329085" y="386465"/>
                    <a:pt x="347355" y="393492"/>
                    <a:pt x="338923" y="411761"/>
                  </a:cubicBezTo>
                  <a:cubicBezTo>
                    <a:pt x="330491" y="430733"/>
                    <a:pt x="315735" y="444084"/>
                    <a:pt x="292547" y="444084"/>
                  </a:cubicBezTo>
                  <a:cubicBezTo>
                    <a:pt x="251792" y="444084"/>
                    <a:pt x="210335" y="442678"/>
                    <a:pt x="169581" y="444786"/>
                  </a:cubicBezTo>
                  <a:cubicBezTo>
                    <a:pt x="151311" y="445489"/>
                    <a:pt x="149203" y="437760"/>
                    <a:pt x="149203" y="422301"/>
                  </a:cubicBezTo>
                  <a:cubicBezTo>
                    <a:pt x="149906" y="383654"/>
                    <a:pt x="149906" y="345711"/>
                    <a:pt x="149203" y="307064"/>
                  </a:cubicBezTo>
                  <a:cubicBezTo>
                    <a:pt x="149203" y="297930"/>
                    <a:pt x="149906" y="288795"/>
                    <a:pt x="143582" y="281066"/>
                  </a:cubicBezTo>
                  <a:cubicBezTo>
                    <a:pt x="132339" y="267715"/>
                    <a:pt x="123205" y="259986"/>
                    <a:pt x="107746" y="278958"/>
                  </a:cubicBezTo>
                  <a:cubicBezTo>
                    <a:pt x="78234" y="315496"/>
                    <a:pt x="50830" y="314091"/>
                    <a:pt x="19913" y="278958"/>
                  </a:cubicBezTo>
                  <a:cubicBezTo>
                    <a:pt x="-11707" y="243122"/>
                    <a:pt x="-4680" y="181287"/>
                    <a:pt x="33966" y="152478"/>
                  </a:cubicBezTo>
                  <a:cubicBezTo>
                    <a:pt x="60668" y="132804"/>
                    <a:pt x="80342" y="134912"/>
                    <a:pt x="103530" y="158802"/>
                  </a:cubicBezTo>
                  <a:cubicBezTo>
                    <a:pt x="110557" y="165829"/>
                    <a:pt x="112665" y="184098"/>
                    <a:pt x="129529" y="175666"/>
                  </a:cubicBezTo>
                  <a:cubicBezTo>
                    <a:pt x="143582" y="168639"/>
                    <a:pt x="149203" y="155991"/>
                    <a:pt x="149203" y="139830"/>
                  </a:cubicBezTo>
                  <a:cubicBezTo>
                    <a:pt x="148501" y="101184"/>
                    <a:pt x="149906" y="63240"/>
                    <a:pt x="148501" y="24593"/>
                  </a:cubicBezTo>
                  <a:cubicBezTo>
                    <a:pt x="147798" y="5621"/>
                    <a:pt x="152717" y="0"/>
                    <a:pt x="172391" y="0"/>
                  </a:cubicBezTo>
                  <a:cubicBezTo>
                    <a:pt x="238442" y="2108"/>
                    <a:pt x="305195" y="1405"/>
                    <a:pt x="371948" y="1405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134DB8C-B439-4F52-841D-8E5CEF454B05}"/>
                </a:ext>
              </a:extLst>
            </p:cNvPr>
            <p:cNvSpPr/>
            <p:nvPr userDrawn="1"/>
          </p:nvSpPr>
          <p:spPr>
            <a:xfrm>
              <a:off x="9787090" y="380752"/>
              <a:ext cx="600368" cy="800490"/>
            </a:xfrm>
            <a:custGeom>
              <a:avLst/>
              <a:gdLst>
                <a:gd name="connsiteX0" fmla="*/ 222808 w 442678"/>
                <a:gd name="connsiteY0" fmla="*/ 592910 h 590237"/>
                <a:gd name="connsiteX1" fmla="*/ 22549 w 442678"/>
                <a:gd name="connsiteY1" fmla="*/ 593613 h 590237"/>
                <a:gd name="connsiteX2" fmla="*/ 64 w 442678"/>
                <a:gd name="connsiteY2" fmla="*/ 570425 h 590237"/>
                <a:gd name="connsiteX3" fmla="*/ 64 w 442678"/>
                <a:gd name="connsiteY3" fmla="*/ 457998 h 590237"/>
                <a:gd name="connsiteX4" fmla="*/ 15523 w 442678"/>
                <a:gd name="connsiteY4" fmla="*/ 415839 h 590237"/>
                <a:gd name="connsiteX5" fmla="*/ 62601 w 442678"/>
                <a:gd name="connsiteY5" fmla="*/ 417947 h 590237"/>
                <a:gd name="connsiteX6" fmla="*/ 104761 w 442678"/>
                <a:gd name="connsiteY6" fmla="*/ 440432 h 590237"/>
                <a:gd name="connsiteX7" fmla="*/ 147624 w 442678"/>
                <a:gd name="connsiteY7" fmla="*/ 391245 h 590237"/>
                <a:gd name="connsiteX8" fmla="*/ 127246 w 442678"/>
                <a:gd name="connsiteY8" fmla="*/ 316061 h 590237"/>
                <a:gd name="connsiteX9" fmla="*/ 66817 w 442678"/>
                <a:gd name="connsiteY9" fmla="*/ 319574 h 590237"/>
                <a:gd name="connsiteX10" fmla="*/ 35900 w 442678"/>
                <a:gd name="connsiteY10" fmla="*/ 339249 h 590237"/>
                <a:gd name="connsiteX11" fmla="*/ 1469 w 442678"/>
                <a:gd name="connsiteY11" fmla="*/ 297791 h 590237"/>
                <a:gd name="connsiteX12" fmla="*/ 767 w 442678"/>
                <a:gd name="connsiteY12" fmla="*/ 163583 h 590237"/>
                <a:gd name="connsiteX13" fmla="*/ 19036 w 442678"/>
                <a:gd name="connsiteY13" fmla="*/ 150934 h 590237"/>
                <a:gd name="connsiteX14" fmla="*/ 137084 w 442678"/>
                <a:gd name="connsiteY14" fmla="*/ 150934 h 590237"/>
                <a:gd name="connsiteX15" fmla="*/ 165190 w 442678"/>
                <a:gd name="connsiteY15" fmla="*/ 143205 h 590237"/>
                <a:gd name="connsiteX16" fmla="*/ 166595 w 442678"/>
                <a:gd name="connsiteY16" fmla="*/ 107369 h 590237"/>
                <a:gd name="connsiteX17" fmla="*/ 163785 w 442678"/>
                <a:gd name="connsiteY17" fmla="*/ 22347 h 590237"/>
                <a:gd name="connsiteX18" fmla="*/ 290967 w 442678"/>
                <a:gd name="connsiteY18" fmla="*/ 30779 h 590237"/>
                <a:gd name="connsiteX19" fmla="*/ 286048 w 442678"/>
                <a:gd name="connsiteY19" fmla="*/ 104559 h 590237"/>
                <a:gd name="connsiteX20" fmla="*/ 270590 w 442678"/>
                <a:gd name="connsiteY20" fmla="*/ 129152 h 590237"/>
                <a:gd name="connsiteX21" fmla="*/ 303615 w 442678"/>
                <a:gd name="connsiteY21" fmla="*/ 150232 h 590237"/>
                <a:gd name="connsiteX22" fmla="*/ 421662 w 442678"/>
                <a:gd name="connsiteY22" fmla="*/ 149529 h 590237"/>
                <a:gd name="connsiteX23" fmla="*/ 446256 w 442678"/>
                <a:gd name="connsiteY23" fmla="*/ 175528 h 590237"/>
                <a:gd name="connsiteX24" fmla="*/ 446256 w 442678"/>
                <a:gd name="connsiteY24" fmla="*/ 287954 h 590237"/>
                <a:gd name="connsiteX25" fmla="*/ 428689 w 442678"/>
                <a:gd name="connsiteY25" fmla="*/ 329411 h 590237"/>
                <a:gd name="connsiteX26" fmla="*/ 385827 w 442678"/>
                <a:gd name="connsiteY26" fmla="*/ 327303 h 590237"/>
                <a:gd name="connsiteX27" fmla="*/ 342261 w 442678"/>
                <a:gd name="connsiteY27" fmla="*/ 303412 h 590237"/>
                <a:gd name="connsiteX28" fmla="*/ 298696 w 442678"/>
                <a:gd name="connsiteY28" fmla="*/ 357518 h 590237"/>
                <a:gd name="connsiteX29" fmla="*/ 318371 w 442678"/>
                <a:gd name="connsiteY29" fmla="*/ 425676 h 590237"/>
                <a:gd name="connsiteX30" fmla="*/ 380908 w 442678"/>
                <a:gd name="connsiteY30" fmla="*/ 422865 h 590237"/>
                <a:gd name="connsiteX31" fmla="*/ 415338 w 442678"/>
                <a:gd name="connsiteY31" fmla="*/ 404596 h 590237"/>
                <a:gd name="connsiteX32" fmla="*/ 446256 w 442678"/>
                <a:gd name="connsiteY32" fmla="*/ 446054 h 590237"/>
                <a:gd name="connsiteX33" fmla="*/ 446958 w 442678"/>
                <a:gd name="connsiteY33" fmla="*/ 577451 h 590237"/>
                <a:gd name="connsiteX34" fmla="*/ 425878 w 442678"/>
                <a:gd name="connsiteY34" fmla="*/ 592910 h 590237"/>
                <a:gd name="connsiteX35" fmla="*/ 222808 w 442678"/>
                <a:gd name="connsiteY35" fmla="*/ 59291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222808" y="592910"/>
                  </a:moveTo>
                  <a:cubicBezTo>
                    <a:pt x="156055" y="592910"/>
                    <a:pt x="89302" y="592208"/>
                    <a:pt x="22549" y="593613"/>
                  </a:cubicBezTo>
                  <a:cubicBezTo>
                    <a:pt x="4280" y="593613"/>
                    <a:pt x="-639" y="588694"/>
                    <a:pt x="64" y="570425"/>
                  </a:cubicBezTo>
                  <a:cubicBezTo>
                    <a:pt x="1469" y="533184"/>
                    <a:pt x="767" y="495240"/>
                    <a:pt x="64" y="457998"/>
                  </a:cubicBezTo>
                  <a:cubicBezTo>
                    <a:pt x="64" y="441837"/>
                    <a:pt x="3577" y="427784"/>
                    <a:pt x="15523" y="415839"/>
                  </a:cubicBezTo>
                  <a:cubicBezTo>
                    <a:pt x="33792" y="397570"/>
                    <a:pt x="45035" y="397570"/>
                    <a:pt x="62601" y="417947"/>
                  </a:cubicBezTo>
                  <a:cubicBezTo>
                    <a:pt x="73844" y="431297"/>
                    <a:pt x="85086" y="448161"/>
                    <a:pt x="104761" y="440432"/>
                  </a:cubicBezTo>
                  <a:cubicBezTo>
                    <a:pt x="126544" y="432000"/>
                    <a:pt x="144813" y="417244"/>
                    <a:pt x="147624" y="391245"/>
                  </a:cubicBezTo>
                  <a:cubicBezTo>
                    <a:pt x="150434" y="363842"/>
                    <a:pt x="152542" y="336438"/>
                    <a:pt x="127246" y="316061"/>
                  </a:cubicBezTo>
                  <a:cubicBezTo>
                    <a:pt x="102653" y="295683"/>
                    <a:pt x="87897" y="296386"/>
                    <a:pt x="66817" y="319574"/>
                  </a:cubicBezTo>
                  <a:cubicBezTo>
                    <a:pt x="58385" y="328709"/>
                    <a:pt x="54169" y="345572"/>
                    <a:pt x="35900" y="339249"/>
                  </a:cubicBezTo>
                  <a:cubicBezTo>
                    <a:pt x="15523" y="332222"/>
                    <a:pt x="2172" y="318169"/>
                    <a:pt x="1469" y="297791"/>
                  </a:cubicBezTo>
                  <a:cubicBezTo>
                    <a:pt x="-639" y="252821"/>
                    <a:pt x="1469" y="208553"/>
                    <a:pt x="767" y="163583"/>
                  </a:cubicBezTo>
                  <a:cubicBezTo>
                    <a:pt x="767" y="148827"/>
                    <a:pt x="9901" y="150934"/>
                    <a:pt x="19036" y="150934"/>
                  </a:cubicBezTo>
                  <a:cubicBezTo>
                    <a:pt x="58385" y="150934"/>
                    <a:pt x="97734" y="150934"/>
                    <a:pt x="137084" y="150934"/>
                  </a:cubicBezTo>
                  <a:cubicBezTo>
                    <a:pt x="147624" y="150934"/>
                    <a:pt x="157461" y="150232"/>
                    <a:pt x="165190" y="143205"/>
                  </a:cubicBezTo>
                  <a:cubicBezTo>
                    <a:pt x="178541" y="131963"/>
                    <a:pt x="185567" y="122828"/>
                    <a:pt x="166595" y="107369"/>
                  </a:cubicBezTo>
                  <a:cubicBezTo>
                    <a:pt x="132165" y="80668"/>
                    <a:pt x="132165" y="53264"/>
                    <a:pt x="163785" y="22347"/>
                  </a:cubicBezTo>
                  <a:cubicBezTo>
                    <a:pt x="197513" y="-10678"/>
                    <a:pt x="260752" y="-6462"/>
                    <a:pt x="290967" y="30779"/>
                  </a:cubicBezTo>
                  <a:cubicBezTo>
                    <a:pt x="314155" y="58885"/>
                    <a:pt x="312047" y="79263"/>
                    <a:pt x="286048" y="104559"/>
                  </a:cubicBezTo>
                  <a:cubicBezTo>
                    <a:pt x="279022" y="111585"/>
                    <a:pt x="263563" y="115099"/>
                    <a:pt x="270590" y="129152"/>
                  </a:cubicBezTo>
                  <a:cubicBezTo>
                    <a:pt x="276914" y="141800"/>
                    <a:pt x="288156" y="150232"/>
                    <a:pt x="303615" y="150232"/>
                  </a:cubicBezTo>
                  <a:cubicBezTo>
                    <a:pt x="342964" y="150232"/>
                    <a:pt x="382313" y="151637"/>
                    <a:pt x="421662" y="149529"/>
                  </a:cubicBezTo>
                  <a:cubicBezTo>
                    <a:pt x="443445" y="148124"/>
                    <a:pt x="446958" y="155853"/>
                    <a:pt x="446256" y="175528"/>
                  </a:cubicBezTo>
                  <a:cubicBezTo>
                    <a:pt x="444850" y="212769"/>
                    <a:pt x="445553" y="250713"/>
                    <a:pt x="446256" y="287954"/>
                  </a:cubicBezTo>
                  <a:cubicBezTo>
                    <a:pt x="446256" y="304818"/>
                    <a:pt x="441337" y="318169"/>
                    <a:pt x="428689" y="329411"/>
                  </a:cubicBezTo>
                  <a:cubicBezTo>
                    <a:pt x="413933" y="342059"/>
                    <a:pt x="399880" y="346275"/>
                    <a:pt x="385827" y="327303"/>
                  </a:cubicBezTo>
                  <a:cubicBezTo>
                    <a:pt x="375287" y="313250"/>
                    <a:pt x="364044" y="295683"/>
                    <a:pt x="342261" y="303412"/>
                  </a:cubicBezTo>
                  <a:cubicBezTo>
                    <a:pt x="316965" y="312547"/>
                    <a:pt x="300804" y="330114"/>
                    <a:pt x="298696" y="357518"/>
                  </a:cubicBezTo>
                  <a:cubicBezTo>
                    <a:pt x="296588" y="382814"/>
                    <a:pt x="297994" y="406704"/>
                    <a:pt x="318371" y="425676"/>
                  </a:cubicBezTo>
                  <a:cubicBezTo>
                    <a:pt x="342964" y="448161"/>
                    <a:pt x="358423" y="447459"/>
                    <a:pt x="380908" y="422865"/>
                  </a:cubicBezTo>
                  <a:cubicBezTo>
                    <a:pt x="390043" y="412325"/>
                    <a:pt x="397069" y="395462"/>
                    <a:pt x="415338" y="404596"/>
                  </a:cubicBezTo>
                  <a:cubicBezTo>
                    <a:pt x="432202" y="413028"/>
                    <a:pt x="445553" y="425676"/>
                    <a:pt x="446256" y="446054"/>
                  </a:cubicBezTo>
                  <a:cubicBezTo>
                    <a:pt x="446958" y="489618"/>
                    <a:pt x="445553" y="533887"/>
                    <a:pt x="446958" y="577451"/>
                  </a:cubicBezTo>
                  <a:cubicBezTo>
                    <a:pt x="447661" y="595721"/>
                    <a:pt x="436418" y="592910"/>
                    <a:pt x="425878" y="592910"/>
                  </a:cubicBezTo>
                  <a:cubicBezTo>
                    <a:pt x="355612" y="592910"/>
                    <a:pt x="288859" y="592910"/>
                    <a:pt x="222808" y="59291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11390" y="339509"/>
            <a:ext cx="10485335" cy="72424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5400" b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B95BECF-7CC4-4FB0-BED3-6B29D2B4F72F}"/>
              </a:ext>
            </a:extLst>
          </p:cNvPr>
          <p:cNvGrpSpPr/>
          <p:nvPr userDrawn="1"/>
        </p:nvGrpSpPr>
        <p:grpSpPr>
          <a:xfrm flipH="1">
            <a:off x="0" y="0"/>
            <a:ext cx="1208773" cy="1190767"/>
            <a:chOff x="11145152" y="142875"/>
            <a:chExt cx="1208773" cy="1190767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81851A4-0BBD-4C17-B403-090D09858555}"/>
                </a:ext>
              </a:extLst>
            </p:cNvPr>
            <p:cNvSpPr/>
            <p:nvPr userDrawn="1"/>
          </p:nvSpPr>
          <p:spPr>
            <a:xfrm>
              <a:off x="11753557" y="142875"/>
              <a:ext cx="600368" cy="800490"/>
            </a:xfrm>
            <a:custGeom>
              <a:avLst/>
              <a:gdLst>
                <a:gd name="connsiteX0" fmla="*/ 220672 w 442678"/>
                <a:gd name="connsiteY0" fmla="*/ 1219 h 590237"/>
                <a:gd name="connsiteX1" fmla="*/ 420228 w 442678"/>
                <a:gd name="connsiteY1" fmla="*/ 516 h 590237"/>
                <a:gd name="connsiteX2" fmla="*/ 443416 w 442678"/>
                <a:gd name="connsiteY2" fmla="*/ 23002 h 590237"/>
                <a:gd name="connsiteX3" fmla="*/ 443416 w 442678"/>
                <a:gd name="connsiteY3" fmla="*/ 420007 h 590237"/>
                <a:gd name="connsiteX4" fmla="*/ 419526 w 442678"/>
                <a:gd name="connsiteY4" fmla="*/ 443897 h 590237"/>
                <a:gd name="connsiteX5" fmla="*/ 304289 w 442678"/>
                <a:gd name="connsiteY5" fmla="*/ 443194 h 590237"/>
                <a:gd name="connsiteX6" fmla="*/ 274777 w 442678"/>
                <a:gd name="connsiteY6" fmla="*/ 453734 h 590237"/>
                <a:gd name="connsiteX7" fmla="*/ 275480 w 442678"/>
                <a:gd name="connsiteY7" fmla="*/ 481841 h 590237"/>
                <a:gd name="connsiteX8" fmla="*/ 302181 w 442678"/>
                <a:gd name="connsiteY8" fmla="*/ 536649 h 590237"/>
                <a:gd name="connsiteX9" fmla="*/ 244562 w 442678"/>
                <a:gd name="connsiteY9" fmla="*/ 589349 h 590237"/>
                <a:gd name="connsiteX10" fmla="*/ 147595 w 442678"/>
                <a:gd name="connsiteY10" fmla="*/ 552107 h 590237"/>
                <a:gd name="connsiteX11" fmla="*/ 160243 w 442678"/>
                <a:gd name="connsiteY11" fmla="*/ 487462 h 590237"/>
                <a:gd name="connsiteX12" fmla="*/ 175701 w 442678"/>
                <a:gd name="connsiteY12" fmla="*/ 464977 h 590237"/>
                <a:gd name="connsiteX13" fmla="*/ 144081 w 442678"/>
                <a:gd name="connsiteY13" fmla="*/ 443194 h 590237"/>
                <a:gd name="connsiteX14" fmla="*/ 23926 w 442678"/>
                <a:gd name="connsiteY14" fmla="*/ 443897 h 590237"/>
                <a:gd name="connsiteX15" fmla="*/ 35 w 442678"/>
                <a:gd name="connsiteY15" fmla="*/ 419304 h 590237"/>
                <a:gd name="connsiteX16" fmla="*/ 35 w 442678"/>
                <a:gd name="connsiteY16" fmla="*/ 301959 h 590237"/>
                <a:gd name="connsiteX17" fmla="*/ 25331 w 442678"/>
                <a:gd name="connsiteY17" fmla="*/ 256989 h 590237"/>
                <a:gd name="connsiteX18" fmla="*/ 54843 w 442678"/>
                <a:gd name="connsiteY18" fmla="*/ 259799 h 590237"/>
                <a:gd name="connsiteX19" fmla="*/ 129325 w 442678"/>
                <a:gd name="connsiteY19" fmla="*/ 273852 h 590237"/>
                <a:gd name="connsiteX20" fmla="*/ 132839 w 442678"/>
                <a:gd name="connsiteY20" fmla="*/ 174074 h 590237"/>
                <a:gd name="connsiteX21" fmla="*/ 63275 w 442678"/>
                <a:gd name="connsiteY21" fmla="*/ 172669 h 590237"/>
                <a:gd name="connsiteX22" fmla="*/ 36574 w 442678"/>
                <a:gd name="connsiteY22" fmla="*/ 190938 h 590237"/>
                <a:gd name="connsiteX23" fmla="*/ 2143 w 442678"/>
                <a:gd name="connsiteY23" fmla="*/ 155805 h 590237"/>
                <a:gd name="connsiteX24" fmla="*/ 738 w 442678"/>
                <a:gd name="connsiteY24" fmla="*/ 11056 h 590237"/>
                <a:gd name="connsiteX25" fmla="*/ 21115 w 442678"/>
                <a:gd name="connsiteY25" fmla="*/ 1219 h 590237"/>
                <a:gd name="connsiteX26" fmla="*/ 220672 w 442678"/>
                <a:gd name="connsiteY26" fmla="*/ 1219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42678" h="590237">
                  <a:moveTo>
                    <a:pt x="220672" y="1219"/>
                  </a:moveTo>
                  <a:cubicBezTo>
                    <a:pt x="287425" y="1219"/>
                    <a:pt x="354178" y="1922"/>
                    <a:pt x="420228" y="516"/>
                  </a:cubicBezTo>
                  <a:cubicBezTo>
                    <a:pt x="437795" y="516"/>
                    <a:pt x="443416" y="4732"/>
                    <a:pt x="443416" y="23002"/>
                  </a:cubicBezTo>
                  <a:cubicBezTo>
                    <a:pt x="442714" y="155102"/>
                    <a:pt x="442714" y="287906"/>
                    <a:pt x="443416" y="420007"/>
                  </a:cubicBezTo>
                  <a:cubicBezTo>
                    <a:pt x="443416" y="438978"/>
                    <a:pt x="438498" y="444600"/>
                    <a:pt x="419526" y="443897"/>
                  </a:cubicBezTo>
                  <a:cubicBezTo>
                    <a:pt x="381582" y="442492"/>
                    <a:pt x="342935" y="443194"/>
                    <a:pt x="304289" y="443194"/>
                  </a:cubicBezTo>
                  <a:cubicBezTo>
                    <a:pt x="293046" y="443194"/>
                    <a:pt x="283209" y="444600"/>
                    <a:pt x="274777" y="453734"/>
                  </a:cubicBezTo>
                  <a:cubicBezTo>
                    <a:pt x="264940" y="463572"/>
                    <a:pt x="261426" y="472004"/>
                    <a:pt x="275480" y="481841"/>
                  </a:cubicBezTo>
                  <a:cubicBezTo>
                    <a:pt x="294451" y="494489"/>
                    <a:pt x="310613" y="511353"/>
                    <a:pt x="302181" y="536649"/>
                  </a:cubicBezTo>
                  <a:cubicBezTo>
                    <a:pt x="293046" y="564053"/>
                    <a:pt x="274777" y="583025"/>
                    <a:pt x="244562" y="589349"/>
                  </a:cubicBezTo>
                  <a:cubicBezTo>
                    <a:pt x="200997" y="597781"/>
                    <a:pt x="167269" y="585133"/>
                    <a:pt x="147595" y="552107"/>
                  </a:cubicBezTo>
                  <a:cubicBezTo>
                    <a:pt x="132136" y="526811"/>
                    <a:pt x="136352" y="509948"/>
                    <a:pt x="160243" y="487462"/>
                  </a:cubicBezTo>
                  <a:cubicBezTo>
                    <a:pt x="167269" y="481138"/>
                    <a:pt x="181323" y="478328"/>
                    <a:pt x="175701" y="464977"/>
                  </a:cubicBezTo>
                  <a:cubicBezTo>
                    <a:pt x="170080" y="452329"/>
                    <a:pt x="159540" y="443194"/>
                    <a:pt x="144081" y="443194"/>
                  </a:cubicBezTo>
                  <a:cubicBezTo>
                    <a:pt x="104030" y="443194"/>
                    <a:pt x="63978" y="441789"/>
                    <a:pt x="23926" y="443897"/>
                  </a:cubicBezTo>
                  <a:cubicBezTo>
                    <a:pt x="4251" y="444600"/>
                    <a:pt x="35" y="438276"/>
                    <a:pt x="35" y="419304"/>
                  </a:cubicBezTo>
                  <a:cubicBezTo>
                    <a:pt x="1441" y="379955"/>
                    <a:pt x="738" y="340605"/>
                    <a:pt x="35" y="301959"/>
                  </a:cubicBezTo>
                  <a:cubicBezTo>
                    <a:pt x="-667" y="281582"/>
                    <a:pt x="9170" y="267528"/>
                    <a:pt x="25331" y="256989"/>
                  </a:cubicBezTo>
                  <a:cubicBezTo>
                    <a:pt x="35871" y="249962"/>
                    <a:pt x="45006" y="250665"/>
                    <a:pt x="54843" y="259799"/>
                  </a:cubicBezTo>
                  <a:cubicBezTo>
                    <a:pt x="94895" y="297743"/>
                    <a:pt x="103327" y="299148"/>
                    <a:pt x="129325" y="273852"/>
                  </a:cubicBezTo>
                  <a:cubicBezTo>
                    <a:pt x="153919" y="249259"/>
                    <a:pt x="156027" y="200073"/>
                    <a:pt x="132839" y="174074"/>
                  </a:cubicBezTo>
                  <a:cubicBezTo>
                    <a:pt x="107543" y="144562"/>
                    <a:pt x="87868" y="144562"/>
                    <a:pt x="63275" y="172669"/>
                  </a:cubicBezTo>
                  <a:cubicBezTo>
                    <a:pt x="56248" y="181101"/>
                    <a:pt x="50627" y="195154"/>
                    <a:pt x="36574" y="190938"/>
                  </a:cubicBezTo>
                  <a:cubicBezTo>
                    <a:pt x="19007" y="186019"/>
                    <a:pt x="2846" y="174074"/>
                    <a:pt x="2143" y="155805"/>
                  </a:cubicBezTo>
                  <a:cubicBezTo>
                    <a:pt x="-667" y="107321"/>
                    <a:pt x="738" y="58837"/>
                    <a:pt x="738" y="11056"/>
                  </a:cubicBezTo>
                  <a:cubicBezTo>
                    <a:pt x="738" y="-5105"/>
                    <a:pt x="13386" y="1219"/>
                    <a:pt x="21115" y="1219"/>
                  </a:cubicBezTo>
                  <a:cubicBezTo>
                    <a:pt x="87868" y="1219"/>
                    <a:pt x="153919" y="1219"/>
                    <a:pt x="220672" y="121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87AC781-B687-42A8-A4AA-0C2F0CC1F5DE}"/>
                </a:ext>
              </a:extLst>
            </p:cNvPr>
            <p:cNvSpPr/>
            <p:nvPr userDrawn="1"/>
          </p:nvSpPr>
          <p:spPr>
            <a:xfrm>
              <a:off x="11145152" y="142875"/>
              <a:ext cx="800490" cy="600368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106BFAA-9E7D-48B3-BB8F-6A96B10AFCB5}"/>
                </a:ext>
              </a:extLst>
            </p:cNvPr>
            <p:cNvSpPr/>
            <p:nvPr userDrawn="1"/>
          </p:nvSpPr>
          <p:spPr>
            <a:xfrm>
              <a:off x="11553436" y="733275"/>
              <a:ext cx="800489" cy="600367"/>
            </a:xfrm>
            <a:custGeom>
              <a:avLst/>
              <a:gdLst>
                <a:gd name="connsiteX0" fmla="*/ 591733 w 590237"/>
                <a:gd name="connsiteY0" fmla="*/ 225014 h 442678"/>
                <a:gd name="connsiteX1" fmla="*/ 592436 w 590237"/>
                <a:gd name="connsiteY1" fmla="*/ 425273 h 442678"/>
                <a:gd name="connsiteX2" fmla="*/ 572761 w 590237"/>
                <a:gd name="connsiteY2" fmla="*/ 444948 h 442678"/>
                <a:gd name="connsiteX3" fmla="*/ 170135 w 590237"/>
                <a:gd name="connsiteY3" fmla="*/ 444948 h 442678"/>
                <a:gd name="connsiteX4" fmla="*/ 149758 w 590237"/>
                <a:gd name="connsiteY4" fmla="*/ 423165 h 442678"/>
                <a:gd name="connsiteX5" fmla="*/ 150460 w 590237"/>
                <a:gd name="connsiteY5" fmla="*/ 313549 h 442678"/>
                <a:gd name="connsiteX6" fmla="*/ 145542 w 590237"/>
                <a:gd name="connsiteY6" fmla="*/ 284038 h 442678"/>
                <a:gd name="connsiteX7" fmla="*/ 108300 w 590237"/>
                <a:gd name="connsiteY7" fmla="*/ 279822 h 442678"/>
                <a:gd name="connsiteX8" fmla="*/ 21170 w 590237"/>
                <a:gd name="connsiteY8" fmla="*/ 281227 h 442678"/>
                <a:gd name="connsiteX9" fmla="*/ 42953 w 590237"/>
                <a:gd name="connsiteY9" fmla="*/ 147018 h 442678"/>
                <a:gd name="connsiteX10" fmla="*/ 103382 w 590237"/>
                <a:gd name="connsiteY10" fmla="*/ 160369 h 442678"/>
                <a:gd name="connsiteX11" fmla="*/ 127272 w 590237"/>
                <a:gd name="connsiteY11" fmla="*/ 177233 h 442678"/>
                <a:gd name="connsiteX12" fmla="*/ 149758 w 590237"/>
                <a:gd name="connsiteY12" fmla="*/ 142802 h 442678"/>
                <a:gd name="connsiteX13" fmla="*/ 149758 w 590237"/>
                <a:gd name="connsiteY13" fmla="*/ 24755 h 442678"/>
                <a:gd name="connsiteX14" fmla="*/ 172946 w 590237"/>
                <a:gd name="connsiteY14" fmla="*/ 162 h 442678"/>
                <a:gd name="connsiteX15" fmla="*/ 288182 w 590237"/>
                <a:gd name="connsiteY15" fmla="*/ 864 h 442678"/>
                <a:gd name="connsiteX16" fmla="*/ 328937 w 590237"/>
                <a:gd name="connsiteY16" fmla="*/ 19134 h 442678"/>
                <a:gd name="connsiteX17" fmla="*/ 326126 w 590237"/>
                <a:gd name="connsiteY17" fmla="*/ 62699 h 442678"/>
                <a:gd name="connsiteX18" fmla="*/ 302938 w 590237"/>
                <a:gd name="connsiteY18" fmla="*/ 106967 h 442678"/>
                <a:gd name="connsiteX19" fmla="*/ 357746 w 590237"/>
                <a:gd name="connsiteY19" fmla="*/ 149829 h 442678"/>
                <a:gd name="connsiteX20" fmla="*/ 432228 w 590237"/>
                <a:gd name="connsiteY20" fmla="*/ 121020 h 442678"/>
                <a:gd name="connsiteX21" fmla="*/ 423797 w 590237"/>
                <a:gd name="connsiteY21" fmla="*/ 69023 h 442678"/>
                <a:gd name="connsiteX22" fmla="*/ 402717 w 590237"/>
                <a:gd name="connsiteY22" fmla="*/ 35997 h 442678"/>
                <a:gd name="connsiteX23" fmla="*/ 444877 w 590237"/>
                <a:gd name="connsiteY23" fmla="*/ 2269 h 442678"/>
                <a:gd name="connsiteX24" fmla="*/ 579085 w 590237"/>
                <a:gd name="connsiteY24" fmla="*/ 1567 h 442678"/>
                <a:gd name="connsiteX25" fmla="*/ 591031 w 590237"/>
                <a:gd name="connsiteY25" fmla="*/ 19836 h 442678"/>
                <a:gd name="connsiteX26" fmla="*/ 591733 w 590237"/>
                <a:gd name="connsiteY26" fmla="*/ 225014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0237" h="442678">
                  <a:moveTo>
                    <a:pt x="591733" y="225014"/>
                  </a:moveTo>
                  <a:cubicBezTo>
                    <a:pt x="591733" y="291767"/>
                    <a:pt x="591031" y="358520"/>
                    <a:pt x="592436" y="425273"/>
                  </a:cubicBezTo>
                  <a:cubicBezTo>
                    <a:pt x="592436" y="440732"/>
                    <a:pt x="588923" y="444948"/>
                    <a:pt x="572761" y="444948"/>
                  </a:cubicBezTo>
                  <a:cubicBezTo>
                    <a:pt x="438552" y="444245"/>
                    <a:pt x="304344" y="444245"/>
                    <a:pt x="170135" y="444948"/>
                  </a:cubicBezTo>
                  <a:cubicBezTo>
                    <a:pt x="151866" y="444948"/>
                    <a:pt x="149758" y="438624"/>
                    <a:pt x="149758" y="423165"/>
                  </a:cubicBezTo>
                  <a:cubicBezTo>
                    <a:pt x="150460" y="386627"/>
                    <a:pt x="149758" y="350088"/>
                    <a:pt x="150460" y="313549"/>
                  </a:cubicBezTo>
                  <a:cubicBezTo>
                    <a:pt x="150460" y="303712"/>
                    <a:pt x="150460" y="293172"/>
                    <a:pt x="145542" y="284038"/>
                  </a:cubicBezTo>
                  <a:cubicBezTo>
                    <a:pt x="135002" y="265066"/>
                    <a:pt x="122354" y="263661"/>
                    <a:pt x="108300" y="279822"/>
                  </a:cubicBezTo>
                  <a:cubicBezTo>
                    <a:pt x="78086" y="314252"/>
                    <a:pt x="52087" y="314955"/>
                    <a:pt x="21170" y="281227"/>
                  </a:cubicBezTo>
                  <a:cubicBezTo>
                    <a:pt x="-14666" y="242581"/>
                    <a:pt x="-3423" y="172314"/>
                    <a:pt x="42953" y="147018"/>
                  </a:cubicBezTo>
                  <a:cubicBezTo>
                    <a:pt x="67546" y="133668"/>
                    <a:pt x="85815" y="141397"/>
                    <a:pt x="103382" y="160369"/>
                  </a:cubicBezTo>
                  <a:cubicBezTo>
                    <a:pt x="109706" y="167395"/>
                    <a:pt x="113219" y="182854"/>
                    <a:pt x="127272" y="177233"/>
                  </a:cubicBezTo>
                  <a:cubicBezTo>
                    <a:pt x="142028" y="171612"/>
                    <a:pt x="149758" y="158963"/>
                    <a:pt x="149758" y="142802"/>
                  </a:cubicBezTo>
                  <a:cubicBezTo>
                    <a:pt x="149758" y="103453"/>
                    <a:pt x="150460" y="64104"/>
                    <a:pt x="149758" y="24755"/>
                  </a:cubicBezTo>
                  <a:cubicBezTo>
                    <a:pt x="149055" y="6486"/>
                    <a:pt x="152568" y="-1244"/>
                    <a:pt x="172946" y="162"/>
                  </a:cubicBezTo>
                  <a:cubicBezTo>
                    <a:pt x="210889" y="2269"/>
                    <a:pt x="249536" y="864"/>
                    <a:pt x="288182" y="864"/>
                  </a:cubicBezTo>
                  <a:cubicBezTo>
                    <a:pt x="305046" y="864"/>
                    <a:pt x="318397" y="6486"/>
                    <a:pt x="328937" y="19134"/>
                  </a:cubicBezTo>
                  <a:cubicBezTo>
                    <a:pt x="342990" y="34592"/>
                    <a:pt x="345098" y="48646"/>
                    <a:pt x="326126" y="62699"/>
                  </a:cubicBezTo>
                  <a:cubicBezTo>
                    <a:pt x="312073" y="73239"/>
                    <a:pt x="293804" y="85184"/>
                    <a:pt x="302938" y="106967"/>
                  </a:cubicBezTo>
                  <a:cubicBezTo>
                    <a:pt x="312775" y="130857"/>
                    <a:pt x="328937" y="147721"/>
                    <a:pt x="357746" y="149829"/>
                  </a:cubicBezTo>
                  <a:cubicBezTo>
                    <a:pt x="387258" y="151234"/>
                    <a:pt x="413959" y="149126"/>
                    <a:pt x="432228" y="121020"/>
                  </a:cubicBezTo>
                  <a:cubicBezTo>
                    <a:pt x="446282" y="99940"/>
                    <a:pt x="441363" y="84481"/>
                    <a:pt x="423797" y="69023"/>
                  </a:cubicBezTo>
                  <a:cubicBezTo>
                    <a:pt x="413959" y="60590"/>
                    <a:pt x="395690" y="55672"/>
                    <a:pt x="402717" y="35997"/>
                  </a:cubicBezTo>
                  <a:cubicBezTo>
                    <a:pt x="409743" y="16323"/>
                    <a:pt x="424499" y="2972"/>
                    <a:pt x="444877" y="2269"/>
                  </a:cubicBezTo>
                  <a:cubicBezTo>
                    <a:pt x="489847" y="864"/>
                    <a:pt x="534115" y="2269"/>
                    <a:pt x="579085" y="1567"/>
                  </a:cubicBezTo>
                  <a:cubicBezTo>
                    <a:pt x="595246" y="1567"/>
                    <a:pt x="591031" y="12107"/>
                    <a:pt x="591031" y="19836"/>
                  </a:cubicBezTo>
                  <a:cubicBezTo>
                    <a:pt x="591733" y="87995"/>
                    <a:pt x="591733" y="156856"/>
                    <a:pt x="591733" y="22501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3000897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" name="Group 144">
            <a:extLst>
              <a:ext uri="{FF2B5EF4-FFF2-40B4-BE49-F238E27FC236}">
                <a16:creationId xmlns:a16="http://schemas.microsoft.com/office/drawing/2014/main" id="{F7D3A34B-EE2A-4F72-8096-FD424BB4663C}"/>
              </a:ext>
            </a:extLst>
          </p:cNvPr>
          <p:cNvGrpSpPr/>
          <p:nvPr userDrawn="1"/>
        </p:nvGrpSpPr>
        <p:grpSpPr>
          <a:xfrm>
            <a:off x="0" y="209318"/>
            <a:ext cx="423289" cy="6470552"/>
            <a:chOff x="0" y="209318"/>
            <a:chExt cx="423289" cy="647055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DF0B521-50AF-4456-A8D6-9E82540A182C}"/>
                </a:ext>
              </a:extLst>
            </p:cNvPr>
            <p:cNvSpPr/>
            <p:nvPr userDrawn="1"/>
          </p:nvSpPr>
          <p:spPr>
            <a:xfrm>
              <a:off x="1" y="1885319"/>
              <a:ext cx="419693" cy="419693"/>
            </a:xfrm>
            <a:custGeom>
              <a:avLst/>
              <a:gdLst>
                <a:gd name="connsiteX0" fmla="*/ 2191 w 590237"/>
                <a:gd name="connsiteY0" fmla="*/ 222106 h 590237"/>
                <a:gd name="connsiteX1" fmla="*/ 1488 w 590237"/>
                <a:gd name="connsiteY1" fmla="*/ 22549 h 590237"/>
                <a:gd name="connsiteX2" fmla="*/ 23973 w 590237"/>
                <a:gd name="connsiteY2" fmla="*/ 64 h 590237"/>
                <a:gd name="connsiteX3" fmla="*/ 136400 w 590237"/>
                <a:gd name="connsiteY3" fmla="*/ 767 h 590237"/>
                <a:gd name="connsiteX4" fmla="*/ 176451 w 590237"/>
                <a:gd name="connsiteY4" fmla="*/ 14820 h 590237"/>
                <a:gd name="connsiteX5" fmla="*/ 175749 w 590237"/>
                <a:gd name="connsiteY5" fmla="*/ 63304 h 590237"/>
                <a:gd name="connsiteX6" fmla="*/ 182775 w 590237"/>
                <a:gd name="connsiteY6" fmla="*/ 141300 h 590237"/>
                <a:gd name="connsiteX7" fmla="*/ 277635 w 590237"/>
                <a:gd name="connsiteY7" fmla="*/ 127949 h 590237"/>
                <a:gd name="connsiteX8" fmla="*/ 274122 w 590237"/>
                <a:gd name="connsiteY8" fmla="*/ 67520 h 590237"/>
                <a:gd name="connsiteX9" fmla="*/ 254447 w 590237"/>
                <a:gd name="connsiteY9" fmla="*/ 35900 h 590237"/>
                <a:gd name="connsiteX10" fmla="*/ 290986 w 590237"/>
                <a:gd name="connsiteY10" fmla="*/ 3577 h 590237"/>
                <a:gd name="connsiteX11" fmla="*/ 432924 w 590237"/>
                <a:gd name="connsiteY11" fmla="*/ 1469 h 590237"/>
                <a:gd name="connsiteX12" fmla="*/ 442761 w 590237"/>
                <a:gd name="connsiteY12" fmla="*/ 19739 h 590237"/>
                <a:gd name="connsiteX13" fmla="*/ 442761 w 590237"/>
                <a:gd name="connsiteY13" fmla="*/ 134976 h 590237"/>
                <a:gd name="connsiteX14" fmla="*/ 446977 w 590237"/>
                <a:gd name="connsiteY14" fmla="*/ 161677 h 590237"/>
                <a:gd name="connsiteX15" fmla="*/ 484921 w 590237"/>
                <a:gd name="connsiteY15" fmla="*/ 166595 h 590237"/>
                <a:gd name="connsiteX16" fmla="*/ 568538 w 590237"/>
                <a:gd name="connsiteY16" fmla="*/ 163082 h 590237"/>
                <a:gd name="connsiteX17" fmla="*/ 543242 w 590237"/>
                <a:gd name="connsiteY17" fmla="*/ 302912 h 590237"/>
                <a:gd name="connsiteX18" fmla="*/ 489840 w 590237"/>
                <a:gd name="connsiteY18" fmla="*/ 288156 h 590237"/>
                <a:gd name="connsiteX19" fmla="*/ 463138 w 590237"/>
                <a:gd name="connsiteY19" fmla="*/ 270590 h 590237"/>
                <a:gd name="connsiteX20" fmla="*/ 442058 w 590237"/>
                <a:gd name="connsiteY20" fmla="*/ 309236 h 590237"/>
                <a:gd name="connsiteX21" fmla="*/ 442761 w 590237"/>
                <a:gd name="connsiteY21" fmla="*/ 418852 h 590237"/>
                <a:gd name="connsiteX22" fmla="*/ 416762 w 590237"/>
                <a:gd name="connsiteY22" fmla="*/ 446256 h 590237"/>
                <a:gd name="connsiteX23" fmla="*/ 307147 w 590237"/>
                <a:gd name="connsiteY23" fmla="*/ 445553 h 590237"/>
                <a:gd name="connsiteX24" fmla="*/ 274824 w 590237"/>
                <a:gd name="connsiteY24" fmla="*/ 456796 h 590237"/>
                <a:gd name="connsiteX25" fmla="*/ 274824 w 590237"/>
                <a:gd name="connsiteY25" fmla="*/ 484902 h 590237"/>
                <a:gd name="connsiteX26" fmla="*/ 300120 w 590237"/>
                <a:gd name="connsiteY26" fmla="*/ 544629 h 590237"/>
                <a:gd name="connsiteX27" fmla="*/ 233367 w 590237"/>
                <a:gd name="connsiteY27" fmla="*/ 593113 h 590237"/>
                <a:gd name="connsiteX28" fmla="*/ 151156 w 590237"/>
                <a:gd name="connsiteY28" fmla="*/ 562195 h 590237"/>
                <a:gd name="connsiteX29" fmla="*/ 157480 w 590237"/>
                <a:gd name="connsiteY29" fmla="*/ 492632 h 590237"/>
                <a:gd name="connsiteX30" fmla="*/ 174343 w 590237"/>
                <a:gd name="connsiteY30" fmla="*/ 465930 h 590237"/>
                <a:gd name="connsiteX31" fmla="*/ 138508 w 590237"/>
                <a:gd name="connsiteY31" fmla="*/ 445553 h 590237"/>
                <a:gd name="connsiteX32" fmla="*/ 20460 w 590237"/>
                <a:gd name="connsiteY32" fmla="*/ 446256 h 590237"/>
                <a:gd name="connsiteX33" fmla="*/ 83 w 590237"/>
                <a:gd name="connsiteY33" fmla="*/ 425176 h 590237"/>
                <a:gd name="connsiteX34" fmla="*/ 2191 w 590237"/>
                <a:gd name="connsiteY34" fmla="*/ 222106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90237" h="590237">
                  <a:moveTo>
                    <a:pt x="2191" y="222106"/>
                  </a:moveTo>
                  <a:cubicBezTo>
                    <a:pt x="2191" y="155353"/>
                    <a:pt x="2893" y="88600"/>
                    <a:pt x="1488" y="22549"/>
                  </a:cubicBezTo>
                  <a:cubicBezTo>
                    <a:pt x="1488" y="4280"/>
                    <a:pt x="6407" y="-639"/>
                    <a:pt x="23973" y="64"/>
                  </a:cubicBezTo>
                  <a:cubicBezTo>
                    <a:pt x="61215" y="1469"/>
                    <a:pt x="98456" y="767"/>
                    <a:pt x="136400" y="767"/>
                  </a:cubicBezTo>
                  <a:cubicBezTo>
                    <a:pt x="151156" y="767"/>
                    <a:pt x="165209" y="3577"/>
                    <a:pt x="176451" y="14820"/>
                  </a:cubicBezTo>
                  <a:cubicBezTo>
                    <a:pt x="196126" y="33792"/>
                    <a:pt x="197531" y="47143"/>
                    <a:pt x="175749" y="63304"/>
                  </a:cubicBezTo>
                  <a:cubicBezTo>
                    <a:pt x="134994" y="92816"/>
                    <a:pt x="153264" y="120220"/>
                    <a:pt x="182775" y="141300"/>
                  </a:cubicBezTo>
                  <a:cubicBezTo>
                    <a:pt x="208774" y="160271"/>
                    <a:pt x="256555" y="151840"/>
                    <a:pt x="277635" y="127949"/>
                  </a:cubicBezTo>
                  <a:cubicBezTo>
                    <a:pt x="299418" y="103356"/>
                    <a:pt x="298012" y="89302"/>
                    <a:pt x="274122" y="67520"/>
                  </a:cubicBezTo>
                  <a:cubicBezTo>
                    <a:pt x="264987" y="59088"/>
                    <a:pt x="248123" y="54169"/>
                    <a:pt x="254447" y="35900"/>
                  </a:cubicBezTo>
                  <a:cubicBezTo>
                    <a:pt x="260069" y="18333"/>
                    <a:pt x="272716" y="4280"/>
                    <a:pt x="290986" y="3577"/>
                  </a:cubicBezTo>
                  <a:cubicBezTo>
                    <a:pt x="338064" y="1469"/>
                    <a:pt x="385845" y="1469"/>
                    <a:pt x="432924" y="1469"/>
                  </a:cubicBezTo>
                  <a:cubicBezTo>
                    <a:pt x="446274" y="1469"/>
                    <a:pt x="442761" y="12009"/>
                    <a:pt x="442761" y="19739"/>
                  </a:cubicBezTo>
                  <a:cubicBezTo>
                    <a:pt x="442761" y="58385"/>
                    <a:pt x="442761" y="96329"/>
                    <a:pt x="442761" y="134976"/>
                  </a:cubicBezTo>
                  <a:cubicBezTo>
                    <a:pt x="442761" y="144110"/>
                    <a:pt x="442761" y="153245"/>
                    <a:pt x="446977" y="161677"/>
                  </a:cubicBezTo>
                  <a:cubicBezTo>
                    <a:pt x="457517" y="181351"/>
                    <a:pt x="470165" y="182757"/>
                    <a:pt x="484921" y="166595"/>
                  </a:cubicBezTo>
                  <a:cubicBezTo>
                    <a:pt x="513028" y="134273"/>
                    <a:pt x="537621" y="133570"/>
                    <a:pt x="568538" y="163082"/>
                  </a:cubicBezTo>
                  <a:cubicBezTo>
                    <a:pt x="609995" y="203134"/>
                    <a:pt x="595942" y="279724"/>
                    <a:pt x="543242" y="302912"/>
                  </a:cubicBezTo>
                  <a:cubicBezTo>
                    <a:pt x="520757" y="312750"/>
                    <a:pt x="505298" y="302912"/>
                    <a:pt x="489840" y="288156"/>
                  </a:cubicBezTo>
                  <a:cubicBezTo>
                    <a:pt x="482110" y="281130"/>
                    <a:pt x="479300" y="262860"/>
                    <a:pt x="463138" y="270590"/>
                  </a:cubicBezTo>
                  <a:cubicBezTo>
                    <a:pt x="447680" y="277616"/>
                    <a:pt x="442058" y="291670"/>
                    <a:pt x="442058" y="309236"/>
                  </a:cubicBezTo>
                  <a:cubicBezTo>
                    <a:pt x="442761" y="345775"/>
                    <a:pt x="441356" y="382313"/>
                    <a:pt x="442761" y="418852"/>
                  </a:cubicBezTo>
                  <a:cubicBezTo>
                    <a:pt x="443464" y="439229"/>
                    <a:pt x="439950" y="447661"/>
                    <a:pt x="416762" y="446256"/>
                  </a:cubicBezTo>
                  <a:cubicBezTo>
                    <a:pt x="380224" y="444148"/>
                    <a:pt x="343685" y="446256"/>
                    <a:pt x="307147" y="445553"/>
                  </a:cubicBezTo>
                  <a:cubicBezTo>
                    <a:pt x="294499" y="445553"/>
                    <a:pt x="283959" y="448364"/>
                    <a:pt x="274824" y="456796"/>
                  </a:cubicBezTo>
                  <a:cubicBezTo>
                    <a:pt x="264987" y="465930"/>
                    <a:pt x="260069" y="474362"/>
                    <a:pt x="274824" y="484902"/>
                  </a:cubicBezTo>
                  <a:cubicBezTo>
                    <a:pt x="295202" y="498955"/>
                    <a:pt x="312066" y="517225"/>
                    <a:pt x="300120" y="544629"/>
                  </a:cubicBezTo>
                  <a:cubicBezTo>
                    <a:pt x="287472" y="572735"/>
                    <a:pt x="267095" y="591707"/>
                    <a:pt x="233367" y="593113"/>
                  </a:cubicBezTo>
                  <a:cubicBezTo>
                    <a:pt x="201045" y="595221"/>
                    <a:pt x="171533" y="591004"/>
                    <a:pt x="151156" y="562195"/>
                  </a:cubicBezTo>
                  <a:cubicBezTo>
                    <a:pt x="132184" y="535494"/>
                    <a:pt x="133589" y="515819"/>
                    <a:pt x="157480" y="492632"/>
                  </a:cubicBezTo>
                  <a:cubicBezTo>
                    <a:pt x="164506" y="485605"/>
                    <a:pt x="182775" y="482092"/>
                    <a:pt x="174343" y="465930"/>
                  </a:cubicBezTo>
                  <a:cubicBezTo>
                    <a:pt x="167317" y="452580"/>
                    <a:pt x="154669" y="445553"/>
                    <a:pt x="138508" y="445553"/>
                  </a:cubicBezTo>
                  <a:cubicBezTo>
                    <a:pt x="99158" y="446256"/>
                    <a:pt x="59809" y="444850"/>
                    <a:pt x="20460" y="446256"/>
                  </a:cubicBezTo>
                  <a:cubicBezTo>
                    <a:pt x="2893" y="446958"/>
                    <a:pt x="-620" y="441337"/>
                    <a:pt x="83" y="425176"/>
                  </a:cubicBezTo>
                  <a:cubicBezTo>
                    <a:pt x="2893" y="355612"/>
                    <a:pt x="2191" y="288859"/>
                    <a:pt x="2191" y="22210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71E9FA66-30EC-4E1A-8E9E-45C8AACA730D}"/>
                </a:ext>
              </a:extLst>
            </p:cNvPr>
            <p:cNvGrpSpPr/>
            <p:nvPr userDrawn="1"/>
          </p:nvGrpSpPr>
          <p:grpSpPr>
            <a:xfrm rot="5400000">
              <a:off x="-2027147" y="4229434"/>
              <a:ext cx="4477583" cy="423289"/>
              <a:chOff x="1285960" y="3552413"/>
              <a:chExt cx="4477583" cy="423289"/>
            </a:xfrm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DF06D04E-1BE0-4F11-BC8A-18AF187D3D5B}"/>
                  </a:ext>
                </a:extLst>
              </p:cNvPr>
              <p:cNvSpPr/>
              <p:nvPr userDrawn="1"/>
            </p:nvSpPr>
            <p:spPr>
              <a:xfrm>
                <a:off x="5238927" y="3658768"/>
                <a:ext cx="524616" cy="314770"/>
              </a:xfrm>
              <a:custGeom>
                <a:avLst/>
                <a:gdLst>
                  <a:gd name="connsiteX0" fmla="*/ 370725 w 737797"/>
                  <a:gd name="connsiteY0" fmla="*/ 441321 h 442678"/>
                  <a:gd name="connsiteX1" fmla="*/ 178898 w 737797"/>
                  <a:gd name="connsiteY1" fmla="*/ 442023 h 442678"/>
                  <a:gd name="connsiteX2" fmla="*/ 148684 w 737797"/>
                  <a:gd name="connsiteY2" fmla="*/ 413214 h 442678"/>
                  <a:gd name="connsiteX3" fmla="*/ 149386 w 737797"/>
                  <a:gd name="connsiteY3" fmla="*/ 303599 h 442678"/>
                  <a:gd name="connsiteX4" fmla="*/ 138846 w 737797"/>
                  <a:gd name="connsiteY4" fmla="*/ 274087 h 442678"/>
                  <a:gd name="connsiteX5" fmla="*/ 110037 w 737797"/>
                  <a:gd name="connsiteY5" fmla="*/ 274790 h 442678"/>
                  <a:gd name="connsiteX6" fmla="*/ 55230 w 737797"/>
                  <a:gd name="connsiteY6" fmla="*/ 301491 h 442678"/>
                  <a:gd name="connsiteX7" fmla="*/ 2530 w 737797"/>
                  <a:gd name="connsiteY7" fmla="*/ 243872 h 442678"/>
                  <a:gd name="connsiteX8" fmla="*/ 40473 w 737797"/>
                  <a:gd name="connsiteY8" fmla="*/ 146905 h 442678"/>
                  <a:gd name="connsiteX9" fmla="*/ 105119 w 737797"/>
                  <a:gd name="connsiteY9" fmla="*/ 160255 h 442678"/>
                  <a:gd name="connsiteX10" fmla="*/ 127604 w 737797"/>
                  <a:gd name="connsiteY10" fmla="*/ 175714 h 442678"/>
                  <a:gd name="connsiteX11" fmla="*/ 149386 w 737797"/>
                  <a:gd name="connsiteY11" fmla="*/ 143391 h 442678"/>
                  <a:gd name="connsiteX12" fmla="*/ 148684 w 737797"/>
                  <a:gd name="connsiteY12" fmla="*/ 23236 h 442678"/>
                  <a:gd name="connsiteX13" fmla="*/ 170466 w 737797"/>
                  <a:gd name="connsiteY13" fmla="*/ 48 h 442678"/>
                  <a:gd name="connsiteX14" fmla="*/ 290622 w 737797"/>
                  <a:gd name="connsiteY14" fmla="*/ 751 h 442678"/>
                  <a:gd name="connsiteX15" fmla="*/ 330673 w 737797"/>
                  <a:gd name="connsiteY15" fmla="*/ 19722 h 442678"/>
                  <a:gd name="connsiteX16" fmla="*/ 327160 w 737797"/>
                  <a:gd name="connsiteY16" fmla="*/ 59072 h 442678"/>
                  <a:gd name="connsiteX17" fmla="*/ 301864 w 737797"/>
                  <a:gd name="connsiteY17" fmla="*/ 105447 h 442678"/>
                  <a:gd name="connsiteX18" fmla="*/ 357375 w 737797"/>
                  <a:gd name="connsiteY18" fmla="*/ 148310 h 442678"/>
                  <a:gd name="connsiteX19" fmla="*/ 419209 w 737797"/>
                  <a:gd name="connsiteY19" fmla="*/ 132851 h 442678"/>
                  <a:gd name="connsiteX20" fmla="*/ 419209 w 737797"/>
                  <a:gd name="connsiteY20" fmla="*/ 63287 h 442678"/>
                  <a:gd name="connsiteX21" fmla="*/ 401643 w 737797"/>
                  <a:gd name="connsiteY21" fmla="*/ 35884 h 442678"/>
                  <a:gd name="connsiteX22" fmla="*/ 437478 w 737797"/>
                  <a:gd name="connsiteY22" fmla="*/ 2156 h 442678"/>
                  <a:gd name="connsiteX23" fmla="*/ 582228 w 737797"/>
                  <a:gd name="connsiteY23" fmla="*/ 751 h 442678"/>
                  <a:gd name="connsiteX24" fmla="*/ 591362 w 737797"/>
                  <a:gd name="connsiteY24" fmla="*/ 19020 h 442678"/>
                  <a:gd name="connsiteX25" fmla="*/ 591362 w 737797"/>
                  <a:gd name="connsiteY25" fmla="*/ 134257 h 442678"/>
                  <a:gd name="connsiteX26" fmla="*/ 596983 w 737797"/>
                  <a:gd name="connsiteY26" fmla="*/ 160255 h 442678"/>
                  <a:gd name="connsiteX27" fmla="*/ 634224 w 737797"/>
                  <a:gd name="connsiteY27" fmla="*/ 164471 h 442678"/>
                  <a:gd name="connsiteX28" fmla="*/ 722760 w 737797"/>
                  <a:gd name="connsiteY28" fmla="*/ 165174 h 442678"/>
                  <a:gd name="connsiteX29" fmla="*/ 695356 w 737797"/>
                  <a:gd name="connsiteY29" fmla="*/ 298680 h 442678"/>
                  <a:gd name="connsiteX30" fmla="*/ 637035 w 737797"/>
                  <a:gd name="connsiteY30" fmla="*/ 283221 h 442678"/>
                  <a:gd name="connsiteX31" fmla="*/ 613144 w 737797"/>
                  <a:gd name="connsiteY31" fmla="*/ 267060 h 442678"/>
                  <a:gd name="connsiteX32" fmla="*/ 591362 w 737797"/>
                  <a:gd name="connsiteY32" fmla="*/ 302193 h 442678"/>
                  <a:gd name="connsiteX33" fmla="*/ 592065 w 737797"/>
                  <a:gd name="connsiteY33" fmla="*/ 420241 h 442678"/>
                  <a:gd name="connsiteX34" fmla="*/ 570282 w 737797"/>
                  <a:gd name="connsiteY34" fmla="*/ 442726 h 442678"/>
                  <a:gd name="connsiteX35" fmla="*/ 370725 w 737797"/>
                  <a:gd name="connsiteY35" fmla="*/ 441321 h 442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37797" h="442678">
                    <a:moveTo>
                      <a:pt x="370725" y="441321"/>
                    </a:moveTo>
                    <a:cubicBezTo>
                      <a:pt x="306783" y="441321"/>
                      <a:pt x="242840" y="440618"/>
                      <a:pt x="178898" y="442023"/>
                    </a:cubicBezTo>
                    <a:cubicBezTo>
                      <a:pt x="155710" y="442726"/>
                      <a:pt x="146576" y="438510"/>
                      <a:pt x="148684" y="413214"/>
                    </a:cubicBezTo>
                    <a:cubicBezTo>
                      <a:pt x="151494" y="376676"/>
                      <a:pt x="149386" y="340137"/>
                      <a:pt x="149386" y="303599"/>
                    </a:cubicBezTo>
                    <a:cubicBezTo>
                      <a:pt x="149386" y="292356"/>
                      <a:pt x="147981" y="282519"/>
                      <a:pt x="138846" y="274087"/>
                    </a:cubicBezTo>
                    <a:cubicBezTo>
                      <a:pt x="128306" y="264250"/>
                      <a:pt x="119874" y="260736"/>
                      <a:pt x="110037" y="274790"/>
                    </a:cubicBezTo>
                    <a:cubicBezTo>
                      <a:pt x="96686" y="293761"/>
                      <a:pt x="79823" y="309923"/>
                      <a:pt x="55230" y="301491"/>
                    </a:cubicBezTo>
                    <a:cubicBezTo>
                      <a:pt x="28528" y="292356"/>
                      <a:pt x="8853" y="274087"/>
                      <a:pt x="2530" y="243872"/>
                    </a:cubicBezTo>
                    <a:cubicBezTo>
                      <a:pt x="-5902" y="201010"/>
                      <a:pt x="6746" y="166579"/>
                      <a:pt x="40473" y="146905"/>
                    </a:cubicBezTo>
                    <a:cubicBezTo>
                      <a:pt x="65067" y="132148"/>
                      <a:pt x="82633" y="136365"/>
                      <a:pt x="105119" y="160255"/>
                    </a:cubicBezTo>
                    <a:cubicBezTo>
                      <a:pt x="111443" y="167282"/>
                      <a:pt x="114956" y="181335"/>
                      <a:pt x="127604" y="175714"/>
                    </a:cubicBezTo>
                    <a:cubicBezTo>
                      <a:pt x="140252" y="170092"/>
                      <a:pt x="149386" y="159552"/>
                      <a:pt x="149386" y="143391"/>
                    </a:cubicBezTo>
                    <a:cubicBezTo>
                      <a:pt x="149386" y="103339"/>
                      <a:pt x="150089" y="63287"/>
                      <a:pt x="148684" y="23236"/>
                    </a:cubicBezTo>
                    <a:cubicBezTo>
                      <a:pt x="147981" y="6372"/>
                      <a:pt x="150792" y="-655"/>
                      <a:pt x="170466" y="48"/>
                    </a:cubicBezTo>
                    <a:cubicBezTo>
                      <a:pt x="210518" y="2156"/>
                      <a:pt x="250570" y="751"/>
                      <a:pt x="290622" y="751"/>
                    </a:cubicBezTo>
                    <a:cubicBezTo>
                      <a:pt x="307486" y="751"/>
                      <a:pt x="320836" y="7074"/>
                      <a:pt x="330673" y="19722"/>
                    </a:cubicBezTo>
                    <a:cubicBezTo>
                      <a:pt x="341916" y="33775"/>
                      <a:pt x="344024" y="46424"/>
                      <a:pt x="327160" y="59072"/>
                    </a:cubicBezTo>
                    <a:cubicBezTo>
                      <a:pt x="312404" y="70314"/>
                      <a:pt x="292730" y="82259"/>
                      <a:pt x="301864" y="105447"/>
                    </a:cubicBezTo>
                    <a:cubicBezTo>
                      <a:pt x="311702" y="129338"/>
                      <a:pt x="329268" y="146202"/>
                      <a:pt x="357375" y="148310"/>
                    </a:cubicBezTo>
                    <a:cubicBezTo>
                      <a:pt x="379860" y="150418"/>
                      <a:pt x="400940" y="149013"/>
                      <a:pt x="419209" y="132851"/>
                    </a:cubicBezTo>
                    <a:cubicBezTo>
                      <a:pt x="448018" y="106150"/>
                      <a:pt x="448018" y="89286"/>
                      <a:pt x="419209" y="63287"/>
                    </a:cubicBezTo>
                    <a:cubicBezTo>
                      <a:pt x="410777" y="56261"/>
                      <a:pt x="396724" y="50640"/>
                      <a:pt x="401643" y="35884"/>
                    </a:cubicBezTo>
                    <a:cubicBezTo>
                      <a:pt x="407264" y="19020"/>
                      <a:pt x="418506" y="2859"/>
                      <a:pt x="437478" y="2156"/>
                    </a:cubicBezTo>
                    <a:cubicBezTo>
                      <a:pt x="485962" y="48"/>
                      <a:pt x="534446" y="751"/>
                      <a:pt x="582228" y="751"/>
                    </a:cubicBezTo>
                    <a:cubicBezTo>
                      <a:pt x="596983" y="751"/>
                      <a:pt x="591362" y="11993"/>
                      <a:pt x="591362" y="19020"/>
                    </a:cubicBezTo>
                    <a:cubicBezTo>
                      <a:pt x="592065" y="57666"/>
                      <a:pt x="591362" y="95610"/>
                      <a:pt x="591362" y="134257"/>
                    </a:cubicBezTo>
                    <a:cubicBezTo>
                      <a:pt x="591362" y="143391"/>
                      <a:pt x="592065" y="152526"/>
                      <a:pt x="596983" y="160255"/>
                    </a:cubicBezTo>
                    <a:cubicBezTo>
                      <a:pt x="608929" y="179930"/>
                      <a:pt x="618766" y="180632"/>
                      <a:pt x="634224" y="164471"/>
                    </a:cubicBezTo>
                    <a:cubicBezTo>
                      <a:pt x="665142" y="130041"/>
                      <a:pt x="692545" y="130743"/>
                      <a:pt x="722760" y="165174"/>
                    </a:cubicBezTo>
                    <a:cubicBezTo>
                      <a:pt x="758596" y="205928"/>
                      <a:pt x="743840" y="274790"/>
                      <a:pt x="695356" y="298680"/>
                    </a:cubicBezTo>
                    <a:cubicBezTo>
                      <a:pt x="671465" y="310625"/>
                      <a:pt x="653899" y="300788"/>
                      <a:pt x="637035" y="283221"/>
                    </a:cubicBezTo>
                    <a:cubicBezTo>
                      <a:pt x="630711" y="276195"/>
                      <a:pt x="627901" y="260033"/>
                      <a:pt x="613144" y="267060"/>
                    </a:cubicBezTo>
                    <a:cubicBezTo>
                      <a:pt x="599794" y="273384"/>
                      <a:pt x="591362" y="285330"/>
                      <a:pt x="591362" y="302193"/>
                    </a:cubicBezTo>
                    <a:cubicBezTo>
                      <a:pt x="591362" y="341543"/>
                      <a:pt x="590659" y="380892"/>
                      <a:pt x="592065" y="420241"/>
                    </a:cubicBezTo>
                    <a:cubicBezTo>
                      <a:pt x="592767" y="437807"/>
                      <a:pt x="588551" y="443429"/>
                      <a:pt x="570282" y="442726"/>
                    </a:cubicBezTo>
                    <a:cubicBezTo>
                      <a:pt x="504232" y="440618"/>
                      <a:pt x="437478" y="441321"/>
                      <a:pt x="370725" y="44132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71019CBB-B58F-46E7-A2C4-143018F6E7E7}"/>
                  </a:ext>
                </a:extLst>
              </p:cNvPr>
              <p:cNvSpPr/>
              <p:nvPr userDrawn="1"/>
            </p:nvSpPr>
            <p:spPr>
              <a:xfrm>
                <a:off x="1595120" y="3554872"/>
                <a:ext cx="314770" cy="419693"/>
              </a:xfrm>
              <a:custGeom>
                <a:avLst/>
                <a:gdLst>
                  <a:gd name="connsiteX0" fmla="*/ 222808 w 442678"/>
                  <a:gd name="connsiteY0" fmla="*/ 592910 h 590237"/>
                  <a:gd name="connsiteX1" fmla="*/ 22549 w 442678"/>
                  <a:gd name="connsiteY1" fmla="*/ 593613 h 590237"/>
                  <a:gd name="connsiteX2" fmla="*/ 64 w 442678"/>
                  <a:gd name="connsiteY2" fmla="*/ 570425 h 590237"/>
                  <a:gd name="connsiteX3" fmla="*/ 64 w 442678"/>
                  <a:gd name="connsiteY3" fmla="*/ 457998 h 590237"/>
                  <a:gd name="connsiteX4" fmla="*/ 15523 w 442678"/>
                  <a:gd name="connsiteY4" fmla="*/ 415839 h 590237"/>
                  <a:gd name="connsiteX5" fmla="*/ 62601 w 442678"/>
                  <a:gd name="connsiteY5" fmla="*/ 417947 h 590237"/>
                  <a:gd name="connsiteX6" fmla="*/ 104761 w 442678"/>
                  <a:gd name="connsiteY6" fmla="*/ 440432 h 590237"/>
                  <a:gd name="connsiteX7" fmla="*/ 147624 w 442678"/>
                  <a:gd name="connsiteY7" fmla="*/ 391245 h 590237"/>
                  <a:gd name="connsiteX8" fmla="*/ 127246 w 442678"/>
                  <a:gd name="connsiteY8" fmla="*/ 316061 h 590237"/>
                  <a:gd name="connsiteX9" fmla="*/ 66817 w 442678"/>
                  <a:gd name="connsiteY9" fmla="*/ 319574 h 590237"/>
                  <a:gd name="connsiteX10" fmla="*/ 35900 w 442678"/>
                  <a:gd name="connsiteY10" fmla="*/ 339249 h 590237"/>
                  <a:gd name="connsiteX11" fmla="*/ 1469 w 442678"/>
                  <a:gd name="connsiteY11" fmla="*/ 297791 h 590237"/>
                  <a:gd name="connsiteX12" fmla="*/ 767 w 442678"/>
                  <a:gd name="connsiteY12" fmla="*/ 163583 h 590237"/>
                  <a:gd name="connsiteX13" fmla="*/ 19036 w 442678"/>
                  <a:gd name="connsiteY13" fmla="*/ 150934 h 590237"/>
                  <a:gd name="connsiteX14" fmla="*/ 137084 w 442678"/>
                  <a:gd name="connsiteY14" fmla="*/ 150934 h 590237"/>
                  <a:gd name="connsiteX15" fmla="*/ 165190 w 442678"/>
                  <a:gd name="connsiteY15" fmla="*/ 143205 h 590237"/>
                  <a:gd name="connsiteX16" fmla="*/ 166595 w 442678"/>
                  <a:gd name="connsiteY16" fmla="*/ 107369 h 590237"/>
                  <a:gd name="connsiteX17" fmla="*/ 163785 w 442678"/>
                  <a:gd name="connsiteY17" fmla="*/ 22347 h 590237"/>
                  <a:gd name="connsiteX18" fmla="*/ 290967 w 442678"/>
                  <a:gd name="connsiteY18" fmla="*/ 30779 h 590237"/>
                  <a:gd name="connsiteX19" fmla="*/ 286048 w 442678"/>
                  <a:gd name="connsiteY19" fmla="*/ 104559 h 590237"/>
                  <a:gd name="connsiteX20" fmla="*/ 270590 w 442678"/>
                  <a:gd name="connsiteY20" fmla="*/ 129152 h 590237"/>
                  <a:gd name="connsiteX21" fmla="*/ 303615 w 442678"/>
                  <a:gd name="connsiteY21" fmla="*/ 150232 h 590237"/>
                  <a:gd name="connsiteX22" fmla="*/ 421662 w 442678"/>
                  <a:gd name="connsiteY22" fmla="*/ 149529 h 590237"/>
                  <a:gd name="connsiteX23" fmla="*/ 446256 w 442678"/>
                  <a:gd name="connsiteY23" fmla="*/ 175528 h 590237"/>
                  <a:gd name="connsiteX24" fmla="*/ 446256 w 442678"/>
                  <a:gd name="connsiteY24" fmla="*/ 287954 h 590237"/>
                  <a:gd name="connsiteX25" fmla="*/ 428689 w 442678"/>
                  <a:gd name="connsiteY25" fmla="*/ 329411 h 590237"/>
                  <a:gd name="connsiteX26" fmla="*/ 385827 w 442678"/>
                  <a:gd name="connsiteY26" fmla="*/ 327303 h 590237"/>
                  <a:gd name="connsiteX27" fmla="*/ 342261 w 442678"/>
                  <a:gd name="connsiteY27" fmla="*/ 303412 h 590237"/>
                  <a:gd name="connsiteX28" fmla="*/ 298696 w 442678"/>
                  <a:gd name="connsiteY28" fmla="*/ 357518 h 590237"/>
                  <a:gd name="connsiteX29" fmla="*/ 318371 w 442678"/>
                  <a:gd name="connsiteY29" fmla="*/ 425676 h 590237"/>
                  <a:gd name="connsiteX30" fmla="*/ 380908 w 442678"/>
                  <a:gd name="connsiteY30" fmla="*/ 422865 h 590237"/>
                  <a:gd name="connsiteX31" fmla="*/ 415338 w 442678"/>
                  <a:gd name="connsiteY31" fmla="*/ 404596 h 590237"/>
                  <a:gd name="connsiteX32" fmla="*/ 446256 w 442678"/>
                  <a:gd name="connsiteY32" fmla="*/ 446054 h 590237"/>
                  <a:gd name="connsiteX33" fmla="*/ 446958 w 442678"/>
                  <a:gd name="connsiteY33" fmla="*/ 577451 h 590237"/>
                  <a:gd name="connsiteX34" fmla="*/ 425878 w 442678"/>
                  <a:gd name="connsiteY34" fmla="*/ 592910 h 590237"/>
                  <a:gd name="connsiteX35" fmla="*/ 222808 w 442678"/>
                  <a:gd name="connsiteY35" fmla="*/ 592910 h 59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42678" h="590237">
                    <a:moveTo>
                      <a:pt x="222808" y="592910"/>
                    </a:moveTo>
                    <a:cubicBezTo>
                      <a:pt x="156055" y="592910"/>
                      <a:pt x="89302" y="592208"/>
                      <a:pt x="22549" y="593613"/>
                    </a:cubicBezTo>
                    <a:cubicBezTo>
                      <a:pt x="4280" y="593613"/>
                      <a:pt x="-639" y="588694"/>
                      <a:pt x="64" y="570425"/>
                    </a:cubicBezTo>
                    <a:cubicBezTo>
                      <a:pt x="1469" y="533184"/>
                      <a:pt x="767" y="495240"/>
                      <a:pt x="64" y="457998"/>
                    </a:cubicBezTo>
                    <a:cubicBezTo>
                      <a:pt x="64" y="441837"/>
                      <a:pt x="3577" y="427784"/>
                      <a:pt x="15523" y="415839"/>
                    </a:cubicBezTo>
                    <a:cubicBezTo>
                      <a:pt x="33792" y="397570"/>
                      <a:pt x="45035" y="397570"/>
                      <a:pt x="62601" y="417947"/>
                    </a:cubicBezTo>
                    <a:cubicBezTo>
                      <a:pt x="73844" y="431297"/>
                      <a:pt x="85086" y="448161"/>
                      <a:pt x="104761" y="440432"/>
                    </a:cubicBezTo>
                    <a:cubicBezTo>
                      <a:pt x="126544" y="432000"/>
                      <a:pt x="144813" y="417244"/>
                      <a:pt x="147624" y="391245"/>
                    </a:cubicBezTo>
                    <a:cubicBezTo>
                      <a:pt x="150434" y="363842"/>
                      <a:pt x="152542" y="336438"/>
                      <a:pt x="127246" y="316061"/>
                    </a:cubicBezTo>
                    <a:cubicBezTo>
                      <a:pt x="102653" y="295683"/>
                      <a:pt x="87897" y="296386"/>
                      <a:pt x="66817" y="319574"/>
                    </a:cubicBezTo>
                    <a:cubicBezTo>
                      <a:pt x="58385" y="328709"/>
                      <a:pt x="54169" y="345572"/>
                      <a:pt x="35900" y="339249"/>
                    </a:cubicBezTo>
                    <a:cubicBezTo>
                      <a:pt x="15523" y="332222"/>
                      <a:pt x="2172" y="318169"/>
                      <a:pt x="1469" y="297791"/>
                    </a:cubicBezTo>
                    <a:cubicBezTo>
                      <a:pt x="-639" y="252821"/>
                      <a:pt x="1469" y="208553"/>
                      <a:pt x="767" y="163583"/>
                    </a:cubicBezTo>
                    <a:cubicBezTo>
                      <a:pt x="767" y="148827"/>
                      <a:pt x="9901" y="150934"/>
                      <a:pt x="19036" y="150934"/>
                    </a:cubicBezTo>
                    <a:cubicBezTo>
                      <a:pt x="58385" y="150934"/>
                      <a:pt x="97734" y="150934"/>
                      <a:pt x="137084" y="150934"/>
                    </a:cubicBezTo>
                    <a:cubicBezTo>
                      <a:pt x="147624" y="150934"/>
                      <a:pt x="157461" y="150232"/>
                      <a:pt x="165190" y="143205"/>
                    </a:cubicBezTo>
                    <a:cubicBezTo>
                      <a:pt x="178541" y="131963"/>
                      <a:pt x="185567" y="122828"/>
                      <a:pt x="166595" y="107369"/>
                    </a:cubicBezTo>
                    <a:cubicBezTo>
                      <a:pt x="132165" y="80668"/>
                      <a:pt x="132165" y="53264"/>
                      <a:pt x="163785" y="22347"/>
                    </a:cubicBezTo>
                    <a:cubicBezTo>
                      <a:pt x="197513" y="-10678"/>
                      <a:pt x="260752" y="-6462"/>
                      <a:pt x="290967" y="30779"/>
                    </a:cubicBezTo>
                    <a:cubicBezTo>
                      <a:pt x="314155" y="58885"/>
                      <a:pt x="312047" y="79263"/>
                      <a:pt x="286048" y="104559"/>
                    </a:cubicBezTo>
                    <a:cubicBezTo>
                      <a:pt x="279022" y="111585"/>
                      <a:pt x="263563" y="115099"/>
                      <a:pt x="270590" y="129152"/>
                    </a:cubicBezTo>
                    <a:cubicBezTo>
                      <a:pt x="276914" y="141800"/>
                      <a:pt x="288156" y="150232"/>
                      <a:pt x="303615" y="150232"/>
                    </a:cubicBezTo>
                    <a:cubicBezTo>
                      <a:pt x="342964" y="150232"/>
                      <a:pt x="382313" y="151637"/>
                      <a:pt x="421662" y="149529"/>
                    </a:cubicBezTo>
                    <a:cubicBezTo>
                      <a:pt x="443445" y="148124"/>
                      <a:pt x="446958" y="155853"/>
                      <a:pt x="446256" y="175528"/>
                    </a:cubicBezTo>
                    <a:cubicBezTo>
                      <a:pt x="444850" y="212769"/>
                      <a:pt x="445553" y="250713"/>
                      <a:pt x="446256" y="287954"/>
                    </a:cubicBezTo>
                    <a:cubicBezTo>
                      <a:pt x="446256" y="304818"/>
                      <a:pt x="441337" y="318169"/>
                      <a:pt x="428689" y="329411"/>
                    </a:cubicBezTo>
                    <a:cubicBezTo>
                      <a:pt x="413933" y="342059"/>
                      <a:pt x="399880" y="346275"/>
                      <a:pt x="385827" y="327303"/>
                    </a:cubicBezTo>
                    <a:cubicBezTo>
                      <a:pt x="375287" y="313250"/>
                      <a:pt x="364044" y="295683"/>
                      <a:pt x="342261" y="303412"/>
                    </a:cubicBezTo>
                    <a:cubicBezTo>
                      <a:pt x="316965" y="312547"/>
                      <a:pt x="300804" y="330114"/>
                      <a:pt x="298696" y="357518"/>
                    </a:cubicBezTo>
                    <a:cubicBezTo>
                      <a:pt x="296588" y="382814"/>
                      <a:pt x="297994" y="406704"/>
                      <a:pt x="318371" y="425676"/>
                    </a:cubicBezTo>
                    <a:cubicBezTo>
                      <a:pt x="342964" y="448161"/>
                      <a:pt x="358423" y="447459"/>
                      <a:pt x="380908" y="422865"/>
                    </a:cubicBezTo>
                    <a:cubicBezTo>
                      <a:pt x="390043" y="412325"/>
                      <a:pt x="397069" y="395462"/>
                      <a:pt x="415338" y="404596"/>
                    </a:cubicBezTo>
                    <a:cubicBezTo>
                      <a:pt x="432202" y="413028"/>
                      <a:pt x="445553" y="425676"/>
                      <a:pt x="446256" y="446054"/>
                    </a:cubicBezTo>
                    <a:cubicBezTo>
                      <a:pt x="446958" y="489618"/>
                      <a:pt x="445553" y="533887"/>
                      <a:pt x="446958" y="577451"/>
                    </a:cubicBezTo>
                    <a:cubicBezTo>
                      <a:pt x="447661" y="595721"/>
                      <a:pt x="436418" y="592910"/>
                      <a:pt x="425878" y="592910"/>
                    </a:cubicBezTo>
                    <a:cubicBezTo>
                      <a:pt x="355612" y="592910"/>
                      <a:pt x="288859" y="592910"/>
                      <a:pt x="222808" y="5929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484FF8EC-37FF-4618-9C85-E3505978CC60}"/>
                  </a:ext>
                </a:extLst>
              </p:cNvPr>
              <p:cNvSpPr/>
              <p:nvPr userDrawn="1"/>
            </p:nvSpPr>
            <p:spPr>
              <a:xfrm>
                <a:off x="1803386" y="3664792"/>
                <a:ext cx="419693" cy="309773"/>
              </a:xfrm>
              <a:custGeom>
                <a:avLst/>
                <a:gdLst>
                  <a:gd name="connsiteX0" fmla="*/ 368817 w 590237"/>
                  <a:gd name="connsiteY0" fmla="*/ 441448 h 435651"/>
                  <a:gd name="connsiteX1" fmla="*/ 166450 w 590237"/>
                  <a:gd name="connsiteY1" fmla="*/ 441448 h 435651"/>
                  <a:gd name="connsiteX2" fmla="*/ 148180 w 590237"/>
                  <a:gd name="connsiteY2" fmla="*/ 423882 h 435651"/>
                  <a:gd name="connsiteX3" fmla="*/ 148883 w 590237"/>
                  <a:gd name="connsiteY3" fmla="*/ 308645 h 435651"/>
                  <a:gd name="connsiteX4" fmla="*/ 140451 w 590237"/>
                  <a:gd name="connsiteY4" fmla="*/ 277728 h 435651"/>
                  <a:gd name="connsiteX5" fmla="*/ 106723 w 590237"/>
                  <a:gd name="connsiteY5" fmla="*/ 276322 h 435651"/>
                  <a:gd name="connsiteX6" fmla="*/ 16782 w 590237"/>
                  <a:gd name="connsiteY6" fmla="*/ 274917 h 435651"/>
                  <a:gd name="connsiteX7" fmla="*/ 26619 w 590237"/>
                  <a:gd name="connsiteY7" fmla="*/ 155465 h 435651"/>
                  <a:gd name="connsiteX8" fmla="*/ 102507 w 590237"/>
                  <a:gd name="connsiteY8" fmla="*/ 157572 h 435651"/>
                  <a:gd name="connsiteX9" fmla="*/ 126398 w 590237"/>
                  <a:gd name="connsiteY9" fmla="*/ 175139 h 435651"/>
                  <a:gd name="connsiteX10" fmla="*/ 148883 w 590237"/>
                  <a:gd name="connsiteY10" fmla="*/ 137898 h 435651"/>
                  <a:gd name="connsiteX11" fmla="*/ 148180 w 590237"/>
                  <a:gd name="connsiteY11" fmla="*/ 25472 h 435651"/>
                  <a:gd name="connsiteX12" fmla="*/ 172773 w 590237"/>
                  <a:gd name="connsiteY12" fmla="*/ 176 h 435651"/>
                  <a:gd name="connsiteX13" fmla="*/ 290821 w 590237"/>
                  <a:gd name="connsiteY13" fmla="*/ 176 h 435651"/>
                  <a:gd name="connsiteX14" fmla="*/ 332278 w 590237"/>
                  <a:gd name="connsiteY14" fmla="*/ 22661 h 435651"/>
                  <a:gd name="connsiteX15" fmla="*/ 328062 w 590237"/>
                  <a:gd name="connsiteY15" fmla="*/ 57794 h 435651"/>
                  <a:gd name="connsiteX16" fmla="*/ 303469 w 590237"/>
                  <a:gd name="connsiteY16" fmla="*/ 111196 h 435651"/>
                  <a:gd name="connsiteX17" fmla="*/ 381465 w 590237"/>
                  <a:gd name="connsiteY17" fmla="*/ 148438 h 435651"/>
                  <a:gd name="connsiteX18" fmla="*/ 439083 w 590237"/>
                  <a:gd name="connsiteY18" fmla="*/ 100656 h 435651"/>
                  <a:gd name="connsiteX19" fmla="*/ 418706 w 590237"/>
                  <a:gd name="connsiteY19" fmla="*/ 64118 h 435651"/>
                  <a:gd name="connsiteX20" fmla="*/ 401842 w 590237"/>
                  <a:gd name="connsiteY20" fmla="*/ 31093 h 435651"/>
                  <a:gd name="connsiteX21" fmla="*/ 437678 w 590237"/>
                  <a:gd name="connsiteY21" fmla="*/ 878 h 435651"/>
                  <a:gd name="connsiteX22" fmla="*/ 580319 w 590237"/>
                  <a:gd name="connsiteY22" fmla="*/ 176 h 435651"/>
                  <a:gd name="connsiteX23" fmla="*/ 590859 w 590237"/>
                  <a:gd name="connsiteY23" fmla="*/ 14229 h 435651"/>
                  <a:gd name="connsiteX24" fmla="*/ 590859 w 590237"/>
                  <a:gd name="connsiteY24" fmla="*/ 142816 h 435651"/>
                  <a:gd name="connsiteX25" fmla="*/ 569779 w 590237"/>
                  <a:gd name="connsiteY25" fmla="*/ 182166 h 435651"/>
                  <a:gd name="connsiteX26" fmla="*/ 532537 w 590237"/>
                  <a:gd name="connsiteY26" fmla="*/ 178652 h 435651"/>
                  <a:gd name="connsiteX27" fmla="*/ 486864 w 590237"/>
                  <a:gd name="connsiteY27" fmla="*/ 152654 h 435651"/>
                  <a:gd name="connsiteX28" fmla="*/ 442596 w 590237"/>
                  <a:gd name="connsiteY28" fmla="*/ 209569 h 435651"/>
                  <a:gd name="connsiteX29" fmla="*/ 462271 w 590237"/>
                  <a:gd name="connsiteY29" fmla="*/ 274917 h 435651"/>
                  <a:gd name="connsiteX30" fmla="*/ 526213 w 590237"/>
                  <a:gd name="connsiteY30" fmla="*/ 270701 h 435651"/>
                  <a:gd name="connsiteX31" fmla="*/ 556428 w 590237"/>
                  <a:gd name="connsiteY31" fmla="*/ 253135 h 435651"/>
                  <a:gd name="connsiteX32" fmla="*/ 588048 w 590237"/>
                  <a:gd name="connsiteY32" fmla="*/ 287565 h 435651"/>
                  <a:gd name="connsiteX33" fmla="*/ 590156 w 590237"/>
                  <a:gd name="connsiteY33" fmla="*/ 432314 h 435651"/>
                  <a:gd name="connsiteX34" fmla="*/ 569076 w 590237"/>
                  <a:gd name="connsiteY34" fmla="*/ 441448 h 435651"/>
                  <a:gd name="connsiteX35" fmla="*/ 368817 w 590237"/>
                  <a:gd name="connsiteY35" fmla="*/ 441448 h 435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90237" h="435651">
                    <a:moveTo>
                      <a:pt x="368817" y="441448"/>
                    </a:moveTo>
                    <a:cubicBezTo>
                      <a:pt x="301361" y="441448"/>
                      <a:pt x="233905" y="440746"/>
                      <a:pt x="166450" y="441448"/>
                    </a:cubicBezTo>
                    <a:cubicBezTo>
                      <a:pt x="152396" y="441448"/>
                      <a:pt x="147478" y="438638"/>
                      <a:pt x="148180" y="423882"/>
                    </a:cubicBezTo>
                    <a:cubicBezTo>
                      <a:pt x="149586" y="385235"/>
                      <a:pt x="148180" y="347292"/>
                      <a:pt x="148883" y="308645"/>
                    </a:cubicBezTo>
                    <a:cubicBezTo>
                      <a:pt x="148883" y="297402"/>
                      <a:pt x="148180" y="286862"/>
                      <a:pt x="140451" y="277728"/>
                    </a:cubicBezTo>
                    <a:cubicBezTo>
                      <a:pt x="129208" y="264377"/>
                      <a:pt x="120776" y="258756"/>
                      <a:pt x="106723" y="276322"/>
                    </a:cubicBezTo>
                    <a:cubicBezTo>
                      <a:pt x="77211" y="312159"/>
                      <a:pt x="46294" y="310753"/>
                      <a:pt x="16782" y="274917"/>
                    </a:cubicBezTo>
                    <a:cubicBezTo>
                      <a:pt x="-9216" y="243298"/>
                      <a:pt x="-4298" y="182868"/>
                      <a:pt x="26619" y="155465"/>
                    </a:cubicBezTo>
                    <a:cubicBezTo>
                      <a:pt x="54726" y="130871"/>
                      <a:pt x="77914" y="131574"/>
                      <a:pt x="102507" y="157572"/>
                    </a:cubicBezTo>
                    <a:cubicBezTo>
                      <a:pt x="109534" y="164599"/>
                      <a:pt x="112344" y="180760"/>
                      <a:pt x="126398" y="175139"/>
                    </a:cubicBezTo>
                    <a:cubicBezTo>
                      <a:pt x="141154" y="168815"/>
                      <a:pt x="148883" y="155465"/>
                      <a:pt x="148883" y="137898"/>
                    </a:cubicBezTo>
                    <a:cubicBezTo>
                      <a:pt x="148883" y="100656"/>
                      <a:pt x="150288" y="62713"/>
                      <a:pt x="148180" y="25472"/>
                    </a:cubicBezTo>
                    <a:cubicBezTo>
                      <a:pt x="147478" y="5797"/>
                      <a:pt x="151694" y="-1230"/>
                      <a:pt x="172773" y="176"/>
                    </a:cubicBezTo>
                    <a:cubicBezTo>
                      <a:pt x="212123" y="2283"/>
                      <a:pt x="251472" y="1581"/>
                      <a:pt x="290821" y="176"/>
                    </a:cubicBezTo>
                    <a:cubicBezTo>
                      <a:pt x="309793" y="-527"/>
                      <a:pt x="321738" y="8608"/>
                      <a:pt x="332278" y="22661"/>
                    </a:cubicBezTo>
                    <a:cubicBezTo>
                      <a:pt x="341413" y="35309"/>
                      <a:pt x="342116" y="46552"/>
                      <a:pt x="328062" y="57794"/>
                    </a:cubicBezTo>
                    <a:cubicBezTo>
                      <a:pt x="311901" y="71145"/>
                      <a:pt x="289416" y="83090"/>
                      <a:pt x="303469" y="111196"/>
                    </a:cubicBezTo>
                    <a:cubicBezTo>
                      <a:pt x="317522" y="139303"/>
                      <a:pt x="346332" y="152654"/>
                      <a:pt x="381465" y="148438"/>
                    </a:cubicBezTo>
                    <a:cubicBezTo>
                      <a:pt x="408166" y="144925"/>
                      <a:pt x="435570" y="123142"/>
                      <a:pt x="439083" y="100656"/>
                    </a:cubicBezTo>
                    <a:cubicBezTo>
                      <a:pt x="441894" y="83793"/>
                      <a:pt x="429949" y="73955"/>
                      <a:pt x="418706" y="64118"/>
                    </a:cubicBezTo>
                    <a:cubicBezTo>
                      <a:pt x="408869" y="55686"/>
                      <a:pt x="394113" y="48660"/>
                      <a:pt x="401842" y="31093"/>
                    </a:cubicBezTo>
                    <a:cubicBezTo>
                      <a:pt x="408869" y="15634"/>
                      <a:pt x="419409" y="1581"/>
                      <a:pt x="437678" y="878"/>
                    </a:cubicBezTo>
                    <a:cubicBezTo>
                      <a:pt x="485459" y="-527"/>
                      <a:pt x="532537" y="176"/>
                      <a:pt x="580319" y="176"/>
                    </a:cubicBezTo>
                    <a:cubicBezTo>
                      <a:pt x="591561" y="176"/>
                      <a:pt x="590859" y="6500"/>
                      <a:pt x="590859" y="14229"/>
                    </a:cubicBezTo>
                    <a:cubicBezTo>
                      <a:pt x="590859" y="57092"/>
                      <a:pt x="590859" y="99954"/>
                      <a:pt x="590859" y="142816"/>
                    </a:cubicBezTo>
                    <a:cubicBezTo>
                      <a:pt x="590859" y="159680"/>
                      <a:pt x="582427" y="172328"/>
                      <a:pt x="569779" y="182166"/>
                    </a:cubicBezTo>
                    <a:cubicBezTo>
                      <a:pt x="556428" y="192706"/>
                      <a:pt x="544483" y="193408"/>
                      <a:pt x="532537" y="178652"/>
                    </a:cubicBezTo>
                    <a:cubicBezTo>
                      <a:pt x="521295" y="163896"/>
                      <a:pt x="510052" y="144222"/>
                      <a:pt x="486864" y="152654"/>
                    </a:cubicBezTo>
                    <a:cubicBezTo>
                      <a:pt x="460866" y="161788"/>
                      <a:pt x="444704" y="180760"/>
                      <a:pt x="442596" y="209569"/>
                    </a:cubicBezTo>
                    <a:cubicBezTo>
                      <a:pt x="441191" y="234163"/>
                      <a:pt x="442596" y="256648"/>
                      <a:pt x="462271" y="274917"/>
                    </a:cubicBezTo>
                    <a:cubicBezTo>
                      <a:pt x="488270" y="298105"/>
                      <a:pt x="503026" y="297402"/>
                      <a:pt x="526213" y="270701"/>
                    </a:cubicBezTo>
                    <a:cubicBezTo>
                      <a:pt x="533943" y="261567"/>
                      <a:pt x="539564" y="247513"/>
                      <a:pt x="556428" y="253135"/>
                    </a:cubicBezTo>
                    <a:cubicBezTo>
                      <a:pt x="572589" y="258756"/>
                      <a:pt x="587345" y="269999"/>
                      <a:pt x="588048" y="287565"/>
                    </a:cubicBezTo>
                    <a:cubicBezTo>
                      <a:pt x="590156" y="336049"/>
                      <a:pt x="590156" y="384533"/>
                      <a:pt x="590156" y="432314"/>
                    </a:cubicBezTo>
                    <a:cubicBezTo>
                      <a:pt x="590156" y="447773"/>
                      <a:pt x="576805" y="440746"/>
                      <a:pt x="569076" y="441448"/>
                    </a:cubicBezTo>
                    <a:cubicBezTo>
                      <a:pt x="502323" y="441448"/>
                      <a:pt x="435570" y="441448"/>
                      <a:pt x="368817" y="44144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7616CF39-6790-4BAF-967E-2D328CDCE60B}"/>
                  </a:ext>
                </a:extLst>
              </p:cNvPr>
              <p:cNvSpPr/>
              <p:nvPr userDrawn="1"/>
            </p:nvSpPr>
            <p:spPr>
              <a:xfrm>
                <a:off x="2111839" y="3556009"/>
                <a:ext cx="419693" cy="419693"/>
              </a:xfrm>
              <a:custGeom>
                <a:avLst/>
                <a:gdLst>
                  <a:gd name="connsiteX0" fmla="*/ 370196 w 590237"/>
                  <a:gd name="connsiteY0" fmla="*/ 591917 h 590237"/>
                  <a:gd name="connsiteX1" fmla="*/ 167829 w 590237"/>
                  <a:gd name="connsiteY1" fmla="*/ 591917 h 590237"/>
                  <a:gd name="connsiteX2" fmla="*/ 147452 w 590237"/>
                  <a:gd name="connsiteY2" fmla="*/ 572242 h 590237"/>
                  <a:gd name="connsiteX3" fmla="*/ 148154 w 590237"/>
                  <a:gd name="connsiteY3" fmla="*/ 454897 h 590237"/>
                  <a:gd name="connsiteX4" fmla="*/ 139020 w 590237"/>
                  <a:gd name="connsiteY4" fmla="*/ 424683 h 590237"/>
                  <a:gd name="connsiteX5" fmla="*/ 108805 w 590237"/>
                  <a:gd name="connsiteY5" fmla="*/ 425385 h 590237"/>
                  <a:gd name="connsiteX6" fmla="*/ 56808 w 590237"/>
                  <a:gd name="connsiteY6" fmla="*/ 451384 h 590237"/>
                  <a:gd name="connsiteX7" fmla="*/ 4811 w 590237"/>
                  <a:gd name="connsiteY7" fmla="*/ 400089 h 590237"/>
                  <a:gd name="connsiteX8" fmla="*/ 38539 w 590237"/>
                  <a:gd name="connsiteY8" fmla="*/ 296798 h 590237"/>
                  <a:gd name="connsiteX9" fmla="*/ 105292 w 590237"/>
                  <a:gd name="connsiteY9" fmla="*/ 309446 h 590237"/>
                  <a:gd name="connsiteX10" fmla="*/ 127074 w 590237"/>
                  <a:gd name="connsiteY10" fmla="*/ 324904 h 590237"/>
                  <a:gd name="connsiteX11" fmla="*/ 148857 w 590237"/>
                  <a:gd name="connsiteY11" fmla="*/ 293284 h 590237"/>
                  <a:gd name="connsiteX12" fmla="*/ 148154 w 590237"/>
                  <a:gd name="connsiteY12" fmla="*/ 175940 h 590237"/>
                  <a:gd name="connsiteX13" fmla="*/ 174153 w 590237"/>
                  <a:gd name="connsiteY13" fmla="*/ 148536 h 590237"/>
                  <a:gd name="connsiteX14" fmla="*/ 286579 w 590237"/>
                  <a:gd name="connsiteY14" fmla="*/ 149238 h 590237"/>
                  <a:gd name="connsiteX15" fmla="*/ 310470 w 590237"/>
                  <a:gd name="connsiteY15" fmla="*/ 145022 h 590237"/>
                  <a:gd name="connsiteX16" fmla="*/ 313983 w 590237"/>
                  <a:gd name="connsiteY16" fmla="*/ 108484 h 590237"/>
                  <a:gd name="connsiteX17" fmla="*/ 312578 w 590237"/>
                  <a:gd name="connsiteY17" fmla="*/ 21354 h 590237"/>
                  <a:gd name="connsiteX18" fmla="*/ 449597 w 590237"/>
                  <a:gd name="connsiteY18" fmla="*/ 48757 h 590237"/>
                  <a:gd name="connsiteX19" fmla="*/ 433436 w 590237"/>
                  <a:gd name="connsiteY19" fmla="*/ 104268 h 590237"/>
                  <a:gd name="connsiteX20" fmla="*/ 417275 w 590237"/>
                  <a:gd name="connsiteY20" fmla="*/ 128861 h 590237"/>
                  <a:gd name="connsiteX21" fmla="*/ 452408 w 590237"/>
                  <a:gd name="connsiteY21" fmla="*/ 149941 h 590237"/>
                  <a:gd name="connsiteX22" fmla="*/ 572564 w 590237"/>
                  <a:gd name="connsiteY22" fmla="*/ 149238 h 590237"/>
                  <a:gd name="connsiteX23" fmla="*/ 592941 w 590237"/>
                  <a:gd name="connsiteY23" fmla="*/ 168210 h 590237"/>
                  <a:gd name="connsiteX24" fmla="*/ 592941 w 590237"/>
                  <a:gd name="connsiteY24" fmla="*/ 291176 h 590237"/>
                  <a:gd name="connsiteX25" fmla="*/ 566942 w 590237"/>
                  <a:gd name="connsiteY25" fmla="*/ 336147 h 590237"/>
                  <a:gd name="connsiteX26" fmla="*/ 538133 w 590237"/>
                  <a:gd name="connsiteY26" fmla="*/ 333336 h 590237"/>
                  <a:gd name="connsiteX27" fmla="*/ 472082 w 590237"/>
                  <a:gd name="connsiteY27" fmla="*/ 312256 h 590237"/>
                  <a:gd name="connsiteX28" fmla="*/ 452408 w 590237"/>
                  <a:gd name="connsiteY28" fmla="*/ 408521 h 590237"/>
                  <a:gd name="connsiteX29" fmla="*/ 530404 w 590237"/>
                  <a:gd name="connsiteY29" fmla="*/ 419764 h 590237"/>
                  <a:gd name="connsiteX30" fmla="*/ 560618 w 590237"/>
                  <a:gd name="connsiteY30" fmla="*/ 403603 h 590237"/>
                  <a:gd name="connsiteX31" fmla="*/ 592238 w 590237"/>
                  <a:gd name="connsiteY31" fmla="*/ 441547 h 590237"/>
                  <a:gd name="connsiteX32" fmla="*/ 592941 w 590237"/>
                  <a:gd name="connsiteY32" fmla="*/ 581377 h 590237"/>
                  <a:gd name="connsiteX33" fmla="*/ 574671 w 590237"/>
                  <a:gd name="connsiteY33" fmla="*/ 593322 h 590237"/>
                  <a:gd name="connsiteX34" fmla="*/ 370196 w 590237"/>
                  <a:gd name="connsiteY34" fmla="*/ 591917 h 59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90237" h="590237">
                    <a:moveTo>
                      <a:pt x="370196" y="591917"/>
                    </a:moveTo>
                    <a:cubicBezTo>
                      <a:pt x="302740" y="591917"/>
                      <a:pt x="235285" y="591214"/>
                      <a:pt x="167829" y="591917"/>
                    </a:cubicBezTo>
                    <a:cubicBezTo>
                      <a:pt x="152370" y="591917"/>
                      <a:pt x="147452" y="588403"/>
                      <a:pt x="147452" y="572242"/>
                    </a:cubicBezTo>
                    <a:cubicBezTo>
                      <a:pt x="148857" y="532893"/>
                      <a:pt x="147452" y="493544"/>
                      <a:pt x="148154" y="454897"/>
                    </a:cubicBezTo>
                    <a:cubicBezTo>
                      <a:pt x="148154" y="443655"/>
                      <a:pt x="147452" y="433115"/>
                      <a:pt x="139020" y="424683"/>
                    </a:cubicBezTo>
                    <a:cubicBezTo>
                      <a:pt x="128480" y="414143"/>
                      <a:pt x="119345" y="410629"/>
                      <a:pt x="108805" y="425385"/>
                    </a:cubicBezTo>
                    <a:cubicBezTo>
                      <a:pt x="96157" y="442249"/>
                      <a:pt x="81401" y="459113"/>
                      <a:pt x="56808" y="451384"/>
                    </a:cubicBezTo>
                    <a:cubicBezTo>
                      <a:pt x="30810" y="443655"/>
                      <a:pt x="12540" y="426790"/>
                      <a:pt x="4811" y="400089"/>
                    </a:cubicBezTo>
                    <a:cubicBezTo>
                      <a:pt x="-7837" y="357929"/>
                      <a:pt x="4811" y="317878"/>
                      <a:pt x="38539" y="296798"/>
                    </a:cubicBezTo>
                    <a:cubicBezTo>
                      <a:pt x="64537" y="279934"/>
                      <a:pt x="81401" y="284150"/>
                      <a:pt x="105292" y="309446"/>
                    </a:cubicBezTo>
                    <a:cubicBezTo>
                      <a:pt x="110913" y="315770"/>
                      <a:pt x="113724" y="330526"/>
                      <a:pt x="127074" y="324904"/>
                    </a:cubicBezTo>
                    <a:cubicBezTo>
                      <a:pt x="140425" y="319283"/>
                      <a:pt x="148857" y="308743"/>
                      <a:pt x="148857" y="293284"/>
                    </a:cubicBezTo>
                    <a:cubicBezTo>
                      <a:pt x="148857" y="253935"/>
                      <a:pt x="150262" y="214586"/>
                      <a:pt x="148154" y="175940"/>
                    </a:cubicBezTo>
                    <a:cubicBezTo>
                      <a:pt x="147452" y="155562"/>
                      <a:pt x="150965" y="147130"/>
                      <a:pt x="174153" y="148536"/>
                    </a:cubicBezTo>
                    <a:cubicBezTo>
                      <a:pt x="211394" y="150644"/>
                      <a:pt x="248635" y="149238"/>
                      <a:pt x="286579" y="149238"/>
                    </a:cubicBezTo>
                    <a:cubicBezTo>
                      <a:pt x="294309" y="149238"/>
                      <a:pt x="302740" y="149941"/>
                      <a:pt x="310470" y="145022"/>
                    </a:cubicBezTo>
                    <a:cubicBezTo>
                      <a:pt x="328739" y="133077"/>
                      <a:pt x="330145" y="122537"/>
                      <a:pt x="313983" y="108484"/>
                    </a:cubicBezTo>
                    <a:cubicBezTo>
                      <a:pt x="280255" y="78972"/>
                      <a:pt x="280255" y="52271"/>
                      <a:pt x="312578" y="21354"/>
                    </a:cubicBezTo>
                    <a:cubicBezTo>
                      <a:pt x="353332" y="-16590"/>
                      <a:pt x="426409" y="-1835"/>
                      <a:pt x="449597" y="48757"/>
                    </a:cubicBezTo>
                    <a:cubicBezTo>
                      <a:pt x="460137" y="72648"/>
                      <a:pt x="449597" y="88107"/>
                      <a:pt x="433436" y="104268"/>
                    </a:cubicBezTo>
                    <a:cubicBezTo>
                      <a:pt x="426409" y="111295"/>
                      <a:pt x="410951" y="114808"/>
                      <a:pt x="417275" y="128861"/>
                    </a:cubicBezTo>
                    <a:cubicBezTo>
                      <a:pt x="423599" y="142914"/>
                      <a:pt x="435544" y="149941"/>
                      <a:pt x="452408" y="149941"/>
                    </a:cubicBezTo>
                    <a:cubicBezTo>
                      <a:pt x="492460" y="149238"/>
                      <a:pt x="532512" y="150644"/>
                      <a:pt x="572564" y="149238"/>
                    </a:cubicBezTo>
                    <a:cubicBezTo>
                      <a:pt x="587319" y="149238"/>
                      <a:pt x="592941" y="152049"/>
                      <a:pt x="592941" y="168210"/>
                    </a:cubicBezTo>
                    <a:cubicBezTo>
                      <a:pt x="591535" y="208965"/>
                      <a:pt x="592238" y="250422"/>
                      <a:pt x="592941" y="291176"/>
                    </a:cubicBezTo>
                    <a:cubicBezTo>
                      <a:pt x="592941" y="312256"/>
                      <a:pt x="582401" y="324904"/>
                      <a:pt x="566942" y="336147"/>
                    </a:cubicBezTo>
                    <a:cubicBezTo>
                      <a:pt x="556402" y="343174"/>
                      <a:pt x="547268" y="342471"/>
                      <a:pt x="538133" y="333336"/>
                    </a:cubicBezTo>
                    <a:cubicBezTo>
                      <a:pt x="500892" y="297501"/>
                      <a:pt x="494568" y="295393"/>
                      <a:pt x="472082" y="312256"/>
                    </a:cubicBezTo>
                    <a:cubicBezTo>
                      <a:pt x="444679" y="332634"/>
                      <a:pt x="435544" y="378307"/>
                      <a:pt x="452408" y="408521"/>
                    </a:cubicBezTo>
                    <a:cubicBezTo>
                      <a:pt x="472785" y="445762"/>
                      <a:pt x="503702" y="449979"/>
                      <a:pt x="530404" y="419764"/>
                    </a:cubicBezTo>
                    <a:cubicBezTo>
                      <a:pt x="538133" y="410629"/>
                      <a:pt x="544457" y="395874"/>
                      <a:pt x="560618" y="403603"/>
                    </a:cubicBezTo>
                    <a:cubicBezTo>
                      <a:pt x="576779" y="410629"/>
                      <a:pt x="592238" y="422575"/>
                      <a:pt x="592238" y="441547"/>
                    </a:cubicBezTo>
                    <a:cubicBezTo>
                      <a:pt x="593643" y="487922"/>
                      <a:pt x="592238" y="534298"/>
                      <a:pt x="592941" y="581377"/>
                    </a:cubicBezTo>
                    <a:cubicBezTo>
                      <a:pt x="592941" y="596835"/>
                      <a:pt x="582401" y="593322"/>
                      <a:pt x="574671" y="593322"/>
                    </a:cubicBezTo>
                    <a:cubicBezTo>
                      <a:pt x="505108" y="592619"/>
                      <a:pt x="437652" y="591917"/>
                      <a:pt x="370196" y="591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00BE1923-83E5-46EA-A08F-3F698E99C9A0}"/>
                  </a:ext>
                </a:extLst>
              </p:cNvPr>
              <p:cNvSpPr/>
              <p:nvPr userDrawn="1"/>
            </p:nvSpPr>
            <p:spPr>
              <a:xfrm>
                <a:off x="2425095" y="3660932"/>
                <a:ext cx="524616" cy="314770"/>
              </a:xfrm>
              <a:custGeom>
                <a:avLst/>
                <a:gdLst>
                  <a:gd name="connsiteX0" fmla="*/ 370725 w 737797"/>
                  <a:gd name="connsiteY0" fmla="*/ 441321 h 442678"/>
                  <a:gd name="connsiteX1" fmla="*/ 178898 w 737797"/>
                  <a:gd name="connsiteY1" fmla="*/ 442023 h 442678"/>
                  <a:gd name="connsiteX2" fmla="*/ 148684 w 737797"/>
                  <a:gd name="connsiteY2" fmla="*/ 413214 h 442678"/>
                  <a:gd name="connsiteX3" fmla="*/ 149386 w 737797"/>
                  <a:gd name="connsiteY3" fmla="*/ 303599 h 442678"/>
                  <a:gd name="connsiteX4" fmla="*/ 138846 w 737797"/>
                  <a:gd name="connsiteY4" fmla="*/ 274087 h 442678"/>
                  <a:gd name="connsiteX5" fmla="*/ 110037 w 737797"/>
                  <a:gd name="connsiteY5" fmla="*/ 274790 h 442678"/>
                  <a:gd name="connsiteX6" fmla="*/ 55230 w 737797"/>
                  <a:gd name="connsiteY6" fmla="*/ 301491 h 442678"/>
                  <a:gd name="connsiteX7" fmla="*/ 2530 w 737797"/>
                  <a:gd name="connsiteY7" fmla="*/ 243872 h 442678"/>
                  <a:gd name="connsiteX8" fmla="*/ 40473 w 737797"/>
                  <a:gd name="connsiteY8" fmla="*/ 146905 h 442678"/>
                  <a:gd name="connsiteX9" fmla="*/ 105119 w 737797"/>
                  <a:gd name="connsiteY9" fmla="*/ 160255 h 442678"/>
                  <a:gd name="connsiteX10" fmla="*/ 127604 w 737797"/>
                  <a:gd name="connsiteY10" fmla="*/ 175714 h 442678"/>
                  <a:gd name="connsiteX11" fmla="*/ 149386 w 737797"/>
                  <a:gd name="connsiteY11" fmla="*/ 143391 h 442678"/>
                  <a:gd name="connsiteX12" fmla="*/ 148684 w 737797"/>
                  <a:gd name="connsiteY12" fmla="*/ 23236 h 442678"/>
                  <a:gd name="connsiteX13" fmla="*/ 170466 w 737797"/>
                  <a:gd name="connsiteY13" fmla="*/ 48 h 442678"/>
                  <a:gd name="connsiteX14" fmla="*/ 290622 w 737797"/>
                  <a:gd name="connsiteY14" fmla="*/ 751 h 442678"/>
                  <a:gd name="connsiteX15" fmla="*/ 330673 w 737797"/>
                  <a:gd name="connsiteY15" fmla="*/ 19722 h 442678"/>
                  <a:gd name="connsiteX16" fmla="*/ 327160 w 737797"/>
                  <a:gd name="connsiteY16" fmla="*/ 59072 h 442678"/>
                  <a:gd name="connsiteX17" fmla="*/ 301864 w 737797"/>
                  <a:gd name="connsiteY17" fmla="*/ 105447 h 442678"/>
                  <a:gd name="connsiteX18" fmla="*/ 357375 w 737797"/>
                  <a:gd name="connsiteY18" fmla="*/ 148310 h 442678"/>
                  <a:gd name="connsiteX19" fmla="*/ 419209 w 737797"/>
                  <a:gd name="connsiteY19" fmla="*/ 132851 h 442678"/>
                  <a:gd name="connsiteX20" fmla="*/ 419209 w 737797"/>
                  <a:gd name="connsiteY20" fmla="*/ 63287 h 442678"/>
                  <a:gd name="connsiteX21" fmla="*/ 401643 w 737797"/>
                  <a:gd name="connsiteY21" fmla="*/ 35884 h 442678"/>
                  <a:gd name="connsiteX22" fmla="*/ 437478 w 737797"/>
                  <a:gd name="connsiteY22" fmla="*/ 2156 h 442678"/>
                  <a:gd name="connsiteX23" fmla="*/ 582228 w 737797"/>
                  <a:gd name="connsiteY23" fmla="*/ 751 h 442678"/>
                  <a:gd name="connsiteX24" fmla="*/ 591362 w 737797"/>
                  <a:gd name="connsiteY24" fmla="*/ 19020 h 442678"/>
                  <a:gd name="connsiteX25" fmla="*/ 591362 w 737797"/>
                  <a:gd name="connsiteY25" fmla="*/ 134257 h 442678"/>
                  <a:gd name="connsiteX26" fmla="*/ 596983 w 737797"/>
                  <a:gd name="connsiteY26" fmla="*/ 160255 h 442678"/>
                  <a:gd name="connsiteX27" fmla="*/ 634224 w 737797"/>
                  <a:gd name="connsiteY27" fmla="*/ 164471 h 442678"/>
                  <a:gd name="connsiteX28" fmla="*/ 722760 w 737797"/>
                  <a:gd name="connsiteY28" fmla="*/ 165174 h 442678"/>
                  <a:gd name="connsiteX29" fmla="*/ 695356 w 737797"/>
                  <a:gd name="connsiteY29" fmla="*/ 298680 h 442678"/>
                  <a:gd name="connsiteX30" fmla="*/ 637035 w 737797"/>
                  <a:gd name="connsiteY30" fmla="*/ 283221 h 442678"/>
                  <a:gd name="connsiteX31" fmla="*/ 613144 w 737797"/>
                  <a:gd name="connsiteY31" fmla="*/ 267060 h 442678"/>
                  <a:gd name="connsiteX32" fmla="*/ 591362 w 737797"/>
                  <a:gd name="connsiteY32" fmla="*/ 302193 h 442678"/>
                  <a:gd name="connsiteX33" fmla="*/ 592065 w 737797"/>
                  <a:gd name="connsiteY33" fmla="*/ 420241 h 442678"/>
                  <a:gd name="connsiteX34" fmla="*/ 570282 w 737797"/>
                  <a:gd name="connsiteY34" fmla="*/ 442726 h 442678"/>
                  <a:gd name="connsiteX35" fmla="*/ 370725 w 737797"/>
                  <a:gd name="connsiteY35" fmla="*/ 441321 h 442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37797" h="442678">
                    <a:moveTo>
                      <a:pt x="370725" y="441321"/>
                    </a:moveTo>
                    <a:cubicBezTo>
                      <a:pt x="306783" y="441321"/>
                      <a:pt x="242840" y="440618"/>
                      <a:pt x="178898" y="442023"/>
                    </a:cubicBezTo>
                    <a:cubicBezTo>
                      <a:pt x="155710" y="442726"/>
                      <a:pt x="146576" y="438510"/>
                      <a:pt x="148684" y="413214"/>
                    </a:cubicBezTo>
                    <a:cubicBezTo>
                      <a:pt x="151494" y="376676"/>
                      <a:pt x="149386" y="340137"/>
                      <a:pt x="149386" y="303599"/>
                    </a:cubicBezTo>
                    <a:cubicBezTo>
                      <a:pt x="149386" y="292356"/>
                      <a:pt x="147981" y="282519"/>
                      <a:pt x="138846" y="274087"/>
                    </a:cubicBezTo>
                    <a:cubicBezTo>
                      <a:pt x="128306" y="264250"/>
                      <a:pt x="119874" y="260736"/>
                      <a:pt x="110037" y="274790"/>
                    </a:cubicBezTo>
                    <a:cubicBezTo>
                      <a:pt x="96686" y="293761"/>
                      <a:pt x="79823" y="309923"/>
                      <a:pt x="55230" y="301491"/>
                    </a:cubicBezTo>
                    <a:cubicBezTo>
                      <a:pt x="28528" y="292356"/>
                      <a:pt x="8853" y="274087"/>
                      <a:pt x="2530" y="243872"/>
                    </a:cubicBezTo>
                    <a:cubicBezTo>
                      <a:pt x="-5902" y="201010"/>
                      <a:pt x="6746" y="166579"/>
                      <a:pt x="40473" y="146905"/>
                    </a:cubicBezTo>
                    <a:cubicBezTo>
                      <a:pt x="65067" y="132148"/>
                      <a:pt x="82633" y="136365"/>
                      <a:pt x="105119" y="160255"/>
                    </a:cubicBezTo>
                    <a:cubicBezTo>
                      <a:pt x="111443" y="167282"/>
                      <a:pt x="114956" y="181335"/>
                      <a:pt x="127604" y="175714"/>
                    </a:cubicBezTo>
                    <a:cubicBezTo>
                      <a:pt x="140252" y="170092"/>
                      <a:pt x="149386" y="159552"/>
                      <a:pt x="149386" y="143391"/>
                    </a:cubicBezTo>
                    <a:cubicBezTo>
                      <a:pt x="149386" y="103339"/>
                      <a:pt x="150089" y="63287"/>
                      <a:pt x="148684" y="23236"/>
                    </a:cubicBezTo>
                    <a:cubicBezTo>
                      <a:pt x="147981" y="6372"/>
                      <a:pt x="150792" y="-655"/>
                      <a:pt x="170466" y="48"/>
                    </a:cubicBezTo>
                    <a:cubicBezTo>
                      <a:pt x="210518" y="2156"/>
                      <a:pt x="250570" y="751"/>
                      <a:pt x="290622" y="751"/>
                    </a:cubicBezTo>
                    <a:cubicBezTo>
                      <a:pt x="307486" y="751"/>
                      <a:pt x="320836" y="7074"/>
                      <a:pt x="330673" y="19722"/>
                    </a:cubicBezTo>
                    <a:cubicBezTo>
                      <a:pt x="341916" y="33775"/>
                      <a:pt x="344024" y="46424"/>
                      <a:pt x="327160" y="59072"/>
                    </a:cubicBezTo>
                    <a:cubicBezTo>
                      <a:pt x="312404" y="70314"/>
                      <a:pt x="292730" y="82259"/>
                      <a:pt x="301864" y="105447"/>
                    </a:cubicBezTo>
                    <a:cubicBezTo>
                      <a:pt x="311702" y="129338"/>
                      <a:pt x="329268" y="146202"/>
                      <a:pt x="357375" y="148310"/>
                    </a:cubicBezTo>
                    <a:cubicBezTo>
                      <a:pt x="379860" y="150418"/>
                      <a:pt x="400940" y="149013"/>
                      <a:pt x="419209" y="132851"/>
                    </a:cubicBezTo>
                    <a:cubicBezTo>
                      <a:pt x="448018" y="106150"/>
                      <a:pt x="448018" y="89286"/>
                      <a:pt x="419209" y="63287"/>
                    </a:cubicBezTo>
                    <a:cubicBezTo>
                      <a:pt x="410777" y="56261"/>
                      <a:pt x="396724" y="50640"/>
                      <a:pt x="401643" y="35884"/>
                    </a:cubicBezTo>
                    <a:cubicBezTo>
                      <a:pt x="407264" y="19020"/>
                      <a:pt x="418506" y="2859"/>
                      <a:pt x="437478" y="2156"/>
                    </a:cubicBezTo>
                    <a:cubicBezTo>
                      <a:pt x="485962" y="48"/>
                      <a:pt x="534446" y="751"/>
                      <a:pt x="582228" y="751"/>
                    </a:cubicBezTo>
                    <a:cubicBezTo>
                      <a:pt x="596983" y="751"/>
                      <a:pt x="591362" y="11993"/>
                      <a:pt x="591362" y="19020"/>
                    </a:cubicBezTo>
                    <a:cubicBezTo>
                      <a:pt x="592065" y="57666"/>
                      <a:pt x="591362" y="95610"/>
                      <a:pt x="591362" y="134257"/>
                    </a:cubicBezTo>
                    <a:cubicBezTo>
                      <a:pt x="591362" y="143391"/>
                      <a:pt x="592065" y="152526"/>
                      <a:pt x="596983" y="160255"/>
                    </a:cubicBezTo>
                    <a:cubicBezTo>
                      <a:pt x="608929" y="179930"/>
                      <a:pt x="618766" y="180632"/>
                      <a:pt x="634224" y="164471"/>
                    </a:cubicBezTo>
                    <a:cubicBezTo>
                      <a:pt x="665142" y="130041"/>
                      <a:pt x="692545" y="130743"/>
                      <a:pt x="722760" y="165174"/>
                    </a:cubicBezTo>
                    <a:cubicBezTo>
                      <a:pt x="758596" y="205928"/>
                      <a:pt x="743840" y="274790"/>
                      <a:pt x="695356" y="298680"/>
                    </a:cubicBezTo>
                    <a:cubicBezTo>
                      <a:pt x="671465" y="310625"/>
                      <a:pt x="653899" y="300788"/>
                      <a:pt x="637035" y="283221"/>
                    </a:cubicBezTo>
                    <a:cubicBezTo>
                      <a:pt x="630711" y="276195"/>
                      <a:pt x="627901" y="260033"/>
                      <a:pt x="613144" y="267060"/>
                    </a:cubicBezTo>
                    <a:cubicBezTo>
                      <a:pt x="599794" y="273384"/>
                      <a:pt x="591362" y="285330"/>
                      <a:pt x="591362" y="302193"/>
                    </a:cubicBezTo>
                    <a:cubicBezTo>
                      <a:pt x="591362" y="341543"/>
                      <a:pt x="590659" y="380892"/>
                      <a:pt x="592065" y="420241"/>
                    </a:cubicBezTo>
                    <a:cubicBezTo>
                      <a:pt x="592767" y="437807"/>
                      <a:pt x="588551" y="443429"/>
                      <a:pt x="570282" y="442726"/>
                    </a:cubicBezTo>
                    <a:cubicBezTo>
                      <a:pt x="504232" y="440618"/>
                      <a:pt x="437478" y="441321"/>
                      <a:pt x="370725" y="44132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F591AF5B-E07A-4898-BE33-E83DA0220DDB}"/>
                  </a:ext>
                </a:extLst>
              </p:cNvPr>
              <p:cNvSpPr/>
              <p:nvPr userDrawn="1"/>
            </p:nvSpPr>
            <p:spPr>
              <a:xfrm>
                <a:off x="2843207" y="3552413"/>
                <a:ext cx="314770" cy="419693"/>
              </a:xfrm>
              <a:custGeom>
                <a:avLst/>
                <a:gdLst>
                  <a:gd name="connsiteX0" fmla="*/ 222808 w 442678"/>
                  <a:gd name="connsiteY0" fmla="*/ 592910 h 590237"/>
                  <a:gd name="connsiteX1" fmla="*/ 22549 w 442678"/>
                  <a:gd name="connsiteY1" fmla="*/ 593613 h 590237"/>
                  <a:gd name="connsiteX2" fmla="*/ 64 w 442678"/>
                  <a:gd name="connsiteY2" fmla="*/ 570425 h 590237"/>
                  <a:gd name="connsiteX3" fmla="*/ 64 w 442678"/>
                  <a:gd name="connsiteY3" fmla="*/ 457998 h 590237"/>
                  <a:gd name="connsiteX4" fmla="*/ 15523 w 442678"/>
                  <a:gd name="connsiteY4" fmla="*/ 415839 h 590237"/>
                  <a:gd name="connsiteX5" fmla="*/ 62601 w 442678"/>
                  <a:gd name="connsiteY5" fmla="*/ 417947 h 590237"/>
                  <a:gd name="connsiteX6" fmla="*/ 104761 w 442678"/>
                  <a:gd name="connsiteY6" fmla="*/ 440432 h 590237"/>
                  <a:gd name="connsiteX7" fmla="*/ 147624 w 442678"/>
                  <a:gd name="connsiteY7" fmla="*/ 391245 h 590237"/>
                  <a:gd name="connsiteX8" fmla="*/ 127246 w 442678"/>
                  <a:gd name="connsiteY8" fmla="*/ 316061 h 590237"/>
                  <a:gd name="connsiteX9" fmla="*/ 66817 w 442678"/>
                  <a:gd name="connsiteY9" fmla="*/ 319574 h 590237"/>
                  <a:gd name="connsiteX10" fmla="*/ 35900 w 442678"/>
                  <a:gd name="connsiteY10" fmla="*/ 339249 h 590237"/>
                  <a:gd name="connsiteX11" fmla="*/ 1469 w 442678"/>
                  <a:gd name="connsiteY11" fmla="*/ 297791 h 590237"/>
                  <a:gd name="connsiteX12" fmla="*/ 767 w 442678"/>
                  <a:gd name="connsiteY12" fmla="*/ 163583 h 590237"/>
                  <a:gd name="connsiteX13" fmla="*/ 19036 w 442678"/>
                  <a:gd name="connsiteY13" fmla="*/ 150934 h 590237"/>
                  <a:gd name="connsiteX14" fmla="*/ 137084 w 442678"/>
                  <a:gd name="connsiteY14" fmla="*/ 150934 h 590237"/>
                  <a:gd name="connsiteX15" fmla="*/ 165190 w 442678"/>
                  <a:gd name="connsiteY15" fmla="*/ 143205 h 590237"/>
                  <a:gd name="connsiteX16" fmla="*/ 166595 w 442678"/>
                  <a:gd name="connsiteY16" fmla="*/ 107369 h 590237"/>
                  <a:gd name="connsiteX17" fmla="*/ 163785 w 442678"/>
                  <a:gd name="connsiteY17" fmla="*/ 22347 h 590237"/>
                  <a:gd name="connsiteX18" fmla="*/ 290967 w 442678"/>
                  <a:gd name="connsiteY18" fmla="*/ 30779 h 590237"/>
                  <a:gd name="connsiteX19" fmla="*/ 286048 w 442678"/>
                  <a:gd name="connsiteY19" fmla="*/ 104559 h 590237"/>
                  <a:gd name="connsiteX20" fmla="*/ 270590 w 442678"/>
                  <a:gd name="connsiteY20" fmla="*/ 129152 h 590237"/>
                  <a:gd name="connsiteX21" fmla="*/ 303615 w 442678"/>
                  <a:gd name="connsiteY21" fmla="*/ 150232 h 590237"/>
                  <a:gd name="connsiteX22" fmla="*/ 421662 w 442678"/>
                  <a:gd name="connsiteY22" fmla="*/ 149529 h 590237"/>
                  <a:gd name="connsiteX23" fmla="*/ 446256 w 442678"/>
                  <a:gd name="connsiteY23" fmla="*/ 175528 h 590237"/>
                  <a:gd name="connsiteX24" fmla="*/ 446256 w 442678"/>
                  <a:gd name="connsiteY24" fmla="*/ 287954 h 590237"/>
                  <a:gd name="connsiteX25" fmla="*/ 428689 w 442678"/>
                  <a:gd name="connsiteY25" fmla="*/ 329411 h 590237"/>
                  <a:gd name="connsiteX26" fmla="*/ 385827 w 442678"/>
                  <a:gd name="connsiteY26" fmla="*/ 327303 h 590237"/>
                  <a:gd name="connsiteX27" fmla="*/ 342261 w 442678"/>
                  <a:gd name="connsiteY27" fmla="*/ 303412 h 590237"/>
                  <a:gd name="connsiteX28" fmla="*/ 298696 w 442678"/>
                  <a:gd name="connsiteY28" fmla="*/ 357518 h 590237"/>
                  <a:gd name="connsiteX29" fmla="*/ 318371 w 442678"/>
                  <a:gd name="connsiteY29" fmla="*/ 425676 h 590237"/>
                  <a:gd name="connsiteX30" fmla="*/ 380908 w 442678"/>
                  <a:gd name="connsiteY30" fmla="*/ 422865 h 590237"/>
                  <a:gd name="connsiteX31" fmla="*/ 415338 w 442678"/>
                  <a:gd name="connsiteY31" fmla="*/ 404596 h 590237"/>
                  <a:gd name="connsiteX32" fmla="*/ 446256 w 442678"/>
                  <a:gd name="connsiteY32" fmla="*/ 446054 h 590237"/>
                  <a:gd name="connsiteX33" fmla="*/ 446958 w 442678"/>
                  <a:gd name="connsiteY33" fmla="*/ 577451 h 590237"/>
                  <a:gd name="connsiteX34" fmla="*/ 425878 w 442678"/>
                  <a:gd name="connsiteY34" fmla="*/ 592910 h 590237"/>
                  <a:gd name="connsiteX35" fmla="*/ 222808 w 442678"/>
                  <a:gd name="connsiteY35" fmla="*/ 592910 h 59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42678" h="590237">
                    <a:moveTo>
                      <a:pt x="222808" y="592910"/>
                    </a:moveTo>
                    <a:cubicBezTo>
                      <a:pt x="156055" y="592910"/>
                      <a:pt x="89302" y="592208"/>
                      <a:pt x="22549" y="593613"/>
                    </a:cubicBezTo>
                    <a:cubicBezTo>
                      <a:pt x="4280" y="593613"/>
                      <a:pt x="-639" y="588694"/>
                      <a:pt x="64" y="570425"/>
                    </a:cubicBezTo>
                    <a:cubicBezTo>
                      <a:pt x="1469" y="533184"/>
                      <a:pt x="767" y="495240"/>
                      <a:pt x="64" y="457998"/>
                    </a:cubicBezTo>
                    <a:cubicBezTo>
                      <a:pt x="64" y="441837"/>
                      <a:pt x="3577" y="427784"/>
                      <a:pt x="15523" y="415839"/>
                    </a:cubicBezTo>
                    <a:cubicBezTo>
                      <a:pt x="33792" y="397570"/>
                      <a:pt x="45035" y="397570"/>
                      <a:pt x="62601" y="417947"/>
                    </a:cubicBezTo>
                    <a:cubicBezTo>
                      <a:pt x="73844" y="431297"/>
                      <a:pt x="85086" y="448161"/>
                      <a:pt x="104761" y="440432"/>
                    </a:cubicBezTo>
                    <a:cubicBezTo>
                      <a:pt x="126544" y="432000"/>
                      <a:pt x="144813" y="417244"/>
                      <a:pt x="147624" y="391245"/>
                    </a:cubicBezTo>
                    <a:cubicBezTo>
                      <a:pt x="150434" y="363842"/>
                      <a:pt x="152542" y="336438"/>
                      <a:pt x="127246" y="316061"/>
                    </a:cubicBezTo>
                    <a:cubicBezTo>
                      <a:pt x="102653" y="295683"/>
                      <a:pt x="87897" y="296386"/>
                      <a:pt x="66817" y="319574"/>
                    </a:cubicBezTo>
                    <a:cubicBezTo>
                      <a:pt x="58385" y="328709"/>
                      <a:pt x="54169" y="345572"/>
                      <a:pt x="35900" y="339249"/>
                    </a:cubicBezTo>
                    <a:cubicBezTo>
                      <a:pt x="15523" y="332222"/>
                      <a:pt x="2172" y="318169"/>
                      <a:pt x="1469" y="297791"/>
                    </a:cubicBezTo>
                    <a:cubicBezTo>
                      <a:pt x="-639" y="252821"/>
                      <a:pt x="1469" y="208553"/>
                      <a:pt x="767" y="163583"/>
                    </a:cubicBezTo>
                    <a:cubicBezTo>
                      <a:pt x="767" y="148827"/>
                      <a:pt x="9901" y="150934"/>
                      <a:pt x="19036" y="150934"/>
                    </a:cubicBezTo>
                    <a:cubicBezTo>
                      <a:pt x="58385" y="150934"/>
                      <a:pt x="97734" y="150934"/>
                      <a:pt x="137084" y="150934"/>
                    </a:cubicBezTo>
                    <a:cubicBezTo>
                      <a:pt x="147624" y="150934"/>
                      <a:pt x="157461" y="150232"/>
                      <a:pt x="165190" y="143205"/>
                    </a:cubicBezTo>
                    <a:cubicBezTo>
                      <a:pt x="178541" y="131963"/>
                      <a:pt x="185567" y="122828"/>
                      <a:pt x="166595" y="107369"/>
                    </a:cubicBezTo>
                    <a:cubicBezTo>
                      <a:pt x="132165" y="80668"/>
                      <a:pt x="132165" y="53264"/>
                      <a:pt x="163785" y="22347"/>
                    </a:cubicBezTo>
                    <a:cubicBezTo>
                      <a:pt x="197513" y="-10678"/>
                      <a:pt x="260752" y="-6462"/>
                      <a:pt x="290967" y="30779"/>
                    </a:cubicBezTo>
                    <a:cubicBezTo>
                      <a:pt x="314155" y="58885"/>
                      <a:pt x="312047" y="79263"/>
                      <a:pt x="286048" y="104559"/>
                    </a:cubicBezTo>
                    <a:cubicBezTo>
                      <a:pt x="279022" y="111585"/>
                      <a:pt x="263563" y="115099"/>
                      <a:pt x="270590" y="129152"/>
                    </a:cubicBezTo>
                    <a:cubicBezTo>
                      <a:pt x="276914" y="141800"/>
                      <a:pt x="288156" y="150232"/>
                      <a:pt x="303615" y="150232"/>
                    </a:cubicBezTo>
                    <a:cubicBezTo>
                      <a:pt x="342964" y="150232"/>
                      <a:pt x="382313" y="151637"/>
                      <a:pt x="421662" y="149529"/>
                    </a:cubicBezTo>
                    <a:cubicBezTo>
                      <a:pt x="443445" y="148124"/>
                      <a:pt x="446958" y="155853"/>
                      <a:pt x="446256" y="175528"/>
                    </a:cubicBezTo>
                    <a:cubicBezTo>
                      <a:pt x="444850" y="212769"/>
                      <a:pt x="445553" y="250713"/>
                      <a:pt x="446256" y="287954"/>
                    </a:cubicBezTo>
                    <a:cubicBezTo>
                      <a:pt x="446256" y="304818"/>
                      <a:pt x="441337" y="318169"/>
                      <a:pt x="428689" y="329411"/>
                    </a:cubicBezTo>
                    <a:cubicBezTo>
                      <a:pt x="413933" y="342059"/>
                      <a:pt x="399880" y="346275"/>
                      <a:pt x="385827" y="327303"/>
                    </a:cubicBezTo>
                    <a:cubicBezTo>
                      <a:pt x="375287" y="313250"/>
                      <a:pt x="364044" y="295683"/>
                      <a:pt x="342261" y="303412"/>
                    </a:cubicBezTo>
                    <a:cubicBezTo>
                      <a:pt x="316965" y="312547"/>
                      <a:pt x="300804" y="330114"/>
                      <a:pt x="298696" y="357518"/>
                    </a:cubicBezTo>
                    <a:cubicBezTo>
                      <a:pt x="296588" y="382814"/>
                      <a:pt x="297994" y="406704"/>
                      <a:pt x="318371" y="425676"/>
                    </a:cubicBezTo>
                    <a:cubicBezTo>
                      <a:pt x="342964" y="448161"/>
                      <a:pt x="358423" y="447459"/>
                      <a:pt x="380908" y="422865"/>
                    </a:cubicBezTo>
                    <a:cubicBezTo>
                      <a:pt x="390043" y="412325"/>
                      <a:pt x="397069" y="395462"/>
                      <a:pt x="415338" y="404596"/>
                    </a:cubicBezTo>
                    <a:cubicBezTo>
                      <a:pt x="432202" y="413028"/>
                      <a:pt x="445553" y="425676"/>
                      <a:pt x="446256" y="446054"/>
                    </a:cubicBezTo>
                    <a:cubicBezTo>
                      <a:pt x="446958" y="489618"/>
                      <a:pt x="445553" y="533887"/>
                      <a:pt x="446958" y="577451"/>
                    </a:cubicBezTo>
                    <a:cubicBezTo>
                      <a:pt x="447661" y="595721"/>
                      <a:pt x="436418" y="592910"/>
                      <a:pt x="425878" y="592910"/>
                    </a:cubicBezTo>
                    <a:cubicBezTo>
                      <a:pt x="355612" y="592910"/>
                      <a:pt x="288859" y="592910"/>
                      <a:pt x="222808" y="5929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5222C0D-7289-4A86-9012-7B3A9B554EEF}"/>
                  </a:ext>
                </a:extLst>
              </p:cNvPr>
              <p:cNvSpPr/>
              <p:nvPr userDrawn="1"/>
            </p:nvSpPr>
            <p:spPr>
              <a:xfrm>
                <a:off x="3051472" y="3662333"/>
                <a:ext cx="419693" cy="309773"/>
              </a:xfrm>
              <a:custGeom>
                <a:avLst/>
                <a:gdLst>
                  <a:gd name="connsiteX0" fmla="*/ 368817 w 590237"/>
                  <a:gd name="connsiteY0" fmla="*/ 441448 h 435651"/>
                  <a:gd name="connsiteX1" fmla="*/ 166450 w 590237"/>
                  <a:gd name="connsiteY1" fmla="*/ 441448 h 435651"/>
                  <a:gd name="connsiteX2" fmla="*/ 148180 w 590237"/>
                  <a:gd name="connsiteY2" fmla="*/ 423882 h 435651"/>
                  <a:gd name="connsiteX3" fmla="*/ 148883 w 590237"/>
                  <a:gd name="connsiteY3" fmla="*/ 308645 h 435651"/>
                  <a:gd name="connsiteX4" fmla="*/ 140451 w 590237"/>
                  <a:gd name="connsiteY4" fmla="*/ 277728 h 435651"/>
                  <a:gd name="connsiteX5" fmla="*/ 106723 w 590237"/>
                  <a:gd name="connsiteY5" fmla="*/ 276322 h 435651"/>
                  <a:gd name="connsiteX6" fmla="*/ 16782 w 590237"/>
                  <a:gd name="connsiteY6" fmla="*/ 274917 h 435651"/>
                  <a:gd name="connsiteX7" fmla="*/ 26619 w 590237"/>
                  <a:gd name="connsiteY7" fmla="*/ 155465 h 435651"/>
                  <a:gd name="connsiteX8" fmla="*/ 102507 w 590237"/>
                  <a:gd name="connsiteY8" fmla="*/ 157572 h 435651"/>
                  <a:gd name="connsiteX9" fmla="*/ 126398 w 590237"/>
                  <a:gd name="connsiteY9" fmla="*/ 175139 h 435651"/>
                  <a:gd name="connsiteX10" fmla="*/ 148883 w 590237"/>
                  <a:gd name="connsiteY10" fmla="*/ 137898 h 435651"/>
                  <a:gd name="connsiteX11" fmla="*/ 148180 w 590237"/>
                  <a:gd name="connsiteY11" fmla="*/ 25472 h 435651"/>
                  <a:gd name="connsiteX12" fmla="*/ 172773 w 590237"/>
                  <a:gd name="connsiteY12" fmla="*/ 176 h 435651"/>
                  <a:gd name="connsiteX13" fmla="*/ 290821 w 590237"/>
                  <a:gd name="connsiteY13" fmla="*/ 176 h 435651"/>
                  <a:gd name="connsiteX14" fmla="*/ 332278 w 590237"/>
                  <a:gd name="connsiteY14" fmla="*/ 22661 h 435651"/>
                  <a:gd name="connsiteX15" fmla="*/ 328062 w 590237"/>
                  <a:gd name="connsiteY15" fmla="*/ 57794 h 435651"/>
                  <a:gd name="connsiteX16" fmla="*/ 303469 w 590237"/>
                  <a:gd name="connsiteY16" fmla="*/ 111196 h 435651"/>
                  <a:gd name="connsiteX17" fmla="*/ 381465 w 590237"/>
                  <a:gd name="connsiteY17" fmla="*/ 148438 h 435651"/>
                  <a:gd name="connsiteX18" fmla="*/ 439083 w 590237"/>
                  <a:gd name="connsiteY18" fmla="*/ 100656 h 435651"/>
                  <a:gd name="connsiteX19" fmla="*/ 418706 w 590237"/>
                  <a:gd name="connsiteY19" fmla="*/ 64118 h 435651"/>
                  <a:gd name="connsiteX20" fmla="*/ 401842 w 590237"/>
                  <a:gd name="connsiteY20" fmla="*/ 31093 h 435651"/>
                  <a:gd name="connsiteX21" fmla="*/ 437678 w 590237"/>
                  <a:gd name="connsiteY21" fmla="*/ 878 h 435651"/>
                  <a:gd name="connsiteX22" fmla="*/ 580319 w 590237"/>
                  <a:gd name="connsiteY22" fmla="*/ 176 h 435651"/>
                  <a:gd name="connsiteX23" fmla="*/ 590859 w 590237"/>
                  <a:gd name="connsiteY23" fmla="*/ 14229 h 435651"/>
                  <a:gd name="connsiteX24" fmla="*/ 590859 w 590237"/>
                  <a:gd name="connsiteY24" fmla="*/ 142816 h 435651"/>
                  <a:gd name="connsiteX25" fmla="*/ 569779 w 590237"/>
                  <a:gd name="connsiteY25" fmla="*/ 182166 h 435651"/>
                  <a:gd name="connsiteX26" fmla="*/ 532537 w 590237"/>
                  <a:gd name="connsiteY26" fmla="*/ 178652 h 435651"/>
                  <a:gd name="connsiteX27" fmla="*/ 486864 w 590237"/>
                  <a:gd name="connsiteY27" fmla="*/ 152654 h 435651"/>
                  <a:gd name="connsiteX28" fmla="*/ 442596 w 590237"/>
                  <a:gd name="connsiteY28" fmla="*/ 209569 h 435651"/>
                  <a:gd name="connsiteX29" fmla="*/ 462271 w 590237"/>
                  <a:gd name="connsiteY29" fmla="*/ 274917 h 435651"/>
                  <a:gd name="connsiteX30" fmla="*/ 526213 w 590237"/>
                  <a:gd name="connsiteY30" fmla="*/ 270701 h 435651"/>
                  <a:gd name="connsiteX31" fmla="*/ 556428 w 590237"/>
                  <a:gd name="connsiteY31" fmla="*/ 253135 h 435651"/>
                  <a:gd name="connsiteX32" fmla="*/ 588048 w 590237"/>
                  <a:gd name="connsiteY32" fmla="*/ 287565 h 435651"/>
                  <a:gd name="connsiteX33" fmla="*/ 590156 w 590237"/>
                  <a:gd name="connsiteY33" fmla="*/ 432314 h 435651"/>
                  <a:gd name="connsiteX34" fmla="*/ 569076 w 590237"/>
                  <a:gd name="connsiteY34" fmla="*/ 441448 h 435651"/>
                  <a:gd name="connsiteX35" fmla="*/ 368817 w 590237"/>
                  <a:gd name="connsiteY35" fmla="*/ 441448 h 435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90237" h="435651">
                    <a:moveTo>
                      <a:pt x="368817" y="441448"/>
                    </a:moveTo>
                    <a:cubicBezTo>
                      <a:pt x="301361" y="441448"/>
                      <a:pt x="233905" y="440746"/>
                      <a:pt x="166450" y="441448"/>
                    </a:cubicBezTo>
                    <a:cubicBezTo>
                      <a:pt x="152396" y="441448"/>
                      <a:pt x="147478" y="438638"/>
                      <a:pt x="148180" y="423882"/>
                    </a:cubicBezTo>
                    <a:cubicBezTo>
                      <a:pt x="149586" y="385235"/>
                      <a:pt x="148180" y="347292"/>
                      <a:pt x="148883" y="308645"/>
                    </a:cubicBezTo>
                    <a:cubicBezTo>
                      <a:pt x="148883" y="297402"/>
                      <a:pt x="148180" y="286862"/>
                      <a:pt x="140451" y="277728"/>
                    </a:cubicBezTo>
                    <a:cubicBezTo>
                      <a:pt x="129208" y="264377"/>
                      <a:pt x="120776" y="258756"/>
                      <a:pt x="106723" y="276322"/>
                    </a:cubicBezTo>
                    <a:cubicBezTo>
                      <a:pt x="77211" y="312159"/>
                      <a:pt x="46294" y="310753"/>
                      <a:pt x="16782" y="274917"/>
                    </a:cubicBezTo>
                    <a:cubicBezTo>
                      <a:pt x="-9216" y="243298"/>
                      <a:pt x="-4298" y="182868"/>
                      <a:pt x="26619" y="155465"/>
                    </a:cubicBezTo>
                    <a:cubicBezTo>
                      <a:pt x="54726" y="130871"/>
                      <a:pt x="77914" y="131574"/>
                      <a:pt x="102507" y="157572"/>
                    </a:cubicBezTo>
                    <a:cubicBezTo>
                      <a:pt x="109534" y="164599"/>
                      <a:pt x="112344" y="180760"/>
                      <a:pt x="126398" y="175139"/>
                    </a:cubicBezTo>
                    <a:cubicBezTo>
                      <a:pt x="141154" y="168815"/>
                      <a:pt x="148883" y="155465"/>
                      <a:pt x="148883" y="137898"/>
                    </a:cubicBezTo>
                    <a:cubicBezTo>
                      <a:pt x="148883" y="100656"/>
                      <a:pt x="150288" y="62713"/>
                      <a:pt x="148180" y="25472"/>
                    </a:cubicBezTo>
                    <a:cubicBezTo>
                      <a:pt x="147478" y="5797"/>
                      <a:pt x="151694" y="-1230"/>
                      <a:pt x="172773" y="176"/>
                    </a:cubicBezTo>
                    <a:cubicBezTo>
                      <a:pt x="212123" y="2283"/>
                      <a:pt x="251472" y="1581"/>
                      <a:pt x="290821" y="176"/>
                    </a:cubicBezTo>
                    <a:cubicBezTo>
                      <a:pt x="309793" y="-527"/>
                      <a:pt x="321738" y="8608"/>
                      <a:pt x="332278" y="22661"/>
                    </a:cubicBezTo>
                    <a:cubicBezTo>
                      <a:pt x="341413" y="35309"/>
                      <a:pt x="342116" y="46552"/>
                      <a:pt x="328062" y="57794"/>
                    </a:cubicBezTo>
                    <a:cubicBezTo>
                      <a:pt x="311901" y="71145"/>
                      <a:pt x="289416" y="83090"/>
                      <a:pt x="303469" y="111196"/>
                    </a:cubicBezTo>
                    <a:cubicBezTo>
                      <a:pt x="317522" y="139303"/>
                      <a:pt x="346332" y="152654"/>
                      <a:pt x="381465" y="148438"/>
                    </a:cubicBezTo>
                    <a:cubicBezTo>
                      <a:pt x="408166" y="144925"/>
                      <a:pt x="435570" y="123142"/>
                      <a:pt x="439083" y="100656"/>
                    </a:cubicBezTo>
                    <a:cubicBezTo>
                      <a:pt x="441894" y="83793"/>
                      <a:pt x="429949" y="73955"/>
                      <a:pt x="418706" y="64118"/>
                    </a:cubicBezTo>
                    <a:cubicBezTo>
                      <a:pt x="408869" y="55686"/>
                      <a:pt x="394113" y="48660"/>
                      <a:pt x="401842" y="31093"/>
                    </a:cubicBezTo>
                    <a:cubicBezTo>
                      <a:pt x="408869" y="15634"/>
                      <a:pt x="419409" y="1581"/>
                      <a:pt x="437678" y="878"/>
                    </a:cubicBezTo>
                    <a:cubicBezTo>
                      <a:pt x="485459" y="-527"/>
                      <a:pt x="532537" y="176"/>
                      <a:pt x="580319" y="176"/>
                    </a:cubicBezTo>
                    <a:cubicBezTo>
                      <a:pt x="591561" y="176"/>
                      <a:pt x="590859" y="6500"/>
                      <a:pt x="590859" y="14229"/>
                    </a:cubicBezTo>
                    <a:cubicBezTo>
                      <a:pt x="590859" y="57092"/>
                      <a:pt x="590859" y="99954"/>
                      <a:pt x="590859" y="142816"/>
                    </a:cubicBezTo>
                    <a:cubicBezTo>
                      <a:pt x="590859" y="159680"/>
                      <a:pt x="582427" y="172328"/>
                      <a:pt x="569779" y="182166"/>
                    </a:cubicBezTo>
                    <a:cubicBezTo>
                      <a:pt x="556428" y="192706"/>
                      <a:pt x="544483" y="193408"/>
                      <a:pt x="532537" y="178652"/>
                    </a:cubicBezTo>
                    <a:cubicBezTo>
                      <a:pt x="521295" y="163896"/>
                      <a:pt x="510052" y="144222"/>
                      <a:pt x="486864" y="152654"/>
                    </a:cubicBezTo>
                    <a:cubicBezTo>
                      <a:pt x="460866" y="161788"/>
                      <a:pt x="444704" y="180760"/>
                      <a:pt x="442596" y="209569"/>
                    </a:cubicBezTo>
                    <a:cubicBezTo>
                      <a:pt x="441191" y="234163"/>
                      <a:pt x="442596" y="256648"/>
                      <a:pt x="462271" y="274917"/>
                    </a:cubicBezTo>
                    <a:cubicBezTo>
                      <a:pt x="488270" y="298105"/>
                      <a:pt x="503026" y="297402"/>
                      <a:pt x="526213" y="270701"/>
                    </a:cubicBezTo>
                    <a:cubicBezTo>
                      <a:pt x="533943" y="261567"/>
                      <a:pt x="539564" y="247513"/>
                      <a:pt x="556428" y="253135"/>
                    </a:cubicBezTo>
                    <a:cubicBezTo>
                      <a:pt x="572589" y="258756"/>
                      <a:pt x="587345" y="269999"/>
                      <a:pt x="588048" y="287565"/>
                    </a:cubicBezTo>
                    <a:cubicBezTo>
                      <a:pt x="590156" y="336049"/>
                      <a:pt x="590156" y="384533"/>
                      <a:pt x="590156" y="432314"/>
                    </a:cubicBezTo>
                    <a:cubicBezTo>
                      <a:pt x="590156" y="447773"/>
                      <a:pt x="576805" y="440746"/>
                      <a:pt x="569076" y="441448"/>
                    </a:cubicBezTo>
                    <a:cubicBezTo>
                      <a:pt x="502323" y="441448"/>
                      <a:pt x="435570" y="441448"/>
                      <a:pt x="368817" y="44144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67B6BCE2-FBE8-4813-8CF5-25262E43B462}"/>
                  </a:ext>
                </a:extLst>
              </p:cNvPr>
              <p:cNvSpPr/>
              <p:nvPr userDrawn="1"/>
            </p:nvSpPr>
            <p:spPr>
              <a:xfrm>
                <a:off x="3359794" y="3552413"/>
                <a:ext cx="419693" cy="419693"/>
              </a:xfrm>
              <a:custGeom>
                <a:avLst/>
                <a:gdLst>
                  <a:gd name="connsiteX0" fmla="*/ 370196 w 590237"/>
                  <a:gd name="connsiteY0" fmla="*/ 591917 h 590237"/>
                  <a:gd name="connsiteX1" fmla="*/ 167829 w 590237"/>
                  <a:gd name="connsiteY1" fmla="*/ 591917 h 590237"/>
                  <a:gd name="connsiteX2" fmla="*/ 147452 w 590237"/>
                  <a:gd name="connsiteY2" fmla="*/ 572242 h 590237"/>
                  <a:gd name="connsiteX3" fmla="*/ 148154 w 590237"/>
                  <a:gd name="connsiteY3" fmla="*/ 454897 h 590237"/>
                  <a:gd name="connsiteX4" fmla="*/ 139020 w 590237"/>
                  <a:gd name="connsiteY4" fmla="*/ 424683 h 590237"/>
                  <a:gd name="connsiteX5" fmla="*/ 108805 w 590237"/>
                  <a:gd name="connsiteY5" fmla="*/ 425385 h 590237"/>
                  <a:gd name="connsiteX6" fmla="*/ 56808 w 590237"/>
                  <a:gd name="connsiteY6" fmla="*/ 451384 h 590237"/>
                  <a:gd name="connsiteX7" fmla="*/ 4811 w 590237"/>
                  <a:gd name="connsiteY7" fmla="*/ 400089 h 590237"/>
                  <a:gd name="connsiteX8" fmla="*/ 38539 w 590237"/>
                  <a:gd name="connsiteY8" fmla="*/ 296798 h 590237"/>
                  <a:gd name="connsiteX9" fmla="*/ 105292 w 590237"/>
                  <a:gd name="connsiteY9" fmla="*/ 309446 h 590237"/>
                  <a:gd name="connsiteX10" fmla="*/ 127074 w 590237"/>
                  <a:gd name="connsiteY10" fmla="*/ 324904 h 590237"/>
                  <a:gd name="connsiteX11" fmla="*/ 148857 w 590237"/>
                  <a:gd name="connsiteY11" fmla="*/ 293284 h 590237"/>
                  <a:gd name="connsiteX12" fmla="*/ 148154 w 590237"/>
                  <a:gd name="connsiteY12" fmla="*/ 175940 h 590237"/>
                  <a:gd name="connsiteX13" fmla="*/ 174153 w 590237"/>
                  <a:gd name="connsiteY13" fmla="*/ 148536 h 590237"/>
                  <a:gd name="connsiteX14" fmla="*/ 286579 w 590237"/>
                  <a:gd name="connsiteY14" fmla="*/ 149238 h 590237"/>
                  <a:gd name="connsiteX15" fmla="*/ 310470 w 590237"/>
                  <a:gd name="connsiteY15" fmla="*/ 145022 h 590237"/>
                  <a:gd name="connsiteX16" fmla="*/ 313983 w 590237"/>
                  <a:gd name="connsiteY16" fmla="*/ 108484 h 590237"/>
                  <a:gd name="connsiteX17" fmla="*/ 312578 w 590237"/>
                  <a:gd name="connsiteY17" fmla="*/ 21354 h 590237"/>
                  <a:gd name="connsiteX18" fmla="*/ 449597 w 590237"/>
                  <a:gd name="connsiteY18" fmla="*/ 48757 h 590237"/>
                  <a:gd name="connsiteX19" fmla="*/ 433436 w 590237"/>
                  <a:gd name="connsiteY19" fmla="*/ 104268 h 590237"/>
                  <a:gd name="connsiteX20" fmla="*/ 417275 w 590237"/>
                  <a:gd name="connsiteY20" fmla="*/ 128861 h 590237"/>
                  <a:gd name="connsiteX21" fmla="*/ 452408 w 590237"/>
                  <a:gd name="connsiteY21" fmla="*/ 149941 h 590237"/>
                  <a:gd name="connsiteX22" fmla="*/ 572564 w 590237"/>
                  <a:gd name="connsiteY22" fmla="*/ 149238 h 590237"/>
                  <a:gd name="connsiteX23" fmla="*/ 592941 w 590237"/>
                  <a:gd name="connsiteY23" fmla="*/ 168210 h 590237"/>
                  <a:gd name="connsiteX24" fmla="*/ 592941 w 590237"/>
                  <a:gd name="connsiteY24" fmla="*/ 291176 h 590237"/>
                  <a:gd name="connsiteX25" fmla="*/ 566942 w 590237"/>
                  <a:gd name="connsiteY25" fmla="*/ 336147 h 590237"/>
                  <a:gd name="connsiteX26" fmla="*/ 538133 w 590237"/>
                  <a:gd name="connsiteY26" fmla="*/ 333336 h 590237"/>
                  <a:gd name="connsiteX27" fmla="*/ 472082 w 590237"/>
                  <a:gd name="connsiteY27" fmla="*/ 312256 h 590237"/>
                  <a:gd name="connsiteX28" fmla="*/ 452408 w 590237"/>
                  <a:gd name="connsiteY28" fmla="*/ 408521 h 590237"/>
                  <a:gd name="connsiteX29" fmla="*/ 530404 w 590237"/>
                  <a:gd name="connsiteY29" fmla="*/ 419764 h 590237"/>
                  <a:gd name="connsiteX30" fmla="*/ 560618 w 590237"/>
                  <a:gd name="connsiteY30" fmla="*/ 403603 h 590237"/>
                  <a:gd name="connsiteX31" fmla="*/ 592238 w 590237"/>
                  <a:gd name="connsiteY31" fmla="*/ 441547 h 590237"/>
                  <a:gd name="connsiteX32" fmla="*/ 592941 w 590237"/>
                  <a:gd name="connsiteY32" fmla="*/ 581377 h 590237"/>
                  <a:gd name="connsiteX33" fmla="*/ 574671 w 590237"/>
                  <a:gd name="connsiteY33" fmla="*/ 593322 h 590237"/>
                  <a:gd name="connsiteX34" fmla="*/ 370196 w 590237"/>
                  <a:gd name="connsiteY34" fmla="*/ 591917 h 59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90237" h="590237">
                    <a:moveTo>
                      <a:pt x="370196" y="591917"/>
                    </a:moveTo>
                    <a:cubicBezTo>
                      <a:pt x="302740" y="591917"/>
                      <a:pt x="235285" y="591214"/>
                      <a:pt x="167829" y="591917"/>
                    </a:cubicBezTo>
                    <a:cubicBezTo>
                      <a:pt x="152370" y="591917"/>
                      <a:pt x="147452" y="588403"/>
                      <a:pt x="147452" y="572242"/>
                    </a:cubicBezTo>
                    <a:cubicBezTo>
                      <a:pt x="148857" y="532893"/>
                      <a:pt x="147452" y="493544"/>
                      <a:pt x="148154" y="454897"/>
                    </a:cubicBezTo>
                    <a:cubicBezTo>
                      <a:pt x="148154" y="443655"/>
                      <a:pt x="147452" y="433115"/>
                      <a:pt x="139020" y="424683"/>
                    </a:cubicBezTo>
                    <a:cubicBezTo>
                      <a:pt x="128480" y="414143"/>
                      <a:pt x="119345" y="410629"/>
                      <a:pt x="108805" y="425385"/>
                    </a:cubicBezTo>
                    <a:cubicBezTo>
                      <a:pt x="96157" y="442249"/>
                      <a:pt x="81401" y="459113"/>
                      <a:pt x="56808" y="451384"/>
                    </a:cubicBezTo>
                    <a:cubicBezTo>
                      <a:pt x="30810" y="443655"/>
                      <a:pt x="12540" y="426790"/>
                      <a:pt x="4811" y="400089"/>
                    </a:cubicBezTo>
                    <a:cubicBezTo>
                      <a:pt x="-7837" y="357929"/>
                      <a:pt x="4811" y="317878"/>
                      <a:pt x="38539" y="296798"/>
                    </a:cubicBezTo>
                    <a:cubicBezTo>
                      <a:pt x="64537" y="279934"/>
                      <a:pt x="81401" y="284150"/>
                      <a:pt x="105292" y="309446"/>
                    </a:cubicBezTo>
                    <a:cubicBezTo>
                      <a:pt x="110913" y="315770"/>
                      <a:pt x="113724" y="330526"/>
                      <a:pt x="127074" y="324904"/>
                    </a:cubicBezTo>
                    <a:cubicBezTo>
                      <a:pt x="140425" y="319283"/>
                      <a:pt x="148857" y="308743"/>
                      <a:pt x="148857" y="293284"/>
                    </a:cubicBezTo>
                    <a:cubicBezTo>
                      <a:pt x="148857" y="253935"/>
                      <a:pt x="150262" y="214586"/>
                      <a:pt x="148154" y="175940"/>
                    </a:cubicBezTo>
                    <a:cubicBezTo>
                      <a:pt x="147452" y="155562"/>
                      <a:pt x="150965" y="147130"/>
                      <a:pt x="174153" y="148536"/>
                    </a:cubicBezTo>
                    <a:cubicBezTo>
                      <a:pt x="211394" y="150644"/>
                      <a:pt x="248635" y="149238"/>
                      <a:pt x="286579" y="149238"/>
                    </a:cubicBezTo>
                    <a:cubicBezTo>
                      <a:pt x="294309" y="149238"/>
                      <a:pt x="302740" y="149941"/>
                      <a:pt x="310470" y="145022"/>
                    </a:cubicBezTo>
                    <a:cubicBezTo>
                      <a:pt x="328739" y="133077"/>
                      <a:pt x="330145" y="122537"/>
                      <a:pt x="313983" y="108484"/>
                    </a:cubicBezTo>
                    <a:cubicBezTo>
                      <a:pt x="280255" y="78972"/>
                      <a:pt x="280255" y="52271"/>
                      <a:pt x="312578" y="21354"/>
                    </a:cubicBezTo>
                    <a:cubicBezTo>
                      <a:pt x="353332" y="-16590"/>
                      <a:pt x="426409" y="-1835"/>
                      <a:pt x="449597" y="48757"/>
                    </a:cubicBezTo>
                    <a:cubicBezTo>
                      <a:pt x="460137" y="72648"/>
                      <a:pt x="449597" y="88107"/>
                      <a:pt x="433436" y="104268"/>
                    </a:cubicBezTo>
                    <a:cubicBezTo>
                      <a:pt x="426409" y="111295"/>
                      <a:pt x="410951" y="114808"/>
                      <a:pt x="417275" y="128861"/>
                    </a:cubicBezTo>
                    <a:cubicBezTo>
                      <a:pt x="423599" y="142914"/>
                      <a:pt x="435544" y="149941"/>
                      <a:pt x="452408" y="149941"/>
                    </a:cubicBezTo>
                    <a:cubicBezTo>
                      <a:pt x="492460" y="149238"/>
                      <a:pt x="532512" y="150644"/>
                      <a:pt x="572564" y="149238"/>
                    </a:cubicBezTo>
                    <a:cubicBezTo>
                      <a:pt x="587319" y="149238"/>
                      <a:pt x="592941" y="152049"/>
                      <a:pt x="592941" y="168210"/>
                    </a:cubicBezTo>
                    <a:cubicBezTo>
                      <a:pt x="591535" y="208965"/>
                      <a:pt x="592238" y="250422"/>
                      <a:pt x="592941" y="291176"/>
                    </a:cubicBezTo>
                    <a:cubicBezTo>
                      <a:pt x="592941" y="312256"/>
                      <a:pt x="582401" y="324904"/>
                      <a:pt x="566942" y="336147"/>
                    </a:cubicBezTo>
                    <a:cubicBezTo>
                      <a:pt x="556402" y="343174"/>
                      <a:pt x="547268" y="342471"/>
                      <a:pt x="538133" y="333336"/>
                    </a:cubicBezTo>
                    <a:cubicBezTo>
                      <a:pt x="500892" y="297501"/>
                      <a:pt x="494568" y="295393"/>
                      <a:pt x="472082" y="312256"/>
                    </a:cubicBezTo>
                    <a:cubicBezTo>
                      <a:pt x="444679" y="332634"/>
                      <a:pt x="435544" y="378307"/>
                      <a:pt x="452408" y="408521"/>
                    </a:cubicBezTo>
                    <a:cubicBezTo>
                      <a:pt x="472785" y="445762"/>
                      <a:pt x="503702" y="449979"/>
                      <a:pt x="530404" y="419764"/>
                    </a:cubicBezTo>
                    <a:cubicBezTo>
                      <a:pt x="538133" y="410629"/>
                      <a:pt x="544457" y="395874"/>
                      <a:pt x="560618" y="403603"/>
                    </a:cubicBezTo>
                    <a:cubicBezTo>
                      <a:pt x="576779" y="410629"/>
                      <a:pt x="592238" y="422575"/>
                      <a:pt x="592238" y="441547"/>
                    </a:cubicBezTo>
                    <a:cubicBezTo>
                      <a:pt x="593643" y="487922"/>
                      <a:pt x="592238" y="534298"/>
                      <a:pt x="592941" y="581377"/>
                    </a:cubicBezTo>
                    <a:cubicBezTo>
                      <a:pt x="592941" y="596835"/>
                      <a:pt x="582401" y="593322"/>
                      <a:pt x="574671" y="593322"/>
                    </a:cubicBezTo>
                    <a:cubicBezTo>
                      <a:pt x="505108" y="592619"/>
                      <a:pt x="437652" y="591917"/>
                      <a:pt x="370196" y="591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AFEED25-7A4C-4463-9F3C-D9825B739BEF}"/>
                  </a:ext>
                </a:extLst>
              </p:cNvPr>
              <p:cNvSpPr/>
              <p:nvPr userDrawn="1"/>
            </p:nvSpPr>
            <p:spPr>
              <a:xfrm>
                <a:off x="3673051" y="3657336"/>
                <a:ext cx="524616" cy="314770"/>
              </a:xfrm>
              <a:custGeom>
                <a:avLst/>
                <a:gdLst>
                  <a:gd name="connsiteX0" fmla="*/ 370725 w 737797"/>
                  <a:gd name="connsiteY0" fmla="*/ 441321 h 442678"/>
                  <a:gd name="connsiteX1" fmla="*/ 178898 w 737797"/>
                  <a:gd name="connsiteY1" fmla="*/ 442023 h 442678"/>
                  <a:gd name="connsiteX2" fmla="*/ 148684 w 737797"/>
                  <a:gd name="connsiteY2" fmla="*/ 413214 h 442678"/>
                  <a:gd name="connsiteX3" fmla="*/ 149386 w 737797"/>
                  <a:gd name="connsiteY3" fmla="*/ 303599 h 442678"/>
                  <a:gd name="connsiteX4" fmla="*/ 138846 w 737797"/>
                  <a:gd name="connsiteY4" fmla="*/ 274087 h 442678"/>
                  <a:gd name="connsiteX5" fmla="*/ 110037 w 737797"/>
                  <a:gd name="connsiteY5" fmla="*/ 274790 h 442678"/>
                  <a:gd name="connsiteX6" fmla="*/ 55230 w 737797"/>
                  <a:gd name="connsiteY6" fmla="*/ 301491 h 442678"/>
                  <a:gd name="connsiteX7" fmla="*/ 2530 w 737797"/>
                  <a:gd name="connsiteY7" fmla="*/ 243872 h 442678"/>
                  <a:gd name="connsiteX8" fmla="*/ 40473 w 737797"/>
                  <a:gd name="connsiteY8" fmla="*/ 146905 h 442678"/>
                  <a:gd name="connsiteX9" fmla="*/ 105119 w 737797"/>
                  <a:gd name="connsiteY9" fmla="*/ 160255 h 442678"/>
                  <a:gd name="connsiteX10" fmla="*/ 127604 w 737797"/>
                  <a:gd name="connsiteY10" fmla="*/ 175714 h 442678"/>
                  <a:gd name="connsiteX11" fmla="*/ 149386 w 737797"/>
                  <a:gd name="connsiteY11" fmla="*/ 143391 h 442678"/>
                  <a:gd name="connsiteX12" fmla="*/ 148684 w 737797"/>
                  <a:gd name="connsiteY12" fmla="*/ 23236 h 442678"/>
                  <a:gd name="connsiteX13" fmla="*/ 170466 w 737797"/>
                  <a:gd name="connsiteY13" fmla="*/ 48 h 442678"/>
                  <a:gd name="connsiteX14" fmla="*/ 290622 w 737797"/>
                  <a:gd name="connsiteY14" fmla="*/ 751 h 442678"/>
                  <a:gd name="connsiteX15" fmla="*/ 330673 w 737797"/>
                  <a:gd name="connsiteY15" fmla="*/ 19722 h 442678"/>
                  <a:gd name="connsiteX16" fmla="*/ 327160 w 737797"/>
                  <a:gd name="connsiteY16" fmla="*/ 59072 h 442678"/>
                  <a:gd name="connsiteX17" fmla="*/ 301864 w 737797"/>
                  <a:gd name="connsiteY17" fmla="*/ 105447 h 442678"/>
                  <a:gd name="connsiteX18" fmla="*/ 357375 w 737797"/>
                  <a:gd name="connsiteY18" fmla="*/ 148310 h 442678"/>
                  <a:gd name="connsiteX19" fmla="*/ 419209 w 737797"/>
                  <a:gd name="connsiteY19" fmla="*/ 132851 h 442678"/>
                  <a:gd name="connsiteX20" fmla="*/ 419209 w 737797"/>
                  <a:gd name="connsiteY20" fmla="*/ 63287 h 442678"/>
                  <a:gd name="connsiteX21" fmla="*/ 401643 w 737797"/>
                  <a:gd name="connsiteY21" fmla="*/ 35884 h 442678"/>
                  <a:gd name="connsiteX22" fmla="*/ 437478 w 737797"/>
                  <a:gd name="connsiteY22" fmla="*/ 2156 h 442678"/>
                  <a:gd name="connsiteX23" fmla="*/ 582228 w 737797"/>
                  <a:gd name="connsiteY23" fmla="*/ 751 h 442678"/>
                  <a:gd name="connsiteX24" fmla="*/ 591362 w 737797"/>
                  <a:gd name="connsiteY24" fmla="*/ 19020 h 442678"/>
                  <a:gd name="connsiteX25" fmla="*/ 591362 w 737797"/>
                  <a:gd name="connsiteY25" fmla="*/ 134257 h 442678"/>
                  <a:gd name="connsiteX26" fmla="*/ 596983 w 737797"/>
                  <a:gd name="connsiteY26" fmla="*/ 160255 h 442678"/>
                  <a:gd name="connsiteX27" fmla="*/ 634224 w 737797"/>
                  <a:gd name="connsiteY27" fmla="*/ 164471 h 442678"/>
                  <a:gd name="connsiteX28" fmla="*/ 722760 w 737797"/>
                  <a:gd name="connsiteY28" fmla="*/ 165174 h 442678"/>
                  <a:gd name="connsiteX29" fmla="*/ 695356 w 737797"/>
                  <a:gd name="connsiteY29" fmla="*/ 298680 h 442678"/>
                  <a:gd name="connsiteX30" fmla="*/ 637035 w 737797"/>
                  <a:gd name="connsiteY30" fmla="*/ 283221 h 442678"/>
                  <a:gd name="connsiteX31" fmla="*/ 613144 w 737797"/>
                  <a:gd name="connsiteY31" fmla="*/ 267060 h 442678"/>
                  <a:gd name="connsiteX32" fmla="*/ 591362 w 737797"/>
                  <a:gd name="connsiteY32" fmla="*/ 302193 h 442678"/>
                  <a:gd name="connsiteX33" fmla="*/ 592065 w 737797"/>
                  <a:gd name="connsiteY33" fmla="*/ 420241 h 442678"/>
                  <a:gd name="connsiteX34" fmla="*/ 570282 w 737797"/>
                  <a:gd name="connsiteY34" fmla="*/ 442726 h 442678"/>
                  <a:gd name="connsiteX35" fmla="*/ 370725 w 737797"/>
                  <a:gd name="connsiteY35" fmla="*/ 441321 h 442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37797" h="442678">
                    <a:moveTo>
                      <a:pt x="370725" y="441321"/>
                    </a:moveTo>
                    <a:cubicBezTo>
                      <a:pt x="306783" y="441321"/>
                      <a:pt x="242840" y="440618"/>
                      <a:pt x="178898" y="442023"/>
                    </a:cubicBezTo>
                    <a:cubicBezTo>
                      <a:pt x="155710" y="442726"/>
                      <a:pt x="146576" y="438510"/>
                      <a:pt x="148684" y="413214"/>
                    </a:cubicBezTo>
                    <a:cubicBezTo>
                      <a:pt x="151494" y="376676"/>
                      <a:pt x="149386" y="340137"/>
                      <a:pt x="149386" y="303599"/>
                    </a:cubicBezTo>
                    <a:cubicBezTo>
                      <a:pt x="149386" y="292356"/>
                      <a:pt x="147981" y="282519"/>
                      <a:pt x="138846" y="274087"/>
                    </a:cubicBezTo>
                    <a:cubicBezTo>
                      <a:pt x="128306" y="264250"/>
                      <a:pt x="119874" y="260736"/>
                      <a:pt x="110037" y="274790"/>
                    </a:cubicBezTo>
                    <a:cubicBezTo>
                      <a:pt x="96686" y="293761"/>
                      <a:pt x="79823" y="309923"/>
                      <a:pt x="55230" y="301491"/>
                    </a:cubicBezTo>
                    <a:cubicBezTo>
                      <a:pt x="28528" y="292356"/>
                      <a:pt x="8853" y="274087"/>
                      <a:pt x="2530" y="243872"/>
                    </a:cubicBezTo>
                    <a:cubicBezTo>
                      <a:pt x="-5902" y="201010"/>
                      <a:pt x="6746" y="166579"/>
                      <a:pt x="40473" y="146905"/>
                    </a:cubicBezTo>
                    <a:cubicBezTo>
                      <a:pt x="65067" y="132148"/>
                      <a:pt x="82633" y="136365"/>
                      <a:pt x="105119" y="160255"/>
                    </a:cubicBezTo>
                    <a:cubicBezTo>
                      <a:pt x="111443" y="167282"/>
                      <a:pt x="114956" y="181335"/>
                      <a:pt x="127604" y="175714"/>
                    </a:cubicBezTo>
                    <a:cubicBezTo>
                      <a:pt x="140252" y="170092"/>
                      <a:pt x="149386" y="159552"/>
                      <a:pt x="149386" y="143391"/>
                    </a:cubicBezTo>
                    <a:cubicBezTo>
                      <a:pt x="149386" y="103339"/>
                      <a:pt x="150089" y="63287"/>
                      <a:pt x="148684" y="23236"/>
                    </a:cubicBezTo>
                    <a:cubicBezTo>
                      <a:pt x="147981" y="6372"/>
                      <a:pt x="150792" y="-655"/>
                      <a:pt x="170466" y="48"/>
                    </a:cubicBezTo>
                    <a:cubicBezTo>
                      <a:pt x="210518" y="2156"/>
                      <a:pt x="250570" y="751"/>
                      <a:pt x="290622" y="751"/>
                    </a:cubicBezTo>
                    <a:cubicBezTo>
                      <a:pt x="307486" y="751"/>
                      <a:pt x="320836" y="7074"/>
                      <a:pt x="330673" y="19722"/>
                    </a:cubicBezTo>
                    <a:cubicBezTo>
                      <a:pt x="341916" y="33775"/>
                      <a:pt x="344024" y="46424"/>
                      <a:pt x="327160" y="59072"/>
                    </a:cubicBezTo>
                    <a:cubicBezTo>
                      <a:pt x="312404" y="70314"/>
                      <a:pt x="292730" y="82259"/>
                      <a:pt x="301864" y="105447"/>
                    </a:cubicBezTo>
                    <a:cubicBezTo>
                      <a:pt x="311702" y="129338"/>
                      <a:pt x="329268" y="146202"/>
                      <a:pt x="357375" y="148310"/>
                    </a:cubicBezTo>
                    <a:cubicBezTo>
                      <a:pt x="379860" y="150418"/>
                      <a:pt x="400940" y="149013"/>
                      <a:pt x="419209" y="132851"/>
                    </a:cubicBezTo>
                    <a:cubicBezTo>
                      <a:pt x="448018" y="106150"/>
                      <a:pt x="448018" y="89286"/>
                      <a:pt x="419209" y="63287"/>
                    </a:cubicBezTo>
                    <a:cubicBezTo>
                      <a:pt x="410777" y="56261"/>
                      <a:pt x="396724" y="50640"/>
                      <a:pt x="401643" y="35884"/>
                    </a:cubicBezTo>
                    <a:cubicBezTo>
                      <a:pt x="407264" y="19020"/>
                      <a:pt x="418506" y="2859"/>
                      <a:pt x="437478" y="2156"/>
                    </a:cubicBezTo>
                    <a:cubicBezTo>
                      <a:pt x="485962" y="48"/>
                      <a:pt x="534446" y="751"/>
                      <a:pt x="582228" y="751"/>
                    </a:cubicBezTo>
                    <a:cubicBezTo>
                      <a:pt x="596983" y="751"/>
                      <a:pt x="591362" y="11993"/>
                      <a:pt x="591362" y="19020"/>
                    </a:cubicBezTo>
                    <a:cubicBezTo>
                      <a:pt x="592065" y="57666"/>
                      <a:pt x="591362" y="95610"/>
                      <a:pt x="591362" y="134257"/>
                    </a:cubicBezTo>
                    <a:cubicBezTo>
                      <a:pt x="591362" y="143391"/>
                      <a:pt x="592065" y="152526"/>
                      <a:pt x="596983" y="160255"/>
                    </a:cubicBezTo>
                    <a:cubicBezTo>
                      <a:pt x="608929" y="179930"/>
                      <a:pt x="618766" y="180632"/>
                      <a:pt x="634224" y="164471"/>
                    </a:cubicBezTo>
                    <a:cubicBezTo>
                      <a:pt x="665142" y="130041"/>
                      <a:pt x="692545" y="130743"/>
                      <a:pt x="722760" y="165174"/>
                    </a:cubicBezTo>
                    <a:cubicBezTo>
                      <a:pt x="758596" y="205928"/>
                      <a:pt x="743840" y="274790"/>
                      <a:pt x="695356" y="298680"/>
                    </a:cubicBezTo>
                    <a:cubicBezTo>
                      <a:pt x="671465" y="310625"/>
                      <a:pt x="653899" y="300788"/>
                      <a:pt x="637035" y="283221"/>
                    </a:cubicBezTo>
                    <a:cubicBezTo>
                      <a:pt x="630711" y="276195"/>
                      <a:pt x="627901" y="260033"/>
                      <a:pt x="613144" y="267060"/>
                    </a:cubicBezTo>
                    <a:cubicBezTo>
                      <a:pt x="599794" y="273384"/>
                      <a:pt x="591362" y="285330"/>
                      <a:pt x="591362" y="302193"/>
                    </a:cubicBezTo>
                    <a:cubicBezTo>
                      <a:pt x="591362" y="341543"/>
                      <a:pt x="590659" y="380892"/>
                      <a:pt x="592065" y="420241"/>
                    </a:cubicBezTo>
                    <a:cubicBezTo>
                      <a:pt x="592767" y="437807"/>
                      <a:pt x="588551" y="443429"/>
                      <a:pt x="570282" y="442726"/>
                    </a:cubicBezTo>
                    <a:cubicBezTo>
                      <a:pt x="504232" y="440618"/>
                      <a:pt x="437478" y="441321"/>
                      <a:pt x="370725" y="44132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738E6D1E-E0B6-45D4-9DCE-E7022BF71ED2}"/>
                  </a:ext>
                </a:extLst>
              </p:cNvPr>
              <p:cNvSpPr/>
              <p:nvPr userDrawn="1"/>
            </p:nvSpPr>
            <p:spPr>
              <a:xfrm>
                <a:off x="4091163" y="3552413"/>
                <a:ext cx="314770" cy="419693"/>
              </a:xfrm>
              <a:custGeom>
                <a:avLst/>
                <a:gdLst>
                  <a:gd name="connsiteX0" fmla="*/ 222808 w 442678"/>
                  <a:gd name="connsiteY0" fmla="*/ 592910 h 590237"/>
                  <a:gd name="connsiteX1" fmla="*/ 22549 w 442678"/>
                  <a:gd name="connsiteY1" fmla="*/ 593613 h 590237"/>
                  <a:gd name="connsiteX2" fmla="*/ 64 w 442678"/>
                  <a:gd name="connsiteY2" fmla="*/ 570425 h 590237"/>
                  <a:gd name="connsiteX3" fmla="*/ 64 w 442678"/>
                  <a:gd name="connsiteY3" fmla="*/ 457998 h 590237"/>
                  <a:gd name="connsiteX4" fmla="*/ 15523 w 442678"/>
                  <a:gd name="connsiteY4" fmla="*/ 415839 h 590237"/>
                  <a:gd name="connsiteX5" fmla="*/ 62601 w 442678"/>
                  <a:gd name="connsiteY5" fmla="*/ 417947 h 590237"/>
                  <a:gd name="connsiteX6" fmla="*/ 104761 w 442678"/>
                  <a:gd name="connsiteY6" fmla="*/ 440432 h 590237"/>
                  <a:gd name="connsiteX7" fmla="*/ 147624 w 442678"/>
                  <a:gd name="connsiteY7" fmla="*/ 391245 h 590237"/>
                  <a:gd name="connsiteX8" fmla="*/ 127246 w 442678"/>
                  <a:gd name="connsiteY8" fmla="*/ 316061 h 590237"/>
                  <a:gd name="connsiteX9" fmla="*/ 66817 w 442678"/>
                  <a:gd name="connsiteY9" fmla="*/ 319574 h 590237"/>
                  <a:gd name="connsiteX10" fmla="*/ 35900 w 442678"/>
                  <a:gd name="connsiteY10" fmla="*/ 339249 h 590237"/>
                  <a:gd name="connsiteX11" fmla="*/ 1469 w 442678"/>
                  <a:gd name="connsiteY11" fmla="*/ 297791 h 590237"/>
                  <a:gd name="connsiteX12" fmla="*/ 767 w 442678"/>
                  <a:gd name="connsiteY12" fmla="*/ 163583 h 590237"/>
                  <a:gd name="connsiteX13" fmla="*/ 19036 w 442678"/>
                  <a:gd name="connsiteY13" fmla="*/ 150934 h 590237"/>
                  <a:gd name="connsiteX14" fmla="*/ 137084 w 442678"/>
                  <a:gd name="connsiteY14" fmla="*/ 150934 h 590237"/>
                  <a:gd name="connsiteX15" fmla="*/ 165190 w 442678"/>
                  <a:gd name="connsiteY15" fmla="*/ 143205 h 590237"/>
                  <a:gd name="connsiteX16" fmla="*/ 166595 w 442678"/>
                  <a:gd name="connsiteY16" fmla="*/ 107369 h 590237"/>
                  <a:gd name="connsiteX17" fmla="*/ 163785 w 442678"/>
                  <a:gd name="connsiteY17" fmla="*/ 22347 h 590237"/>
                  <a:gd name="connsiteX18" fmla="*/ 290967 w 442678"/>
                  <a:gd name="connsiteY18" fmla="*/ 30779 h 590237"/>
                  <a:gd name="connsiteX19" fmla="*/ 286048 w 442678"/>
                  <a:gd name="connsiteY19" fmla="*/ 104559 h 590237"/>
                  <a:gd name="connsiteX20" fmla="*/ 270590 w 442678"/>
                  <a:gd name="connsiteY20" fmla="*/ 129152 h 590237"/>
                  <a:gd name="connsiteX21" fmla="*/ 303615 w 442678"/>
                  <a:gd name="connsiteY21" fmla="*/ 150232 h 590237"/>
                  <a:gd name="connsiteX22" fmla="*/ 421662 w 442678"/>
                  <a:gd name="connsiteY22" fmla="*/ 149529 h 590237"/>
                  <a:gd name="connsiteX23" fmla="*/ 446256 w 442678"/>
                  <a:gd name="connsiteY23" fmla="*/ 175528 h 590237"/>
                  <a:gd name="connsiteX24" fmla="*/ 446256 w 442678"/>
                  <a:gd name="connsiteY24" fmla="*/ 287954 h 590237"/>
                  <a:gd name="connsiteX25" fmla="*/ 428689 w 442678"/>
                  <a:gd name="connsiteY25" fmla="*/ 329411 h 590237"/>
                  <a:gd name="connsiteX26" fmla="*/ 385827 w 442678"/>
                  <a:gd name="connsiteY26" fmla="*/ 327303 h 590237"/>
                  <a:gd name="connsiteX27" fmla="*/ 342261 w 442678"/>
                  <a:gd name="connsiteY27" fmla="*/ 303412 h 590237"/>
                  <a:gd name="connsiteX28" fmla="*/ 298696 w 442678"/>
                  <a:gd name="connsiteY28" fmla="*/ 357518 h 590237"/>
                  <a:gd name="connsiteX29" fmla="*/ 318371 w 442678"/>
                  <a:gd name="connsiteY29" fmla="*/ 425676 h 590237"/>
                  <a:gd name="connsiteX30" fmla="*/ 380908 w 442678"/>
                  <a:gd name="connsiteY30" fmla="*/ 422865 h 590237"/>
                  <a:gd name="connsiteX31" fmla="*/ 415338 w 442678"/>
                  <a:gd name="connsiteY31" fmla="*/ 404596 h 590237"/>
                  <a:gd name="connsiteX32" fmla="*/ 446256 w 442678"/>
                  <a:gd name="connsiteY32" fmla="*/ 446054 h 590237"/>
                  <a:gd name="connsiteX33" fmla="*/ 446958 w 442678"/>
                  <a:gd name="connsiteY33" fmla="*/ 577451 h 590237"/>
                  <a:gd name="connsiteX34" fmla="*/ 425878 w 442678"/>
                  <a:gd name="connsiteY34" fmla="*/ 592910 h 590237"/>
                  <a:gd name="connsiteX35" fmla="*/ 222808 w 442678"/>
                  <a:gd name="connsiteY35" fmla="*/ 592910 h 59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42678" h="590237">
                    <a:moveTo>
                      <a:pt x="222808" y="592910"/>
                    </a:moveTo>
                    <a:cubicBezTo>
                      <a:pt x="156055" y="592910"/>
                      <a:pt x="89302" y="592208"/>
                      <a:pt x="22549" y="593613"/>
                    </a:cubicBezTo>
                    <a:cubicBezTo>
                      <a:pt x="4280" y="593613"/>
                      <a:pt x="-639" y="588694"/>
                      <a:pt x="64" y="570425"/>
                    </a:cubicBezTo>
                    <a:cubicBezTo>
                      <a:pt x="1469" y="533184"/>
                      <a:pt x="767" y="495240"/>
                      <a:pt x="64" y="457998"/>
                    </a:cubicBezTo>
                    <a:cubicBezTo>
                      <a:pt x="64" y="441837"/>
                      <a:pt x="3577" y="427784"/>
                      <a:pt x="15523" y="415839"/>
                    </a:cubicBezTo>
                    <a:cubicBezTo>
                      <a:pt x="33792" y="397570"/>
                      <a:pt x="45035" y="397570"/>
                      <a:pt x="62601" y="417947"/>
                    </a:cubicBezTo>
                    <a:cubicBezTo>
                      <a:pt x="73844" y="431297"/>
                      <a:pt x="85086" y="448161"/>
                      <a:pt x="104761" y="440432"/>
                    </a:cubicBezTo>
                    <a:cubicBezTo>
                      <a:pt x="126544" y="432000"/>
                      <a:pt x="144813" y="417244"/>
                      <a:pt x="147624" y="391245"/>
                    </a:cubicBezTo>
                    <a:cubicBezTo>
                      <a:pt x="150434" y="363842"/>
                      <a:pt x="152542" y="336438"/>
                      <a:pt x="127246" y="316061"/>
                    </a:cubicBezTo>
                    <a:cubicBezTo>
                      <a:pt x="102653" y="295683"/>
                      <a:pt x="87897" y="296386"/>
                      <a:pt x="66817" y="319574"/>
                    </a:cubicBezTo>
                    <a:cubicBezTo>
                      <a:pt x="58385" y="328709"/>
                      <a:pt x="54169" y="345572"/>
                      <a:pt x="35900" y="339249"/>
                    </a:cubicBezTo>
                    <a:cubicBezTo>
                      <a:pt x="15523" y="332222"/>
                      <a:pt x="2172" y="318169"/>
                      <a:pt x="1469" y="297791"/>
                    </a:cubicBezTo>
                    <a:cubicBezTo>
                      <a:pt x="-639" y="252821"/>
                      <a:pt x="1469" y="208553"/>
                      <a:pt x="767" y="163583"/>
                    </a:cubicBezTo>
                    <a:cubicBezTo>
                      <a:pt x="767" y="148827"/>
                      <a:pt x="9901" y="150934"/>
                      <a:pt x="19036" y="150934"/>
                    </a:cubicBezTo>
                    <a:cubicBezTo>
                      <a:pt x="58385" y="150934"/>
                      <a:pt x="97734" y="150934"/>
                      <a:pt x="137084" y="150934"/>
                    </a:cubicBezTo>
                    <a:cubicBezTo>
                      <a:pt x="147624" y="150934"/>
                      <a:pt x="157461" y="150232"/>
                      <a:pt x="165190" y="143205"/>
                    </a:cubicBezTo>
                    <a:cubicBezTo>
                      <a:pt x="178541" y="131963"/>
                      <a:pt x="185567" y="122828"/>
                      <a:pt x="166595" y="107369"/>
                    </a:cubicBezTo>
                    <a:cubicBezTo>
                      <a:pt x="132165" y="80668"/>
                      <a:pt x="132165" y="53264"/>
                      <a:pt x="163785" y="22347"/>
                    </a:cubicBezTo>
                    <a:cubicBezTo>
                      <a:pt x="197513" y="-10678"/>
                      <a:pt x="260752" y="-6462"/>
                      <a:pt x="290967" y="30779"/>
                    </a:cubicBezTo>
                    <a:cubicBezTo>
                      <a:pt x="314155" y="58885"/>
                      <a:pt x="312047" y="79263"/>
                      <a:pt x="286048" y="104559"/>
                    </a:cubicBezTo>
                    <a:cubicBezTo>
                      <a:pt x="279022" y="111585"/>
                      <a:pt x="263563" y="115099"/>
                      <a:pt x="270590" y="129152"/>
                    </a:cubicBezTo>
                    <a:cubicBezTo>
                      <a:pt x="276914" y="141800"/>
                      <a:pt x="288156" y="150232"/>
                      <a:pt x="303615" y="150232"/>
                    </a:cubicBezTo>
                    <a:cubicBezTo>
                      <a:pt x="342964" y="150232"/>
                      <a:pt x="382313" y="151637"/>
                      <a:pt x="421662" y="149529"/>
                    </a:cubicBezTo>
                    <a:cubicBezTo>
                      <a:pt x="443445" y="148124"/>
                      <a:pt x="446958" y="155853"/>
                      <a:pt x="446256" y="175528"/>
                    </a:cubicBezTo>
                    <a:cubicBezTo>
                      <a:pt x="444850" y="212769"/>
                      <a:pt x="445553" y="250713"/>
                      <a:pt x="446256" y="287954"/>
                    </a:cubicBezTo>
                    <a:cubicBezTo>
                      <a:pt x="446256" y="304818"/>
                      <a:pt x="441337" y="318169"/>
                      <a:pt x="428689" y="329411"/>
                    </a:cubicBezTo>
                    <a:cubicBezTo>
                      <a:pt x="413933" y="342059"/>
                      <a:pt x="399880" y="346275"/>
                      <a:pt x="385827" y="327303"/>
                    </a:cubicBezTo>
                    <a:cubicBezTo>
                      <a:pt x="375287" y="313250"/>
                      <a:pt x="364044" y="295683"/>
                      <a:pt x="342261" y="303412"/>
                    </a:cubicBezTo>
                    <a:cubicBezTo>
                      <a:pt x="316965" y="312547"/>
                      <a:pt x="300804" y="330114"/>
                      <a:pt x="298696" y="357518"/>
                    </a:cubicBezTo>
                    <a:cubicBezTo>
                      <a:pt x="296588" y="382814"/>
                      <a:pt x="297994" y="406704"/>
                      <a:pt x="318371" y="425676"/>
                    </a:cubicBezTo>
                    <a:cubicBezTo>
                      <a:pt x="342964" y="448161"/>
                      <a:pt x="358423" y="447459"/>
                      <a:pt x="380908" y="422865"/>
                    </a:cubicBezTo>
                    <a:cubicBezTo>
                      <a:pt x="390043" y="412325"/>
                      <a:pt x="397069" y="395462"/>
                      <a:pt x="415338" y="404596"/>
                    </a:cubicBezTo>
                    <a:cubicBezTo>
                      <a:pt x="432202" y="413028"/>
                      <a:pt x="445553" y="425676"/>
                      <a:pt x="446256" y="446054"/>
                    </a:cubicBezTo>
                    <a:cubicBezTo>
                      <a:pt x="446958" y="489618"/>
                      <a:pt x="445553" y="533887"/>
                      <a:pt x="446958" y="577451"/>
                    </a:cubicBezTo>
                    <a:cubicBezTo>
                      <a:pt x="447661" y="595721"/>
                      <a:pt x="436418" y="592910"/>
                      <a:pt x="425878" y="592910"/>
                    </a:cubicBezTo>
                    <a:cubicBezTo>
                      <a:pt x="355612" y="592910"/>
                      <a:pt x="288859" y="592910"/>
                      <a:pt x="222808" y="5929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3763F371-38C5-4FE0-B785-CDBA2E66DC35}"/>
                  </a:ext>
                </a:extLst>
              </p:cNvPr>
              <p:cNvSpPr/>
              <p:nvPr userDrawn="1"/>
            </p:nvSpPr>
            <p:spPr>
              <a:xfrm>
                <a:off x="4303024" y="3662333"/>
                <a:ext cx="419693" cy="309773"/>
              </a:xfrm>
              <a:custGeom>
                <a:avLst/>
                <a:gdLst>
                  <a:gd name="connsiteX0" fmla="*/ 368817 w 590237"/>
                  <a:gd name="connsiteY0" fmla="*/ 441448 h 435651"/>
                  <a:gd name="connsiteX1" fmla="*/ 166450 w 590237"/>
                  <a:gd name="connsiteY1" fmla="*/ 441448 h 435651"/>
                  <a:gd name="connsiteX2" fmla="*/ 148180 w 590237"/>
                  <a:gd name="connsiteY2" fmla="*/ 423882 h 435651"/>
                  <a:gd name="connsiteX3" fmla="*/ 148883 w 590237"/>
                  <a:gd name="connsiteY3" fmla="*/ 308645 h 435651"/>
                  <a:gd name="connsiteX4" fmla="*/ 140451 w 590237"/>
                  <a:gd name="connsiteY4" fmla="*/ 277728 h 435651"/>
                  <a:gd name="connsiteX5" fmla="*/ 106723 w 590237"/>
                  <a:gd name="connsiteY5" fmla="*/ 276322 h 435651"/>
                  <a:gd name="connsiteX6" fmla="*/ 16782 w 590237"/>
                  <a:gd name="connsiteY6" fmla="*/ 274917 h 435651"/>
                  <a:gd name="connsiteX7" fmla="*/ 26619 w 590237"/>
                  <a:gd name="connsiteY7" fmla="*/ 155465 h 435651"/>
                  <a:gd name="connsiteX8" fmla="*/ 102507 w 590237"/>
                  <a:gd name="connsiteY8" fmla="*/ 157572 h 435651"/>
                  <a:gd name="connsiteX9" fmla="*/ 126398 w 590237"/>
                  <a:gd name="connsiteY9" fmla="*/ 175139 h 435651"/>
                  <a:gd name="connsiteX10" fmla="*/ 148883 w 590237"/>
                  <a:gd name="connsiteY10" fmla="*/ 137898 h 435651"/>
                  <a:gd name="connsiteX11" fmla="*/ 148180 w 590237"/>
                  <a:gd name="connsiteY11" fmla="*/ 25472 h 435651"/>
                  <a:gd name="connsiteX12" fmla="*/ 172773 w 590237"/>
                  <a:gd name="connsiteY12" fmla="*/ 176 h 435651"/>
                  <a:gd name="connsiteX13" fmla="*/ 290821 w 590237"/>
                  <a:gd name="connsiteY13" fmla="*/ 176 h 435651"/>
                  <a:gd name="connsiteX14" fmla="*/ 332278 w 590237"/>
                  <a:gd name="connsiteY14" fmla="*/ 22661 h 435651"/>
                  <a:gd name="connsiteX15" fmla="*/ 328062 w 590237"/>
                  <a:gd name="connsiteY15" fmla="*/ 57794 h 435651"/>
                  <a:gd name="connsiteX16" fmla="*/ 303469 w 590237"/>
                  <a:gd name="connsiteY16" fmla="*/ 111196 h 435651"/>
                  <a:gd name="connsiteX17" fmla="*/ 381465 w 590237"/>
                  <a:gd name="connsiteY17" fmla="*/ 148438 h 435651"/>
                  <a:gd name="connsiteX18" fmla="*/ 439083 w 590237"/>
                  <a:gd name="connsiteY18" fmla="*/ 100656 h 435651"/>
                  <a:gd name="connsiteX19" fmla="*/ 418706 w 590237"/>
                  <a:gd name="connsiteY19" fmla="*/ 64118 h 435651"/>
                  <a:gd name="connsiteX20" fmla="*/ 401842 w 590237"/>
                  <a:gd name="connsiteY20" fmla="*/ 31093 h 435651"/>
                  <a:gd name="connsiteX21" fmla="*/ 437678 w 590237"/>
                  <a:gd name="connsiteY21" fmla="*/ 878 h 435651"/>
                  <a:gd name="connsiteX22" fmla="*/ 580319 w 590237"/>
                  <a:gd name="connsiteY22" fmla="*/ 176 h 435651"/>
                  <a:gd name="connsiteX23" fmla="*/ 590859 w 590237"/>
                  <a:gd name="connsiteY23" fmla="*/ 14229 h 435651"/>
                  <a:gd name="connsiteX24" fmla="*/ 590859 w 590237"/>
                  <a:gd name="connsiteY24" fmla="*/ 142816 h 435651"/>
                  <a:gd name="connsiteX25" fmla="*/ 569779 w 590237"/>
                  <a:gd name="connsiteY25" fmla="*/ 182166 h 435651"/>
                  <a:gd name="connsiteX26" fmla="*/ 532537 w 590237"/>
                  <a:gd name="connsiteY26" fmla="*/ 178652 h 435651"/>
                  <a:gd name="connsiteX27" fmla="*/ 486864 w 590237"/>
                  <a:gd name="connsiteY27" fmla="*/ 152654 h 435651"/>
                  <a:gd name="connsiteX28" fmla="*/ 442596 w 590237"/>
                  <a:gd name="connsiteY28" fmla="*/ 209569 h 435651"/>
                  <a:gd name="connsiteX29" fmla="*/ 462271 w 590237"/>
                  <a:gd name="connsiteY29" fmla="*/ 274917 h 435651"/>
                  <a:gd name="connsiteX30" fmla="*/ 526213 w 590237"/>
                  <a:gd name="connsiteY30" fmla="*/ 270701 h 435651"/>
                  <a:gd name="connsiteX31" fmla="*/ 556428 w 590237"/>
                  <a:gd name="connsiteY31" fmla="*/ 253135 h 435651"/>
                  <a:gd name="connsiteX32" fmla="*/ 588048 w 590237"/>
                  <a:gd name="connsiteY32" fmla="*/ 287565 h 435651"/>
                  <a:gd name="connsiteX33" fmla="*/ 590156 w 590237"/>
                  <a:gd name="connsiteY33" fmla="*/ 432314 h 435651"/>
                  <a:gd name="connsiteX34" fmla="*/ 569076 w 590237"/>
                  <a:gd name="connsiteY34" fmla="*/ 441448 h 435651"/>
                  <a:gd name="connsiteX35" fmla="*/ 368817 w 590237"/>
                  <a:gd name="connsiteY35" fmla="*/ 441448 h 435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90237" h="435651">
                    <a:moveTo>
                      <a:pt x="368817" y="441448"/>
                    </a:moveTo>
                    <a:cubicBezTo>
                      <a:pt x="301361" y="441448"/>
                      <a:pt x="233905" y="440746"/>
                      <a:pt x="166450" y="441448"/>
                    </a:cubicBezTo>
                    <a:cubicBezTo>
                      <a:pt x="152396" y="441448"/>
                      <a:pt x="147478" y="438638"/>
                      <a:pt x="148180" y="423882"/>
                    </a:cubicBezTo>
                    <a:cubicBezTo>
                      <a:pt x="149586" y="385235"/>
                      <a:pt x="148180" y="347292"/>
                      <a:pt x="148883" y="308645"/>
                    </a:cubicBezTo>
                    <a:cubicBezTo>
                      <a:pt x="148883" y="297402"/>
                      <a:pt x="148180" y="286862"/>
                      <a:pt x="140451" y="277728"/>
                    </a:cubicBezTo>
                    <a:cubicBezTo>
                      <a:pt x="129208" y="264377"/>
                      <a:pt x="120776" y="258756"/>
                      <a:pt x="106723" y="276322"/>
                    </a:cubicBezTo>
                    <a:cubicBezTo>
                      <a:pt x="77211" y="312159"/>
                      <a:pt x="46294" y="310753"/>
                      <a:pt x="16782" y="274917"/>
                    </a:cubicBezTo>
                    <a:cubicBezTo>
                      <a:pt x="-9216" y="243298"/>
                      <a:pt x="-4298" y="182868"/>
                      <a:pt x="26619" y="155465"/>
                    </a:cubicBezTo>
                    <a:cubicBezTo>
                      <a:pt x="54726" y="130871"/>
                      <a:pt x="77914" y="131574"/>
                      <a:pt x="102507" y="157572"/>
                    </a:cubicBezTo>
                    <a:cubicBezTo>
                      <a:pt x="109534" y="164599"/>
                      <a:pt x="112344" y="180760"/>
                      <a:pt x="126398" y="175139"/>
                    </a:cubicBezTo>
                    <a:cubicBezTo>
                      <a:pt x="141154" y="168815"/>
                      <a:pt x="148883" y="155465"/>
                      <a:pt x="148883" y="137898"/>
                    </a:cubicBezTo>
                    <a:cubicBezTo>
                      <a:pt x="148883" y="100656"/>
                      <a:pt x="150288" y="62713"/>
                      <a:pt x="148180" y="25472"/>
                    </a:cubicBezTo>
                    <a:cubicBezTo>
                      <a:pt x="147478" y="5797"/>
                      <a:pt x="151694" y="-1230"/>
                      <a:pt x="172773" y="176"/>
                    </a:cubicBezTo>
                    <a:cubicBezTo>
                      <a:pt x="212123" y="2283"/>
                      <a:pt x="251472" y="1581"/>
                      <a:pt x="290821" y="176"/>
                    </a:cubicBezTo>
                    <a:cubicBezTo>
                      <a:pt x="309793" y="-527"/>
                      <a:pt x="321738" y="8608"/>
                      <a:pt x="332278" y="22661"/>
                    </a:cubicBezTo>
                    <a:cubicBezTo>
                      <a:pt x="341413" y="35309"/>
                      <a:pt x="342116" y="46552"/>
                      <a:pt x="328062" y="57794"/>
                    </a:cubicBezTo>
                    <a:cubicBezTo>
                      <a:pt x="311901" y="71145"/>
                      <a:pt x="289416" y="83090"/>
                      <a:pt x="303469" y="111196"/>
                    </a:cubicBezTo>
                    <a:cubicBezTo>
                      <a:pt x="317522" y="139303"/>
                      <a:pt x="346332" y="152654"/>
                      <a:pt x="381465" y="148438"/>
                    </a:cubicBezTo>
                    <a:cubicBezTo>
                      <a:pt x="408166" y="144925"/>
                      <a:pt x="435570" y="123142"/>
                      <a:pt x="439083" y="100656"/>
                    </a:cubicBezTo>
                    <a:cubicBezTo>
                      <a:pt x="441894" y="83793"/>
                      <a:pt x="429949" y="73955"/>
                      <a:pt x="418706" y="64118"/>
                    </a:cubicBezTo>
                    <a:cubicBezTo>
                      <a:pt x="408869" y="55686"/>
                      <a:pt x="394113" y="48660"/>
                      <a:pt x="401842" y="31093"/>
                    </a:cubicBezTo>
                    <a:cubicBezTo>
                      <a:pt x="408869" y="15634"/>
                      <a:pt x="419409" y="1581"/>
                      <a:pt x="437678" y="878"/>
                    </a:cubicBezTo>
                    <a:cubicBezTo>
                      <a:pt x="485459" y="-527"/>
                      <a:pt x="532537" y="176"/>
                      <a:pt x="580319" y="176"/>
                    </a:cubicBezTo>
                    <a:cubicBezTo>
                      <a:pt x="591561" y="176"/>
                      <a:pt x="590859" y="6500"/>
                      <a:pt x="590859" y="14229"/>
                    </a:cubicBezTo>
                    <a:cubicBezTo>
                      <a:pt x="590859" y="57092"/>
                      <a:pt x="590859" y="99954"/>
                      <a:pt x="590859" y="142816"/>
                    </a:cubicBezTo>
                    <a:cubicBezTo>
                      <a:pt x="590859" y="159680"/>
                      <a:pt x="582427" y="172328"/>
                      <a:pt x="569779" y="182166"/>
                    </a:cubicBezTo>
                    <a:cubicBezTo>
                      <a:pt x="556428" y="192706"/>
                      <a:pt x="544483" y="193408"/>
                      <a:pt x="532537" y="178652"/>
                    </a:cubicBezTo>
                    <a:cubicBezTo>
                      <a:pt x="521295" y="163896"/>
                      <a:pt x="510052" y="144222"/>
                      <a:pt x="486864" y="152654"/>
                    </a:cubicBezTo>
                    <a:cubicBezTo>
                      <a:pt x="460866" y="161788"/>
                      <a:pt x="444704" y="180760"/>
                      <a:pt x="442596" y="209569"/>
                    </a:cubicBezTo>
                    <a:cubicBezTo>
                      <a:pt x="441191" y="234163"/>
                      <a:pt x="442596" y="256648"/>
                      <a:pt x="462271" y="274917"/>
                    </a:cubicBezTo>
                    <a:cubicBezTo>
                      <a:pt x="488270" y="298105"/>
                      <a:pt x="503026" y="297402"/>
                      <a:pt x="526213" y="270701"/>
                    </a:cubicBezTo>
                    <a:cubicBezTo>
                      <a:pt x="533943" y="261567"/>
                      <a:pt x="539564" y="247513"/>
                      <a:pt x="556428" y="253135"/>
                    </a:cubicBezTo>
                    <a:cubicBezTo>
                      <a:pt x="572589" y="258756"/>
                      <a:pt x="587345" y="269999"/>
                      <a:pt x="588048" y="287565"/>
                    </a:cubicBezTo>
                    <a:cubicBezTo>
                      <a:pt x="590156" y="336049"/>
                      <a:pt x="590156" y="384533"/>
                      <a:pt x="590156" y="432314"/>
                    </a:cubicBezTo>
                    <a:cubicBezTo>
                      <a:pt x="590156" y="447773"/>
                      <a:pt x="576805" y="440746"/>
                      <a:pt x="569076" y="441448"/>
                    </a:cubicBezTo>
                    <a:cubicBezTo>
                      <a:pt x="502323" y="441448"/>
                      <a:pt x="435570" y="441448"/>
                      <a:pt x="368817" y="44144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3F46FD48-762A-4608-929E-1F3DD82BEC05}"/>
                  </a:ext>
                </a:extLst>
              </p:cNvPr>
              <p:cNvSpPr/>
              <p:nvPr userDrawn="1"/>
            </p:nvSpPr>
            <p:spPr>
              <a:xfrm>
                <a:off x="4609322" y="3553845"/>
                <a:ext cx="419693" cy="419693"/>
              </a:xfrm>
              <a:custGeom>
                <a:avLst/>
                <a:gdLst>
                  <a:gd name="connsiteX0" fmla="*/ 370196 w 590237"/>
                  <a:gd name="connsiteY0" fmla="*/ 591917 h 590237"/>
                  <a:gd name="connsiteX1" fmla="*/ 167829 w 590237"/>
                  <a:gd name="connsiteY1" fmla="*/ 591917 h 590237"/>
                  <a:gd name="connsiteX2" fmla="*/ 147452 w 590237"/>
                  <a:gd name="connsiteY2" fmla="*/ 572242 h 590237"/>
                  <a:gd name="connsiteX3" fmla="*/ 148154 w 590237"/>
                  <a:gd name="connsiteY3" fmla="*/ 454897 h 590237"/>
                  <a:gd name="connsiteX4" fmla="*/ 139020 w 590237"/>
                  <a:gd name="connsiteY4" fmla="*/ 424683 h 590237"/>
                  <a:gd name="connsiteX5" fmla="*/ 108805 w 590237"/>
                  <a:gd name="connsiteY5" fmla="*/ 425385 h 590237"/>
                  <a:gd name="connsiteX6" fmla="*/ 56808 w 590237"/>
                  <a:gd name="connsiteY6" fmla="*/ 451384 h 590237"/>
                  <a:gd name="connsiteX7" fmla="*/ 4811 w 590237"/>
                  <a:gd name="connsiteY7" fmla="*/ 400089 h 590237"/>
                  <a:gd name="connsiteX8" fmla="*/ 38539 w 590237"/>
                  <a:gd name="connsiteY8" fmla="*/ 296798 h 590237"/>
                  <a:gd name="connsiteX9" fmla="*/ 105292 w 590237"/>
                  <a:gd name="connsiteY9" fmla="*/ 309446 h 590237"/>
                  <a:gd name="connsiteX10" fmla="*/ 127074 w 590237"/>
                  <a:gd name="connsiteY10" fmla="*/ 324904 h 590237"/>
                  <a:gd name="connsiteX11" fmla="*/ 148857 w 590237"/>
                  <a:gd name="connsiteY11" fmla="*/ 293284 h 590237"/>
                  <a:gd name="connsiteX12" fmla="*/ 148154 w 590237"/>
                  <a:gd name="connsiteY12" fmla="*/ 175940 h 590237"/>
                  <a:gd name="connsiteX13" fmla="*/ 174153 w 590237"/>
                  <a:gd name="connsiteY13" fmla="*/ 148536 h 590237"/>
                  <a:gd name="connsiteX14" fmla="*/ 286579 w 590237"/>
                  <a:gd name="connsiteY14" fmla="*/ 149238 h 590237"/>
                  <a:gd name="connsiteX15" fmla="*/ 310470 w 590237"/>
                  <a:gd name="connsiteY15" fmla="*/ 145022 h 590237"/>
                  <a:gd name="connsiteX16" fmla="*/ 313983 w 590237"/>
                  <a:gd name="connsiteY16" fmla="*/ 108484 h 590237"/>
                  <a:gd name="connsiteX17" fmla="*/ 312578 w 590237"/>
                  <a:gd name="connsiteY17" fmla="*/ 21354 h 590237"/>
                  <a:gd name="connsiteX18" fmla="*/ 449597 w 590237"/>
                  <a:gd name="connsiteY18" fmla="*/ 48757 h 590237"/>
                  <a:gd name="connsiteX19" fmla="*/ 433436 w 590237"/>
                  <a:gd name="connsiteY19" fmla="*/ 104268 h 590237"/>
                  <a:gd name="connsiteX20" fmla="*/ 417275 w 590237"/>
                  <a:gd name="connsiteY20" fmla="*/ 128861 h 590237"/>
                  <a:gd name="connsiteX21" fmla="*/ 452408 w 590237"/>
                  <a:gd name="connsiteY21" fmla="*/ 149941 h 590237"/>
                  <a:gd name="connsiteX22" fmla="*/ 572564 w 590237"/>
                  <a:gd name="connsiteY22" fmla="*/ 149238 h 590237"/>
                  <a:gd name="connsiteX23" fmla="*/ 592941 w 590237"/>
                  <a:gd name="connsiteY23" fmla="*/ 168210 h 590237"/>
                  <a:gd name="connsiteX24" fmla="*/ 592941 w 590237"/>
                  <a:gd name="connsiteY24" fmla="*/ 291176 h 590237"/>
                  <a:gd name="connsiteX25" fmla="*/ 566942 w 590237"/>
                  <a:gd name="connsiteY25" fmla="*/ 336147 h 590237"/>
                  <a:gd name="connsiteX26" fmla="*/ 538133 w 590237"/>
                  <a:gd name="connsiteY26" fmla="*/ 333336 h 590237"/>
                  <a:gd name="connsiteX27" fmla="*/ 472082 w 590237"/>
                  <a:gd name="connsiteY27" fmla="*/ 312256 h 590237"/>
                  <a:gd name="connsiteX28" fmla="*/ 452408 w 590237"/>
                  <a:gd name="connsiteY28" fmla="*/ 408521 h 590237"/>
                  <a:gd name="connsiteX29" fmla="*/ 530404 w 590237"/>
                  <a:gd name="connsiteY29" fmla="*/ 419764 h 590237"/>
                  <a:gd name="connsiteX30" fmla="*/ 560618 w 590237"/>
                  <a:gd name="connsiteY30" fmla="*/ 403603 h 590237"/>
                  <a:gd name="connsiteX31" fmla="*/ 592238 w 590237"/>
                  <a:gd name="connsiteY31" fmla="*/ 441547 h 590237"/>
                  <a:gd name="connsiteX32" fmla="*/ 592941 w 590237"/>
                  <a:gd name="connsiteY32" fmla="*/ 581377 h 590237"/>
                  <a:gd name="connsiteX33" fmla="*/ 574671 w 590237"/>
                  <a:gd name="connsiteY33" fmla="*/ 593322 h 590237"/>
                  <a:gd name="connsiteX34" fmla="*/ 370196 w 590237"/>
                  <a:gd name="connsiteY34" fmla="*/ 591917 h 59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90237" h="590237">
                    <a:moveTo>
                      <a:pt x="370196" y="591917"/>
                    </a:moveTo>
                    <a:cubicBezTo>
                      <a:pt x="302740" y="591917"/>
                      <a:pt x="235285" y="591214"/>
                      <a:pt x="167829" y="591917"/>
                    </a:cubicBezTo>
                    <a:cubicBezTo>
                      <a:pt x="152370" y="591917"/>
                      <a:pt x="147452" y="588403"/>
                      <a:pt x="147452" y="572242"/>
                    </a:cubicBezTo>
                    <a:cubicBezTo>
                      <a:pt x="148857" y="532893"/>
                      <a:pt x="147452" y="493544"/>
                      <a:pt x="148154" y="454897"/>
                    </a:cubicBezTo>
                    <a:cubicBezTo>
                      <a:pt x="148154" y="443655"/>
                      <a:pt x="147452" y="433115"/>
                      <a:pt x="139020" y="424683"/>
                    </a:cubicBezTo>
                    <a:cubicBezTo>
                      <a:pt x="128480" y="414143"/>
                      <a:pt x="119345" y="410629"/>
                      <a:pt x="108805" y="425385"/>
                    </a:cubicBezTo>
                    <a:cubicBezTo>
                      <a:pt x="96157" y="442249"/>
                      <a:pt x="81401" y="459113"/>
                      <a:pt x="56808" y="451384"/>
                    </a:cubicBezTo>
                    <a:cubicBezTo>
                      <a:pt x="30810" y="443655"/>
                      <a:pt x="12540" y="426790"/>
                      <a:pt x="4811" y="400089"/>
                    </a:cubicBezTo>
                    <a:cubicBezTo>
                      <a:pt x="-7837" y="357929"/>
                      <a:pt x="4811" y="317878"/>
                      <a:pt x="38539" y="296798"/>
                    </a:cubicBezTo>
                    <a:cubicBezTo>
                      <a:pt x="64537" y="279934"/>
                      <a:pt x="81401" y="284150"/>
                      <a:pt x="105292" y="309446"/>
                    </a:cubicBezTo>
                    <a:cubicBezTo>
                      <a:pt x="110913" y="315770"/>
                      <a:pt x="113724" y="330526"/>
                      <a:pt x="127074" y="324904"/>
                    </a:cubicBezTo>
                    <a:cubicBezTo>
                      <a:pt x="140425" y="319283"/>
                      <a:pt x="148857" y="308743"/>
                      <a:pt x="148857" y="293284"/>
                    </a:cubicBezTo>
                    <a:cubicBezTo>
                      <a:pt x="148857" y="253935"/>
                      <a:pt x="150262" y="214586"/>
                      <a:pt x="148154" y="175940"/>
                    </a:cubicBezTo>
                    <a:cubicBezTo>
                      <a:pt x="147452" y="155562"/>
                      <a:pt x="150965" y="147130"/>
                      <a:pt x="174153" y="148536"/>
                    </a:cubicBezTo>
                    <a:cubicBezTo>
                      <a:pt x="211394" y="150644"/>
                      <a:pt x="248635" y="149238"/>
                      <a:pt x="286579" y="149238"/>
                    </a:cubicBezTo>
                    <a:cubicBezTo>
                      <a:pt x="294309" y="149238"/>
                      <a:pt x="302740" y="149941"/>
                      <a:pt x="310470" y="145022"/>
                    </a:cubicBezTo>
                    <a:cubicBezTo>
                      <a:pt x="328739" y="133077"/>
                      <a:pt x="330145" y="122537"/>
                      <a:pt x="313983" y="108484"/>
                    </a:cubicBezTo>
                    <a:cubicBezTo>
                      <a:pt x="280255" y="78972"/>
                      <a:pt x="280255" y="52271"/>
                      <a:pt x="312578" y="21354"/>
                    </a:cubicBezTo>
                    <a:cubicBezTo>
                      <a:pt x="353332" y="-16590"/>
                      <a:pt x="426409" y="-1835"/>
                      <a:pt x="449597" y="48757"/>
                    </a:cubicBezTo>
                    <a:cubicBezTo>
                      <a:pt x="460137" y="72648"/>
                      <a:pt x="449597" y="88107"/>
                      <a:pt x="433436" y="104268"/>
                    </a:cubicBezTo>
                    <a:cubicBezTo>
                      <a:pt x="426409" y="111295"/>
                      <a:pt x="410951" y="114808"/>
                      <a:pt x="417275" y="128861"/>
                    </a:cubicBezTo>
                    <a:cubicBezTo>
                      <a:pt x="423599" y="142914"/>
                      <a:pt x="435544" y="149941"/>
                      <a:pt x="452408" y="149941"/>
                    </a:cubicBezTo>
                    <a:cubicBezTo>
                      <a:pt x="492460" y="149238"/>
                      <a:pt x="532512" y="150644"/>
                      <a:pt x="572564" y="149238"/>
                    </a:cubicBezTo>
                    <a:cubicBezTo>
                      <a:pt x="587319" y="149238"/>
                      <a:pt x="592941" y="152049"/>
                      <a:pt x="592941" y="168210"/>
                    </a:cubicBezTo>
                    <a:cubicBezTo>
                      <a:pt x="591535" y="208965"/>
                      <a:pt x="592238" y="250422"/>
                      <a:pt x="592941" y="291176"/>
                    </a:cubicBezTo>
                    <a:cubicBezTo>
                      <a:pt x="592941" y="312256"/>
                      <a:pt x="582401" y="324904"/>
                      <a:pt x="566942" y="336147"/>
                    </a:cubicBezTo>
                    <a:cubicBezTo>
                      <a:pt x="556402" y="343174"/>
                      <a:pt x="547268" y="342471"/>
                      <a:pt x="538133" y="333336"/>
                    </a:cubicBezTo>
                    <a:cubicBezTo>
                      <a:pt x="500892" y="297501"/>
                      <a:pt x="494568" y="295393"/>
                      <a:pt x="472082" y="312256"/>
                    </a:cubicBezTo>
                    <a:cubicBezTo>
                      <a:pt x="444679" y="332634"/>
                      <a:pt x="435544" y="378307"/>
                      <a:pt x="452408" y="408521"/>
                    </a:cubicBezTo>
                    <a:cubicBezTo>
                      <a:pt x="472785" y="445762"/>
                      <a:pt x="503702" y="449979"/>
                      <a:pt x="530404" y="419764"/>
                    </a:cubicBezTo>
                    <a:cubicBezTo>
                      <a:pt x="538133" y="410629"/>
                      <a:pt x="544457" y="395874"/>
                      <a:pt x="560618" y="403603"/>
                    </a:cubicBezTo>
                    <a:cubicBezTo>
                      <a:pt x="576779" y="410629"/>
                      <a:pt x="592238" y="422575"/>
                      <a:pt x="592238" y="441547"/>
                    </a:cubicBezTo>
                    <a:cubicBezTo>
                      <a:pt x="593643" y="487922"/>
                      <a:pt x="592238" y="534298"/>
                      <a:pt x="592941" y="581377"/>
                    </a:cubicBezTo>
                    <a:cubicBezTo>
                      <a:pt x="592941" y="596835"/>
                      <a:pt x="582401" y="593322"/>
                      <a:pt x="574671" y="593322"/>
                    </a:cubicBezTo>
                    <a:cubicBezTo>
                      <a:pt x="505108" y="592619"/>
                      <a:pt x="437652" y="591917"/>
                      <a:pt x="370196" y="591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51E9D493-C0C4-405E-A5A3-45CA7C5561FA}"/>
                  </a:ext>
                </a:extLst>
              </p:cNvPr>
              <p:cNvSpPr/>
              <p:nvPr userDrawn="1"/>
            </p:nvSpPr>
            <p:spPr>
              <a:xfrm>
                <a:off x="4923526" y="3663765"/>
                <a:ext cx="419693" cy="309773"/>
              </a:xfrm>
              <a:custGeom>
                <a:avLst/>
                <a:gdLst>
                  <a:gd name="connsiteX0" fmla="*/ 368817 w 590237"/>
                  <a:gd name="connsiteY0" fmla="*/ 441448 h 435651"/>
                  <a:gd name="connsiteX1" fmla="*/ 166450 w 590237"/>
                  <a:gd name="connsiteY1" fmla="*/ 441448 h 435651"/>
                  <a:gd name="connsiteX2" fmla="*/ 148180 w 590237"/>
                  <a:gd name="connsiteY2" fmla="*/ 423882 h 435651"/>
                  <a:gd name="connsiteX3" fmla="*/ 148883 w 590237"/>
                  <a:gd name="connsiteY3" fmla="*/ 308645 h 435651"/>
                  <a:gd name="connsiteX4" fmla="*/ 140451 w 590237"/>
                  <a:gd name="connsiteY4" fmla="*/ 277728 h 435651"/>
                  <a:gd name="connsiteX5" fmla="*/ 106723 w 590237"/>
                  <a:gd name="connsiteY5" fmla="*/ 276322 h 435651"/>
                  <a:gd name="connsiteX6" fmla="*/ 16782 w 590237"/>
                  <a:gd name="connsiteY6" fmla="*/ 274917 h 435651"/>
                  <a:gd name="connsiteX7" fmla="*/ 26619 w 590237"/>
                  <a:gd name="connsiteY7" fmla="*/ 155465 h 435651"/>
                  <a:gd name="connsiteX8" fmla="*/ 102507 w 590237"/>
                  <a:gd name="connsiteY8" fmla="*/ 157572 h 435651"/>
                  <a:gd name="connsiteX9" fmla="*/ 126398 w 590237"/>
                  <a:gd name="connsiteY9" fmla="*/ 175139 h 435651"/>
                  <a:gd name="connsiteX10" fmla="*/ 148883 w 590237"/>
                  <a:gd name="connsiteY10" fmla="*/ 137898 h 435651"/>
                  <a:gd name="connsiteX11" fmla="*/ 148180 w 590237"/>
                  <a:gd name="connsiteY11" fmla="*/ 25472 h 435651"/>
                  <a:gd name="connsiteX12" fmla="*/ 172773 w 590237"/>
                  <a:gd name="connsiteY12" fmla="*/ 176 h 435651"/>
                  <a:gd name="connsiteX13" fmla="*/ 290821 w 590237"/>
                  <a:gd name="connsiteY13" fmla="*/ 176 h 435651"/>
                  <a:gd name="connsiteX14" fmla="*/ 332278 w 590237"/>
                  <a:gd name="connsiteY14" fmla="*/ 22661 h 435651"/>
                  <a:gd name="connsiteX15" fmla="*/ 328062 w 590237"/>
                  <a:gd name="connsiteY15" fmla="*/ 57794 h 435651"/>
                  <a:gd name="connsiteX16" fmla="*/ 303469 w 590237"/>
                  <a:gd name="connsiteY16" fmla="*/ 111196 h 435651"/>
                  <a:gd name="connsiteX17" fmla="*/ 381465 w 590237"/>
                  <a:gd name="connsiteY17" fmla="*/ 148438 h 435651"/>
                  <a:gd name="connsiteX18" fmla="*/ 439083 w 590237"/>
                  <a:gd name="connsiteY18" fmla="*/ 100656 h 435651"/>
                  <a:gd name="connsiteX19" fmla="*/ 418706 w 590237"/>
                  <a:gd name="connsiteY19" fmla="*/ 64118 h 435651"/>
                  <a:gd name="connsiteX20" fmla="*/ 401842 w 590237"/>
                  <a:gd name="connsiteY20" fmla="*/ 31093 h 435651"/>
                  <a:gd name="connsiteX21" fmla="*/ 437678 w 590237"/>
                  <a:gd name="connsiteY21" fmla="*/ 878 h 435651"/>
                  <a:gd name="connsiteX22" fmla="*/ 580319 w 590237"/>
                  <a:gd name="connsiteY22" fmla="*/ 176 h 435651"/>
                  <a:gd name="connsiteX23" fmla="*/ 590859 w 590237"/>
                  <a:gd name="connsiteY23" fmla="*/ 14229 h 435651"/>
                  <a:gd name="connsiteX24" fmla="*/ 590859 w 590237"/>
                  <a:gd name="connsiteY24" fmla="*/ 142816 h 435651"/>
                  <a:gd name="connsiteX25" fmla="*/ 569779 w 590237"/>
                  <a:gd name="connsiteY25" fmla="*/ 182166 h 435651"/>
                  <a:gd name="connsiteX26" fmla="*/ 532537 w 590237"/>
                  <a:gd name="connsiteY26" fmla="*/ 178652 h 435651"/>
                  <a:gd name="connsiteX27" fmla="*/ 486864 w 590237"/>
                  <a:gd name="connsiteY27" fmla="*/ 152654 h 435651"/>
                  <a:gd name="connsiteX28" fmla="*/ 442596 w 590237"/>
                  <a:gd name="connsiteY28" fmla="*/ 209569 h 435651"/>
                  <a:gd name="connsiteX29" fmla="*/ 462271 w 590237"/>
                  <a:gd name="connsiteY29" fmla="*/ 274917 h 435651"/>
                  <a:gd name="connsiteX30" fmla="*/ 526213 w 590237"/>
                  <a:gd name="connsiteY30" fmla="*/ 270701 h 435651"/>
                  <a:gd name="connsiteX31" fmla="*/ 556428 w 590237"/>
                  <a:gd name="connsiteY31" fmla="*/ 253135 h 435651"/>
                  <a:gd name="connsiteX32" fmla="*/ 588048 w 590237"/>
                  <a:gd name="connsiteY32" fmla="*/ 287565 h 435651"/>
                  <a:gd name="connsiteX33" fmla="*/ 590156 w 590237"/>
                  <a:gd name="connsiteY33" fmla="*/ 432314 h 435651"/>
                  <a:gd name="connsiteX34" fmla="*/ 569076 w 590237"/>
                  <a:gd name="connsiteY34" fmla="*/ 441448 h 435651"/>
                  <a:gd name="connsiteX35" fmla="*/ 368817 w 590237"/>
                  <a:gd name="connsiteY35" fmla="*/ 441448 h 435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90237" h="435651">
                    <a:moveTo>
                      <a:pt x="368817" y="441448"/>
                    </a:moveTo>
                    <a:cubicBezTo>
                      <a:pt x="301361" y="441448"/>
                      <a:pt x="233905" y="440746"/>
                      <a:pt x="166450" y="441448"/>
                    </a:cubicBezTo>
                    <a:cubicBezTo>
                      <a:pt x="152396" y="441448"/>
                      <a:pt x="147478" y="438638"/>
                      <a:pt x="148180" y="423882"/>
                    </a:cubicBezTo>
                    <a:cubicBezTo>
                      <a:pt x="149586" y="385235"/>
                      <a:pt x="148180" y="347292"/>
                      <a:pt x="148883" y="308645"/>
                    </a:cubicBezTo>
                    <a:cubicBezTo>
                      <a:pt x="148883" y="297402"/>
                      <a:pt x="148180" y="286862"/>
                      <a:pt x="140451" y="277728"/>
                    </a:cubicBezTo>
                    <a:cubicBezTo>
                      <a:pt x="129208" y="264377"/>
                      <a:pt x="120776" y="258756"/>
                      <a:pt x="106723" y="276322"/>
                    </a:cubicBezTo>
                    <a:cubicBezTo>
                      <a:pt x="77211" y="312159"/>
                      <a:pt x="46294" y="310753"/>
                      <a:pt x="16782" y="274917"/>
                    </a:cubicBezTo>
                    <a:cubicBezTo>
                      <a:pt x="-9216" y="243298"/>
                      <a:pt x="-4298" y="182868"/>
                      <a:pt x="26619" y="155465"/>
                    </a:cubicBezTo>
                    <a:cubicBezTo>
                      <a:pt x="54726" y="130871"/>
                      <a:pt x="77914" y="131574"/>
                      <a:pt x="102507" y="157572"/>
                    </a:cubicBezTo>
                    <a:cubicBezTo>
                      <a:pt x="109534" y="164599"/>
                      <a:pt x="112344" y="180760"/>
                      <a:pt x="126398" y="175139"/>
                    </a:cubicBezTo>
                    <a:cubicBezTo>
                      <a:pt x="141154" y="168815"/>
                      <a:pt x="148883" y="155465"/>
                      <a:pt x="148883" y="137898"/>
                    </a:cubicBezTo>
                    <a:cubicBezTo>
                      <a:pt x="148883" y="100656"/>
                      <a:pt x="150288" y="62713"/>
                      <a:pt x="148180" y="25472"/>
                    </a:cubicBezTo>
                    <a:cubicBezTo>
                      <a:pt x="147478" y="5797"/>
                      <a:pt x="151694" y="-1230"/>
                      <a:pt x="172773" y="176"/>
                    </a:cubicBezTo>
                    <a:cubicBezTo>
                      <a:pt x="212123" y="2283"/>
                      <a:pt x="251472" y="1581"/>
                      <a:pt x="290821" y="176"/>
                    </a:cubicBezTo>
                    <a:cubicBezTo>
                      <a:pt x="309793" y="-527"/>
                      <a:pt x="321738" y="8608"/>
                      <a:pt x="332278" y="22661"/>
                    </a:cubicBezTo>
                    <a:cubicBezTo>
                      <a:pt x="341413" y="35309"/>
                      <a:pt x="342116" y="46552"/>
                      <a:pt x="328062" y="57794"/>
                    </a:cubicBezTo>
                    <a:cubicBezTo>
                      <a:pt x="311901" y="71145"/>
                      <a:pt x="289416" y="83090"/>
                      <a:pt x="303469" y="111196"/>
                    </a:cubicBezTo>
                    <a:cubicBezTo>
                      <a:pt x="317522" y="139303"/>
                      <a:pt x="346332" y="152654"/>
                      <a:pt x="381465" y="148438"/>
                    </a:cubicBezTo>
                    <a:cubicBezTo>
                      <a:pt x="408166" y="144925"/>
                      <a:pt x="435570" y="123142"/>
                      <a:pt x="439083" y="100656"/>
                    </a:cubicBezTo>
                    <a:cubicBezTo>
                      <a:pt x="441894" y="83793"/>
                      <a:pt x="429949" y="73955"/>
                      <a:pt x="418706" y="64118"/>
                    </a:cubicBezTo>
                    <a:cubicBezTo>
                      <a:pt x="408869" y="55686"/>
                      <a:pt x="394113" y="48660"/>
                      <a:pt x="401842" y="31093"/>
                    </a:cubicBezTo>
                    <a:cubicBezTo>
                      <a:pt x="408869" y="15634"/>
                      <a:pt x="419409" y="1581"/>
                      <a:pt x="437678" y="878"/>
                    </a:cubicBezTo>
                    <a:cubicBezTo>
                      <a:pt x="485459" y="-527"/>
                      <a:pt x="532537" y="176"/>
                      <a:pt x="580319" y="176"/>
                    </a:cubicBezTo>
                    <a:cubicBezTo>
                      <a:pt x="591561" y="176"/>
                      <a:pt x="590859" y="6500"/>
                      <a:pt x="590859" y="14229"/>
                    </a:cubicBezTo>
                    <a:cubicBezTo>
                      <a:pt x="590859" y="57092"/>
                      <a:pt x="590859" y="99954"/>
                      <a:pt x="590859" y="142816"/>
                    </a:cubicBezTo>
                    <a:cubicBezTo>
                      <a:pt x="590859" y="159680"/>
                      <a:pt x="582427" y="172328"/>
                      <a:pt x="569779" y="182166"/>
                    </a:cubicBezTo>
                    <a:cubicBezTo>
                      <a:pt x="556428" y="192706"/>
                      <a:pt x="544483" y="193408"/>
                      <a:pt x="532537" y="178652"/>
                    </a:cubicBezTo>
                    <a:cubicBezTo>
                      <a:pt x="521295" y="163896"/>
                      <a:pt x="510052" y="144222"/>
                      <a:pt x="486864" y="152654"/>
                    </a:cubicBezTo>
                    <a:cubicBezTo>
                      <a:pt x="460866" y="161788"/>
                      <a:pt x="444704" y="180760"/>
                      <a:pt x="442596" y="209569"/>
                    </a:cubicBezTo>
                    <a:cubicBezTo>
                      <a:pt x="441191" y="234163"/>
                      <a:pt x="442596" y="256648"/>
                      <a:pt x="462271" y="274917"/>
                    </a:cubicBezTo>
                    <a:cubicBezTo>
                      <a:pt x="488270" y="298105"/>
                      <a:pt x="503026" y="297402"/>
                      <a:pt x="526213" y="270701"/>
                    </a:cubicBezTo>
                    <a:cubicBezTo>
                      <a:pt x="533943" y="261567"/>
                      <a:pt x="539564" y="247513"/>
                      <a:pt x="556428" y="253135"/>
                    </a:cubicBezTo>
                    <a:cubicBezTo>
                      <a:pt x="572589" y="258756"/>
                      <a:pt x="587345" y="269999"/>
                      <a:pt x="588048" y="287565"/>
                    </a:cubicBezTo>
                    <a:cubicBezTo>
                      <a:pt x="590156" y="336049"/>
                      <a:pt x="590156" y="384533"/>
                      <a:pt x="590156" y="432314"/>
                    </a:cubicBezTo>
                    <a:cubicBezTo>
                      <a:pt x="590156" y="447773"/>
                      <a:pt x="576805" y="440746"/>
                      <a:pt x="569076" y="441448"/>
                    </a:cubicBezTo>
                    <a:cubicBezTo>
                      <a:pt x="502323" y="441448"/>
                      <a:pt x="435570" y="441448"/>
                      <a:pt x="368817" y="44144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1C380303-2330-40FB-9810-66817698DFEF}"/>
                  </a:ext>
                </a:extLst>
              </p:cNvPr>
              <p:cNvSpPr/>
              <p:nvPr userDrawn="1"/>
            </p:nvSpPr>
            <p:spPr>
              <a:xfrm rot="10800000" flipV="1">
                <a:off x="1285960" y="3657337"/>
                <a:ext cx="419693" cy="309773"/>
              </a:xfrm>
              <a:custGeom>
                <a:avLst/>
                <a:gdLst>
                  <a:gd name="connsiteX0" fmla="*/ 368817 w 590237"/>
                  <a:gd name="connsiteY0" fmla="*/ 441448 h 435651"/>
                  <a:gd name="connsiteX1" fmla="*/ 166450 w 590237"/>
                  <a:gd name="connsiteY1" fmla="*/ 441448 h 435651"/>
                  <a:gd name="connsiteX2" fmla="*/ 148180 w 590237"/>
                  <a:gd name="connsiteY2" fmla="*/ 423882 h 435651"/>
                  <a:gd name="connsiteX3" fmla="*/ 148883 w 590237"/>
                  <a:gd name="connsiteY3" fmla="*/ 308645 h 435651"/>
                  <a:gd name="connsiteX4" fmla="*/ 140451 w 590237"/>
                  <a:gd name="connsiteY4" fmla="*/ 277728 h 435651"/>
                  <a:gd name="connsiteX5" fmla="*/ 106723 w 590237"/>
                  <a:gd name="connsiteY5" fmla="*/ 276322 h 435651"/>
                  <a:gd name="connsiteX6" fmla="*/ 16782 w 590237"/>
                  <a:gd name="connsiteY6" fmla="*/ 274917 h 435651"/>
                  <a:gd name="connsiteX7" fmla="*/ 26619 w 590237"/>
                  <a:gd name="connsiteY7" fmla="*/ 155465 h 435651"/>
                  <a:gd name="connsiteX8" fmla="*/ 102507 w 590237"/>
                  <a:gd name="connsiteY8" fmla="*/ 157572 h 435651"/>
                  <a:gd name="connsiteX9" fmla="*/ 126398 w 590237"/>
                  <a:gd name="connsiteY9" fmla="*/ 175139 h 435651"/>
                  <a:gd name="connsiteX10" fmla="*/ 148883 w 590237"/>
                  <a:gd name="connsiteY10" fmla="*/ 137898 h 435651"/>
                  <a:gd name="connsiteX11" fmla="*/ 148180 w 590237"/>
                  <a:gd name="connsiteY11" fmla="*/ 25472 h 435651"/>
                  <a:gd name="connsiteX12" fmla="*/ 172773 w 590237"/>
                  <a:gd name="connsiteY12" fmla="*/ 176 h 435651"/>
                  <a:gd name="connsiteX13" fmla="*/ 290821 w 590237"/>
                  <a:gd name="connsiteY13" fmla="*/ 176 h 435651"/>
                  <a:gd name="connsiteX14" fmla="*/ 332278 w 590237"/>
                  <a:gd name="connsiteY14" fmla="*/ 22661 h 435651"/>
                  <a:gd name="connsiteX15" fmla="*/ 328062 w 590237"/>
                  <a:gd name="connsiteY15" fmla="*/ 57794 h 435651"/>
                  <a:gd name="connsiteX16" fmla="*/ 303469 w 590237"/>
                  <a:gd name="connsiteY16" fmla="*/ 111196 h 435651"/>
                  <a:gd name="connsiteX17" fmla="*/ 381465 w 590237"/>
                  <a:gd name="connsiteY17" fmla="*/ 148438 h 435651"/>
                  <a:gd name="connsiteX18" fmla="*/ 439083 w 590237"/>
                  <a:gd name="connsiteY18" fmla="*/ 100656 h 435651"/>
                  <a:gd name="connsiteX19" fmla="*/ 418706 w 590237"/>
                  <a:gd name="connsiteY19" fmla="*/ 64118 h 435651"/>
                  <a:gd name="connsiteX20" fmla="*/ 401842 w 590237"/>
                  <a:gd name="connsiteY20" fmla="*/ 31093 h 435651"/>
                  <a:gd name="connsiteX21" fmla="*/ 437678 w 590237"/>
                  <a:gd name="connsiteY21" fmla="*/ 878 h 435651"/>
                  <a:gd name="connsiteX22" fmla="*/ 580319 w 590237"/>
                  <a:gd name="connsiteY22" fmla="*/ 176 h 435651"/>
                  <a:gd name="connsiteX23" fmla="*/ 590859 w 590237"/>
                  <a:gd name="connsiteY23" fmla="*/ 14229 h 435651"/>
                  <a:gd name="connsiteX24" fmla="*/ 590859 w 590237"/>
                  <a:gd name="connsiteY24" fmla="*/ 142816 h 435651"/>
                  <a:gd name="connsiteX25" fmla="*/ 569779 w 590237"/>
                  <a:gd name="connsiteY25" fmla="*/ 182166 h 435651"/>
                  <a:gd name="connsiteX26" fmla="*/ 532537 w 590237"/>
                  <a:gd name="connsiteY26" fmla="*/ 178652 h 435651"/>
                  <a:gd name="connsiteX27" fmla="*/ 486864 w 590237"/>
                  <a:gd name="connsiteY27" fmla="*/ 152654 h 435651"/>
                  <a:gd name="connsiteX28" fmla="*/ 442596 w 590237"/>
                  <a:gd name="connsiteY28" fmla="*/ 209569 h 435651"/>
                  <a:gd name="connsiteX29" fmla="*/ 462271 w 590237"/>
                  <a:gd name="connsiteY29" fmla="*/ 274917 h 435651"/>
                  <a:gd name="connsiteX30" fmla="*/ 526213 w 590237"/>
                  <a:gd name="connsiteY30" fmla="*/ 270701 h 435651"/>
                  <a:gd name="connsiteX31" fmla="*/ 556428 w 590237"/>
                  <a:gd name="connsiteY31" fmla="*/ 253135 h 435651"/>
                  <a:gd name="connsiteX32" fmla="*/ 588048 w 590237"/>
                  <a:gd name="connsiteY32" fmla="*/ 287565 h 435651"/>
                  <a:gd name="connsiteX33" fmla="*/ 590156 w 590237"/>
                  <a:gd name="connsiteY33" fmla="*/ 432314 h 435651"/>
                  <a:gd name="connsiteX34" fmla="*/ 569076 w 590237"/>
                  <a:gd name="connsiteY34" fmla="*/ 441448 h 435651"/>
                  <a:gd name="connsiteX35" fmla="*/ 368817 w 590237"/>
                  <a:gd name="connsiteY35" fmla="*/ 441448 h 435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90237" h="435651">
                    <a:moveTo>
                      <a:pt x="368817" y="441448"/>
                    </a:moveTo>
                    <a:cubicBezTo>
                      <a:pt x="301361" y="441448"/>
                      <a:pt x="233905" y="440746"/>
                      <a:pt x="166450" y="441448"/>
                    </a:cubicBezTo>
                    <a:cubicBezTo>
                      <a:pt x="152396" y="441448"/>
                      <a:pt x="147478" y="438638"/>
                      <a:pt x="148180" y="423882"/>
                    </a:cubicBezTo>
                    <a:cubicBezTo>
                      <a:pt x="149586" y="385235"/>
                      <a:pt x="148180" y="347292"/>
                      <a:pt x="148883" y="308645"/>
                    </a:cubicBezTo>
                    <a:cubicBezTo>
                      <a:pt x="148883" y="297402"/>
                      <a:pt x="148180" y="286862"/>
                      <a:pt x="140451" y="277728"/>
                    </a:cubicBezTo>
                    <a:cubicBezTo>
                      <a:pt x="129208" y="264377"/>
                      <a:pt x="120776" y="258756"/>
                      <a:pt x="106723" y="276322"/>
                    </a:cubicBezTo>
                    <a:cubicBezTo>
                      <a:pt x="77211" y="312159"/>
                      <a:pt x="46294" y="310753"/>
                      <a:pt x="16782" y="274917"/>
                    </a:cubicBezTo>
                    <a:cubicBezTo>
                      <a:pt x="-9216" y="243298"/>
                      <a:pt x="-4298" y="182868"/>
                      <a:pt x="26619" y="155465"/>
                    </a:cubicBezTo>
                    <a:cubicBezTo>
                      <a:pt x="54726" y="130871"/>
                      <a:pt x="77914" y="131574"/>
                      <a:pt x="102507" y="157572"/>
                    </a:cubicBezTo>
                    <a:cubicBezTo>
                      <a:pt x="109534" y="164599"/>
                      <a:pt x="112344" y="180760"/>
                      <a:pt x="126398" y="175139"/>
                    </a:cubicBezTo>
                    <a:cubicBezTo>
                      <a:pt x="141154" y="168815"/>
                      <a:pt x="148883" y="155465"/>
                      <a:pt x="148883" y="137898"/>
                    </a:cubicBezTo>
                    <a:cubicBezTo>
                      <a:pt x="148883" y="100656"/>
                      <a:pt x="150288" y="62713"/>
                      <a:pt x="148180" y="25472"/>
                    </a:cubicBezTo>
                    <a:cubicBezTo>
                      <a:pt x="147478" y="5797"/>
                      <a:pt x="151694" y="-1230"/>
                      <a:pt x="172773" y="176"/>
                    </a:cubicBezTo>
                    <a:cubicBezTo>
                      <a:pt x="212123" y="2283"/>
                      <a:pt x="251472" y="1581"/>
                      <a:pt x="290821" y="176"/>
                    </a:cubicBezTo>
                    <a:cubicBezTo>
                      <a:pt x="309793" y="-527"/>
                      <a:pt x="321738" y="8608"/>
                      <a:pt x="332278" y="22661"/>
                    </a:cubicBezTo>
                    <a:cubicBezTo>
                      <a:pt x="341413" y="35309"/>
                      <a:pt x="342116" y="46552"/>
                      <a:pt x="328062" y="57794"/>
                    </a:cubicBezTo>
                    <a:cubicBezTo>
                      <a:pt x="311901" y="71145"/>
                      <a:pt x="289416" y="83090"/>
                      <a:pt x="303469" y="111196"/>
                    </a:cubicBezTo>
                    <a:cubicBezTo>
                      <a:pt x="317522" y="139303"/>
                      <a:pt x="346332" y="152654"/>
                      <a:pt x="381465" y="148438"/>
                    </a:cubicBezTo>
                    <a:cubicBezTo>
                      <a:pt x="408166" y="144925"/>
                      <a:pt x="435570" y="123142"/>
                      <a:pt x="439083" y="100656"/>
                    </a:cubicBezTo>
                    <a:cubicBezTo>
                      <a:pt x="441894" y="83793"/>
                      <a:pt x="429949" y="73955"/>
                      <a:pt x="418706" y="64118"/>
                    </a:cubicBezTo>
                    <a:cubicBezTo>
                      <a:pt x="408869" y="55686"/>
                      <a:pt x="394113" y="48660"/>
                      <a:pt x="401842" y="31093"/>
                    </a:cubicBezTo>
                    <a:cubicBezTo>
                      <a:pt x="408869" y="15634"/>
                      <a:pt x="419409" y="1581"/>
                      <a:pt x="437678" y="878"/>
                    </a:cubicBezTo>
                    <a:cubicBezTo>
                      <a:pt x="485459" y="-527"/>
                      <a:pt x="532537" y="176"/>
                      <a:pt x="580319" y="176"/>
                    </a:cubicBezTo>
                    <a:cubicBezTo>
                      <a:pt x="591561" y="176"/>
                      <a:pt x="590859" y="6500"/>
                      <a:pt x="590859" y="14229"/>
                    </a:cubicBezTo>
                    <a:cubicBezTo>
                      <a:pt x="590859" y="57092"/>
                      <a:pt x="590859" y="99954"/>
                      <a:pt x="590859" y="142816"/>
                    </a:cubicBezTo>
                    <a:cubicBezTo>
                      <a:pt x="590859" y="159680"/>
                      <a:pt x="582427" y="172328"/>
                      <a:pt x="569779" y="182166"/>
                    </a:cubicBezTo>
                    <a:cubicBezTo>
                      <a:pt x="556428" y="192706"/>
                      <a:pt x="544483" y="193408"/>
                      <a:pt x="532537" y="178652"/>
                    </a:cubicBezTo>
                    <a:cubicBezTo>
                      <a:pt x="521295" y="163896"/>
                      <a:pt x="510052" y="144222"/>
                      <a:pt x="486864" y="152654"/>
                    </a:cubicBezTo>
                    <a:cubicBezTo>
                      <a:pt x="460866" y="161788"/>
                      <a:pt x="444704" y="180760"/>
                      <a:pt x="442596" y="209569"/>
                    </a:cubicBezTo>
                    <a:cubicBezTo>
                      <a:pt x="441191" y="234163"/>
                      <a:pt x="442596" y="256648"/>
                      <a:pt x="462271" y="274917"/>
                    </a:cubicBezTo>
                    <a:cubicBezTo>
                      <a:pt x="488270" y="298105"/>
                      <a:pt x="503026" y="297402"/>
                      <a:pt x="526213" y="270701"/>
                    </a:cubicBezTo>
                    <a:cubicBezTo>
                      <a:pt x="533943" y="261567"/>
                      <a:pt x="539564" y="247513"/>
                      <a:pt x="556428" y="253135"/>
                    </a:cubicBezTo>
                    <a:cubicBezTo>
                      <a:pt x="572589" y="258756"/>
                      <a:pt x="587345" y="269999"/>
                      <a:pt x="588048" y="287565"/>
                    </a:cubicBezTo>
                    <a:cubicBezTo>
                      <a:pt x="590156" y="336049"/>
                      <a:pt x="590156" y="384533"/>
                      <a:pt x="590156" y="432314"/>
                    </a:cubicBezTo>
                    <a:cubicBezTo>
                      <a:pt x="590156" y="447773"/>
                      <a:pt x="576805" y="440746"/>
                      <a:pt x="569076" y="441448"/>
                    </a:cubicBezTo>
                    <a:cubicBezTo>
                      <a:pt x="502323" y="441448"/>
                      <a:pt x="435570" y="441448"/>
                      <a:pt x="368817" y="44144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B1845D0-F248-4BDF-9C90-64F4DDC8507C}"/>
                </a:ext>
              </a:extLst>
            </p:cNvPr>
            <p:cNvSpPr/>
            <p:nvPr userDrawn="1"/>
          </p:nvSpPr>
          <p:spPr>
            <a:xfrm>
              <a:off x="1" y="942392"/>
              <a:ext cx="314769" cy="314769"/>
            </a:xfrm>
            <a:custGeom>
              <a:avLst/>
              <a:gdLst>
                <a:gd name="connsiteX0" fmla="*/ 703 w 442678"/>
                <a:gd name="connsiteY0" fmla="*/ 221404 h 442678"/>
                <a:gd name="connsiteX1" fmla="*/ 0 w 442678"/>
                <a:gd name="connsiteY1" fmla="*/ 21144 h 442678"/>
                <a:gd name="connsiteX2" fmla="*/ 21080 w 442678"/>
                <a:gd name="connsiteY2" fmla="*/ 64 h 442678"/>
                <a:gd name="connsiteX3" fmla="*/ 139127 w 442678"/>
                <a:gd name="connsiteY3" fmla="*/ 64 h 442678"/>
                <a:gd name="connsiteX4" fmla="*/ 179882 w 442678"/>
                <a:gd name="connsiteY4" fmla="*/ 17631 h 442678"/>
                <a:gd name="connsiteX5" fmla="*/ 177071 w 442678"/>
                <a:gd name="connsiteY5" fmla="*/ 60494 h 442678"/>
                <a:gd name="connsiteX6" fmla="*/ 153181 w 442678"/>
                <a:gd name="connsiteY6" fmla="*/ 104761 h 442678"/>
                <a:gd name="connsiteX7" fmla="*/ 205178 w 442678"/>
                <a:gd name="connsiteY7" fmla="*/ 147624 h 442678"/>
                <a:gd name="connsiteX8" fmla="*/ 275444 w 442678"/>
                <a:gd name="connsiteY8" fmla="*/ 127949 h 442678"/>
                <a:gd name="connsiteX9" fmla="*/ 271931 w 442678"/>
                <a:gd name="connsiteY9" fmla="*/ 65412 h 442678"/>
                <a:gd name="connsiteX10" fmla="*/ 252959 w 442678"/>
                <a:gd name="connsiteY10" fmla="*/ 33090 h 442678"/>
                <a:gd name="connsiteX11" fmla="*/ 293713 w 442678"/>
                <a:gd name="connsiteY11" fmla="*/ 767 h 442678"/>
                <a:gd name="connsiteX12" fmla="*/ 430733 w 442678"/>
                <a:gd name="connsiteY12" fmla="*/ 64 h 442678"/>
                <a:gd name="connsiteX13" fmla="*/ 443381 w 442678"/>
                <a:gd name="connsiteY13" fmla="*/ 16226 h 442678"/>
                <a:gd name="connsiteX14" fmla="*/ 443381 w 442678"/>
                <a:gd name="connsiteY14" fmla="*/ 144813 h 442678"/>
                <a:gd name="connsiteX15" fmla="*/ 423004 w 442678"/>
                <a:gd name="connsiteY15" fmla="*/ 182054 h 442678"/>
                <a:gd name="connsiteX16" fmla="*/ 383655 w 442678"/>
                <a:gd name="connsiteY16" fmla="*/ 178541 h 442678"/>
                <a:gd name="connsiteX17" fmla="*/ 335171 w 442678"/>
                <a:gd name="connsiteY17" fmla="*/ 153948 h 442678"/>
                <a:gd name="connsiteX18" fmla="*/ 295119 w 442678"/>
                <a:gd name="connsiteY18" fmla="*/ 213674 h 442678"/>
                <a:gd name="connsiteX19" fmla="*/ 318307 w 442678"/>
                <a:gd name="connsiteY19" fmla="*/ 277617 h 442678"/>
                <a:gd name="connsiteX20" fmla="*/ 376628 w 442678"/>
                <a:gd name="connsiteY20" fmla="*/ 273401 h 442678"/>
                <a:gd name="connsiteX21" fmla="*/ 411058 w 442678"/>
                <a:gd name="connsiteY21" fmla="*/ 253726 h 442678"/>
                <a:gd name="connsiteX22" fmla="*/ 443381 w 442678"/>
                <a:gd name="connsiteY22" fmla="*/ 300102 h 442678"/>
                <a:gd name="connsiteX23" fmla="*/ 443381 w 442678"/>
                <a:gd name="connsiteY23" fmla="*/ 425879 h 442678"/>
                <a:gd name="connsiteX24" fmla="*/ 423706 w 442678"/>
                <a:gd name="connsiteY24" fmla="*/ 443445 h 442678"/>
                <a:gd name="connsiteX25" fmla="*/ 303551 w 442678"/>
                <a:gd name="connsiteY25" fmla="*/ 443445 h 442678"/>
                <a:gd name="connsiteX26" fmla="*/ 260689 w 442678"/>
                <a:gd name="connsiteY26" fmla="*/ 423068 h 442678"/>
                <a:gd name="connsiteX27" fmla="*/ 264202 w 442678"/>
                <a:gd name="connsiteY27" fmla="*/ 383719 h 442678"/>
                <a:gd name="connsiteX28" fmla="*/ 289498 w 442678"/>
                <a:gd name="connsiteY28" fmla="*/ 337343 h 442678"/>
                <a:gd name="connsiteX29" fmla="*/ 231879 w 442678"/>
                <a:gd name="connsiteY29" fmla="*/ 295183 h 442678"/>
                <a:gd name="connsiteX30" fmla="*/ 165126 w 442678"/>
                <a:gd name="connsiteY30" fmla="*/ 317669 h 442678"/>
                <a:gd name="connsiteX31" fmla="*/ 169342 w 442678"/>
                <a:gd name="connsiteY31" fmla="*/ 376692 h 442678"/>
                <a:gd name="connsiteX32" fmla="*/ 189017 w 442678"/>
                <a:gd name="connsiteY32" fmla="*/ 410420 h 442678"/>
                <a:gd name="connsiteX33" fmla="*/ 146154 w 442678"/>
                <a:gd name="connsiteY33" fmla="*/ 443445 h 442678"/>
                <a:gd name="connsiteX34" fmla="*/ 14756 w 442678"/>
                <a:gd name="connsiteY34" fmla="*/ 444148 h 442678"/>
                <a:gd name="connsiteX35" fmla="*/ 703 w 442678"/>
                <a:gd name="connsiteY35" fmla="*/ 424473 h 442678"/>
                <a:gd name="connsiteX36" fmla="*/ 703 w 442678"/>
                <a:gd name="connsiteY36" fmla="*/ 221404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42678" h="442678">
                  <a:moveTo>
                    <a:pt x="703" y="221404"/>
                  </a:moveTo>
                  <a:cubicBezTo>
                    <a:pt x="703" y="154650"/>
                    <a:pt x="1405" y="87897"/>
                    <a:pt x="0" y="21144"/>
                  </a:cubicBezTo>
                  <a:cubicBezTo>
                    <a:pt x="0" y="4280"/>
                    <a:pt x="3513" y="-638"/>
                    <a:pt x="21080" y="64"/>
                  </a:cubicBezTo>
                  <a:cubicBezTo>
                    <a:pt x="60429" y="1470"/>
                    <a:pt x="99778" y="767"/>
                    <a:pt x="139127" y="64"/>
                  </a:cubicBezTo>
                  <a:cubicBezTo>
                    <a:pt x="155991" y="64"/>
                    <a:pt x="169342" y="4983"/>
                    <a:pt x="179882" y="17631"/>
                  </a:cubicBezTo>
                  <a:cubicBezTo>
                    <a:pt x="193233" y="32387"/>
                    <a:pt x="197449" y="46440"/>
                    <a:pt x="177071" y="60494"/>
                  </a:cubicBezTo>
                  <a:cubicBezTo>
                    <a:pt x="162316" y="71033"/>
                    <a:pt x="145452" y="82276"/>
                    <a:pt x="153181" y="104761"/>
                  </a:cubicBezTo>
                  <a:cubicBezTo>
                    <a:pt x="161613" y="128652"/>
                    <a:pt x="178477" y="144813"/>
                    <a:pt x="205178" y="147624"/>
                  </a:cubicBezTo>
                  <a:cubicBezTo>
                    <a:pt x="231177" y="150434"/>
                    <a:pt x="256472" y="149732"/>
                    <a:pt x="275444" y="127949"/>
                  </a:cubicBezTo>
                  <a:cubicBezTo>
                    <a:pt x="297227" y="103356"/>
                    <a:pt x="296524" y="87897"/>
                    <a:pt x="271931" y="65412"/>
                  </a:cubicBezTo>
                  <a:cubicBezTo>
                    <a:pt x="262094" y="56980"/>
                    <a:pt x="245932" y="50656"/>
                    <a:pt x="252959" y="33090"/>
                  </a:cubicBezTo>
                  <a:cubicBezTo>
                    <a:pt x="259986" y="15523"/>
                    <a:pt x="273336" y="1470"/>
                    <a:pt x="293713" y="767"/>
                  </a:cubicBezTo>
                  <a:cubicBezTo>
                    <a:pt x="339387" y="-638"/>
                    <a:pt x="385060" y="767"/>
                    <a:pt x="430733" y="64"/>
                  </a:cubicBezTo>
                  <a:cubicBezTo>
                    <a:pt x="443381" y="64"/>
                    <a:pt x="443381" y="7091"/>
                    <a:pt x="443381" y="16226"/>
                  </a:cubicBezTo>
                  <a:cubicBezTo>
                    <a:pt x="443381" y="59088"/>
                    <a:pt x="443381" y="101951"/>
                    <a:pt x="443381" y="144813"/>
                  </a:cubicBezTo>
                  <a:cubicBezTo>
                    <a:pt x="443381" y="160272"/>
                    <a:pt x="434949" y="172217"/>
                    <a:pt x="423004" y="182054"/>
                  </a:cubicBezTo>
                  <a:cubicBezTo>
                    <a:pt x="408951" y="193297"/>
                    <a:pt x="396303" y="195405"/>
                    <a:pt x="383655" y="178541"/>
                  </a:cubicBezTo>
                  <a:cubicBezTo>
                    <a:pt x="371709" y="163082"/>
                    <a:pt x="359764" y="143408"/>
                    <a:pt x="335171" y="153948"/>
                  </a:cubicBezTo>
                  <a:cubicBezTo>
                    <a:pt x="310578" y="165190"/>
                    <a:pt x="295119" y="183460"/>
                    <a:pt x="295119" y="213674"/>
                  </a:cubicBezTo>
                  <a:cubicBezTo>
                    <a:pt x="295119" y="238267"/>
                    <a:pt x="297227" y="260753"/>
                    <a:pt x="318307" y="277617"/>
                  </a:cubicBezTo>
                  <a:cubicBezTo>
                    <a:pt x="341495" y="296589"/>
                    <a:pt x="356251" y="295183"/>
                    <a:pt x="376628" y="273401"/>
                  </a:cubicBezTo>
                  <a:cubicBezTo>
                    <a:pt x="385763" y="263563"/>
                    <a:pt x="392789" y="245294"/>
                    <a:pt x="411058" y="253726"/>
                  </a:cubicBezTo>
                  <a:cubicBezTo>
                    <a:pt x="430030" y="262158"/>
                    <a:pt x="443381" y="276914"/>
                    <a:pt x="443381" y="300102"/>
                  </a:cubicBezTo>
                  <a:cubicBezTo>
                    <a:pt x="443381" y="342262"/>
                    <a:pt x="442678" y="384422"/>
                    <a:pt x="443381" y="425879"/>
                  </a:cubicBezTo>
                  <a:cubicBezTo>
                    <a:pt x="444084" y="441337"/>
                    <a:pt x="437057" y="443445"/>
                    <a:pt x="423706" y="443445"/>
                  </a:cubicBezTo>
                  <a:cubicBezTo>
                    <a:pt x="383655" y="442743"/>
                    <a:pt x="343603" y="442743"/>
                    <a:pt x="303551" y="443445"/>
                  </a:cubicBezTo>
                  <a:cubicBezTo>
                    <a:pt x="285984" y="443445"/>
                    <a:pt x="271931" y="436419"/>
                    <a:pt x="260689" y="423068"/>
                  </a:cubicBezTo>
                  <a:cubicBezTo>
                    <a:pt x="248743" y="409015"/>
                    <a:pt x="247338" y="396367"/>
                    <a:pt x="264202" y="383719"/>
                  </a:cubicBezTo>
                  <a:cubicBezTo>
                    <a:pt x="279660" y="372476"/>
                    <a:pt x="298632" y="359828"/>
                    <a:pt x="289498" y="337343"/>
                  </a:cubicBezTo>
                  <a:cubicBezTo>
                    <a:pt x="279660" y="312750"/>
                    <a:pt x="261391" y="295886"/>
                    <a:pt x="231879" y="295183"/>
                  </a:cubicBezTo>
                  <a:cubicBezTo>
                    <a:pt x="206583" y="294481"/>
                    <a:pt x="182693" y="295886"/>
                    <a:pt x="165126" y="317669"/>
                  </a:cubicBezTo>
                  <a:cubicBezTo>
                    <a:pt x="146154" y="340856"/>
                    <a:pt x="147559" y="355612"/>
                    <a:pt x="169342" y="376692"/>
                  </a:cubicBezTo>
                  <a:cubicBezTo>
                    <a:pt x="178477" y="385827"/>
                    <a:pt x="197449" y="390043"/>
                    <a:pt x="189017" y="410420"/>
                  </a:cubicBezTo>
                  <a:cubicBezTo>
                    <a:pt x="180585" y="430095"/>
                    <a:pt x="166531" y="442743"/>
                    <a:pt x="146154" y="443445"/>
                  </a:cubicBezTo>
                  <a:cubicBezTo>
                    <a:pt x="102589" y="444851"/>
                    <a:pt x="58321" y="443445"/>
                    <a:pt x="14756" y="444148"/>
                  </a:cubicBezTo>
                  <a:cubicBezTo>
                    <a:pt x="-2108" y="444148"/>
                    <a:pt x="703" y="434311"/>
                    <a:pt x="703" y="424473"/>
                  </a:cubicBezTo>
                  <a:cubicBezTo>
                    <a:pt x="703" y="356315"/>
                    <a:pt x="703" y="288859"/>
                    <a:pt x="703" y="22140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22085BD-DCFD-42A7-8E92-6FEDCA7EA5AD}"/>
                </a:ext>
              </a:extLst>
            </p:cNvPr>
            <p:cNvSpPr/>
            <p:nvPr userDrawn="1"/>
          </p:nvSpPr>
          <p:spPr>
            <a:xfrm>
              <a:off x="1" y="1152725"/>
              <a:ext cx="419693" cy="419693"/>
            </a:xfrm>
            <a:custGeom>
              <a:avLst/>
              <a:gdLst>
                <a:gd name="connsiteX0" fmla="*/ 0 w 590237"/>
                <a:gd name="connsiteY0" fmla="*/ 368438 h 590237"/>
                <a:gd name="connsiteX1" fmla="*/ 0 w 590237"/>
                <a:gd name="connsiteY1" fmla="*/ 168882 h 590237"/>
                <a:gd name="connsiteX2" fmla="*/ 21080 w 590237"/>
                <a:gd name="connsiteY2" fmla="*/ 147099 h 590237"/>
                <a:gd name="connsiteX3" fmla="*/ 136317 w 590237"/>
                <a:gd name="connsiteY3" fmla="*/ 147802 h 590237"/>
                <a:gd name="connsiteX4" fmla="*/ 167234 w 590237"/>
                <a:gd name="connsiteY4" fmla="*/ 139370 h 590237"/>
                <a:gd name="connsiteX5" fmla="*/ 167936 w 590237"/>
                <a:gd name="connsiteY5" fmla="*/ 109156 h 590237"/>
                <a:gd name="connsiteX6" fmla="*/ 142641 w 590237"/>
                <a:gd name="connsiteY6" fmla="*/ 51537 h 590237"/>
                <a:gd name="connsiteX7" fmla="*/ 202367 w 590237"/>
                <a:gd name="connsiteY7" fmla="*/ 1648 h 590237"/>
                <a:gd name="connsiteX8" fmla="*/ 292308 w 590237"/>
                <a:gd name="connsiteY8" fmla="*/ 32565 h 590237"/>
                <a:gd name="connsiteX9" fmla="*/ 285281 w 590237"/>
                <a:gd name="connsiteY9" fmla="*/ 102129 h 590237"/>
                <a:gd name="connsiteX10" fmla="*/ 267715 w 590237"/>
                <a:gd name="connsiteY10" fmla="*/ 126019 h 590237"/>
                <a:gd name="connsiteX11" fmla="*/ 302848 w 590237"/>
                <a:gd name="connsiteY11" fmla="*/ 147802 h 590237"/>
                <a:gd name="connsiteX12" fmla="*/ 418085 w 590237"/>
                <a:gd name="connsiteY12" fmla="*/ 147099 h 590237"/>
                <a:gd name="connsiteX13" fmla="*/ 444083 w 590237"/>
                <a:gd name="connsiteY13" fmla="*/ 172395 h 590237"/>
                <a:gd name="connsiteX14" fmla="*/ 443381 w 590237"/>
                <a:gd name="connsiteY14" fmla="*/ 284822 h 590237"/>
                <a:gd name="connsiteX15" fmla="*/ 455326 w 590237"/>
                <a:gd name="connsiteY15" fmla="*/ 317144 h 590237"/>
                <a:gd name="connsiteX16" fmla="*/ 483433 w 590237"/>
                <a:gd name="connsiteY16" fmla="*/ 316441 h 590237"/>
                <a:gd name="connsiteX17" fmla="*/ 541051 w 590237"/>
                <a:gd name="connsiteY17" fmla="*/ 289740 h 590237"/>
                <a:gd name="connsiteX18" fmla="*/ 591643 w 590237"/>
                <a:gd name="connsiteY18" fmla="*/ 355088 h 590237"/>
                <a:gd name="connsiteX19" fmla="*/ 560023 w 590237"/>
                <a:gd name="connsiteY19" fmla="*/ 440110 h 590237"/>
                <a:gd name="connsiteX20" fmla="*/ 490459 w 590237"/>
                <a:gd name="connsiteY20" fmla="*/ 433786 h 590237"/>
                <a:gd name="connsiteX21" fmla="*/ 463758 w 590237"/>
                <a:gd name="connsiteY21" fmla="*/ 417625 h 590237"/>
                <a:gd name="connsiteX22" fmla="*/ 443381 w 590237"/>
                <a:gd name="connsiteY22" fmla="*/ 453461 h 590237"/>
                <a:gd name="connsiteX23" fmla="*/ 444083 w 590237"/>
                <a:gd name="connsiteY23" fmla="*/ 568698 h 590237"/>
                <a:gd name="connsiteX24" fmla="*/ 419490 w 590237"/>
                <a:gd name="connsiteY24" fmla="*/ 591886 h 590237"/>
                <a:gd name="connsiteX25" fmla="*/ 301443 w 590237"/>
                <a:gd name="connsiteY25" fmla="*/ 591886 h 590237"/>
                <a:gd name="connsiteX26" fmla="*/ 257175 w 590237"/>
                <a:gd name="connsiteY26" fmla="*/ 565184 h 590237"/>
                <a:gd name="connsiteX27" fmla="*/ 261391 w 590237"/>
                <a:gd name="connsiteY27" fmla="*/ 536375 h 590237"/>
                <a:gd name="connsiteX28" fmla="*/ 276147 w 590237"/>
                <a:gd name="connsiteY28" fmla="*/ 464001 h 590237"/>
                <a:gd name="connsiteX29" fmla="*/ 174261 w 590237"/>
                <a:gd name="connsiteY29" fmla="*/ 458379 h 590237"/>
                <a:gd name="connsiteX30" fmla="*/ 173558 w 590237"/>
                <a:gd name="connsiteY30" fmla="*/ 527943 h 590237"/>
                <a:gd name="connsiteX31" fmla="*/ 190422 w 590237"/>
                <a:gd name="connsiteY31" fmla="*/ 558860 h 590237"/>
                <a:gd name="connsiteX32" fmla="*/ 153181 w 590237"/>
                <a:gd name="connsiteY32" fmla="*/ 590480 h 590237"/>
                <a:gd name="connsiteX33" fmla="*/ 13350 w 590237"/>
                <a:gd name="connsiteY33" fmla="*/ 591183 h 590237"/>
                <a:gd name="connsiteX34" fmla="*/ 2108 w 590237"/>
                <a:gd name="connsiteY34" fmla="*/ 572211 h 590237"/>
                <a:gd name="connsiteX35" fmla="*/ 0 w 590237"/>
                <a:gd name="connsiteY35" fmla="*/ 368438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90237" h="590237">
                  <a:moveTo>
                    <a:pt x="0" y="368438"/>
                  </a:moveTo>
                  <a:cubicBezTo>
                    <a:pt x="0" y="301685"/>
                    <a:pt x="702" y="234932"/>
                    <a:pt x="0" y="168882"/>
                  </a:cubicBezTo>
                  <a:cubicBezTo>
                    <a:pt x="0" y="152721"/>
                    <a:pt x="3513" y="146397"/>
                    <a:pt x="21080" y="147099"/>
                  </a:cubicBezTo>
                  <a:cubicBezTo>
                    <a:pt x="59024" y="148505"/>
                    <a:pt x="97670" y="147802"/>
                    <a:pt x="136317" y="147802"/>
                  </a:cubicBezTo>
                  <a:cubicBezTo>
                    <a:pt x="147559" y="147802"/>
                    <a:pt x="158099" y="147802"/>
                    <a:pt x="167234" y="139370"/>
                  </a:cubicBezTo>
                  <a:cubicBezTo>
                    <a:pt x="177071" y="129533"/>
                    <a:pt x="184098" y="120398"/>
                    <a:pt x="167936" y="109156"/>
                  </a:cubicBezTo>
                  <a:cubicBezTo>
                    <a:pt x="148262" y="95805"/>
                    <a:pt x="132101" y="77536"/>
                    <a:pt x="142641" y="51537"/>
                  </a:cubicBezTo>
                  <a:cubicBezTo>
                    <a:pt x="153181" y="24836"/>
                    <a:pt x="171450" y="5864"/>
                    <a:pt x="202367" y="1648"/>
                  </a:cubicBezTo>
                  <a:cubicBezTo>
                    <a:pt x="238203" y="-3271"/>
                    <a:pt x="269823" y="1648"/>
                    <a:pt x="292308" y="32565"/>
                  </a:cubicBezTo>
                  <a:cubicBezTo>
                    <a:pt x="311983" y="59266"/>
                    <a:pt x="309875" y="79644"/>
                    <a:pt x="285281" y="102129"/>
                  </a:cubicBezTo>
                  <a:cubicBezTo>
                    <a:pt x="278255" y="109156"/>
                    <a:pt x="262094" y="111966"/>
                    <a:pt x="267715" y="126019"/>
                  </a:cubicBezTo>
                  <a:cubicBezTo>
                    <a:pt x="273336" y="140073"/>
                    <a:pt x="285984" y="147802"/>
                    <a:pt x="302848" y="147802"/>
                  </a:cubicBezTo>
                  <a:cubicBezTo>
                    <a:pt x="341495" y="147099"/>
                    <a:pt x="379439" y="149207"/>
                    <a:pt x="418085" y="147099"/>
                  </a:cubicBezTo>
                  <a:cubicBezTo>
                    <a:pt x="437760" y="146397"/>
                    <a:pt x="444786" y="150613"/>
                    <a:pt x="444083" y="172395"/>
                  </a:cubicBezTo>
                  <a:cubicBezTo>
                    <a:pt x="441975" y="209636"/>
                    <a:pt x="444083" y="246878"/>
                    <a:pt x="443381" y="284822"/>
                  </a:cubicBezTo>
                  <a:cubicBezTo>
                    <a:pt x="443381" y="297469"/>
                    <a:pt x="446894" y="308009"/>
                    <a:pt x="455326" y="317144"/>
                  </a:cubicBezTo>
                  <a:cubicBezTo>
                    <a:pt x="465163" y="326981"/>
                    <a:pt x="472893" y="331197"/>
                    <a:pt x="483433" y="316441"/>
                  </a:cubicBezTo>
                  <a:cubicBezTo>
                    <a:pt x="496783" y="296767"/>
                    <a:pt x="514350" y="282011"/>
                    <a:pt x="541051" y="289740"/>
                  </a:cubicBezTo>
                  <a:cubicBezTo>
                    <a:pt x="567049" y="297469"/>
                    <a:pt x="588832" y="326279"/>
                    <a:pt x="591643" y="355088"/>
                  </a:cubicBezTo>
                  <a:cubicBezTo>
                    <a:pt x="595156" y="388816"/>
                    <a:pt x="590238" y="418328"/>
                    <a:pt x="560023" y="440110"/>
                  </a:cubicBezTo>
                  <a:cubicBezTo>
                    <a:pt x="532619" y="459785"/>
                    <a:pt x="513647" y="457677"/>
                    <a:pt x="490459" y="433786"/>
                  </a:cubicBezTo>
                  <a:cubicBezTo>
                    <a:pt x="483433" y="426057"/>
                    <a:pt x="479919" y="409193"/>
                    <a:pt x="463758" y="417625"/>
                  </a:cubicBezTo>
                  <a:cubicBezTo>
                    <a:pt x="450407" y="424652"/>
                    <a:pt x="443381" y="437300"/>
                    <a:pt x="443381" y="453461"/>
                  </a:cubicBezTo>
                  <a:cubicBezTo>
                    <a:pt x="444083" y="492107"/>
                    <a:pt x="441975" y="530051"/>
                    <a:pt x="444083" y="568698"/>
                  </a:cubicBezTo>
                  <a:cubicBezTo>
                    <a:pt x="444786" y="589075"/>
                    <a:pt x="438462" y="592588"/>
                    <a:pt x="419490" y="591886"/>
                  </a:cubicBezTo>
                  <a:cubicBezTo>
                    <a:pt x="380141" y="590480"/>
                    <a:pt x="340792" y="591183"/>
                    <a:pt x="301443" y="591886"/>
                  </a:cubicBezTo>
                  <a:cubicBezTo>
                    <a:pt x="280363" y="592588"/>
                    <a:pt x="267012" y="581346"/>
                    <a:pt x="257175" y="565184"/>
                  </a:cubicBezTo>
                  <a:cubicBezTo>
                    <a:pt x="250851" y="555347"/>
                    <a:pt x="251554" y="546212"/>
                    <a:pt x="261391" y="536375"/>
                  </a:cubicBezTo>
                  <a:cubicBezTo>
                    <a:pt x="299335" y="499134"/>
                    <a:pt x="300740" y="489999"/>
                    <a:pt x="276147" y="464001"/>
                  </a:cubicBezTo>
                  <a:cubicBezTo>
                    <a:pt x="250851" y="437300"/>
                    <a:pt x="201664" y="434489"/>
                    <a:pt x="174261" y="458379"/>
                  </a:cubicBezTo>
                  <a:cubicBezTo>
                    <a:pt x="144749" y="483675"/>
                    <a:pt x="144749" y="502647"/>
                    <a:pt x="173558" y="527943"/>
                  </a:cubicBezTo>
                  <a:cubicBezTo>
                    <a:pt x="182693" y="536375"/>
                    <a:pt x="196746" y="542699"/>
                    <a:pt x="190422" y="558860"/>
                  </a:cubicBezTo>
                  <a:cubicBezTo>
                    <a:pt x="183395" y="575724"/>
                    <a:pt x="172153" y="589778"/>
                    <a:pt x="153181" y="590480"/>
                  </a:cubicBezTo>
                  <a:cubicBezTo>
                    <a:pt x="106805" y="591886"/>
                    <a:pt x="60429" y="591183"/>
                    <a:pt x="13350" y="591183"/>
                  </a:cubicBezTo>
                  <a:cubicBezTo>
                    <a:pt x="-2108" y="591183"/>
                    <a:pt x="2108" y="580643"/>
                    <a:pt x="2108" y="572211"/>
                  </a:cubicBezTo>
                  <a:cubicBezTo>
                    <a:pt x="0" y="503350"/>
                    <a:pt x="0" y="435894"/>
                    <a:pt x="0" y="36843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1A5D3F8-0CD9-40DA-954E-D1A2F35FFD7C}"/>
                </a:ext>
              </a:extLst>
            </p:cNvPr>
            <p:cNvSpPr/>
            <p:nvPr userDrawn="1"/>
          </p:nvSpPr>
          <p:spPr>
            <a:xfrm>
              <a:off x="1" y="522986"/>
              <a:ext cx="419693" cy="524616"/>
            </a:xfrm>
            <a:custGeom>
              <a:avLst/>
              <a:gdLst>
                <a:gd name="connsiteX0" fmla="*/ 590940 w 590237"/>
                <a:gd name="connsiteY0" fmla="*/ 398837 h 737797"/>
                <a:gd name="connsiteX1" fmla="*/ 564239 w 590237"/>
                <a:gd name="connsiteY1" fmla="*/ 435375 h 737797"/>
                <a:gd name="connsiteX2" fmla="*/ 486946 w 590237"/>
                <a:gd name="connsiteY2" fmla="*/ 431159 h 737797"/>
                <a:gd name="connsiteX3" fmla="*/ 464461 w 590237"/>
                <a:gd name="connsiteY3" fmla="*/ 416403 h 737797"/>
                <a:gd name="connsiteX4" fmla="*/ 443381 w 590237"/>
                <a:gd name="connsiteY4" fmla="*/ 448726 h 737797"/>
                <a:gd name="connsiteX5" fmla="*/ 444084 w 590237"/>
                <a:gd name="connsiteY5" fmla="*/ 568881 h 737797"/>
                <a:gd name="connsiteX6" fmla="*/ 422301 w 590237"/>
                <a:gd name="connsiteY6" fmla="*/ 592069 h 737797"/>
                <a:gd name="connsiteX7" fmla="*/ 307064 w 590237"/>
                <a:gd name="connsiteY7" fmla="*/ 591367 h 737797"/>
                <a:gd name="connsiteX8" fmla="*/ 274741 w 590237"/>
                <a:gd name="connsiteY8" fmla="*/ 603312 h 737797"/>
                <a:gd name="connsiteX9" fmla="*/ 276147 w 590237"/>
                <a:gd name="connsiteY9" fmla="*/ 631418 h 737797"/>
                <a:gd name="connsiteX10" fmla="*/ 302146 w 590237"/>
                <a:gd name="connsiteY10" fmla="*/ 688334 h 737797"/>
                <a:gd name="connsiteX11" fmla="*/ 236798 w 590237"/>
                <a:gd name="connsiteY11" fmla="*/ 738926 h 737797"/>
                <a:gd name="connsiteX12" fmla="*/ 153884 w 590237"/>
                <a:gd name="connsiteY12" fmla="*/ 709414 h 737797"/>
                <a:gd name="connsiteX13" fmla="*/ 158802 w 590237"/>
                <a:gd name="connsiteY13" fmla="*/ 637742 h 737797"/>
                <a:gd name="connsiteX14" fmla="*/ 175666 w 590237"/>
                <a:gd name="connsiteY14" fmla="*/ 611744 h 737797"/>
                <a:gd name="connsiteX15" fmla="*/ 139830 w 590237"/>
                <a:gd name="connsiteY15" fmla="*/ 591367 h 737797"/>
                <a:gd name="connsiteX16" fmla="*/ 24593 w 590237"/>
                <a:gd name="connsiteY16" fmla="*/ 592069 h 737797"/>
                <a:gd name="connsiteX17" fmla="*/ 0 w 590237"/>
                <a:gd name="connsiteY17" fmla="*/ 568881 h 737797"/>
                <a:gd name="connsiteX18" fmla="*/ 0 w 590237"/>
                <a:gd name="connsiteY18" fmla="*/ 171876 h 737797"/>
                <a:gd name="connsiteX19" fmla="*/ 24593 w 590237"/>
                <a:gd name="connsiteY19" fmla="*/ 147986 h 737797"/>
                <a:gd name="connsiteX20" fmla="*/ 134209 w 590237"/>
                <a:gd name="connsiteY20" fmla="*/ 148688 h 737797"/>
                <a:gd name="connsiteX21" fmla="*/ 163018 w 590237"/>
                <a:gd name="connsiteY21" fmla="*/ 143067 h 737797"/>
                <a:gd name="connsiteX22" fmla="*/ 165829 w 590237"/>
                <a:gd name="connsiteY22" fmla="*/ 107231 h 737797"/>
                <a:gd name="connsiteX23" fmla="*/ 165126 w 590237"/>
                <a:gd name="connsiteY23" fmla="*/ 19398 h 737797"/>
                <a:gd name="connsiteX24" fmla="*/ 291606 w 590237"/>
                <a:gd name="connsiteY24" fmla="*/ 33451 h 737797"/>
                <a:gd name="connsiteX25" fmla="*/ 285281 w 590237"/>
                <a:gd name="connsiteY25" fmla="*/ 103015 h 737797"/>
                <a:gd name="connsiteX26" fmla="*/ 268418 w 590237"/>
                <a:gd name="connsiteY26" fmla="*/ 129014 h 737797"/>
                <a:gd name="connsiteX27" fmla="*/ 304253 w 590237"/>
                <a:gd name="connsiteY27" fmla="*/ 148688 h 737797"/>
                <a:gd name="connsiteX28" fmla="*/ 405437 w 590237"/>
                <a:gd name="connsiteY28" fmla="*/ 148688 h 737797"/>
                <a:gd name="connsiteX29" fmla="*/ 443381 w 590237"/>
                <a:gd name="connsiteY29" fmla="*/ 188037 h 737797"/>
                <a:gd name="connsiteX30" fmla="*/ 443381 w 590237"/>
                <a:gd name="connsiteY30" fmla="*/ 286410 h 737797"/>
                <a:gd name="connsiteX31" fmla="*/ 455326 w 590237"/>
                <a:gd name="connsiteY31" fmla="*/ 318030 h 737797"/>
                <a:gd name="connsiteX32" fmla="*/ 482027 w 590237"/>
                <a:gd name="connsiteY32" fmla="*/ 317328 h 737797"/>
                <a:gd name="connsiteX33" fmla="*/ 586022 w 590237"/>
                <a:gd name="connsiteY33" fmla="*/ 332084 h 737797"/>
                <a:gd name="connsiteX34" fmla="*/ 591643 w 590237"/>
                <a:gd name="connsiteY34" fmla="*/ 343326 h 737797"/>
                <a:gd name="connsiteX35" fmla="*/ 590940 w 590237"/>
                <a:gd name="connsiteY35" fmla="*/ 398837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90237" h="737797">
                  <a:moveTo>
                    <a:pt x="590940" y="398837"/>
                  </a:moveTo>
                  <a:cubicBezTo>
                    <a:pt x="583211" y="411485"/>
                    <a:pt x="575482" y="424835"/>
                    <a:pt x="564239" y="435375"/>
                  </a:cubicBezTo>
                  <a:cubicBezTo>
                    <a:pt x="534727" y="461374"/>
                    <a:pt x="512945" y="459968"/>
                    <a:pt x="486946" y="431159"/>
                  </a:cubicBezTo>
                  <a:cubicBezTo>
                    <a:pt x="480622" y="424133"/>
                    <a:pt x="477109" y="410782"/>
                    <a:pt x="464461" y="416403"/>
                  </a:cubicBezTo>
                  <a:cubicBezTo>
                    <a:pt x="451813" y="422025"/>
                    <a:pt x="442678" y="432565"/>
                    <a:pt x="443381" y="448726"/>
                  </a:cubicBezTo>
                  <a:cubicBezTo>
                    <a:pt x="443381" y="488778"/>
                    <a:pt x="442678" y="528830"/>
                    <a:pt x="444084" y="568881"/>
                  </a:cubicBezTo>
                  <a:cubicBezTo>
                    <a:pt x="444786" y="585745"/>
                    <a:pt x="441273" y="592772"/>
                    <a:pt x="422301" y="592069"/>
                  </a:cubicBezTo>
                  <a:cubicBezTo>
                    <a:pt x="384357" y="590664"/>
                    <a:pt x="345711" y="592069"/>
                    <a:pt x="307064" y="591367"/>
                  </a:cubicBezTo>
                  <a:cubicBezTo>
                    <a:pt x="294416" y="591367"/>
                    <a:pt x="283876" y="594177"/>
                    <a:pt x="274741" y="603312"/>
                  </a:cubicBezTo>
                  <a:cubicBezTo>
                    <a:pt x="264904" y="613149"/>
                    <a:pt x="261391" y="621581"/>
                    <a:pt x="276147" y="631418"/>
                  </a:cubicBezTo>
                  <a:cubicBezTo>
                    <a:pt x="295119" y="644769"/>
                    <a:pt x="311280" y="661633"/>
                    <a:pt x="302146" y="688334"/>
                  </a:cubicBezTo>
                  <a:cubicBezTo>
                    <a:pt x="293011" y="715035"/>
                    <a:pt x="265607" y="736818"/>
                    <a:pt x="236798" y="738926"/>
                  </a:cubicBezTo>
                  <a:cubicBezTo>
                    <a:pt x="204475" y="741737"/>
                    <a:pt x="174963" y="738223"/>
                    <a:pt x="153884" y="709414"/>
                  </a:cubicBezTo>
                  <a:cubicBezTo>
                    <a:pt x="132804" y="681308"/>
                    <a:pt x="134209" y="662336"/>
                    <a:pt x="158802" y="637742"/>
                  </a:cubicBezTo>
                  <a:cubicBezTo>
                    <a:pt x="165829" y="630716"/>
                    <a:pt x="184098" y="627905"/>
                    <a:pt x="175666" y="611744"/>
                  </a:cubicBezTo>
                  <a:cubicBezTo>
                    <a:pt x="168639" y="598393"/>
                    <a:pt x="155991" y="591367"/>
                    <a:pt x="139830" y="591367"/>
                  </a:cubicBezTo>
                  <a:cubicBezTo>
                    <a:pt x="101184" y="592069"/>
                    <a:pt x="63240" y="590664"/>
                    <a:pt x="24593" y="592069"/>
                  </a:cubicBezTo>
                  <a:cubicBezTo>
                    <a:pt x="6324" y="592772"/>
                    <a:pt x="0" y="589961"/>
                    <a:pt x="0" y="568881"/>
                  </a:cubicBezTo>
                  <a:cubicBezTo>
                    <a:pt x="702" y="436780"/>
                    <a:pt x="702" y="303977"/>
                    <a:pt x="0" y="171876"/>
                  </a:cubicBezTo>
                  <a:cubicBezTo>
                    <a:pt x="0" y="152202"/>
                    <a:pt x="5621" y="147283"/>
                    <a:pt x="24593" y="147986"/>
                  </a:cubicBezTo>
                  <a:cubicBezTo>
                    <a:pt x="61132" y="149391"/>
                    <a:pt x="97670" y="148688"/>
                    <a:pt x="134209" y="148688"/>
                  </a:cubicBezTo>
                  <a:cubicBezTo>
                    <a:pt x="144046" y="148688"/>
                    <a:pt x="154586" y="150094"/>
                    <a:pt x="163018" y="143067"/>
                  </a:cubicBezTo>
                  <a:cubicBezTo>
                    <a:pt x="177071" y="132527"/>
                    <a:pt x="185503" y="123392"/>
                    <a:pt x="165829" y="107231"/>
                  </a:cubicBezTo>
                  <a:cubicBezTo>
                    <a:pt x="129290" y="77719"/>
                    <a:pt x="129993" y="50315"/>
                    <a:pt x="165126" y="19398"/>
                  </a:cubicBezTo>
                  <a:cubicBezTo>
                    <a:pt x="200259" y="-11519"/>
                    <a:pt x="263499" y="-4492"/>
                    <a:pt x="291606" y="33451"/>
                  </a:cubicBezTo>
                  <a:cubicBezTo>
                    <a:pt x="311280" y="60153"/>
                    <a:pt x="309172" y="79827"/>
                    <a:pt x="285281" y="103015"/>
                  </a:cubicBezTo>
                  <a:cubicBezTo>
                    <a:pt x="278255" y="110042"/>
                    <a:pt x="260688" y="112150"/>
                    <a:pt x="268418" y="129014"/>
                  </a:cubicBezTo>
                  <a:cubicBezTo>
                    <a:pt x="275444" y="143770"/>
                    <a:pt x="288092" y="148688"/>
                    <a:pt x="304253" y="148688"/>
                  </a:cubicBezTo>
                  <a:cubicBezTo>
                    <a:pt x="337981" y="148688"/>
                    <a:pt x="371709" y="148688"/>
                    <a:pt x="405437" y="148688"/>
                  </a:cubicBezTo>
                  <a:cubicBezTo>
                    <a:pt x="443381" y="148688"/>
                    <a:pt x="443381" y="148688"/>
                    <a:pt x="443381" y="188037"/>
                  </a:cubicBezTo>
                  <a:cubicBezTo>
                    <a:pt x="443381" y="221063"/>
                    <a:pt x="443381" y="253385"/>
                    <a:pt x="443381" y="286410"/>
                  </a:cubicBezTo>
                  <a:cubicBezTo>
                    <a:pt x="443381" y="299058"/>
                    <a:pt x="445489" y="309598"/>
                    <a:pt x="455326" y="318030"/>
                  </a:cubicBezTo>
                  <a:cubicBezTo>
                    <a:pt x="464461" y="326462"/>
                    <a:pt x="471487" y="329273"/>
                    <a:pt x="482027" y="317328"/>
                  </a:cubicBezTo>
                  <a:cubicBezTo>
                    <a:pt x="519971" y="274465"/>
                    <a:pt x="560023" y="280087"/>
                    <a:pt x="586022" y="332084"/>
                  </a:cubicBezTo>
                  <a:cubicBezTo>
                    <a:pt x="588130" y="335597"/>
                    <a:pt x="590238" y="339813"/>
                    <a:pt x="591643" y="343326"/>
                  </a:cubicBezTo>
                  <a:cubicBezTo>
                    <a:pt x="590940" y="362298"/>
                    <a:pt x="590940" y="380567"/>
                    <a:pt x="590940" y="39883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A9BF316-1C48-4B32-BFC7-EA8F5081E723}"/>
                </a:ext>
              </a:extLst>
            </p:cNvPr>
            <p:cNvSpPr/>
            <p:nvPr userDrawn="1"/>
          </p:nvSpPr>
          <p:spPr>
            <a:xfrm>
              <a:off x="1" y="1465627"/>
              <a:ext cx="314769" cy="524616"/>
            </a:xfrm>
            <a:custGeom>
              <a:avLst/>
              <a:gdLst>
                <a:gd name="connsiteX0" fmla="*/ 755 w 442678"/>
                <a:gd name="connsiteY0" fmla="*/ 370037 h 737797"/>
                <a:gd name="connsiteX1" fmla="*/ 52 w 442678"/>
                <a:gd name="connsiteY1" fmla="*/ 173292 h 737797"/>
                <a:gd name="connsiteX2" fmla="*/ 24645 w 442678"/>
                <a:gd name="connsiteY2" fmla="*/ 149401 h 737797"/>
                <a:gd name="connsiteX3" fmla="*/ 131450 w 442678"/>
                <a:gd name="connsiteY3" fmla="*/ 149401 h 737797"/>
                <a:gd name="connsiteX4" fmla="*/ 158151 w 442678"/>
                <a:gd name="connsiteY4" fmla="*/ 146590 h 737797"/>
                <a:gd name="connsiteX5" fmla="*/ 166583 w 442678"/>
                <a:gd name="connsiteY5" fmla="*/ 109349 h 737797"/>
                <a:gd name="connsiteX6" fmla="*/ 180637 w 442678"/>
                <a:gd name="connsiteY6" fmla="*/ 8868 h 737797"/>
                <a:gd name="connsiteX7" fmla="*/ 293063 w 442678"/>
                <a:gd name="connsiteY7" fmla="*/ 35569 h 737797"/>
                <a:gd name="connsiteX8" fmla="*/ 286036 w 442678"/>
                <a:gd name="connsiteY8" fmla="*/ 103025 h 737797"/>
                <a:gd name="connsiteX9" fmla="*/ 268470 w 442678"/>
                <a:gd name="connsiteY9" fmla="*/ 129024 h 737797"/>
                <a:gd name="connsiteX10" fmla="*/ 304305 w 442678"/>
                <a:gd name="connsiteY10" fmla="*/ 149401 h 737797"/>
                <a:gd name="connsiteX11" fmla="*/ 419543 w 442678"/>
                <a:gd name="connsiteY11" fmla="*/ 148698 h 737797"/>
                <a:gd name="connsiteX12" fmla="*/ 443433 w 442678"/>
                <a:gd name="connsiteY12" fmla="*/ 172589 h 737797"/>
                <a:gd name="connsiteX13" fmla="*/ 443433 w 442678"/>
                <a:gd name="connsiteY13" fmla="*/ 289934 h 737797"/>
                <a:gd name="connsiteX14" fmla="*/ 420245 w 442678"/>
                <a:gd name="connsiteY14" fmla="*/ 333499 h 737797"/>
                <a:gd name="connsiteX15" fmla="*/ 387220 w 442678"/>
                <a:gd name="connsiteY15" fmla="*/ 329986 h 737797"/>
                <a:gd name="connsiteX16" fmla="*/ 316953 w 442678"/>
                <a:gd name="connsiteY16" fmla="*/ 315932 h 737797"/>
                <a:gd name="connsiteX17" fmla="*/ 308521 w 442678"/>
                <a:gd name="connsiteY17" fmla="*/ 415711 h 737797"/>
                <a:gd name="connsiteX18" fmla="*/ 382301 w 442678"/>
                <a:gd name="connsiteY18" fmla="*/ 417819 h 737797"/>
                <a:gd name="connsiteX19" fmla="*/ 409705 w 442678"/>
                <a:gd name="connsiteY19" fmla="*/ 401657 h 737797"/>
                <a:gd name="connsiteX20" fmla="*/ 442730 w 442678"/>
                <a:gd name="connsiteY20" fmla="*/ 438196 h 737797"/>
                <a:gd name="connsiteX21" fmla="*/ 444136 w 442678"/>
                <a:gd name="connsiteY21" fmla="*/ 580134 h 737797"/>
                <a:gd name="connsiteX22" fmla="*/ 427272 w 442678"/>
                <a:gd name="connsiteY22" fmla="*/ 590674 h 737797"/>
                <a:gd name="connsiteX23" fmla="*/ 312035 w 442678"/>
                <a:gd name="connsiteY23" fmla="*/ 590674 h 737797"/>
                <a:gd name="connsiteX24" fmla="*/ 281118 w 442678"/>
                <a:gd name="connsiteY24" fmla="*/ 598403 h 737797"/>
                <a:gd name="connsiteX25" fmla="*/ 279712 w 442678"/>
                <a:gd name="connsiteY25" fmla="*/ 632834 h 737797"/>
                <a:gd name="connsiteX26" fmla="*/ 305008 w 442678"/>
                <a:gd name="connsiteY26" fmla="*/ 685534 h 737797"/>
                <a:gd name="connsiteX27" fmla="*/ 244579 w 442678"/>
                <a:gd name="connsiteY27" fmla="*/ 738233 h 737797"/>
                <a:gd name="connsiteX28" fmla="*/ 153935 w 442678"/>
                <a:gd name="connsiteY28" fmla="*/ 708019 h 737797"/>
                <a:gd name="connsiteX29" fmla="*/ 160962 w 442678"/>
                <a:gd name="connsiteY29" fmla="*/ 637752 h 737797"/>
                <a:gd name="connsiteX30" fmla="*/ 178528 w 442678"/>
                <a:gd name="connsiteY30" fmla="*/ 614565 h 737797"/>
                <a:gd name="connsiteX31" fmla="*/ 141990 w 442678"/>
                <a:gd name="connsiteY31" fmla="*/ 591377 h 737797"/>
                <a:gd name="connsiteX32" fmla="*/ 24645 w 442678"/>
                <a:gd name="connsiteY32" fmla="*/ 592079 h 737797"/>
                <a:gd name="connsiteX33" fmla="*/ 2160 w 442678"/>
                <a:gd name="connsiteY33" fmla="*/ 569594 h 737797"/>
                <a:gd name="connsiteX34" fmla="*/ 755 w 442678"/>
                <a:gd name="connsiteY34" fmla="*/ 370037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42678" h="737797">
                  <a:moveTo>
                    <a:pt x="755" y="370037"/>
                  </a:moveTo>
                  <a:cubicBezTo>
                    <a:pt x="755" y="304690"/>
                    <a:pt x="1457" y="238639"/>
                    <a:pt x="52" y="173292"/>
                  </a:cubicBezTo>
                  <a:cubicBezTo>
                    <a:pt x="-651" y="153617"/>
                    <a:pt x="5673" y="148698"/>
                    <a:pt x="24645" y="149401"/>
                  </a:cubicBezTo>
                  <a:cubicBezTo>
                    <a:pt x="60481" y="150806"/>
                    <a:pt x="95614" y="150104"/>
                    <a:pt x="131450" y="149401"/>
                  </a:cubicBezTo>
                  <a:cubicBezTo>
                    <a:pt x="140585" y="149401"/>
                    <a:pt x="150422" y="149401"/>
                    <a:pt x="158151" y="146590"/>
                  </a:cubicBezTo>
                  <a:cubicBezTo>
                    <a:pt x="178528" y="139564"/>
                    <a:pt x="181339" y="122700"/>
                    <a:pt x="166583" y="109349"/>
                  </a:cubicBezTo>
                  <a:cubicBezTo>
                    <a:pt x="127937" y="74919"/>
                    <a:pt x="133558" y="33461"/>
                    <a:pt x="180637" y="8868"/>
                  </a:cubicBezTo>
                  <a:cubicBezTo>
                    <a:pt x="216472" y="-10104"/>
                    <a:pt x="270578" y="2544"/>
                    <a:pt x="293063" y="35569"/>
                  </a:cubicBezTo>
                  <a:cubicBezTo>
                    <a:pt x="311332" y="61568"/>
                    <a:pt x="309224" y="80540"/>
                    <a:pt x="286036" y="103025"/>
                  </a:cubicBezTo>
                  <a:cubicBezTo>
                    <a:pt x="278307" y="110052"/>
                    <a:pt x="260740" y="112862"/>
                    <a:pt x="268470" y="129024"/>
                  </a:cubicBezTo>
                  <a:cubicBezTo>
                    <a:pt x="275496" y="143077"/>
                    <a:pt x="288144" y="149401"/>
                    <a:pt x="304305" y="149401"/>
                  </a:cubicBezTo>
                  <a:cubicBezTo>
                    <a:pt x="342952" y="148698"/>
                    <a:pt x="380896" y="150104"/>
                    <a:pt x="419543" y="148698"/>
                  </a:cubicBezTo>
                  <a:cubicBezTo>
                    <a:pt x="438514" y="147996"/>
                    <a:pt x="444136" y="153617"/>
                    <a:pt x="443433" y="172589"/>
                  </a:cubicBezTo>
                  <a:cubicBezTo>
                    <a:pt x="442027" y="211938"/>
                    <a:pt x="442730" y="251287"/>
                    <a:pt x="443433" y="289934"/>
                  </a:cubicBezTo>
                  <a:cubicBezTo>
                    <a:pt x="444136" y="309608"/>
                    <a:pt x="435001" y="322959"/>
                    <a:pt x="420245" y="333499"/>
                  </a:cubicBezTo>
                  <a:cubicBezTo>
                    <a:pt x="408300" y="341931"/>
                    <a:pt x="397760" y="341931"/>
                    <a:pt x="387220" y="329986"/>
                  </a:cubicBezTo>
                  <a:cubicBezTo>
                    <a:pt x="352789" y="293447"/>
                    <a:pt x="342952" y="292042"/>
                    <a:pt x="316953" y="315932"/>
                  </a:cubicBezTo>
                  <a:cubicBezTo>
                    <a:pt x="290955" y="339823"/>
                    <a:pt x="286739" y="389009"/>
                    <a:pt x="308521" y="415711"/>
                  </a:cubicBezTo>
                  <a:cubicBezTo>
                    <a:pt x="334520" y="447331"/>
                    <a:pt x="354897" y="448033"/>
                    <a:pt x="382301" y="417819"/>
                  </a:cubicBezTo>
                  <a:cubicBezTo>
                    <a:pt x="389328" y="410089"/>
                    <a:pt x="393544" y="395333"/>
                    <a:pt x="409705" y="401657"/>
                  </a:cubicBezTo>
                  <a:cubicBezTo>
                    <a:pt x="427272" y="408684"/>
                    <a:pt x="442027" y="419927"/>
                    <a:pt x="442730" y="438196"/>
                  </a:cubicBezTo>
                  <a:cubicBezTo>
                    <a:pt x="444838" y="485274"/>
                    <a:pt x="443433" y="533055"/>
                    <a:pt x="444136" y="580134"/>
                  </a:cubicBezTo>
                  <a:cubicBezTo>
                    <a:pt x="444136" y="594187"/>
                    <a:pt x="434298" y="590674"/>
                    <a:pt x="427272" y="590674"/>
                  </a:cubicBezTo>
                  <a:cubicBezTo>
                    <a:pt x="388625" y="590674"/>
                    <a:pt x="350681" y="590674"/>
                    <a:pt x="312035" y="590674"/>
                  </a:cubicBezTo>
                  <a:cubicBezTo>
                    <a:pt x="300792" y="590674"/>
                    <a:pt x="290252" y="590674"/>
                    <a:pt x="281118" y="598403"/>
                  </a:cubicBezTo>
                  <a:cubicBezTo>
                    <a:pt x="268470" y="608943"/>
                    <a:pt x="260740" y="619483"/>
                    <a:pt x="279712" y="632834"/>
                  </a:cubicBezTo>
                  <a:cubicBezTo>
                    <a:pt x="297279" y="645482"/>
                    <a:pt x="313440" y="661643"/>
                    <a:pt x="305008" y="685534"/>
                  </a:cubicBezTo>
                  <a:cubicBezTo>
                    <a:pt x="295171" y="713640"/>
                    <a:pt x="276199" y="734720"/>
                    <a:pt x="244579" y="738233"/>
                  </a:cubicBezTo>
                  <a:cubicBezTo>
                    <a:pt x="210148" y="742449"/>
                    <a:pt x="177123" y="740341"/>
                    <a:pt x="153935" y="708019"/>
                  </a:cubicBezTo>
                  <a:cubicBezTo>
                    <a:pt x="135666" y="682020"/>
                    <a:pt x="137072" y="660238"/>
                    <a:pt x="160962" y="637752"/>
                  </a:cubicBezTo>
                  <a:cubicBezTo>
                    <a:pt x="167988" y="630726"/>
                    <a:pt x="184150" y="627915"/>
                    <a:pt x="178528" y="614565"/>
                  </a:cubicBezTo>
                  <a:cubicBezTo>
                    <a:pt x="172205" y="599809"/>
                    <a:pt x="159557" y="590674"/>
                    <a:pt x="141990" y="591377"/>
                  </a:cubicBezTo>
                  <a:cubicBezTo>
                    <a:pt x="102641" y="592079"/>
                    <a:pt x="63292" y="590674"/>
                    <a:pt x="24645" y="592079"/>
                  </a:cubicBezTo>
                  <a:cubicBezTo>
                    <a:pt x="6376" y="592782"/>
                    <a:pt x="1457" y="587863"/>
                    <a:pt x="2160" y="569594"/>
                  </a:cubicBezTo>
                  <a:cubicBezTo>
                    <a:pt x="1457" y="503544"/>
                    <a:pt x="755" y="436791"/>
                    <a:pt x="755" y="37003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BB79562-164F-4B1F-8958-471C67140FAB}"/>
                </a:ext>
              </a:extLst>
            </p:cNvPr>
            <p:cNvSpPr/>
            <p:nvPr userDrawn="1"/>
          </p:nvSpPr>
          <p:spPr>
            <a:xfrm>
              <a:off x="1" y="209318"/>
              <a:ext cx="314769" cy="419693"/>
            </a:xfrm>
            <a:custGeom>
              <a:avLst/>
              <a:gdLst>
                <a:gd name="connsiteX0" fmla="*/ 703 w 442678"/>
                <a:gd name="connsiteY0" fmla="*/ 367448 h 590237"/>
                <a:gd name="connsiteX1" fmla="*/ 0 w 442678"/>
                <a:gd name="connsiteY1" fmla="*/ 167891 h 590237"/>
                <a:gd name="connsiteX2" fmla="*/ 21080 w 442678"/>
                <a:gd name="connsiteY2" fmla="*/ 146811 h 590237"/>
                <a:gd name="connsiteX3" fmla="*/ 136317 w 442678"/>
                <a:gd name="connsiteY3" fmla="*/ 147514 h 590237"/>
                <a:gd name="connsiteX4" fmla="*/ 166531 w 442678"/>
                <a:gd name="connsiteY4" fmla="*/ 138379 h 590237"/>
                <a:gd name="connsiteX5" fmla="*/ 165829 w 442678"/>
                <a:gd name="connsiteY5" fmla="*/ 108165 h 590237"/>
                <a:gd name="connsiteX6" fmla="*/ 139830 w 442678"/>
                <a:gd name="connsiteY6" fmla="*/ 56168 h 590237"/>
                <a:gd name="connsiteX7" fmla="*/ 196746 w 442678"/>
                <a:gd name="connsiteY7" fmla="*/ 2765 h 590237"/>
                <a:gd name="connsiteX8" fmla="*/ 288795 w 442678"/>
                <a:gd name="connsiteY8" fmla="*/ 29466 h 590237"/>
                <a:gd name="connsiteX9" fmla="*/ 283876 w 442678"/>
                <a:gd name="connsiteY9" fmla="*/ 103246 h 590237"/>
                <a:gd name="connsiteX10" fmla="*/ 267012 w 442678"/>
                <a:gd name="connsiteY10" fmla="*/ 127137 h 590237"/>
                <a:gd name="connsiteX11" fmla="*/ 302146 w 442678"/>
                <a:gd name="connsiteY11" fmla="*/ 148217 h 590237"/>
                <a:gd name="connsiteX12" fmla="*/ 420193 w 442678"/>
                <a:gd name="connsiteY12" fmla="*/ 147514 h 590237"/>
                <a:gd name="connsiteX13" fmla="*/ 444084 w 442678"/>
                <a:gd name="connsiteY13" fmla="*/ 171405 h 590237"/>
                <a:gd name="connsiteX14" fmla="*/ 444084 w 442678"/>
                <a:gd name="connsiteY14" fmla="*/ 286642 h 590237"/>
                <a:gd name="connsiteX15" fmla="*/ 424409 w 442678"/>
                <a:gd name="connsiteY15" fmla="*/ 329504 h 590237"/>
                <a:gd name="connsiteX16" fmla="*/ 382952 w 442678"/>
                <a:gd name="connsiteY16" fmla="*/ 325991 h 590237"/>
                <a:gd name="connsiteX17" fmla="*/ 338684 w 442678"/>
                <a:gd name="connsiteY17" fmla="*/ 301397 h 590237"/>
                <a:gd name="connsiteX18" fmla="*/ 295822 w 442678"/>
                <a:gd name="connsiteY18" fmla="*/ 352692 h 590237"/>
                <a:gd name="connsiteX19" fmla="*/ 314794 w 442678"/>
                <a:gd name="connsiteY19" fmla="*/ 422958 h 590237"/>
                <a:gd name="connsiteX20" fmla="*/ 377331 w 442678"/>
                <a:gd name="connsiteY20" fmla="*/ 420148 h 590237"/>
                <a:gd name="connsiteX21" fmla="*/ 408248 w 442678"/>
                <a:gd name="connsiteY21" fmla="*/ 400473 h 590237"/>
                <a:gd name="connsiteX22" fmla="*/ 442678 w 442678"/>
                <a:gd name="connsiteY22" fmla="*/ 441930 h 590237"/>
                <a:gd name="connsiteX23" fmla="*/ 443381 w 442678"/>
                <a:gd name="connsiteY23" fmla="*/ 576139 h 590237"/>
                <a:gd name="connsiteX24" fmla="*/ 425112 w 442678"/>
                <a:gd name="connsiteY24" fmla="*/ 589490 h 590237"/>
                <a:gd name="connsiteX25" fmla="*/ 299335 w 442678"/>
                <a:gd name="connsiteY25" fmla="*/ 589490 h 590237"/>
                <a:gd name="connsiteX26" fmla="*/ 254364 w 442678"/>
                <a:gd name="connsiteY26" fmla="*/ 559978 h 590237"/>
                <a:gd name="connsiteX27" fmla="*/ 273336 w 442678"/>
                <a:gd name="connsiteY27" fmla="*/ 523439 h 590237"/>
                <a:gd name="connsiteX28" fmla="*/ 277552 w 442678"/>
                <a:gd name="connsiteY28" fmla="*/ 465118 h 590237"/>
                <a:gd name="connsiteX29" fmla="*/ 164424 w 442678"/>
                <a:gd name="connsiteY29" fmla="*/ 465821 h 590237"/>
                <a:gd name="connsiteX30" fmla="*/ 168639 w 442678"/>
                <a:gd name="connsiteY30" fmla="*/ 524142 h 590237"/>
                <a:gd name="connsiteX31" fmla="*/ 188314 w 442678"/>
                <a:gd name="connsiteY31" fmla="*/ 557870 h 590237"/>
                <a:gd name="connsiteX32" fmla="*/ 142641 w 442678"/>
                <a:gd name="connsiteY32" fmla="*/ 590192 h 590237"/>
                <a:gd name="connsiteX33" fmla="*/ 19675 w 442678"/>
                <a:gd name="connsiteY33" fmla="*/ 590192 h 590237"/>
                <a:gd name="connsiteX34" fmla="*/ 0 w 442678"/>
                <a:gd name="connsiteY34" fmla="*/ 570518 h 590237"/>
                <a:gd name="connsiteX35" fmla="*/ 703 w 442678"/>
                <a:gd name="connsiteY35" fmla="*/ 367448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703" y="367448"/>
                  </a:moveTo>
                  <a:cubicBezTo>
                    <a:pt x="703" y="300695"/>
                    <a:pt x="1405" y="233942"/>
                    <a:pt x="0" y="167891"/>
                  </a:cubicBezTo>
                  <a:cubicBezTo>
                    <a:pt x="0" y="151027"/>
                    <a:pt x="4216" y="146109"/>
                    <a:pt x="21080" y="146811"/>
                  </a:cubicBezTo>
                  <a:cubicBezTo>
                    <a:pt x="59024" y="148217"/>
                    <a:pt x="97670" y="147514"/>
                    <a:pt x="136317" y="147514"/>
                  </a:cubicBezTo>
                  <a:cubicBezTo>
                    <a:pt x="147559" y="147514"/>
                    <a:pt x="158099" y="146811"/>
                    <a:pt x="166531" y="138379"/>
                  </a:cubicBezTo>
                  <a:cubicBezTo>
                    <a:pt x="177774" y="127839"/>
                    <a:pt x="181287" y="118705"/>
                    <a:pt x="165829" y="108165"/>
                  </a:cubicBezTo>
                  <a:cubicBezTo>
                    <a:pt x="148262" y="95517"/>
                    <a:pt x="132101" y="79356"/>
                    <a:pt x="139830" y="56168"/>
                  </a:cubicBezTo>
                  <a:cubicBezTo>
                    <a:pt x="148965" y="29466"/>
                    <a:pt x="166531" y="8387"/>
                    <a:pt x="196746" y="2765"/>
                  </a:cubicBezTo>
                  <a:cubicBezTo>
                    <a:pt x="231879" y="-3559"/>
                    <a:pt x="264202" y="-748"/>
                    <a:pt x="288795" y="29466"/>
                  </a:cubicBezTo>
                  <a:cubicBezTo>
                    <a:pt x="310578" y="56870"/>
                    <a:pt x="309172" y="79356"/>
                    <a:pt x="283876" y="103246"/>
                  </a:cubicBezTo>
                  <a:cubicBezTo>
                    <a:pt x="276850" y="109570"/>
                    <a:pt x="260688" y="112381"/>
                    <a:pt x="267012" y="127137"/>
                  </a:cubicBezTo>
                  <a:cubicBezTo>
                    <a:pt x="273336" y="141190"/>
                    <a:pt x="285984" y="148217"/>
                    <a:pt x="302146" y="148217"/>
                  </a:cubicBezTo>
                  <a:cubicBezTo>
                    <a:pt x="341495" y="147514"/>
                    <a:pt x="380844" y="148919"/>
                    <a:pt x="420193" y="147514"/>
                  </a:cubicBezTo>
                  <a:cubicBezTo>
                    <a:pt x="439868" y="146811"/>
                    <a:pt x="444786" y="152433"/>
                    <a:pt x="444084" y="171405"/>
                  </a:cubicBezTo>
                  <a:cubicBezTo>
                    <a:pt x="442678" y="209348"/>
                    <a:pt x="443381" y="247995"/>
                    <a:pt x="444084" y="286642"/>
                  </a:cubicBezTo>
                  <a:cubicBezTo>
                    <a:pt x="444084" y="304911"/>
                    <a:pt x="437760" y="318261"/>
                    <a:pt x="424409" y="329504"/>
                  </a:cubicBezTo>
                  <a:cubicBezTo>
                    <a:pt x="409653" y="342152"/>
                    <a:pt x="396303" y="343557"/>
                    <a:pt x="382952" y="325991"/>
                  </a:cubicBezTo>
                  <a:cubicBezTo>
                    <a:pt x="372412" y="311235"/>
                    <a:pt x="360467" y="293668"/>
                    <a:pt x="338684" y="301397"/>
                  </a:cubicBezTo>
                  <a:cubicBezTo>
                    <a:pt x="316199" y="309829"/>
                    <a:pt x="297930" y="325991"/>
                    <a:pt x="295822" y="352692"/>
                  </a:cubicBezTo>
                  <a:cubicBezTo>
                    <a:pt x="293714" y="378690"/>
                    <a:pt x="293011" y="403986"/>
                    <a:pt x="314794" y="422958"/>
                  </a:cubicBezTo>
                  <a:cubicBezTo>
                    <a:pt x="339387" y="445444"/>
                    <a:pt x="354845" y="444741"/>
                    <a:pt x="377331" y="420148"/>
                  </a:cubicBezTo>
                  <a:cubicBezTo>
                    <a:pt x="385763" y="411013"/>
                    <a:pt x="390681" y="394149"/>
                    <a:pt x="408248" y="400473"/>
                  </a:cubicBezTo>
                  <a:cubicBezTo>
                    <a:pt x="427923" y="407500"/>
                    <a:pt x="441976" y="421553"/>
                    <a:pt x="442678" y="441930"/>
                  </a:cubicBezTo>
                  <a:cubicBezTo>
                    <a:pt x="444084" y="486901"/>
                    <a:pt x="442678" y="531169"/>
                    <a:pt x="443381" y="576139"/>
                  </a:cubicBezTo>
                  <a:cubicBezTo>
                    <a:pt x="443381" y="590895"/>
                    <a:pt x="434949" y="589490"/>
                    <a:pt x="425112" y="589490"/>
                  </a:cubicBezTo>
                  <a:cubicBezTo>
                    <a:pt x="382952" y="589490"/>
                    <a:pt x="341495" y="589490"/>
                    <a:pt x="299335" y="589490"/>
                  </a:cubicBezTo>
                  <a:cubicBezTo>
                    <a:pt x="277552" y="589490"/>
                    <a:pt x="262796" y="577544"/>
                    <a:pt x="254364" y="559978"/>
                  </a:cubicBezTo>
                  <a:cubicBezTo>
                    <a:pt x="244527" y="540303"/>
                    <a:pt x="262796" y="533277"/>
                    <a:pt x="273336" y="523439"/>
                  </a:cubicBezTo>
                  <a:cubicBezTo>
                    <a:pt x="295822" y="502359"/>
                    <a:pt x="297227" y="489009"/>
                    <a:pt x="277552" y="465118"/>
                  </a:cubicBezTo>
                  <a:cubicBezTo>
                    <a:pt x="249446" y="431390"/>
                    <a:pt x="193233" y="431390"/>
                    <a:pt x="164424" y="465821"/>
                  </a:cubicBezTo>
                  <a:cubicBezTo>
                    <a:pt x="144749" y="489009"/>
                    <a:pt x="146154" y="502359"/>
                    <a:pt x="168639" y="524142"/>
                  </a:cubicBezTo>
                  <a:cubicBezTo>
                    <a:pt x="177774" y="533277"/>
                    <a:pt x="197449" y="537493"/>
                    <a:pt x="188314" y="557870"/>
                  </a:cubicBezTo>
                  <a:cubicBezTo>
                    <a:pt x="179882" y="577544"/>
                    <a:pt x="165829" y="590192"/>
                    <a:pt x="142641" y="590192"/>
                  </a:cubicBezTo>
                  <a:cubicBezTo>
                    <a:pt x="101886" y="590192"/>
                    <a:pt x="60429" y="589490"/>
                    <a:pt x="19675" y="590192"/>
                  </a:cubicBezTo>
                  <a:cubicBezTo>
                    <a:pt x="4216" y="590895"/>
                    <a:pt x="0" y="585274"/>
                    <a:pt x="0" y="570518"/>
                  </a:cubicBezTo>
                  <a:cubicBezTo>
                    <a:pt x="1405" y="502359"/>
                    <a:pt x="703" y="434904"/>
                    <a:pt x="703" y="36744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75A92ACA-DAD5-4DFB-877F-9A43D33E749D}"/>
              </a:ext>
            </a:extLst>
          </p:cNvPr>
          <p:cNvGrpSpPr/>
          <p:nvPr userDrawn="1"/>
        </p:nvGrpSpPr>
        <p:grpSpPr>
          <a:xfrm>
            <a:off x="0" y="-3956"/>
            <a:ext cx="12188825" cy="419693"/>
            <a:chOff x="4615" y="-3956"/>
            <a:chExt cx="12188825" cy="419693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D7ABFE14-7525-4478-9600-1E1EE241D26A}"/>
                </a:ext>
              </a:extLst>
            </p:cNvPr>
            <p:cNvSpPr/>
            <p:nvPr userDrawn="1"/>
          </p:nvSpPr>
          <p:spPr>
            <a:xfrm>
              <a:off x="520472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470132A-6DCD-48F3-B70F-6BB04B738AE6}"/>
                </a:ext>
              </a:extLst>
            </p:cNvPr>
            <p:cNvSpPr/>
            <p:nvPr userDrawn="1"/>
          </p:nvSpPr>
          <p:spPr>
            <a:xfrm>
              <a:off x="1239397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F64F3C1-4423-4589-9709-4A2911B06A4A}"/>
                </a:ext>
              </a:extLst>
            </p:cNvPr>
            <p:cNvSpPr/>
            <p:nvPr userDrawn="1"/>
          </p:nvSpPr>
          <p:spPr>
            <a:xfrm>
              <a:off x="4615" y="-3956"/>
              <a:ext cx="419693" cy="314769"/>
            </a:xfrm>
            <a:custGeom>
              <a:avLst/>
              <a:gdLst>
                <a:gd name="connsiteX0" fmla="*/ 793 w 590237"/>
                <a:gd name="connsiteY0" fmla="*/ 221339 h 442678"/>
                <a:gd name="connsiteX1" fmla="*/ 90 w 590237"/>
                <a:gd name="connsiteY1" fmla="*/ 21080 h 442678"/>
                <a:gd name="connsiteX2" fmla="*/ 21873 w 590237"/>
                <a:gd name="connsiteY2" fmla="*/ 0 h 442678"/>
                <a:gd name="connsiteX3" fmla="*/ 424499 w 590237"/>
                <a:gd name="connsiteY3" fmla="*/ 0 h 442678"/>
                <a:gd name="connsiteX4" fmla="*/ 444174 w 590237"/>
                <a:gd name="connsiteY4" fmla="*/ 19675 h 442678"/>
                <a:gd name="connsiteX5" fmla="*/ 443471 w 590237"/>
                <a:gd name="connsiteY5" fmla="*/ 137722 h 442678"/>
                <a:gd name="connsiteX6" fmla="*/ 455416 w 590237"/>
                <a:gd name="connsiteY6" fmla="*/ 169342 h 442678"/>
                <a:gd name="connsiteX7" fmla="*/ 482118 w 590237"/>
                <a:gd name="connsiteY7" fmla="*/ 168639 h 442678"/>
                <a:gd name="connsiteX8" fmla="*/ 541142 w 590237"/>
                <a:gd name="connsiteY8" fmla="*/ 142641 h 442678"/>
                <a:gd name="connsiteX9" fmla="*/ 591030 w 590237"/>
                <a:gd name="connsiteY9" fmla="*/ 214313 h 442678"/>
                <a:gd name="connsiteX10" fmla="*/ 555195 w 590237"/>
                <a:gd name="connsiteY10" fmla="*/ 294416 h 442678"/>
                <a:gd name="connsiteX11" fmla="*/ 487739 w 590237"/>
                <a:gd name="connsiteY11" fmla="*/ 283876 h 442678"/>
                <a:gd name="connsiteX12" fmla="*/ 463848 w 590237"/>
                <a:gd name="connsiteY12" fmla="*/ 268418 h 442678"/>
                <a:gd name="connsiteX13" fmla="*/ 442769 w 590237"/>
                <a:gd name="connsiteY13" fmla="*/ 303551 h 442678"/>
                <a:gd name="connsiteX14" fmla="*/ 443471 w 590237"/>
                <a:gd name="connsiteY14" fmla="*/ 421598 h 442678"/>
                <a:gd name="connsiteX15" fmla="*/ 421689 w 590237"/>
                <a:gd name="connsiteY15" fmla="*/ 444786 h 442678"/>
                <a:gd name="connsiteX16" fmla="*/ 306452 w 590237"/>
                <a:gd name="connsiteY16" fmla="*/ 444786 h 442678"/>
                <a:gd name="connsiteX17" fmla="*/ 270616 w 590237"/>
                <a:gd name="connsiteY17" fmla="*/ 433544 h 442678"/>
                <a:gd name="connsiteX18" fmla="*/ 269210 w 590237"/>
                <a:gd name="connsiteY18" fmla="*/ 381547 h 442678"/>
                <a:gd name="connsiteX19" fmla="*/ 267103 w 590237"/>
                <a:gd name="connsiteY19" fmla="*/ 307767 h 442678"/>
                <a:gd name="connsiteX20" fmla="*/ 157487 w 590237"/>
                <a:gd name="connsiteY20" fmla="*/ 330252 h 442678"/>
                <a:gd name="connsiteX21" fmla="*/ 170135 w 590237"/>
                <a:gd name="connsiteY21" fmla="*/ 377331 h 442678"/>
                <a:gd name="connsiteX22" fmla="*/ 189810 w 590237"/>
                <a:gd name="connsiteY22" fmla="*/ 411761 h 442678"/>
                <a:gd name="connsiteX23" fmla="*/ 145542 w 590237"/>
                <a:gd name="connsiteY23" fmla="*/ 444084 h 442678"/>
                <a:gd name="connsiteX24" fmla="*/ 14144 w 590237"/>
                <a:gd name="connsiteY24" fmla="*/ 444786 h 442678"/>
                <a:gd name="connsiteX25" fmla="*/ 90 w 590237"/>
                <a:gd name="connsiteY25" fmla="*/ 425112 h 442678"/>
                <a:gd name="connsiteX26" fmla="*/ 793 w 590237"/>
                <a:gd name="connsiteY26" fmla="*/ 22133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0237" h="442678">
                  <a:moveTo>
                    <a:pt x="793" y="221339"/>
                  </a:moveTo>
                  <a:cubicBezTo>
                    <a:pt x="793" y="154586"/>
                    <a:pt x="1495" y="87833"/>
                    <a:pt x="90" y="21080"/>
                  </a:cubicBezTo>
                  <a:cubicBezTo>
                    <a:pt x="90" y="4216"/>
                    <a:pt x="5009" y="0"/>
                    <a:pt x="21873" y="0"/>
                  </a:cubicBezTo>
                  <a:cubicBezTo>
                    <a:pt x="156082" y="703"/>
                    <a:pt x="290290" y="703"/>
                    <a:pt x="424499" y="0"/>
                  </a:cubicBezTo>
                  <a:cubicBezTo>
                    <a:pt x="439958" y="0"/>
                    <a:pt x="444876" y="4216"/>
                    <a:pt x="444174" y="19675"/>
                  </a:cubicBezTo>
                  <a:cubicBezTo>
                    <a:pt x="442769" y="59024"/>
                    <a:pt x="444174" y="98373"/>
                    <a:pt x="443471" y="137722"/>
                  </a:cubicBezTo>
                  <a:cubicBezTo>
                    <a:pt x="443471" y="150370"/>
                    <a:pt x="446282" y="160910"/>
                    <a:pt x="455416" y="169342"/>
                  </a:cubicBezTo>
                  <a:cubicBezTo>
                    <a:pt x="465254" y="178477"/>
                    <a:pt x="472983" y="180585"/>
                    <a:pt x="482118" y="168639"/>
                  </a:cubicBezTo>
                  <a:cubicBezTo>
                    <a:pt x="496874" y="149667"/>
                    <a:pt x="513035" y="131398"/>
                    <a:pt x="541142" y="142641"/>
                  </a:cubicBezTo>
                  <a:cubicBezTo>
                    <a:pt x="571356" y="154586"/>
                    <a:pt x="588923" y="181287"/>
                    <a:pt x="591030" y="214313"/>
                  </a:cubicBezTo>
                  <a:cubicBezTo>
                    <a:pt x="593139" y="248040"/>
                    <a:pt x="584707" y="275444"/>
                    <a:pt x="555195" y="294416"/>
                  </a:cubicBezTo>
                  <a:cubicBezTo>
                    <a:pt x="529899" y="311280"/>
                    <a:pt x="510224" y="307767"/>
                    <a:pt x="487739" y="283876"/>
                  </a:cubicBezTo>
                  <a:cubicBezTo>
                    <a:pt x="481415" y="276850"/>
                    <a:pt x="478604" y="260688"/>
                    <a:pt x="463848" y="268418"/>
                  </a:cubicBezTo>
                  <a:cubicBezTo>
                    <a:pt x="449795" y="275444"/>
                    <a:pt x="442066" y="286687"/>
                    <a:pt x="442769" y="303551"/>
                  </a:cubicBezTo>
                  <a:cubicBezTo>
                    <a:pt x="443471" y="342900"/>
                    <a:pt x="442066" y="382249"/>
                    <a:pt x="443471" y="421598"/>
                  </a:cubicBezTo>
                  <a:cubicBezTo>
                    <a:pt x="444174" y="438462"/>
                    <a:pt x="440660" y="445489"/>
                    <a:pt x="421689" y="444786"/>
                  </a:cubicBezTo>
                  <a:cubicBezTo>
                    <a:pt x="383745" y="443381"/>
                    <a:pt x="345098" y="444084"/>
                    <a:pt x="306452" y="444786"/>
                  </a:cubicBezTo>
                  <a:cubicBezTo>
                    <a:pt x="293101" y="444786"/>
                    <a:pt x="281156" y="441976"/>
                    <a:pt x="270616" y="433544"/>
                  </a:cubicBezTo>
                  <a:cubicBezTo>
                    <a:pt x="248131" y="415274"/>
                    <a:pt x="247428" y="400518"/>
                    <a:pt x="269210" y="381547"/>
                  </a:cubicBezTo>
                  <a:cubicBezTo>
                    <a:pt x="298722" y="355548"/>
                    <a:pt x="298020" y="332360"/>
                    <a:pt x="267103" y="307767"/>
                  </a:cubicBezTo>
                  <a:cubicBezTo>
                    <a:pt x="234077" y="281768"/>
                    <a:pt x="177864" y="293714"/>
                    <a:pt x="157487" y="330252"/>
                  </a:cubicBezTo>
                  <a:cubicBezTo>
                    <a:pt x="146244" y="350629"/>
                    <a:pt x="155379" y="363980"/>
                    <a:pt x="170135" y="377331"/>
                  </a:cubicBezTo>
                  <a:cubicBezTo>
                    <a:pt x="180675" y="386465"/>
                    <a:pt x="198241" y="392789"/>
                    <a:pt x="189810" y="411761"/>
                  </a:cubicBezTo>
                  <a:cubicBezTo>
                    <a:pt x="181377" y="430030"/>
                    <a:pt x="167324" y="443381"/>
                    <a:pt x="145542" y="444084"/>
                  </a:cubicBezTo>
                  <a:cubicBezTo>
                    <a:pt x="101977" y="444786"/>
                    <a:pt x="57709" y="444084"/>
                    <a:pt x="14144" y="444786"/>
                  </a:cubicBezTo>
                  <a:cubicBezTo>
                    <a:pt x="-2018" y="444786"/>
                    <a:pt x="90" y="434949"/>
                    <a:pt x="90" y="425112"/>
                  </a:cubicBezTo>
                  <a:cubicBezTo>
                    <a:pt x="793" y="356251"/>
                    <a:pt x="793" y="288795"/>
                    <a:pt x="793" y="22133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24FA1CD-3D49-4B7A-96F7-78FC46045EA8}"/>
                </a:ext>
              </a:extLst>
            </p:cNvPr>
            <p:cNvSpPr/>
            <p:nvPr userDrawn="1"/>
          </p:nvSpPr>
          <p:spPr>
            <a:xfrm>
              <a:off x="935317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69159CC-6F6F-4945-90A9-8B89DFA60903}"/>
                </a:ext>
              </a:extLst>
            </p:cNvPr>
            <p:cNvSpPr/>
            <p:nvPr userDrawn="1"/>
          </p:nvSpPr>
          <p:spPr>
            <a:xfrm>
              <a:off x="312440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E545DAA-92CC-4E06-BA96-D7A8196C4CFB}"/>
                </a:ext>
              </a:extLst>
            </p:cNvPr>
            <p:cNvSpPr/>
            <p:nvPr userDrawn="1"/>
          </p:nvSpPr>
          <p:spPr>
            <a:xfrm>
              <a:off x="1768558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82C1759-2F66-4BE8-8A80-067CF13C1428}"/>
                </a:ext>
              </a:extLst>
            </p:cNvPr>
            <p:cNvSpPr/>
            <p:nvPr userDrawn="1"/>
          </p:nvSpPr>
          <p:spPr>
            <a:xfrm>
              <a:off x="2496667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539C31B-8482-45C3-9A95-63A609F73308}"/>
                </a:ext>
              </a:extLst>
            </p:cNvPr>
            <p:cNvSpPr/>
            <p:nvPr userDrawn="1"/>
          </p:nvSpPr>
          <p:spPr>
            <a:xfrm>
              <a:off x="2184400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511517A-8590-4A7F-A7F3-E5D0BE5CCB1E}"/>
                </a:ext>
              </a:extLst>
            </p:cNvPr>
            <p:cNvSpPr/>
            <p:nvPr userDrawn="1"/>
          </p:nvSpPr>
          <p:spPr>
            <a:xfrm>
              <a:off x="1560526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9468E68-E47A-44B1-A524-D8F4C7E4280B}"/>
                </a:ext>
              </a:extLst>
            </p:cNvPr>
            <p:cNvSpPr/>
            <p:nvPr userDrawn="1"/>
          </p:nvSpPr>
          <p:spPr>
            <a:xfrm>
              <a:off x="3020110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A482111-E4C5-4C6F-90E3-10A057C2A2F8}"/>
                </a:ext>
              </a:extLst>
            </p:cNvPr>
            <p:cNvSpPr/>
            <p:nvPr userDrawn="1"/>
          </p:nvSpPr>
          <p:spPr>
            <a:xfrm>
              <a:off x="2812077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0DDD6597-B6F8-4F4B-B37F-B7A79D0D5B3C}"/>
                </a:ext>
              </a:extLst>
            </p:cNvPr>
            <p:cNvSpPr/>
            <p:nvPr userDrawn="1"/>
          </p:nvSpPr>
          <p:spPr>
            <a:xfrm>
              <a:off x="3641421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679EAB13-7BA9-4C2E-A8EF-319872AF2815}"/>
                </a:ext>
              </a:extLst>
            </p:cNvPr>
            <p:cNvSpPr/>
            <p:nvPr userDrawn="1"/>
          </p:nvSpPr>
          <p:spPr>
            <a:xfrm>
              <a:off x="4360345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78DFCC31-9A1B-46FE-951A-371A140E2A43}"/>
                </a:ext>
              </a:extLst>
            </p:cNvPr>
            <p:cNvSpPr/>
            <p:nvPr userDrawn="1"/>
          </p:nvSpPr>
          <p:spPr>
            <a:xfrm>
              <a:off x="4065659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59EEFDFF-44AC-4979-BF8C-1A5084CE6C51}"/>
                </a:ext>
              </a:extLst>
            </p:cNvPr>
            <p:cNvSpPr/>
            <p:nvPr userDrawn="1"/>
          </p:nvSpPr>
          <p:spPr>
            <a:xfrm>
              <a:off x="3433388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EF4FB10E-C6E3-439A-BCC3-DCBC13BD272D}"/>
                </a:ext>
              </a:extLst>
            </p:cNvPr>
            <p:cNvSpPr/>
            <p:nvPr userDrawn="1"/>
          </p:nvSpPr>
          <p:spPr>
            <a:xfrm>
              <a:off x="4889506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E45A477F-314D-4989-879C-A5EDD80DD5A0}"/>
                </a:ext>
              </a:extLst>
            </p:cNvPr>
            <p:cNvSpPr/>
            <p:nvPr userDrawn="1"/>
          </p:nvSpPr>
          <p:spPr>
            <a:xfrm>
              <a:off x="5617616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64C1ECEC-ABB7-43F9-B8A9-DA7D312392E7}"/>
                </a:ext>
              </a:extLst>
            </p:cNvPr>
            <p:cNvSpPr/>
            <p:nvPr userDrawn="1"/>
          </p:nvSpPr>
          <p:spPr>
            <a:xfrm>
              <a:off x="5305348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1B434E5-F2E3-4521-9AA1-A2B72AA29C57}"/>
                </a:ext>
              </a:extLst>
            </p:cNvPr>
            <p:cNvSpPr/>
            <p:nvPr userDrawn="1"/>
          </p:nvSpPr>
          <p:spPr>
            <a:xfrm>
              <a:off x="4681474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CC2CC4C-5465-474C-9185-6C92B01EDFFF}"/>
                </a:ext>
              </a:extLst>
            </p:cNvPr>
            <p:cNvSpPr/>
            <p:nvPr userDrawn="1"/>
          </p:nvSpPr>
          <p:spPr>
            <a:xfrm>
              <a:off x="6141058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DC8981B-33A9-4FDB-85B5-D821D5655018}"/>
                </a:ext>
              </a:extLst>
            </p:cNvPr>
            <p:cNvSpPr/>
            <p:nvPr userDrawn="1"/>
          </p:nvSpPr>
          <p:spPr>
            <a:xfrm>
              <a:off x="5933026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6FE8BE5-4E43-4F2D-A968-93684D4A24E0}"/>
                </a:ext>
              </a:extLst>
            </p:cNvPr>
            <p:cNvSpPr/>
            <p:nvPr userDrawn="1"/>
          </p:nvSpPr>
          <p:spPr>
            <a:xfrm>
              <a:off x="6876884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B31E40F-4D6A-49EB-91D8-B9EE0A5E8A21}"/>
                </a:ext>
              </a:extLst>
            </p:cNvPr>
            <p:cNvSpPr/>
            <p:nvPr userDrawn="1"/>
          </p:nvSpPr>
          <p:spPr>
            <a:xfrm>
              <a:off x="6564616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69C22913-F3CE-4BC1-907E-17AC93B78430}"/>
                </a:ext>
              </a:extLst>
            </p:cNvPr>
            <p:cNvSpPr/>
            <p:nvPr userDrawn="1"/>
          </p:nvSpPr>
          <p:spPr>
            <a:xfrm>
              <a:off x="7400327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B8F778CA-A708-41A0-BADD-32EF53771899}"/>
                </a:ext>
              </a:extLst>
            </p:cNvPr>
            <p:cNvSpPr/>
            <p:nvPr userDrawn="1"/>
          </p:nvSpPr>
          <p:spPr>
            <a:xfrm>
              <a:off x="7192293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CDD9965-2311-4768-8B98-2825BC7C4D6F}"/>
                </a:ext>
              </a:extLst>
            </p:cNvPr>
            <p:cNvSpPr/>
            <p:nvPr userDrawn="1"/>
          </p:nvSpPr>
          <p:spPr>
            <a:xfrm>
              <a:off x="8021637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EE07E57-2A40-4FDC-9649-CAC3F7DF9C85}"/>
                </a:ext>
              </a:extLst>
            </p:cNvPr>
            <p:cNvSpPr/>
            <p:nvPr userDrawn="1"/>
          </p:nvSpPr>
          <p:spPr>
            <a:xfrm>
              <a:off x="8740562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997E7126-70E3-4788-A8D3-371CEA6266BA}"/>
                </a:ext>
              </a:extLst>
            </p:cNvPr>
            <p:cNvSpPr/>
            <p:nvPr userDrawn="1"/>
          </p:nvSpPr>
          <p:spPr>
            <a:xfrm>
              <a:off x="8445875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DE2E464-A81D-4D3D-8BEA-57099AAF2820}"/>
                </a:ext>
              </a:extLst>
            </p:cNvPr>
            <p:cNvSpPr/>
            <p:nvPr userDrawn="1"/>
          </p:nvSpPr>
          <p:spPr>
            <a:xfrm>
              <a:off x="7813605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674D7D40-B3DA-433E-AAA0-CFB9FAD22ABB}"/>
                </a:ext>
              </a:extLst>
            </p:cNvPr>
            <p:cNvSpPr/>
            <p:nvPr userDrawn="1"/>
          </p:nvSpPr>
          <p:spPr>
            <a:xfrm>
              <a:off x="9269723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75E1BED7-745B-4B8F-BA6F-4170CC61C1CE}"/>
                </a:ext>
              </a:extLst>
            </p:cNvPr>
            <p:cNvSpPr/>
            <p:nvPr userDrawn="1"/>
          </p:nvSpPr>
          <p:spPr>
            <a:xfrm>
              <a:off x="9997832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51E7C5F-4C7E-4529-AC47-E935FF88FAC9}"/>
                </a:ext>
              </a:extLst>
            </p:cNvPr>
            <p:cNvSpPr/>
            <p:nvPr userDrawn="1"/>
          </p:nvSpPr>
          <p:spPr>
            <a:xfrm>
              <a:off x="9685565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E94A09F-03C8-4A08-9F2E-07432C70C81B}"/>
                </a:ext>
              </a:extLst>
            </p:cNvPr>
            <p:cNvSpPr/>
            <p:nvPr userDrawn="1"/>
          </p:nvSpPr>
          <p:spPr>
            <a:xfrm>
              <a:off x="9061691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972DA174-5E6C-4F5B-AB0F-F5DBC66296C3}"/>
                </a:ext>
              </a:extLst>
            </p:cNvPr>
            <p:cNvSpPr/>
            <p:nvPr userDrawn="1"/>
          </p:nvSpPr>
          <p:spPr>
            <a:xfrm>
              <a:off x="10521275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A202510-D32D-41B7-8215-FEBA5CA9FC35}"/>
                </a:ext>
              </a:extLst>
            </p:cNvPr>
            <p:cNvSpPr/>
            <p:nvPr userDrawn="1"/>
          </p:nvSpPr>
          <p:spPr>
            <a:xfrm>
              <a:off x="10313242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2259EFDE-832D-484B-966B-EA912F480FB7}"/>
                </a:ext>
              </a:extLst>
            </p:cNvPr>
            <p:cNvSpPr/>
            <p:nvPr userDrawn="1"/>
          </p:nvSpPr>
          <p:spPr>
            <a:xfrm>
              <a:off x="10935898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8C15E9BB-7004-4027-B614-53FFCECE4E93}"/>
                </a:ext>
              </a:extLst>
            </p:cNvPr>
            <p:cNvSpPr/>
            <p:nvPr userDrawn="1"/>
          </p:nvSpPr>
          <p:spPr>
            <a:xfrm>
              <a:off x="11248374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4378B56F-8024-4C1E-B354-38A38896B2ED}"/>
                </a:ext>
              </a:extLst>
            </p:cNvPr>
            <p:cNvSpPr/>
            <p:nvPr userDrawn="1"/>
          </p:nvSpPr>
          <p:spPr>
            <a:xfrm flipH="1">
              <a:off x="11773747" y="-6"/>
              <a:ext cx="419693" cy="314769"/>
            </a:xfrm>
            <a:custGeom>
              <a:avLst/>
              <a:gdLst>
                <a:gd name="connsiteX0" fmla="*/ 793 w 590237"/>
                <a:gd name="connsiteY0" fmla="*/ 221339 h 442678"/>
                <a:gd name="connsiteX1" fmla="*/ 90 w 590237"/>
                <a:gd name="connsiteY1" fmla="*/ 21080 h 442678"/>
                <a:gd name="connsiteX2" fmla="*/ 21873 w 590237"/>
                <a:gd name="connsiteY2" fmla="*/ 0 h 442678"/>
                <a:gd name="connsiteX3" fmla="*/ 424499 w 590237"/>
                <a:gd name="connsiteY3" fmla="*/ 0 h 442678"/>
                <a:gd name="connsiteX4" fmla="*/ 444174 w 590237"/>
                <a:gd name="connsiteY4" fmla="*/ 19675 h 442678"/>
                <a:gd name="connsiteX5" fmla="*/ 443471 w 590237"/>
                <a:gd name="connsiteY5" fmla="*/ 137722 h 442678"/>
                <a:gd name="connsiteX6" fmla="*/ 455416 w 590237"/>
                <a:gd name="connsiteY6" fmla="*/ 169342 h 442678"/>
                <a:gd name="connsiteX7" fmla="*/ 482118 w 590237"/>
                <a:gd name="connsiteY7" fmla="*/ 168639 h 442678"/>
                <a:gd name="connsiteX8" fmla="*/ 541142 w 590237"/>
                <a:gd name="connsiteY8" fmla="*/ 142641 h 442678"/>
                <a:gd name="connsiteX9" fmla="*/ 591030 w 590237"/>
                <a:gd name="connsiteY9" fmla="*/ 214313 h 442678"/>
                <a:gd name="connsiteX10" fmla="*/ 555195 w 590237"/>
                <a:gd name="connsiteY10" fmla="*/ 294416 h 442678"/>
                <a:gd name="connsiteX11" fmla="*/ 487739 w 590237"/>
                <a:gd name="connsiteY11" fmla="*/ 283876 h 442678"/>
                <a:gd name="connsiteX12" fmla="*/ 463848 w 590237"/>
                <a:gd name="connsiteY12" fmla="*/ 268418 h 442678"/>
                <a:gd name="connsiteX13" fmla="*/ 442769 w 590237"/>
                <a:gd name="connsiteY13" fmla="*/ 303551 h 442678"/>
                <a:gd name="connsiteX14" fmla="*/ 443471 w 590237"/>
                <a:gd name="connsiteY14" fmla="*/ 421598 h 442678"/>
                <a:gd name="connsiteX15" fmla="*/ 421689 w 590237"/>
                <a:gd name="connsiteY15" fmla="*/ 444786 h 442678"/>
                <a:gd name="connsiteX16" fmla="*/ 306452 w 590237"/>
                <a:gd name="connsiteY16" fmla="*/ 444786 h 442678"/>
                <a:gd name="connsiteX17" fmla="*/ 270616 w 590237"/>
                <a:gd name="connsiteY17" fmla="*/ 433544 h 442678"/>
                <a:gd name="connsiteX18" fmla="*/ 269210 w 590237"/>
                <a:gd name="connsiteY18" fmla="*/ 381547 h 442678"/>
                <a:gd name="connsiteX19" fmla="*/ 267103 w 590237"/>
                <a:gd name="connsiteY19" fmla="*/ 307767 h 442678"/>
                <a:gd name="connsiteX20" fmla="*/ 157487 w 590237"/>
                <a:gd name="connsiteY20" fmla="*/ 330252 h 442678"/>
                <a:gd name="connsiteX21" fmla="*/ 170135 w 590237"/>
                <a:gd name="connsiteY21" fmla="*/ 377331 h 442678"/>
                <a:gd name="connsiteX22" fmla="*/ 189810 w 590237"/>
                <a:gd name="connsiteY22" fmla="*/ 411761 h 442678"/>
                <a:gd name="connsiteX23" fmla="*/ 145542 w 590237"/>
                <a:gd name="connsiteY23" fmla="*/ 444084 h 442678"/>
                <a:gd name="connsiteX24" fmla="*/ 14144 w 590237"/>
                <a:gd name="connsiteY24" fmla="*/ 444786 h 442678"/>
                <a:gd name="connsiteX25" fmla="*/ 90 w 590237"/>
                <a:gd name="connsiteY25" fmla="*/ 425112 h 442678"/>
                <a:gd name="connsiteX26" fmla="*/ 793 w 590237"/>
                <a:gd name="connsiteY26" fmla="*/ 22133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0237" h="442678">
                  <a:moveTo>
                    <a:pt x="793" y="221339"/>
                  </a:moveTo>
                  <a:cubicBezTo>
                    <a:pt x="793" y="154586"/>
                    <a:pt x="1495" y="87833"/>
                    <a:pt x="90" y="21080"/>
                  </a:cubicBezTo>
                  <a:cubicBezTo>
                    <a:pt x="90" y="4216"/>
                    <a:pt x="5009" y="0"/>
                    <a:pt x="21873" y="0"/>
                  </a:cubicBezTo>
                  <a:cubicBezTo>
                    <a:pt x="156082" y="703"/>
                    <a:pt x="290290" y="703"/>
                    <a:pt x="424499" y="0"/>
                  </a:cubicBezTo>
                  <a:cubicBezTo>
                    <a:pt x="439958" y="0"/>
                    <a:pt x="444876" y="4216"/>
                    <a:pt x="444174" y="19675"/>
                  </a:cubicBezTo>
                  <a:cubicBezTo>
                    <a:pt x="442769" y="59024"/>
                    <a:pt x="444174" y="98373"/>
                    <a:pt x="443471" y="137722"/>
                  </a:cubicBezTo>
                  <a:cubicBezTo>
                    <a:pt x="443471" y="150370"/>
                    <a:pt x="446282" y="160910"/>
                    <a:pt x="455416" y="169342"/>
                  </a:cubicBezTo>
                  <a:cubicBezTo>
                    <a:pt x="465254" y="178477"/>
                    <a:pt x="472983" y="180585"/>
                    <a:pt x="482118" y="168639"/>
                  </a:cubicBezTo>
                  <a:cubicBezTo>
                    <a:pt x="496874" y="149667"/>
                    <a:pt x="513035" y="131398"/>
                    <a:pt x="541142" y="142641"/>
                  </a:cubicBezTo>
                  <a:cubicBezTo>
                    <a:pt x="571356" y="154586"/>
                    <a:pt x="588923" y="181287"/>
                    <a:pt x="591030" y="214313"/>
                  </a:cubicBezTo>
                  <a:cubicBezTo>
                    <a:pt x="593139" y="248040"/>
                    <a:pt x="584707" y="275444"/>
                    <a:pt x="555195" y="294416"/>
                  </a:cubicBezTo>
                  <a:cubicBezTo>
                    <a:pt x="529899" y="311280"/>
                    <a:pt x="510224" y="307767"/>
                    <a:pt x="487739" y="283876"/>
                  </a:cubicBezTo>
                  <a:cubicBezTo>
                    <a:pt x="481415" y="276850"/>
                    <a:pt x="478604" y="260688"/>
                    <a:pt x="463848" y="268418"/>
                  </a:cubicBezTo>
                  <a:cubicBezTo>
                    <a:pt x="449795" y="275444"/>
                    <a:pt x="442066" y="286687"/>
                    <a:pt x="442769" y="303551"/>
                  </a:cubicBezTo>
                  <a:cubicBezTo>
                    <a:pt x="443471" y="342900"/>
                    <a:pt x="442066" y="382249"/>
                    <a:pt x="443471" y="421598"/>
                  </a:cubicBezTo>
                  <a:cubicBezTo>
                    <a:pt x="444174" y="438462"/>
                    <a:pt x="440660" y="445489"/>
                    <a:pt x="421689" y="444786"/>
                  </a:cubicBezTo>
                  <a:cubicBezTo>
                    <a:pt x="383745" y="443381"/>
                    <a:pt x="345098" y="444084"/>
                    <a:pt x="306452" y="444786"/>
                  </a:cubicBezTo>
                  <a:cubicBezTo>
                    <a:pt x="293101" y="444786"/>
                    <a:pt x="281156" y="441976"/>
                    <a:pt x="270616" y="433544"/>
                  </a:cubicBezTo>
                  <a:cubicBezTo>
                    <a:pt x="248131" y="415274"/>
                    <a:pt x="247428" y="400518"/>
                    <a:pt x="269210" y="381547"/>
                  </a:cubicBezTo>
                  <a:cubicBezTo>
                    <a:pt x="298722" y="355548"/>
                    <a:pt x="298020" y="332360"/>
                    <a:pt x="267103" y="307767"/>
                  </a:cubicBezTo>
                  <a:cubicBezTo>
                    <a:pt x="234077" y="281768"/>
                    <a:pt x="177864" y="293714"/>
                    <a:pt x="157487" y="330252"/>
                  </a:cubicBezTo>
                  <a:cubicBezTo>
                    <a:pt x="146244" y="350629"/>
                    <a:pt x="155379" y="363980"/>
                    <a:pt x="170135" y="377331"/>
                  </a:cubicBezTo>
                  <a:cubicBezTo>
                    <a:pt x="180675" y="386465"/>
                    <a:pt x="198241" y="392789"/>
                    <a:pt x="189810" y="411761"/>
                  </a:cubicBezTo>
                  <a:cubicBezTo>
                    <a:pt x="181377" y="430030"/>
                    <a:pt x="167324" y="443381"/>
                    <a:pt x="145542" y="444084"/>
                  </a:cubicBezTo>
                  <a:cubicBezTo>
                    <a:pt x="101977" y="444786"/>
                    <a:pt x="57709" y="444084"/>
                    <a:pt x="14144" y="444786"/>
                  </a:cubicBezTo>
                  <a:cubicBezTo>
                    <a:pt x="-2018" y="444786"/>
                    <a:pt x="90" y="434949"/>
                    <a:pt x="90" y="425112"/>
                  </a:cubicBezTo>
                  <a:cubicBezTo>
                    <a:pt x="793" y="356251"/>
                    <a:pt x="793" y="288795"/>
                    <a:pt x="793" y="22133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B58F0B61-0949-4FFE-A2C3-B8EFE4B43F70}"/>
                </a:ext>
              </a:extLst>
            </p:cNvPr>
            <p:cNvSpPr/>
            <p:nvPr userDrawn="1"/>
          </p:nvSpPr>
          <p:spPr>
            <a:xfrm rot="10800000">
              <a:off x="11565291" y="-3956"/>
              <a:ext cx="314769" cy="419693"/>
            </a:xfrm>
            <a:custGeom>
              <a:avLst/>
              <a:gdLst>
                <a:gd name="connsiteX0" fmla="*/ 222808 w 442678"/>
                <a:gd name="connsiteY0" fmla="*/ 592910 h 590237"/>
                <a:gd name="connsiteX1" fmla="*/ 22549 w 442678"/>
                <a:gd name="connsiteY1" fmla="*/ 593613 h 590237"/>
                <a:gd name="connsiteX2" fmla="*/ 64 w 442678"/>
                <a:gd name="connsiteY2" fmla="*/ 570425 h 590237"/>
                <a:gd name="connsiteX3" fmla="*/ 64 w 442678"/>
                <a:gd name="connsiteY3" fmla="*/ 457998 h 590237"/>
                <a:gd name="connsiteX4" fmla="*/ 15523 w 442678"/>
                <a:gd name="connsiteY4" fmla="*/ 415839 h 590237"/>
                <a:gd name="connsiteX5" fmla="*/ 62601 w 442678"/>
                <a:gd name="connsiteY5" fmla="*/ 417947 h 590237"/>
                <a:gd name="connsiteX6" fmla="*/ 104761 w 442678"/>
                <a:gd name="connsiteY6" fmla="*/ 440432 h 590237"/>
                <a:gd name="connsiteX7" fmla="*/ 147624 w 442678"/>
                <a:gd name="connsiteY7" fmla="*/ 391245 h 590237"/>
                <a:gd name="connsiteX8" fmla="*/ 127246 w 442678"/>
                <a:gd name="connsiteY8" fmla="*/ 316061 h 590237"/>
                <a:gd name="connsiteX9" fmla="*/ 66817 w 442678"/>
                <a:gd name="connsiteY9" fmla="*/ 319574 h 590237"/>
                <a:gd name="connsiteX10" fmla="*/ 35900 w 442678"/>
                <a:gd name="connsiteY10" fmla="*/ 339249 h 590237"/>
                <a:gd name="connsiteX11" fmla="*/ 1469 w 442678"/>
                <a:gd name="connsiteY11" fmla="*/ 297791 h 590237"/>
                <a:gd name="connsiteX12" fmla="*/ 767 w 442678"/>
                <a:gd name="connsiteY12" fmla="*/ 163583 h 590237"/>
                <a:gd name="connsiteX13" fmla="*/ 19036 w 442678"/>
                <a:gd name="connsiteY13" fmla="*/ 150934 h 590237"/>
                <a:gd name="connsiteX14" fmla="*/ 137084 w 442678"/>
                <a:gd name="connsiteY14" fmla="*/ 150934 h 590237"/>
                <a:gd name="connsiteX15" fmla="*/ 165190 w 442678"/>
                <a:gd name="connsiteY15" fmla="*/ 143205 h 590237"/>
                <a:gd name="connsiteX16" fmla="*/ 166595 w 442678"/>
                <a:gd name="connsiteY16" fmla="*/ 107369 h 590237"/>
                <a:gd name="connsiteX17" fmla="*/ 163785 w 442678"/>
                <a:gd name="connsiteY17" fmla="*/ 22347 h 590237"/>
                <a:gd name="connsiteX18" fmla="*/ 290967 w 442678"/>
                <a:gd name="connsiteY18" fmla="*/ 30779 h 590237"/>
                <a:gd name="connsiteX19" fmla="*/ 286048 w 442678"/>
                <a:gd name="connsiteY19" fmla="*/ 104559 h 590237"/>
                <a:gd name="connsiteX20" fmla="*/ 270590 w 442678"/>
                <a:gd name="connsiteY20" fmla="*/ 129152 h 590237"/>
                <a:gd name="connsiteX21" fmla="*/ 303615 w 442678"/>
                <a:gd name="connsiteY21" fmla="*/ 150232 h 590237"/>
                <a:gd name="connsiteX22" fmla="*/ 421662 w 442678"/>
                <a:gd name="connsiteY22" fmla="*/ 149529 h 590237"/>
                <a:gd name="connsiteX23" fmla="*/ 446256 w 442678"/>
                <a:gd name="connsiteY23" fmla="*/ 175528 h 590237"/>
                <a:gd name="connsiteX24" fmla="*/ 446256 w 442678"/>
                <a:gd name="connsiteY24" fmla="*/ 287954 h 590237"/>
                <a:gd name="connsiteX25" fmla="*/ 428689 w 442678"/>
                <a:gd name="connsiteY25" fmla="*/ 329411 h 590237"/>
                <a:gd name="connsiteX26" fmla="*/ 385827 w 442678"/>
                <a:gd name="connsiteY26" fmla="*/ 327303 h 590237"/>
                <a:gd name="connsiteX27" fmla="*/ 342261 w 442678"/>
                <a:gd name="connsiteY27" fmla="*/ 303412 h 590237"/>
                <a:gd name="connsiteX28" fmla="*/ 298696 w 442678"/>
                <a:gd name="connsiteY28" fmla="*/ 357518 h 590237"/>
                <a:gd name="connsiteX29" fmla="*/ 318371 w 442678"/>
                <a:gd name="connsiteY29" fmla="*/ 425676 h 590237"/>
                <a:gd name="connsiteX30" fmla="*/ 380908 w 442678"/>
                <a:gd name="connsiteY30" fmla="*/ 422865 h 590237"/>
                <a:gd name="connsiteX31" fmla="*/ 415338 w 442678"/>
                <a:gd name="connsiteY31" fmla="*/ 404596 h 590237"/>
                <a:gd name="connsiteX32" fmla="*/ 446256 w 442678"/>
                <a:gd name="connsiteY32" fmla="*/ 446054 h 590237"/>
                <a:gd name="connsiteX33" fmla="*/ 446958 w 442678"/>
                <a:gd name="connsiteY33" fmla="*/ 577451 h 590237"/>
                <a:gd name="connsiteX34" fmla="*/ 425878 w 442678"/>
                <a:gd name="connsiteY34" fmla="*/ 592910 h 590237"/>
                <a:gd name="connsiteX35" fmla="*/ 222808 w 442678"/>
                <a:gd name="connsiteY35" fmla="*/ 59291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222808" y="592910"/>
                  </a:moveTo>
                  <a:cubicBezTo>
                    <a:pt x="156055" y="592910"/>
                    <a:pt x="89302" y="592208"/>
                    <a:pt x="22549" y="593613"/>
                  </a:cubicBezTo>
                  <a:cubicBezTo>
                    <a:pt x="4280" y="593613"/>
                    <a:pt x="-639" y="588694"/>
                    <a:pt x="64" y="570425"/>
                  </a:cubicBezTo>
                  <a:cubicBezTo>
                    <a:pt x="1469" y="533184"/>
                    <a:pt x="767" y="495240"/>
                    <a:pt x="64" y="457998"/>
                  </a:cubicBezTo>
                  <a:cubicBezTo>
                    <a:pt x="64" y="441837"/>
                    <a:pt x="3577" y="427784"/>
                    <a:pt x="15523" y="415839"/>
                  </a:cubicBezTo>
                  <a:cubicBezTo>
                    <a:pt x="33792" y="397570"/>
                    <a:pt x="45035" y="397570"/>
                    <a:pt x="62601" y="417947"/>
                  </a:cubicBezTo>
                  <a:cubicBezTo>
                    <a:pt x="73844" y="431297"/>
                    <a:pt x="85086" y="448161"/>
                    <a:pt x="104761" y="440432"/>
                  </a:cubicBezTo>
                  <a:cubicBezTo>
                    <a:pt x="126544" y="432000"/>
                    <a:pt x="144813" y="417244"/>
                    <a:pt x="147624" y="391245"/>
                  </a:cubicBezTo>
                  <a:cubicBezTo>
                    <a:pt x="150434" y="363842"/>
                    <a:pt x="152542" y="336438"/>
                    <a:pt x="127246" y="316061"/>
                  </a:cubicBezTo>
                  <a:cubicBezTo>
                    <a:pt x="102653" y="295683"/>
                    <a:pt x="87897" y="296386"/>
                    <a:pt x="66817" y="319574"/>
                  </a:cubicBezTo>
                  <a:cubicBezTo>
                    <a:pt x="58385" y="328709"/>
                    <a:pt x="54169" y="345572"/>
                    <a:pt x="35900" y="339249"/>
                  </a:cubicBezTo>
                  <a:cubicBezTo>
                    <a:pt x="15523" y="332222"/>
                    <a:pt x="2172" y="318169"/>
                    <a:pt x="1469" y="297791"/>
                  </a:cubicBezTo>
                  <a:cubicBezTo>
                    <a:pt x="-639" y="252821"/>
                    <a:pt x="1469" y="208553"/>
                    <a:pt x="767" y="163583"/>
                  </a:cubicBezTo>
                  <a:cubicBezTo>
                    <a:pt x="767" y="148827"/>
                    <a:pt x="9901" y="150934"/>
                    <a:pt x="19036" y="150934"/>
                  </a:cubicBezTo>
                  <a:cubicBezTo>
                    <a:pt x="58385" y="150934"/>
                    <a:pt x="97734" y="150934"/>
                    <a:pt x="137084" y="150934"/>
                  </a:cubicBezTo>
                  <a:cubicBezTo>
                    <a:pt x="147624" y="150934"/>
                    <a:pt x="157461" y="150232"/>
                    <a:pt x="165190" y="143205"/>
                  </a:cubicBezTo>
                  <a:cubicBezTo>
                    <a:pt x="178541" y="131963"/>
                    <a:pt x="185567" y="122828"/>
                    <a:pt x="166595" y="107369"/>
                  </a:cubicBezTo>
                  <a:cubicBezTo>
                    <a:pt x="132165" y="80668"/>
                    <a:pt x="132165" y="53264"/>
                    <a:pt x="163785" y="22347"/>
                  </a:cubicBezTo>
                  <a:cubicBezTo>
                    <a:pt x="197513" y="-10678"/>
                    <a:pt x="260752" y="-6462"/>
                    <a:pt x="290967" y="30779"/>
                  </a:cubicBezTo>
                  <a:cubicBezTo>
                    <a:pt x="314155" y="58885"/>
                    <a:pt x="312047" y="79263"/>
                    <a:pt x="286048" y="104559"/>
                  </a:cubicBezTo>
                  <a:cubicBezTo>
                    <a:pt x="279022" y="111585"/>
                    <a:pt x="263563" y="115099"/>
                    <a:pt x="270590" y="129152"/>
                  </a:cubicBezTo>
                  <a:cubicBezTo>
                    <a:pt x="276914" y="141800"/>
                    <a:pt x="288156" y="150232"/>
                    <a:pt x="303615" y="150232"/>
                  </a:cubicBezTo>
                  <a:cubicBezTo>
                    <a:pt x="342964" y="150232"/>
                    <a:pt x="382313" y="151637"/>
                    <a:pt x="421662" y="149529"/>
                  </a:cubicBezTo>
                  <a:cubicBezTo>
                    <a:pt x="443445" y="148124"/>
                    <a:pt x="446958" y="155853"/>
                    <a:pt x="446256" y="175528"/>
                  </a:cubicBezTo>
                  <a:cubicBezTo>
                    <a:pt x="444850" y="212769"/>
                    <a:pt x="445553" y="250713"/>
                    <a:pt x="446256" y="287954"/>
                  </a:cubicBezTo>
                  <a:cubicBezTo>
                    <a:pt x="446256" y="304818"/>
                    <a:pt x="441337" y="318169"/>
                    <a:pt x="428689" y="329411"/>
                  </a:cubicBezTo>
                  <a:cubicBezTo>
                    <a:pt x="413933" y="342059"/>
                    <a:pt x="399880" y="346275"/>
                    <a:pt x="385827" y="327303"/>
                  </a:cubicBezTo>
                  <a:cubicBezTo>
                    <a:pt x="375287" y="313250"/>
                    <a:pt x="364044" y="295683"/>
                    <a:pt x="342261" y="303412"/>
                  </a:cubicBezTo>
                  <a:cubicBezTo>
                    <a:pt x="316965" y="312547"/>
                    <a:pt x="300804" y="330114"/>
                    <a:pt x="298696" y="357518"/>
                  </a:cubicBezTo>
                  <a:cubicBezTo>
                    <a:pt x="296588" y="382814"/>
                    <a:pt x="297994" y="406704"/>
                    <a:pt x="318371" y="425676"/>
                  </a:cubicBezTo>
                  <a:cubicBezTo>
                    <a:pt x="342964" y="448161"/>
                    <a:pt x="358423" y="447459"/>
                    <a:pt x="380908" y="422865"/>
                  </a:cubicBezTo>
                  <a:cubicBezTo>
                    <a:pt x="390043" y="412325"/>
                    <a:pt x="397069" y="395462"/>
                    <a:pt x="415338" y="404596"/>
                  </a:cubicBezTo>
                  <a:cubicBezTo>
                    <a:pt x="432202" y="413028"/>
                    <a:pt x="445553" y="425676"/>
                    <a:pt x="446256" y="446054"/>
                  </a:cubicBezTo>
                  <a:cubicBezTo>
                    <a:pt x="446958" y="489618"/>
                    <a:pt x="445553" y="533887"/>
                    <a:pt x="446958" y="577451"/>
                  </a:cubicBezTo>
                  <a:cubicBezTo>
                    <a:pt x="447661" y="595721"/>
                    <a:pt x="436418" y="592910"/>
                    <a:pt x="425878" y="592910"/>
                  </a:cubicBezTo>
                  <a:cubicBezTo>
                    <a:pt x="355612" y="592910"/>
                    <a:pt x="288859" y="592910"/>
                    <a:pt x="222808" y="59291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E389B2A7-277B-4E92-878E-53FACF3E5EB5}"/>
              </a:ext>
            </a:extLst>
          </p:cNvPr>
          <p:cNvGrpSpPr/>
          <p:nvPr userDrawn="1"/>
        </p:nvGrpSpPr>
        <p:grpSpPr>
          <a:xfrm flipV="1">
            <a:off x="0" y="6438307"/>
            <a:ext cx="12188825" cy="419693"/>
            <a:chOff x="4615" y="-3956"/>
            <a:chExt cx="12188825" cy="419693"/>
          </a:xfrm>
        </p:grpSpPr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9D5F4AA0-FBBE-40A4-980E-4D10F0F0CE7A}"/>
                </a:ext>
              </a:extLst>
            </p:cNvPr>
            <p:cNvSpPr/>
            <p:nvPr userDrawn="1"/>
          </p:nvSpPr>
          <p:spPr>
            <a:xfrm>
              <a:off x="520472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7D290DB4-19F9-49EF-9300-ED58033BE973}"/>
                </a:ext>
              </a:extLst>
            </p:cNvPr>
            <p:cNvSpPr/>
            <p:nvPr userDrawn="1"/>
          </p:nvSpPr>
          <p:spPr>
            <a:xfrm>
              <a:off x="1239397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7772F1A1-4119-44E5-BE68-576AB63E3443}"/>
                </a:ext>
              </a:extLst>
            </p:cNvPr>
            <p:cNvSpPr/>
            <p:nvPr userDrawn="1"/>
          </p:nvSpPr>
          <p:spPr>
            <a:xfrm>
              <a:off x="4615" y="-3956"/>
              <a:ext cx="419693" cy="314769"/>
            </a:xfrm>
            <a:custGeom>
              <a:avLst/>
              <a:gdLst>
                <a:gd name="connsiteX0" fmla="*/ 793 w 590237"/>
                <a:gd name="connsiteY0" fmla="*/ 221339 h 442678"/>
                <a:gd name="connsiteX1" fmla="*/ 90 w 590237"/>
                <a:gd name="connsiteY1" fmla="*/ 21080 h 442678"/>
                <a:gd name="connsiteX2" fmla="*/ 21873 w 590237"/>
                <a:gd name="connsiteY2" fmla="*/ 0 h 442678"/>
                <a:gd name="connsiteX3" fmla="*/ 424499 w 590237"/>
                <a:gd name="connsiteY3" fmla="*/ 0 h 442678"/>
                <a:gd name="connsiteX4" fmla="*/ 444174 w 590237"/>
                <a:gd name="connsiteY4" fmla="*/ 19675 h 442678"/>
                <a:gd name="connsiteX5" fmla="*/ 443471 w 590237"/>
                <a:gd name="connsiteY5" fmla="*/ 137722 h 442678"/>
                <a:gd name="connsiteX6" fmla="*/ 455416 w 590237"/>
                <a:gd name="connsiteY6" fmla="*/ 169342 h 442678"/>
                <a:gd name="connsiteX7" fmla="*/ 482118 w 590237"/>
                <a:gd name="connsiteY7" fmla="*/ 168639 h 442678"/>
                <a:gd name="connsiteX8" fmla="*/ 541142 w 590237"/>
                <a:gd name="connsiteY8" fmla="*/ 142641 h 442678"/>
                <a:gd name="connsiteX9" fmla="*/ 591030 w 590237"/>
                <a:gd name="connsiteY9" fmla="*/ 214313 h 442678"/>
                <a:gd name="connsiteX10" fmla="*/ 555195 w 590237"/>
                <a:gd name="connsiteY10" fmla="*/ 294416 h 442678"/>
                <a:gd name="connsiteX11" fmla="*/ 487739 w 590237"/>
                <a:gd name="connsiteY11" fmla="*/ 283876 h 442678"/>
                <a:gd name="connsiteX12" fmla="*/ 463848 w 590237"/>
                <a:gd name="connsiteY12" fmla="*/ 268418 h 442678"/>
                <a:gd name="connsiteX13" fmla="*/ 442769 w 590237"/>
                <a:gd name="connsiteY13" fmla="*/ 303551 h 442678"/>
                <a:gd name="connsiteX14" fmla="*/ 443471 w 590237"/>
                <a:gd name="connsiteY14" fmla="*/ 421598 h 442678"/>
                <a:gd name="connsiteX15" fmla="*/ 421689 w 590237"/>
                <a:gd name="connsiteY15" fmla="*/ 444786 h 442678"/>
                <a:gd name="connsiteX16" fmla="*/ 306452 w 590237"/>
                <a:gd name="connsiteY16" fmla="*/ 444786 h 442678"/>
                <a:gd name="connsiteX17" fmla="*/ 270616 w 590237"/>
                <a:gd name="connsiteY17" fmla="*/ 433544 h 442678"/>
                <a:gd name="connsiteX18" fmla="*/ 269210 w 590237"/>
                <a:gd name="connsiteY18" fmla="*/ 381547 h 442678"/>
                <a:gd name="connsiteX19" fmla="*/ 267103 w 590237"/>
                <a:gd name="connsiteY19" fmla="*/ 307767 h 442678"/>
                <a:gd name="connsiteX20" fmla="*/ 157487 w 590237"/>
                <a:gd name="connsiteY20" fmla="*/ 330252 h 442678"/>
                <a:gd name="connsiteX21" fmla="*/ 170135 w 590237"/>
                <a:gd name="connsiteY21" fmla="*/ 377331 h 442678"/>
                <a:gd name="connsiteX22" fmla="*/ 189810 w 590237"/>
                <a:gd name="connsiteY22" fmla="*/ 411761 h 442678"/>
                <a:gd name="connsiteX23" fmla="*/ 145542 w 590237"/>
                <a:gd name="connsiteY23" fmla="*/ 444084 h 442678"/>
                <a:gd name="connsiteX24" fmla="*/ 14144 w 590237"/>
                <a:gd name="connsiteY24" fmla="*/ 444786 h 442678"/>
                <a:gd name="connsiteX25" fmla="*/ 90 w 590237"/>
                <a:gd name="connsiteY25" fmla="*/ 425112 h 442678"/>
                <a:gd name="connsiteX26" fmla="*/ 793 w 590237"/>
                <a:gd name="connsiteY26" fmla="*/ 22133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0237" h="442678">
                  <a:moveTo>
                    <a:pt x="793" y="221339"/>
                  </a:moveTo>
                  <a:cubicBezTo>
                    <a:pt x="793" y="154586"/>
                    <a:pt x="1495" y="87833"/>
                    <a:pt x="90" y="21080"/>
                  </a:cubicBezTo>
                  <a:cubicBezTo>
                    <a:pt x="90" y="4216"/>
                    <a:pt x="5009" y="0"/>
                    <a:pt x="21873" y="0"/>
                  </a:cubicBezTo>
                  <a:cubicBezTo>
                    <a:pt x="156082" y="703"/>
                    <a:pt x="290290" y="703"/>
                    <a:pt x="424499" y="0"/>
                  </a:cubicBezTo>
                  <a:cubicBezTo>
                    <a:pt x="439958" y="0"/>
                    <a:pt x="444876" y="4216"/>
                    <a:pt x="444174" y="19675"/>
                  </a:cubicBezTo>
                  <a:cubicBezTo>
                    <a:pt x="442769" y="59024"/>
                    <a:pt x="444174" y="98373"/>
                    <a:pt x="443471" y="137722"/>
                  </a:cubicBezTo>
                  <a:cubicBezTo>
                    <a:pt x="443471" y="150370"/>
                    <a:pt x="446282" y="160910"/>
                    <a:pt x="455416" y="169342"/>
                  </a:cubicBezTo>
                  <a:cubicBezTo>
                    <a:pt x="465254" y="178477"/>
                    <a:pt x="472983" y="180585"/>
                    <a:pt x="482118" y="168639"/>
                  </a:cubicBezTo>
                  <a:cubicBezTo>
                    <a:pt x="496874" y="149667"/>
                    <a:pt x="513035" y="131398"/>
                    <a:pt x="541142" y="142641"/>
                  </a:cubicBezTo>
                  <a:cubicBezTo>
                    <a:pt x="571356" y="154586"/>
                    <a:pt x="588923" y="181287"/>
                    <a:pt x="591030" y="214313"/>
                  </a:cubicBezTo>
                  <a:cubicBezTo>
                    <a:pt x="593139" y="248040"/>
                    <a:pt x="584707" y="275444"/>
                    <a:pt x="555195" y="294416"/>
                  </a:cubicBezTo>
                  <a:cubicBezTo>
                    <a:pt x="529899" y="311280"/>
                    <a:pt x="510224" y="307767"/>
                    <a:pt x="487739" y="283876"/>
                  </a:cubicBezTo>
                  <a:cubicBezTo>
                    <a:pt x="481415" y="276850"/>
                    <a:pt x="478604" y="260688"/>
                    <a:pt x="463848" y="268418"/>
                  </a:cubicBezTo>
                  <a:cubicBezTo>
                    <a:pt x="449795" y="275444"/>
                    <a:pt x="442066" y="286687"/>
                    <a:pt x="442769" y="303551"/>
                  </a:cubicBezTo>
                  <a:cubicBezTo>
                    <a:pt x="443471" y="342900"/>
                    <a:pt x="442066" y="382249"/>
                    <a:pt x="443471" y="421598"/>
                  </a:cubicBezTo>
                  <a:cubicBezTo>
                    <a:pt x="444174" y="438462"/>
                    <a:pt x="440660" y="445489"/>
                    <a:pt x="421689" y="444786"/>
                  </a:cubicBezTo>
                  <a:cubicBezTo>
                    <a:pt x="383745" y="443381"/>
                    <a:pt x="345098" y="444084"/>
                    <a:pt x="306452" y="444786"/>
                  </a:cubicBezTo>
                  <a:cubicBezTo>
                    <a:pt x="293101" y="444786"/>
                    <a:pt x="281156" y="441976"/>
                    <a:pt x="270616" y="433544"/>
                  </a:cubicBezTo>
                  <a:cubicBezTo>
                    <a:pt x="248131" y="415274"/>
                    <a:pt x="247428" y="400518"/>
                    <a:pt x="269210" y="381547"/>
                  </a:cubicBezTo>
                  <a:cubicBezTo>
                    <a:pt x="298722" y="355548"/>
                    <a:pt x="298020" y="332360"/>
                    <a:pt x="267103" y="307767"/>
                  </a:cubicBezTo>
                  <a:cubicBezTo>
                    <a:pt x="234077" y="281768"/>
                    <a:pt x="177864" y="293714"/>
                    <a:pt x="157487" y="330252"/>
                  </a:cubicBezTo>
                  <a:cubicBezTo>
                    <a:pt x="146244" y="350629"/>
                    <a:pt x="155379" y="363980"/>
                    <a:pt x="170135" y="377331"/>
                  </a:cubicBezTo>
                  <a:cubicBezTo>
                    <a:pt x="180675" y="386465"/>
                    <a:pt x="198241" y="392789"/>
                    <a:pt x="189810" y="411761"/>
                  </a:cubicBezTo>
                  <a:cubicBezTo>
                    <a:pt x="181377" y="430030"/>
                    <a:pt x="167324" y="443381"/>
                    <a:pt x="145542" y="444084"/>
                  </a:cubicBezTo>
                  <a:cubicBezTo>
                    <a:pt x="101977" y="444786"/>
                    <a:pt x="57709" y="444084"/>
                    <a:pt x="14144" y="444786"/>
                  </a:cubicBezTo>
                  <a:cubicBezTo>
                    <a:pt x="-2018" y="444786"/>
                    <a:pt x="90" y="434949"/>
                    <a:pt x="90" y="425112"/>
                  </a:cubicBezTo>
                  <a:cubicBezTo>
                    <a:pt x="793" y="356251"/>
                    <a:pt x="793" y="288795"/>
                    <a:pt x="793" y="22133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F098B91D-D0B0-4273-80E9-817A76B37050}"/>
                </a:ext>
              </a:extLst>
            </p:cNvPr>
            <p:cNvSpPr/>
            <p:nvPr userDrawn="1"/>
          </p:nvSpPr>
          <p:spPr>
            <a:xfrm>
              <a:off x="935317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737F491C-5E77-4DA0-9752-E8AE19317EF3}"/>
                </a:ext>
              </a:extLst>
            </p:cNvPr>
            <p:cNvSpPr/>
            <p:nvPr userDrawn="1"/>
          </p:nvSpPr>
          <p:spPr>
            <a:xfrm>
              <a:off x="312440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0D78A60A-E143-4284-AEDF-C57DCD5646EA}"/>
                </a:ext>
              </a:extLst>
            </p:cNvPr>
            <p:cNvSpPr/>
            <p:nvPr userDrawn="1"/>
          </p:nvSpPr>
          <p:spPr>
            <a:xfrm>
              <a:off x="1768558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AE0B1651-3526-43CA-B5D3-716F6D8AD152}"/>
                </a:ext>
              </a:extLst>
            </p:cNvPr>
            <p:cNvSpPr/>
            <p:nvPr userDrawn="1"/>
          </p:nvSpPr>
          <p:spPr>
            <a:xfrm>
              <a:off x="2496667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EF3ADD41-15DD-40B4-BF9E-46DD21972CAA}"/>
                </a:ext>
              </a:extLst>
            </p:cNvPr>
            <p:cNvSpPr/>
            <p:nvPr userDrawn="1"/>
          </p:nvSpPr>
          <p:spPr>
            <a:xfrm>
              <a:off x="2184400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3FDD2EC9-7602-47D7-92D3-817F3C70F3E1}"/>
                </a:ext>
              </a:extLst>
            </p:cNvPr>
            <p:cNvSpPr/>
            <p:nvPr userDrawn="1"/>
          </p:nvSpPr>
          <p:spPr>
            <a:xfrm>
              <a:off x="1560526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8A69797A-FCF0-46F9-AC1C-586CE231B51C}"/>
                </a:ext>
              </a:extLst>
            </p:cNvPr>
            <p:cNvSpPr/>
            <p:nvPr userDrawn="1"/>
          </p:nvSpPr>
          <p:spPr>
            <a:xfrm>
              <a:off x="3020110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BDF074B9-B0BB-4D58-91B1-4D7CA424E3D8}"/>
                </a:ext>
              </a:extLst>
            </p:cNvPr>
            <p:cNvSpPr/>
            <p:nvPr userDrawn="1"/>
          </p:nvSpPr>
          <p:spPr>
            <a:xfrm>
              <a:off x="2812077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37380F0D-EEE1-489A-AFFF-00922D66F489}"/>
                </a:ext>
              </a:extLst>
            </p:cNvPr>
            <p:cNvSpPr/>
            <p:nvPr userDrawn="1"/>
          </p:nvSpPr>
          <p:spPr>
            <a:xfrm>
              <a:off x="3641421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37C8446-C197-4661-AFA4-42FA6EFB1722}"/>
                </a:ext>
              </a:extLst>
            </p:cNvPr>
            <p:cNvSpPr/>
            <p:nvPr userDrawn="1"/>
          </p:nvSpPr>
          <p:spPr>
            <a:xfrm>
              <a:off x="4360345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DF27D92-59C9-45E5-8A56-CA1715CA1E9D}"/>
                </a:ext>
              </a:extLst>
            </p:cNvPr>
            <p:cNvSpPr/>
            <p:nvPr userDrawn="1"/>
          </p:nvSpPr>
          <p:spPr>
            <a:xfrm>
              <a:off x="4065659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39EDECD2-CD1A-4A68-8758-87F736958684}"/>
                </a:ext>
              </a:extLst>
            </p:cNvPr>
            <p:cNvSpPr/>
            <p:nvPr userDrawn="1"/>
          </p:nvSpPr>
          <p:spPr>
            <a:xfrm>
              <a:off x="3433388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0F610DA6-BB14-472D-B9DF-2B95585BA017}"/>
                </a:ext>
              </a:extLst>
            </p:cNvPr>
            <p:cNvSpPr/>
            <p:nvPr userDrawn="1"/>
          </p:nvSpPr>
          <p:spPr>
            <a:xfrm>
              <a:off x="4889506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E349999C-0DA1-4B1C-B9B7-4E30A055047F}"/>
                </a:ext>
              </a:extLst>
            </p:cNvPr>
            <p:cNvSpPr/>
            <p:nvPr userDrawn="1"/>
          </p:nvSpPr>
          <p:spPr>
            <a:xfrm>
              <a:off x="5617616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213CEB53-371A-48ED-A441-2D69FF5D2965}"/>
                </a:ext>
              </a:extLst>
            </p:cNvPr>
            <p:cNvSpPr/>
            <p:nvPr userDrawn="1"/>
          </p:nvSpPr>
          <p:spPr>
            <a:xfrm>
              <a:off x="5305348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6A4012D1-BD83-40C8-ADC4-75356A04C7F9}"/>
                </a:ext>
              </a:extLst>
            </p:cNvPr>
            <p:cNvSpPr/>
            <p:nvPr userDrawn="1"/>
          </p:nvSpPr>
          <p:spPr>
            <a:xfrm>
              <a:off x="4681474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20D4142D-E10F-4150-86CB-1DAC4F39B6AC}"/>
                </a:ext>
              </a:extLst>
            </p:cNvPr>
            <p:cNvSpPr/>
            <p:nvPr userDrawn="1"/>
          </p:nvSpPr>
          <p:spPr>
            <a:xfrm>
              <a:off x="6141058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BD5469D9-B7C4-4B63-A806-439802D30CBC}"/>
                </a:ext>
              </a:extLst>
            </p:cNvPr>
            <p:cNvSpPr/>
            <p:nvPr userDrawn="1"/>
          </p:nvSpPr>
          <p:spPr>
            <a:xfrm>
              <a:off x="5933026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67291BF7-0707-47D8-9D0A-3D086A4BA16D}"/>
                </a:ext>
              </a:extLst>
            </p:cNvPr>
            <p:cNvSpPr/>
            <p:nvPr userDrawn="1"/>
          </p:nvSpPr>
          <p:spPr>
            <a:xfrm>
              <a:off x="6876884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D2F4174A-9840-4B06-B2EA-9A2D57190383}"/>
                </a:ext>
              </a:extLst>
            </p:cNvPr>
            <p:cNvSpPr/>
            <p:nvPr userDrawn="1"/>
          </p:nvSpPr>
          <p:spPr>
            <a:xfrm>
              <a:off x="6564616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EB4AD595-F254-4AE0-B224-A146EB7E77CF}"/>
                </a:ext>
              </a:extLst>
            </p:cNvPr>
            <p:cNvSpPr/>
            <p:nvPr userDrawn="1"/>
          </p:nvSpPr>
          <p:spPr>
            <a:xfrm>
              <a:off x="7400327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FD5E8FEA-0CE8-41DD-B80A-161522029AD0}"/>
                </a:ext>
              </a:extLst>
            </p:cNvPr>
            <p:cNvSpPr/>
            <p:nvPr userDrawn="1"/>
          </p:nvSpPr>
          <p:spPr>
            <a:xfrm>
              <a:off x="7192293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39BCD05A-E86A-4439-9D29-D33F56CD231B}"/>
                </a:ext>
              </a:extLst>
            </p:cNvPr>
            <p:cNvSpPr/>
            <p:nvPr userDrawn="1"/>
          </p:nvSpPr>
          <p:spPr>
            <a:xfrm>
              <a:off x="8021637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FCB17084-65E1-4F69-8C7C-85F71EC0C8B5}"/>
                </a:ext>
              </a:extLst>
            </p:cNvPr>
            <p:cNvSpPr/>
            <p:nvPr userDrawn="1"/>
          </p:nvSpPr>
          <p:spPr>
            <a:xfrm>
              <a:off x="8740562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5B6B14EE-6603-47C1-9004-9CF246E67521}"/>
                </a:ext>
              </a:extLst>
            </p:cNvPr>
            <p:cNvSpPr/>
            <p:nvPr userDrawn="1"/>
          </p:nvSpPr>
          <p:spPr>
            <a:xfrm>
              <a:off x="8445875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E7B6B386-AAF0-4BBE-9FBF-AF2A3F332FBB}"/>
                </a:ext>
              </a:extLst>
            </p:cNvPr>
            <p:cNvSpPr/>
            <p:nvPr userDrawn="1"/>
          </p:nvSpPr>
          <p:spPr>
            <a:xfrm>
              <a:off x="7813605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52196737-B1AA-4F20-9EFD-F4828F609B69}"/>
                </a:ext>
              </a:extLst>
            </p:cNvPr>
            <p:cNvSpPr/>
            <p:nvPr userDrawn="1"/>
          </p:nvSpPr>
          <p:spPr>
            <a:xfrm>
              <a:off x="9269723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DB98AB64-FAB1-404F-BBF5-F4DE3D0862EA}"/>
                </a:ext>
              </a:extLst>
            </p:cNvPr>
            <p:cNvSpPr/>
            <p:nvPr userDrawn="1"/>
          </p:nvSpPr>
          <p:spPr>
            <a:xfrm>
              <a:off x="9997832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743F8076-FF2A-42A3-9B1C-68932F8117A5}"/>
                </a:ext>
              </a:extLst>
            </p:cNvPr>
            <p:cNvSpPr/>
            <p:nvPr userDrawn="1"/>
          </p:nvSpPr>
          <p:spPr>
            <a:xfrm>
              <a:off x="9685565" y="-3956"/>
              <a:ext cx="419693" cy="314769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BF906D8E-30E5-4848-971A-6D68C276AD14}"/>
                </a:ext>
              </a:extLst>
            </p:cNvPr>
            <p:cNvSpPr/>
            <p:nvPr userDrawn="1"/>
          </p:nvSpPr>
          <p:spPr>
            <a:xfrm>
              <a:off x="9061691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18A4280C-1635-42D4-9284-F56F6911F9E5}"/>
                </a:ext>
              </a:extLst>
            </p:cNvPr>
            <p:cNvSpPr/>
            <p:nvPr userDrawn="1"/>
          </p:nvSpPr>
          <p:spPr>
            <a:xfrm>
              <a:off x="10521275" y="-3956"/>
              <a:ext cx="524616" cy="419693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95F1F001-1174-4341-BF35-C538E5CF8718}"/>
                </a:ext>
              </a:extLst>
            </p:cNvPr>
            <p:cNvSpPr/>
            <p:nvPr userDrawn="1"/>
          </p:nvSpPr>
          <p:spPr>
            <a:xfrm>
              <a:off x="10313242" y="-3956"/>
              <a:ext cx="309773" cy="314769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8B5CD4C-C810-4E69-9030-A9C85F05B632}"/>
                </a:ext>
              </a:extLst>
            </p:cNvPr>
            <p:cNvSpPr/>
            <p:nvPr userDrawn="1"/>
          </p:nvSpPr>
          <p:spPr>
            <a:xfrm>
              <a:off x="10935898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40393412-2674-49E8-8A17-389BDBF118EE}"/>
                </a:ext>
              </a:extLst>
            </p:cNvPr>
            <p:cNvSpPr/>
            <p:nvPr userDrawn="1"/>
          </p:nvSpPr>
          <p:spPr>
            <a:xfrm>
              <a:off x="11248374" y="-3956"/>
              <a:ext cx="419693" cy="419693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521E82B7-A98D-4AC6-AC9D-DE022FE7B8D1}"/>
                </a:ext>
              </a:extLst>
            </p:cNvPr>
            <p:cNvSpPr/>
            <p:nvPr userDrawn="1"/>
          </p:nvSpPr>
          <p:spPr>
            <a:xfrm flipH="1">
              <a:off x="11773747" y="-6"/>
              <a:ext cx="419693" cy="314769"/>
            </a:xfrm>
            <a:custGeom>
              <a:avLst/>
              <a:gdLst>
                <a:gd name="connsiteX0" fmla="*/ 793 w 590237"/>
                <a:gd name="connsiteY0" fmla="*/ 221339 h 442678"/>
                <a:gd name="connsiteX1" fmla="*/ 90 w 590237"/>
                <a:gd name="connsiteY1" fmla="*/ 21080 h 442678"/>
                <a:gd name="connsiteX2" fmla="*/ 21873 w 590237"/>
                <a:gd name="connsiteY2" fmla="*/ 0 h 442678"/>
                <a:gd name="connsiteX3" fmla="*/ 424499 w 590237"/>
                <a:gd name="connsiteY3" fmla="*/ 0 h 442678"/>
                <a:gd name="connsiteX4" fmla="*/ 444174 w 590237"/>
                <a:gd name="connsiteY4" fmla="*/ 19675 h 442678"/>
                <a:gd name="connsiteX5" fmla="*/ 443471 w 590237"/>
                <a:gd name="connsiteY5" fmla="*/ 137722 h 442678"/>
                <a:gd name="connsiteX6" fmla="*/ 455416 w 590237"/>
                <a:gd name="connsiteY6" fmla="*/ 169342 h 442678"/>
                <a:gd name="connsiteX7" fmla="*/ 482118 w 590237"/>
                <a:gd name="connsiteY7" fmla="*/ 168639 h 442678"/>
                <a:gd name="connsiteX8" fmla="*/ 541142 w 590237"/>
                <a:gd name="connsiteY8" fmla="*/ 142641 h 442678"/>
                <a:gd name="connsiteX9" fmla="*/ 591030 w 590237"/>
                <a:gd name="connsiteY9" fmla="*/ 214313 h 442678"/>
                <a:gd name="connsiteX10" fmla="*/ 555195 w 590237"/>
                <a:gd name="connsiteY10" fmla="*/ 294416 h 442678"/>
                <a:gd name="connsiteX11" fmla="*/ 487739 w 590237"/>
                <a:gd name="connsiteY11" fmla="*/ 283876 h 442678"/>
                <a:gd name="connsiteX12" fmla="*/ 463848 w 590237"/>
                <a:gd name="connsiteY12" fmla="*/ 268418 h 442678"/>
                <a:gd name="connsiteX13" fmla="*/ 442769 w 590237"/>
                <a:gd name="connsiteY13" fmla="*/ 303551 h 442678"/>
                <a:gd name="connsiteX14" fmla="*/ 443471 w 590237"/>
                <a:gd name="connsiteY14" fmla="*/ 421598 h 442678"/>
                <a:gd name="connsiteX15" fmla="*/ 421689 w 590237"/>
                <a:gd name="connsiteY15" fmla="*/ 444786 h 442678"/>
                <a:gd name="connsiteX16" fmla="*/ 306452 w 590237"/>
                <a:gd name="connsiteY16" fmla="*/ 444786 h 442678"/>
                <a:gd name="connsiteX17" fmla="*/ 270616 w 590237"/>
                <a:gd name="connsiteY17" fmla="*/ 433544 h 442678"/>
                <a:gd name="connsiteX18" fmla="*/ 269210 w 590237"/>
                <a:gd name="connsiteY18" fmla="*/ 381547 h 442678"/>
                <a:gd name="connsiteX19" fmla="*/ 267103 w 590237"/>
                <a:gd name="connsiteY19" fmla="*/ 307767 h 442678"/>
                <a:gd name="connsiteX20" fmla="*/ 157487 w 590237"/>
                <a:gd name="connsiteY20" fmla="*/ 330252 h 442678"/>
                <a:gd name="connsiteX21" fmla="*/ 170135 w 590237"/>
                <a:gd name="connsiteY21" fmla="*/ 377331 h 442678"/>
                <a:gd name="connsiteX22" fmla="*/ 189810 w 590237"/>
                <a:gd name="connsiteY22" fmla="*/ 411761 h 442678"/>
                <a:gd name="connsiteX23" fmla="*/ 145542 w 590237"/>
                <a:gd name="connsiteY23" fmla="*/ 444084 h 442678"/>
                <a:gd name="connsiteX24" fmla="*/ 14144 w 590237"/>
                <a:gd name="connsiteY24" fmla="*/ 444786 h 442678"/>
                <a:gd name="connsiteX25" fmla="*/ 90 w 590237"/>
                <a:gd name="connsiteY25" fmla="*/ 425112 h 442678"/>
                <a:gd name="connsiteX26" fmla="*/ 793 w 590237"/>
                <a:gd name="connsiteY26" fmla="*/ 22133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0237" h="442678">
                  <a:moveTo>
                    <a:pt x="793" y="221339"/>
                  </a:moveTo>
                  <a:cubicBezTo>
                    <a:pt x="793" y="154586"/>
                    <a:pt x="1495" y="87833"/>
                    <a:pt x="90" y="21080"/>
                  </a:cubicBezTo>
                  <a:cubicBezTo>
                    <a:pt x="90" y="4216"/>
                    <a:pt x="5009" y="0"/>
                    <a:pt x="21873" y="0"/>
                  </a:cubicBezTo>
                  <a:cubicBezTo>
                    <a:pt x="156082" y="703"/>
                    <a:pt x="290290" y="703"/>
                    <a:pt x="424499" y="0"/>
                  </a:cubicBezTo>
                  <a:cubicBezTo>
                    <a:pt x="439958" y="0"/>
                    <a:pt x="444876" y="4216"/>
                    <a:pt x="444174" y="19675"/>
                  </a:cubicBezTo>
                  <a:cubicBezTo>
                    <a:pt x="442769" y="59024"/>
                    <a:pt x="444174" y="98373"/>
                    <a:pt x="443471" y="137722"/>
                  </a:cubicBezTo>
                  <a:cubicBezTo>
                    <a:pt x="443471" y="150370"/>
                    <a:pt x="446282" y="160910"/>
                    <a:pt x="455416" y="169342"/>
                  </a:cubicBezTo>
                  <a:cubicBezTo>
                    <a:pt x="465254" y="178477"/>
                    <a:pt x="472983" y="180585"/>
                    <a:pt x="482118" y="168639"/>
                  </a:cubicBezTo>
                  <a:cubicBezTo>
                    <a:pt x="496874" y="149667"/>
                    <a:pt x="513035" y="131398"/>
                    <a:pt x="541142" y="142641"/>
                  </a:cubicBezTo>
                  <a:cubicBezTo>
                    <a:pt x="571356" y="154586"/>
                    <a:pt x="588923" y="181287"/>
                    <a:pt x="591030" y="214313"/>
                  </a:cubicBezTo>
                  <a:cubicBezTo>
                    <a:pt x="593139" y="248040"/>
                    <a:pt x="584707" y="275444"/>
                    <a:pt x="555195" y="294416"/>
                  </a:cubicBezTo>
                  <a:cubicBezTo>
                    <a:pt x="529899" y="311280"/>
                    <a:pt x="510224" y="307767"/>
                    <a:pt x="487739" y="283876"/>
                  </a:cubicBezTo>
                  <a:cubicBezTo>
                    <a:pt x="481415" y="276850"/>
                    <a:pt x="478604" y="260688"/>
                    <a:pt x="463848" y="268418"/>
                  </a:cubicBezTo>
                  <a:cubicBezTo>
                    <a:pt x="449795" y="275444"/>
                    <a:pt x="442066" y="286687"/>
                    <a:pt x="442769" y="303551"/>
                  </a:cubicBezTo>
                  <a:cubicBezTo>
                    <a:pt x="443471" y="342900"/>
                    <a:pt x="442066" y="382249"/>
                    <a:pt x="443471" y="421598"/>
                  </a:cubicBezTo>
                  <a:cubicBezTo>
                    <a:pt x="444174" y="438462"/>
                    <a:pt x="440660" y="445489"/>
                    <a:pt x="421689" y="444786"/>
                  </a:cubicBezTo>
                  <a:cubicBezTo>
                    <a:pt x="383745" y="443381"/>
                    <a:pt x="345098" y="444084"/>
                    <a:pt x="306452" y="444786"/>
                  </a:cubicBezTo>
                  <a:cubicBezTo>
                    <a:pt x="293101" y="444786"/>
                    <a:pt x="281156" y="441976"/>
                    <a:pt x="270616" y="433544"/>
                  </a:cubicBezTo>
                  <a:cubicBezTo>
                    <a:pt x="248131" y="415274"/>
                    <a:pt x="247428" y="400518"/>
                    <a:pt x="269210" y="381547"/>
                  </a:cubicBezTo>
                  <a:cubicBezTo>
                    <a:pt x="298722" y="355548"/>
                    <a:pt x="298020" y="332360"/>
                    <a:pt x="267103" y="307767"/>
                  </a:cubicBezTo>
                  <a:cubicBezTo>
                    <a:pt x="234077" y="281768"/>
                    <a:pt x="177864" y="293714"/>
                    <a:pt x="157487" y="330252"/>
                  </a:cubicBezTo>
                  <a:cubicBezTo>
                    <a:pt x="146244" y="350629"/>
                    <a:pt x="155379" y="363980"/>
                    <a:pt x="170135" y="377331"/>
                  </a:cubicBezTo>
                  <a:cubicBezTo>
                    <a:pt x="180675" y="386465"/>
                    <a:pt x="198241" y="392789"/>
                    <a:pt x="189810" y="411761"/>
                  </a:cubicBezTo>
                  <a:cubicBezTo>
                    <a:pt x="181377" y="430030"/>
                    <a:pt x="167324" y="443381"/>
                    <a:pt x="145542" y="444084"/>
                  </a:cubicBezTo>
                  <a:cubicBezTo>
                    <a:pt x="101977" y="444786"/>
                    <a:pt x="57709" y="444084"/>
                    <a:pt x="14144" y="444786"/>
                  </a:cubicBezTo>
                  <a:cubicBezTo>
                    <a:pt x="-2018" y="444786"/>
                    <a:pt x="90" y="434949"/>
                    <a:pt x="90" y="425112"/>
                  </a:cubicBezTo>
                  <a:cubicBezTo>
                    <a:pt x="793" y="356251"/>
                    <a:pt x="793" y="288795"/>
                    <a:pt x="793" y="22133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3074BB35-5970-4005-9C46-726E495379EB}"/>
                </a:ext>
              </a:extLst>
            </p:cNvPr>
            <p:cNvSpPr/>
            <p:nvPr userDrawn="1"/>
          </p:nvSpPr>
          <p:spPr>
            <a:xfrm rot="10800000">
              <a:off x="11565291" y="-3956"/>
              <a:ext cx="314769" cy="419693"/>
            </a:xfrm>
            <a:custGeom>
              <a:avLst/>
              <a:gdLst>
                <a:gd name="connsiteX0" fmla="*/ 222808 w 442678"/>
                <a:gd name="connsiteY0" fmla="*/ 592910 h 590237"/>
                <a:gd name="connsiteX1" fmla="*/ 22549 w 442678"/>
                <a:gd name="connsiteY1" fmla="*/ 593613 h 590237"/>
                <a:gd name="connsiteX2" fmla="*/ 64 w 442678"/>
                <a:gd name="connsiteY2" fmla="*/ 570425 h 590237"/>
                <a:gd name="connsiteX3" fmla="*/ 64 w 442678"/>
                <a:gd name="connsiteY3" fmla="*/ 457998 h 590237"/>
                <a:gd name="connsiteX4" fmla="*/ 15523 w 442678"/>
                <a:gd name="connsiteY4" fmla="*/ 415839 h 590237"/>
                <a:gd name="connsiteX5" fmla="*/ 62601 w 442678"/>
                <a:gd name="connsiteY5" fmla="*/ 417947 h 590237"/>
                <a:gd name="connsiteX6" fmla="*/ 104761 w 442678"/>
                <a:gd name="connsiteY6" fmla="*/ 440432 h 590237"/>
                <a:gd name="connsiteX7" fmla="*/ 147624 w 442678"/>
                <a:gd name="connsiteY7" fmla="*/ 391245 h 590237"/>
                <a:gd name="connsiteX8" fmla="*/ 127246 w 442678"/>
                <a:gd name="connsiteY8" fmla="*/ 316061 h 590237"/>
                <a:gd name="connsiteX9" fmla="*/ 66817 w 442678"/>
                <a:gd name="connsiteY9" fmla="*/ 319574 h 590237"/>
                <a:gd name="connsiteX10" fmla="*/ 35900 w 442678"/>
                <a:gd name="connsiteY10" fmla="*/ 339249 h 590237"/>
                <a:gd name="connsiteX11" fmla="*/ 1469 w 442678"/>
                <a:gd name="connsiteY11" fmla="*/ 297791 h 590237"/>
                <a:gd name="connsiteX12" fmla="*/ 767 w 442678"/>
                <a:gd name="connsiteY12" fmla="*/ 163583 h 590237"/>
                <a:gd name="connsiteX13" fmla="*/ 19036 w 442678"/>
                <a:gd name="connsiteY13" fmla="*/ 150934 h 590237"/>
                <a:gd name="connsiteX14" fmla="*/ 137084 w 442678"/>
                <a:gd name="connsiteY14" fmla="*/ 150934 h 590237"/>
                <a:gd name="connsiteX15" fmla="*/ 165190 w 442678"/>
                <a:gd name="connsiteY15" fmla="*/ 143205 h 590237"/>
                <a:gd name="connsiteX16" fmla="*/ 166595 w 442678"/>
                <a:gd name="connsiteY16" fmla="*/ 107369 h 590237"/>
                <a:gd name="connsiteX17" fmla="*/ 163785 w 442678"/>
                <a:gd name="connsiteY17" fmla="*/ 22347 h 590237"/>
                <a:gd name="connsiteX18" fmla="*/ 290967 w 442678"/>
                <a:gd name="connsiteY18" fmla="*/ 30779 h 590237"/>
                <a:gd name="connsiteX19" fmla="*/ 286048 w 442678"/>
                <a:gd name="connsiteY19" fmla="*/ 104559 h 590237"/>
                <a:gd name="connsiteX20" fmla="*/ 270590 w 442678"/>
                <a:gd name="connsiteY20" fmla="*/ 129152 h 590237"/>
                <a:gd name="connsiteX21" fmla="*/ 303615 w 442678"/>
                <a:gd name="connsiteY21" fmla="*/ 150232 h 590237"/>
                <a:gd name="connsiteX22" fmla="*/ 421662 w 442678"/>
                <a:gd name="connsiteY22" fmla="*/ 149529 h 590237"/>
                <a:gd name="connsiteX23" fmla="*/ 446256 w 442678"/>
                <a:gd name="connsiteY23" fmla="*/ 175528 h 590237"/>
                <a:gd name="connsiteX24" fmla="*/ 446256 w 442678"/>
                <a:gd name="connsiteY24" fmla="*/ 287954 h 590237"/>
                <a:gd name="connsiteX25" fmla="*/ 428689 w 442678"/>
                <a:gd name="connsiteY25" fmla="*/ 329411 h 590237"/>
                <a:gd name="connsiteX26" fmla="*/ 385827 w 442678"/>
                <a:gd name="connsiteY26" fmla="*/ 327303 h 590237"/>
                <a:gd name="connsiteX27" fmla="*/ 342261 w 442678"/>
                <a:gd name="connsiteY27" fmla="*/ 303412 h 590237"/>
                <a:gd name="connsiteX28" fmla="*/ 298696 w 442678"/>
                <a:gd name="connsiteY28" fmla="*/ 357518 h 590237"/>
                <a:gd name="connsiteX29" fmla="*/ 318371 w 442678"/>
                <a:gd name="connsiteY29" fmla="*/ 425676 h 590237"/>
                <a:gd name="connsiteX30" fmla="*/ 380908 w 442678"/>
                <a:gd name="connsiteY30" fmla="*/ 422865 h 590237"/>
                <a:gd name="connsiteX31" fmla="*/ 415338 w 442678"/>
                <a:gd name="connsiteY31" fmla="*/ 404596 h 590237"/>
                <a:gd name="connsiteX32" fmla="*/ 446256 w 442678"/>
                <a:gd name="connsiteY32" fmla="*/ 446054 h 590237"/>
                <a:gd name="connsiteX33" fmla="*/ 446958 w 442678"/>
                <a:gd name="connsiteY33" fmla="*/ 577451 h 590237"/>
                <a:gd name="connsiteX34" fmla="*/ 425878 w 442678"/>
                <a:gd name="connsiteY34" fmla="*/ 592910 h 590237"/>
                <a:gd name="connsiteX35" fmla="*/ 222808 w 442678"/>
                <a:gd name="connsiteY35" fmla="*/ 59291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222808" y="592910"/>
                  </a:moveTo>
                  <a:cubicBezTo>
                    <a:pt x="156055" y="592910"/>
                    <a:pt x="89302" y="592208"/>
                    <a:pt x="22549" y="593613"/>
                  </a:cubicBezTo>
                  <a:cubicBezTo>
                    <a:pt x="4280" y="593613"/>
                    <a:pt x="-639" y="588694"/>
                    <a:pt x="64" y="570425"/>
                  </a:cubicBezTo>
                  <a:cubicBezTo>
                    <a:pt x="1469" y="533184"/>
                    <a:pt x="767" y="495240"/>
                    <a:pt x="64" y="457998"/>
                  </a:cubicBezTo>
                  <a:cubicBezTo>
                    <a:pt x="64" y="441837"/>
                    <a:pt x="3577" y="427784"/>
                    <a:pt x="15523" y="415839"/>
                  </a:cubicBezTo>
                  <a:cubicBezTo>
                    <a:pt x="33792" y="397570"/>
                    <a:pt x="45035" y="397570"/>
                    <a:pt x="62601" y="417947"/>
                  </a:cubicBezTo>
                  <a:cubicBezTo>
                    <a:pt x="73844" y="431297"/>
                    <a:pt x="85086" y="448161"/>
                    <a:pt x="104761" y="440432"/>
                  </a:cubicBezTo>
                  <a:cubicBezTo>
                    <a:pt x="126544" y="432000"/>
                    <a:pt x="144813" y="417244"/>
                    <a:pt x="147624" y="391245"/>
                  </a:cubicBezTo>
                  <a:cubicBezTo>
                    <a:pt x="150434" y="363842"/>
                    <a:pt x="152542" y="336438"/>
                    <a:pt x="127246" y="316061"/>
                  </a:cubicBezTo>
                  <a:cubicBezTo>
                    <a:pt x="102653" y="295683"/>
                    <a:pt x="87897" y="296386"/>
                    <a:pt x="66817" y="319574"/>
                  </a:cubicBezTo>
                  <a:cubicBezTo>
                    <a:pt x="58385" y="328709"/>
                    <a:pt x="54169" y="345572"/>
                    <a:pt x="35900" y="339249"/>
                  </a:cubicBezTo>
                  <a:cubicBezTo>
                    <a:pt x="15523" y="332222"/>
                    <a:pt x="2172" y="318169"/>
                    <a:pt x="1469" y="297791"/>
                  </a:cubicBezTo>
                  <a:cubicBezTo>
                    <a:pt x="-639" y="252821"/>
                    <a:pt x="1469" y="208553"/>
                    <a:pt x="767" y="163583"/>
                  </a:cubicBezTo>
                  <a:cubicBezTo>
                    <a:pt x="767" y="148827"/>
                    <a:pt x="9901" y="150934"/>
                    <a:pt x="19036" y="150934"/>
                  </a:cubicBezTo>
                  <a:cubicBezTo>
                    <a:pt x="58385" y="150934"/>
                    <a:pt x="97734" y="150934"/>
                    <a:pt x="137084" y="150934"/>
                  </a:cubicBezTo>
                  <a:cubicBezTo>
                    <a:pt x="147624" y="150934"/>
                    <a:pt x="157461" y="150232"/>
                    <a:pt x="165190" y="143205"/>
                  </a:cubicBezTo>
                  <a:cubicBezTo>
                    <a:pt x="178541" y="131963"/>
                    <a:pt x="185567" y="122828"/>
                    <a:pt x="166595" y="107369"/>
                  </a:cubicBezTo>
                  <a:cubicBezTo>
                    <a:pt x="132165" y="80668"/>
                    <a:pt x="132165" y="53264"/>
                    <a:pt x="163785" y="22347"/>
                  </a:cubicBezTo>
                  <a:cubicBezTo>
                    <a:pt x="197513" y="-10678"/>
                    <a:pt x="260752" y="-6462"/>
                    <a:pt x="290967" y="30779"/>
                  </a:cubicBezTo>
                  <a:cubicBezTo>
                    <a:pt x="314155" y="58885"/>
                    <a:pt x="312047" y="79263"/>
                    <a:pt x="286048" y="104559"/>
                  </a:cubicBezTo>
                  <a:cubicBezTo>
                    <a:pt x="279022" y="111585"/>
                    <a:pt x="263563" y="115099"/>
                    <a:pt x="270590" y="129152"/>
                  </a:cubicBezTo>
                  <a:cubicBezTo>
                    <a:pt x="276914" y="141800"/>
                    <a:pt x="288156" y="150232"/>
                    <a:pt x="303615" y="150232"/>
                  </a:cubicBezTo>
                  <a:cubicBezTo>
                    <a:pt x="342964" y="150232"/>
                    <a:pt x="382313" y="151637"/>
                    <a:pt x="421662" y="149529"/>
                  </a:cubicBezTo>
                  <a:cubicBezTo>
                    <a:pt x="443445" y="148124"/>
                    <a:pt x="446958" y="155853"/>
                    <a:pt x="446256" y="175528"/>
                  </a:cubicBezTo>
                  <a:cubicBezTo>
                    <a:pt x="444850" y="212769"/>
                    <a:pt x="445553" y="250713"/>
                    <a:pt x="446256" y="287954"/>
                  </a:cubicBezTo>
                  <a:cubicBezTo>
                    <a:pt x="446256" y="304818"/>
                    <a:pt x="441337" y="318169"/>
                    <a:pt x="428689" y="329411"/>
                  </a:cubicBezTo>
                  <a:cubicBezTo>
                    <a:pt x="413933" y="342059"/>
                    <a:pt x="399880" y="346275"/>
                    <a:pt x="385827" y="327303"/>
                  </a:cubicBezTo>
                  <a:cubicBezTo>
                    <a:pt x="375287" y="313250"/>
                    <a:pt x="364044" y="295683"/>
                    <a:pt x="342261" y="303412"/>
                  </a:cubicBezTo>
                  <a:cubicBezTo>
                    <a:pt x="316965" y="312547"/>
                    <a:pt x="300804" y="330114"/>
                    <a:pt x="298696" y="357518"/>
                  </a:cubicBezTo>
                  <a:cubicBezTo>
                    <a:pt x="296588" y="382814"/>
                    <a:pt x="297994" y="406704"/>
                    <a:pt x="318371" y="425676"/>
                  </a:cubicBezTo>
                  <a:cubicBezTo>
                    <a:pt x="342964" y="448161"/>
                    <a:pt x="358423" y="447459"/>
                    <a:pt x="380908" y="422865"/>
                  </a:cubicBezTo>
                  <a:cubicBezTo>
                    <a:pt x="390043" y="412325"/>
                    <a:pt x="397069" y="395462"/>
                    <a:pt x="415338" y="404596"/>
                  </a:cubicBezTo>
                  <a:cubicBezTo>
                    <a:pt x="432202" y="413028"/>
                    <a:pt x="445553" y="425676"/>
                    <a:pt x="446256" y="446054"/>
                  </a:cubicBezTo>
                  <a:cubicBezTo>
                    <a:pt x="446958" y="489618"/>
                    <a:pt x="445553" y="533887"/>
                    <a:pt x="446958" y="577451"/>
                  </a:cubicBezTo>
                  <a:cubicBezTo>
                    <a:pt x="447661" y="595721"/>
                    <a:pt x="436418" y="592910"/>
                    <a:pt x="425878" y="592910"/>
                  </a:cubicBezTo>
                  <a:cubicBezTo>
                    <a:pt x="355612" y="592910"/>
                    <a:pt x="288859" y="592910"/>
                    <a:pt x="222808" y="59291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F57C1E97-7F77-468C-BD5C-17BDEA061CBE}"/>
              </a:ext>
            </a:extLst>
          </p:cNvPr>
          <p:cNvGrpSpPr/>
          <p:nvPr userDrawn="1"/>
        </p:nvGrpSpPr>
        <p:grpSpPr>
          <a:xfrm rot="10800000">
            <a:off x="11773586" y="196651"/>
            <a:ext cx="424308" cy="6470552"/>
            <a:chOff x="0" y="209318"/>
            <a:chExt cx="424308" cy="6470552"/>
          </a:xfrm>
        </p:grpSpPr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065E2D53-D990-40B2-B358-BCC3139DAA64}"/>
                </a:ext>
              </a:extLst>
            </p:cNvPr>
            <p:cNvSpPr/>
            <p:nvPr userDrawn="1"/>
          </p:nvSpPr>
          <p:spPr>
            <a:xfrm>
              <a:off x="1" y="1885319"/>
              <a:ext cx="419693" cy="419693"/>
            </a:xfrm>
            <a:custGeom>
              <a:avLst/>
              <a:gdLst>
                <a:gd name="connsiteX0" fmla="*/ 2191 w 590237"/>
                <a:gd name="connsiteY0" fmla="*/ 222106 h 590237"/>
                <a:gd name="connsiteX1" fmla="*/ 1488 w 590237"/>
                <a:gd name="connsiteY1" fmla="*/ 22549 h 590237"/>
                <a:gd name="connsiteX2" fmla="*/ 23973 w 590237"/>
                <a:gd name="connsiteY2" fmla="*/ 64 h 590237"/>
                <a:gd name="connsiteX3" fmla="*/ 136400 w 590237"/>
                <a:gd name="connsiteY3" fmla="*/ 767 h 590237"/>
                <a:gd name="connsiteX4" fmla="*/ 176451 w 590237"/>
                <a:gd name="connsiteY4" fmla="*/ 14820 h 590237"/>
                <a:gd name="connsiteX5" fmla="*/ 175749 w 590237"/>
                <a:gd name="connsiteY5" fmla="*/ 63304 h 590237"/>
                <a:gd name="connsiteX6" fmla="*/ 182775 w 590237"/>
                <a:gd name="connsiteY6" fmla="*/ 141300 h 590237"/>
                <a:gd name="connsiteX7" fmla="*/ 277635 w 590237"/>
                <a:gd name="connsiteY7" fmla="*/ 127949 h 590237"/>
                <a:gd name="connsiteX8" fmla="*/ 274122 w 590237"/>
                <a:gd name="connsiteY8" fmla="*/ 67520 h 590237"/>
                <a:gd name="connsiteX9" fmla="*/ 254447 w 590237"/>
                <a:gd name="connsiteY9" fmla="*/ 35900 h 590237"/>
                <a:gd name="connsiteX10" fmla="*/ 290986 w 590237"/>
                <a:gd name="connsiteY10" fmla="*/ 3577 h 590237"/>
                <a:gd name="connsiteX11" fmla="*/ 432924 w 590237"/>
                <a:gd name="connsiteY11" fmla="*/ 1469 h 590237"/>
                <a:gd name="connsiteX12" fmla="*/ 442761 w 590237"/>
                <a:gd name="connsiteY12" fmla="*/ 19739 h 590237"/>
                <a:gd name="connsiteX13" fmla="*/ 442761 w 590237"/>
                <a:gd name="connsiteY13" fmla="*/ 134976 h 590237"/>
                <a:gd name="connsiteX14" fmla="*/ 446977 w 590237"/>
                <a:gd name="connsiteY14" fmla="*/ 161677 h 590237"/>
                <a:gd name="connsiteX15" fmla="*/ 484921 w 590237"/>
                <a:gd name="connsiteY15" fmla="*/ 166595 h 590237"/>
                <a:gd name="connsiteX16" fmla="*/ 568538 w 590237"/>
                <a:gd name="connsiteY16" fmla="*/ 163082 h 590237"/>
                <a:gd name="connsiteX17" fmla="*/ 543242 w 590237"/>
                <a:gd name="connsiteY17" fmla="*/ 302912 h 590237"/>
                <a:gd name="connsiteX18" fmla="*/ 489840 w 590237"/>
                <a:gd name="connsiteY18" fmla="*/ 288156 h 590237"/>
                <a:gd name="connsiteX19" fmla="*/ 463138 w 590237"/>
                <a:gd name="connsiteY19" fmla="*/ 270590 h 590237"/>
                <a:gd name="connsiteX20" fmla="*/ 442058 w 590237"/>
                <a:gd name="connsiteY20" fmla="*/ 309236 h 590237"/>
                <a:gd name="connsiteX21" fmla="*/ 442761 w 590237"/>
                <a:gd name="connsiteY21" fmla="*/ 418852 h 590237"/>
                <a:gd name="connsiteX22" fmla="*/ 416762 w 590237"/>
                <a:gd name="connsiteY22" fmla="*/ 446256 h 590237"/>
                <a:gd name="connsiteX23" fmla="*/ 307147 w 590237"/>
                <a:gd name="connsiteY23" fmla="*/ 445553 h 590237"/>
                <a:gd name="connsiteX24" fmla="*/ 274824 w 590237"/>
                <a:gd name="connsiteY24" fmla="*/ 456796 h 590237"/>
                <a:gd name="connsiteX25" fmla="*/ 274824 w 590237"/>
                <a:gd name="connsiteY25" fmla="*/ 484902 h 590237"/>
                <a:gd name="connsiteX26" fmla="*/ 300120 w 590237"/>
                <a:gd name="connsiteY26" fmla="*/ 544629 h 590237"/>
                <a:gd name="connsiteX27" fmla="*/ 233367 w 590237"/>
                <a:gd name="connsiteY27" fmla="*/ 593113 h 590237"/>
                <a:gd name="connsiteX28" fmla="*/ 151156 w 590237"/>
                <a:gd name="connsiteY28" fmla="*/ 562195 h 590237"/>
                <a:gd name="connsiteX29" fmla="*/ 157480 w 590237"/>
                <a:gd name="connsiteY29" fmla="*/ 492632 h 590237"/>
                <a:gd name="connsiteX30" fmla="*/ 174343 w 590237"/>
                <a:gd name="connsiteY30" fmla="*/ 465930 h 590237"/>
                <a:gd name="connsiteX31" fmla="*/ 138508 w 590237"/>
                <a:gd name="connsiteY31" fmla="*/ 445553 h 590237"/>
                <a:gd name="connsiteX32" fmla="*/ 20460 w 590237"/>
                <a:gd name="connsiteY32" fmla="*/ 446256 h 590237"/>
                <a:gd name="connsiteX33" fmla="*/ 83 w 590237"/>
                <a:gd name="connsiteY33" fmla="*/ 425176 h 590237"/>
                <a:gd name="connsiteX34" fmla="*/ 2191 w 590237"/>
                <a:gd name="connsiteY34" fmla="*/ 222106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90237" h="590237">
                  <a:moveTo>
                    <a:pt x="2191" y="222106"/>
                  </a:moveTo>
                  <a:cubicBezTo>
                    <a:pt x="2191" y="155353"/>
                    <a:pt x="2893" y="88600"/>
                    <a:pt x="1488" y="22549"/>
                  </a:cubicBezTo>
                  <a:cubicBezTo>
                    <a:pt x="1488" y="4280"/>
                    <a:pt x="6407" y="-639"/>
                    <a:pt x="23973" y="64"/>
                  </a:cubicBezTo>
                  <a:cubicBezTo>
                    <a:pt x="61215" y="1469"/>
                    <a:pt x="98456" y="767"/>
                    <a:pt x="136400" y="767"/>
                  </a:cubicBezTo>
                  <a:cubicBezTo>
                    <a:pt x="151156" y="767"/>
                    <a:pt x="165209" y="3577"/>
                    <a:pt x="176451" y="14820"/>
                  </a:cubicBezTo>
                  <a:cubicBezTo>
                    <a:pt x="196126" y="33792"/>
                    <a:pt x="197531" y="47143"/>
                    <a:pt x="175749" y="63304"/>
                  </a:cubicBezTo>
                  <a:cubicBezTo>
                    <a:pt x="134994" y="92816"/>
                    <a:pt x="153264" y="120220"/>
                    <a:pt x="182775" y="141300"/>
                  </a:cubicBezTo>
                  <a:cubicBezTo>
                    <a:pt x="208774" y="160271"/>
                    <a:pt x="256555" y="151840"/>
                    <a:pt x="277635" y="127949"/>
                  </a:cubicBezTo>
                  <a:cubicBezTo>
                    <a:pt x="299418" y="103356"/>
                    <a:pt x="298012" y="89302"/>
                    <a:pt x="274122" y="67520"/>
                  </a:cubicBezTo>
                  <a:cubicBezTo>
                    <a:pt x="264987" y="59088"/>
                    <a:pt x="248123" y="54169"/>
                    <a:pt x="254447" y="35900"/>
                  </a:cubicBezTo>
                  <a:cubicBezTo>
                    <a:pt x="260069" y="18333"/>
                    <a:pt x="272716" y="4280"/>
                    <a:pt x="290986" y="3577"/>
                  </a:cubicBezTo>
                  <a:cubicBezTo>
                    <a:pt x="338064" y="1469"/>
                    <a:pt x="385845" y="1469"/>
                    <a:pt x="432924" y="1469"/>
                  </a:cubicBezTo>
                  <a:cubicBezTo>
                    <a:pt x="446274" y="1469"/>
                    <a:pt x="442761" y="12009"/>
                    <a:pt x="442761" y="19739"/>
                  </a:cubicBezTo>
                  <a:cubicBezTo>
                    <a:pt x="442761" y="58385"/>
                    <a:pt x="442761" y="96329"/>
                    <a:pt x="442761" y="134976"/>
                  </a:cubicBezTo>
                  <a:cubicBezTo>
                    <a:pt x="442761" y="144110"/>
                    <a:pt x="442761" y="153245"/>
                    <a:pt x="446977" y="161677"/>
                  </a:cubicBezTo>
                  <a:cubicBezTo>
                    <a:pt x="457517" y="181351"/>
                    <a:pt x="470165" y="182757"/>
                    <a:pt x="484921" y="166595"/>
                  </a:cubicBezTo>
                  <a:cubicBezTo>
                    <a:pt x="513028" y="134273"/>
                    <a:pt x="537621" y="133570"/>
                    <a:pt x="568538" y="163082"/>
                  </a:cubicBezTo>
                  <a:cubicBezTo>
                    <a:pt x="609995" y="203134"/>
                    <a:pt x="595942" y="279724"/>
                    <a:pt x="543242" y="302912"/>
                  </a:cubicBezTo>
                  <a:cubicBezTo>
                    <a:pt x="520757" y="312750"/>
                    <a:pt x="505298" y="302912"/>
                    <a:pt x="489840" y="288156"/>
                  </a:cubicBezTo>
                  <a:cubicBezTo>
                    <a:pt x="482110" y="281130"/>
                    <a:pt x="479300" y="262860"/>
                    <a:pt x="463138" y="270590"/>
                  </a:cubicBezTo>
                  <a:cubicBezTo>
                    <a:pt x="447680" y="277616"/>
                    <a:pt x="442058" y="291670"/>
                    <a:pt x="442058" y="309236"/>
                  </a:cubicBezTo>
                  <a:cubicBezTo>
                    <a:pt x="442761" y="345775"/>
                    <a:pt x="441356" y="382313"/>
                    <a:pt x="442761" y="418852"/>
                  </a:cubicBezTo>
                  <a:cubicBezTo>
                    <a:pt x="443464" y="439229"/>
                    <a:pt x="439950" y="447661"/>
                    <a:pt x="416762" y="446256"/>
                  </a:cubicBezTo>
                  <a:cubicBezTo>
                    <a:pt x="380224" y="444148"/>
                    <a:pt x="343685" y="446256"/>
                    <a:pt x="307147" y="445553"/>
                  </a:cubicBezTo>
                  <a:cubicBezTo>
                    <a:pt x="294499" y="445553"/>
                    <a:pt x="283959" y="448364"/>
                    <a:pt x="274824" y="456796"/>
                  </a:cubicBezTo>
                  <a:cubicBezTo>
                    <a:pt x="264987" y="465930"/>
                    <a:pt x="260069" y="474362"/>
                    <a:pt x="274824" y="484902"/>
                  </a:cubicBezTo>
                  <a:cubicBezTo>
                    <a:pt x="295202" y="498955"/>
                    <a:pt x="312066" y="517225"/>
                    <a:pt x="300120" y="544629"/>
                  </a:cubicBezTo>
                  <a:cubicBezTo>
                    <a:pt x="287472" y="572735"/>
                    <a:pt x="267095" y="591707"/>
                    <a:pt x="233367" y="593113"/>
                  </a:cubicBezTo>
                  <a:cubicBezTo>
                    <a:pt x="201045" y="595221"/>
                    <a:pt x="171533" y="591004"/>
                    <a:pt x="151156" y="562195"/>
                  </a:cubicBezTo>
                  <a:cubicBezTo>
                    <a:pt x="132184" y="535494"/>
                    <a:pt x="133589" y="515819"/>
                    <a:pt x="157480" y="492632"/>
                  </a:cubicBezTo>
                  <a:cubicBezTo>
                    <a:pt x="164506" y="485605"/>
                    <a:pt x="182775" y="482092"/>
                    <a:pt x="174343" y="465930"/>
                  </a:cubicBezTo>
                  <a:cubicBezTo>
                    <a:pt x="167317" y="452580"/>
                    <a:pt x="154669" y="445553"/>
                    <a:pt x="138508" y="445553"/>
                  </a:cubicBezTo>
                  <a:cubicBezTo>
                    <a:pt x="99158" y="446256"/>
                    <a:pt x="59809" y="444850"/>
                    <a:pt x="20460" y="446256"/>
                  </a:cubicBezTo>
                  <a:cubicBezTo>
                    <a:pt x="2893" y="446958"/>
                    <a:pt x="-620" y="441337"/>
                    <a:pt x="83" y="425176"/>
                  </a:cubicBezTo>
                  <a:cubicBezTo>
                    <a:pt x="2893" y="355612"/>
                    <a:pt x="2191" y="288859"/>
                    <a:pt x="2191" y="22210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0E904946-1D04-42AD-B675-BC2FFD376D86}"/>
                </a:ext>
              </a:extLst>
            </p:cNvPr>
            <p:cNvGrpSpPr/>
            <p:nvPr userDrawn="1"/>
          </p:nvGrpSpPr>
          <p:grpSpPr>
            <a:xfrm rot="5400000">
              <a:off x="-2027147" y="4229434"/>
              <a:ext cx="4477583" cy="423289"/>
              <a:chOff x="1285960" y="3552413"/>
              <a:chExt cx="4477583" cy="423289"/>
            </a:xfrm>
          </p:grpSpPr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18F935DC-0489-46F5-B8AD-FB74B2CA94DF}"/>
                  </a:ext>
                </a:extLst>
              </p:cNvPr>
              <p:cNvSpPr/>
              <p:nvPr userDrawn="1"/>
            </p:nvSpPr>
            <p:spPr>
              <a:xfrm>
                <a:off x="5238927" y="3658768"/>
                <a:ext cx="524616" cy="314770"/>
              </a:xfrm>
              <a:custGeom>
                <a:avLst/>
                <a:gdLst>
                  <a:gd name="connsiteX0" fmla="*/ 370725 w 737797"/>
                  <a:gd name="connsiteY0" fmla="*/ 441321 h 442678"/>
                  <a:gd name="connsiteX1" fmla="*/ 178898 w 737797"/>
                  <a:gd name="connsiteY1" fmla="*/ 442023 h 442678"/>
                  <a:gd name="connsiteX2" fmla="*/ 148684 w 737797"/>
                  <a:gd name="connsiteY2" fmla="*/ 413214 h 442678"/>
                  <a:gd name="connsiteX3" fmla="*/ 149386 w 737797"/>
                  <a:gd name="connsiteY3" fmla="*/ 303599 h 442678"/>
                  <a:gd name="connsiteX4" fmla="*/ 138846 w 737797"/>
                  <a:gd name="connsiteY4" fmla="*/ 274087 h 442678"/>
                  <a:gd name="connsiteX5" fmla="*/ 110037 w 737797"/>
                  <a:gd name="connsiteY5" fmla="*/ 274790 h 442678"/>
                  <a:gd name="connsiteX6" fmla="*/ 55230 w 737797"/>
                  <a:gd name="connsiteY6" fmla="*/ 301491 h 442678"/>
                  <a:gd name="connsiteX7" fmla="*/ 2530 w 737797"/>
                  <a:gd name="connsiteY7" fmla="*/ 243872 h 442678"/>
                  <a:gd name="connsiteX8" fmla="*/ 40473 w 737797"/>
                  <a:gd name="connsiteY8" fmla="*/ 146905 h 442678"/>
                  <a:gd name="connsiteX9" fmla="*/ 105119 w 737797"/>
                  <a:gd name="connsiteY9" fmla="*/ 160255 h 442678"/>
                  <a:gd name="connsiteX10" fmla="*/ 127604 w 737797"/>
                  <a:gd name="connsiteY10" fmla="*/ 175714 h 442678"/>
                  <a:gd name="connsiteX11" fmla="*/ 149386 w 737797"/>
                  <a:gd name="connsiteY11" fmla="*/ 143391 h 442678"/>
                  <a:gd name="connsiteX12" fmla="*/ 148684 w 737797"/>
                  <a:gd name="connsiteY12" fmla="*/ 23236 h 442678"/>
                  <a:gd name="connsiteX13" fmla="*/ 170466 w 737797"/>
                  <a:gd name="connsiteY13" fmla="*/ 48 h 442678"/>
                  <a:gd name="connsiteX14" fmla="*/ 290622 w 737797"/>
                  <a:gd name="connsiteY14" fmla="*/ 751 h 442678"/>
                  <a:gd name="connsiteX15" fmla="*/ 330673 w 737797"/>
                  <a:gd name="connsiteY15" fmla="*/ 19722 h 442678"/>
                  <a:gd name="connsiteX16" fmla="*/ 327160 w 737797"/>
                  <a:gd name="connsiteY16" fmla="*/ 59072 h 442678"/>
                  <a:gd name="connsiteX17" fmla="*/ 301864 w 737797"/>
                  <a:gd name="connsiteY17" fmla="*/ 105447 h 442678"/>
                  <a:gd name="connsiteX18" fmla="*/ 357375 w 737797"/>
                  <a:gd name="connsiteY18" fmla="*/ 148310 h 442678"/>
                  <a:gd name="connsiteX19" fmla="*/ 419209 w 737797"/>
                  <a:gd name="connsiteY19" fmla="*/ 132851 h 442678"/>
                  <a:gd name="connsiteX20" fmla="*/ 419209 w 737797"/>
                  <a:gd name="connsiteY20" fmla="*/ 63287 h 442678"/>
                  <a:gd name="connsiteX21" fmla="*/ 401643 w 737797"/>
                  <a:gd name="connsiteY21" fmla="*/ 35884 h 442678"/>
                  <a:gd name="connsiteX22" fmla="*/ 437478 w 737797"/>
                  <a:gd name="connsiteY22" fmla="*/ 2156 h 442678"/>
                  <a:gd name="connsiteX23" fmla="*/ 582228 w 737797"/>
                  <a:gd name="connsiteY23" fmla="*/ 751 h 442678"/>
                  <a:gd name="connsiteX24" fmla="*/ 591362 w 737797"/>
                  <a:gd name="connsiteY24" fmla="*/ 19020 h 442678"/>
                  <a:gd name="connsiteX25" fmla="*/ 591362 w 737797"/>
                  <a:gd name="connsiteY25" fmla="*/ 134257 h 442678"/>
                  <a:gd name="connsiteX26" fmla="*/ 596983 w 737797"/>
                  <a:gd name="connsiteY26" fmla="*/ 160255 h 442678"/>
                  <a:gd name="connsiteX27" fmla="*/ 634224 w 737797"/>
                  <a:gd name="connsiteY27" fmla="*/ 164471 h 442678"/>
                  <a:gd name="connsiteX28" fmla="*/ 722760 w 737797"/>
                  <a:gd name="connsiteY28" fmla="*/ 165174 h 442678"/>
                  <a:gd name="connsiteX29" fmla="*/ 695356 w 737797"/>
                  <a:gd name="connsiteY29" fmla="*/ 298680 h 442678"/>
                  <a:gd name="connsiteX30" fmla="*/ 637035 w 737797"/>
                  <a:gd name="connsiteY30" fmla="*/ 283221 h 442678"/>
                  <a:gd name="connsiteX31" fmla="*/ 613144 w 737797"/>
                  <a:gd name="connsiteY31" fmla="*/ 267060 h 442678"/>
                  <a:gd name="connsiteX32" fmla="*/ 591362 w 737797"/>
                  <a:gd name="connsiteY32" fmla="*/ 302193 h 442678"/>
                  <a:gd name="connsiteX33" fmla="*/ 592065 w 737797"/>
                  <a:gd name="connsiteY33" fmla="*/ 420241 h 442678"/>
                  <a:gd name="connsiteX34" fmla="*/ 570282 w 737797"/>
                  <a:gd name="connsiteY34" fmla="*/ 442726 h 442678"/>
                  <a:gd name="connsiteX35" fmla="*/ 370725 w 737797"/>
                  <a:gd name="connsiteY35" fmla="*/ 441321 h 442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37797" h="442678">
                    <a:moveTo>
                      <a:pt x="370725" y="441321"/>
                    </a:moveTo>
                    <a:cubicBezTo>
                      <a:pt x="306783" y="441321"/>
                      <a:pt x="242840" y="440618"/>
                      <a:pt x="178898" y="442023"/>
                    </a:cubicBezTo>
                    <a:cubicBezTo>
                      <a:pt x="155710" y="442726"/>
                      <a:pt x="146576" y="438510"/>
                      <a:pt x="148684" y="413214"/>
                    </a:cubicBezTo>
                    <a:cubicBezTo>
                      <a:pt x="151494" y="376676"/>
                      <a:pt x="149386" y="340137"/>
                      <a:pt x="149386" y="303599"/>
                    </a:cubicBezTo>
                    <a:cubicBezTo>
                      <a:pt x="149386" y="292356"/>
                      <a:pt x="147981" y="282519"/>
                      <a:pt x="138846" y="274087"/>
                    </a:cubicBezTo>
                    <a:cubicBezTo>
                      <a:pt x="128306" y="264250"/>
                      <a:pt x="119874" y="260736"/>
                      <a:pt x="110037" y="274790"/>
                    </a:cubicBezTo>
                    <a:cubicBezTo>
                      <a:pt x="96686" y="293761"/>
                      <a:pt x="79823" y="309923"/>
                      <a:pt x="55230" y="301491"/>
                    </a:cubicBezTo>
                    <a:cubicBezTo>
                      <a:pt x="28528" y="292356"/>
                      <a:pt x="8853" y="274087"/>
                      <a:pt x="2530" y="243872"/>
                    </a:cubicBezTo>
                    <a:cubicBezTo>
                      <a:pt x="-5902" y="201010"/>
                      <a:pt x="6746" y="166579"/>
                      <a:pt x="40473" y="146905"/>
                    </a:cubicBezTo>
                    <a:cubicBezTo>
                      <a:pt x="65067" y="132148"/>
                      <a:pt x="82633" y="136365"/>
                      <a:pt x="105119" y="160255"/>
                    </a:cubicBezTo>
                    <a:cubicBezTo>
                      <a:pt x="111443" y="167282"/>
                      <a:pt x="114956" y="181335"/>
                      <a:pt x="127604" y="175714"/>
                    </a:cubicBezTo>
                    <a:cubicBezTo>
                      <a:pt x="140252" y="170092"/>
                      <a:pt x="149386" y="159552"/>
                      <a:pt x="149386" y="143391"/>
                    </a:cubicBezTo>
                    <a:cubicBezTo>
                      <a:pt x="149386" y="103339"/>
                      <a:pt x="150089" y="63287"/>
                      <a:pt x="148684" y="23236"/>
                    </a:cubicBezTo>
                    <a:cubicBezTo>
                      <a:pt x="147981" y="6372"/>
                      <a:pt x="150792" y="-655"/>
                      <a:pt x="170466" y="48"/>
                    </a:cubicBezTo>
                    <a:cubicBezTo>
                      <a:pt x="210518" y="2156"/>
                      <a:pt x="250570" y="751"/>
                      <a:pt x="290622" y="751"/>
                    </a:cubicBezTo>
                    <a:cubicBezTo>
                      <a:pt x="307486" y="751"/>
                      <a:pt x="320836" y="7074"/>
                      <a:pt x="330673" y="19722"/>
                    </a:cubicBezTo>
                    <a:cubicBezTo>
                      <a:pt x="341916" y="33775"/>
                      <a:pt x="344024" y="46424"/>
                      <a:pt x="327160" y="59072"/>
                    </a:cubicBezTo>
                    <a:cubicBezTo>
                      <a:pt x="312404" y="70314"/>
                      <a:pt x="292730" y="82259"/>
                      <a:pt x="301864" y="105447"/>
                    </a:cubicBezTo>
                    <a:cubicBezTo>
                      <a:pt x="311702" y="129338"/>
                      <a:pt x="329268" y="146202"/>
                      <a:pt x="357375" y="148310"/>
                    </a:cubicBezTo>
                    <a:cubicBezTo>
                      <a:pt x="379860" y="150418"/>
                      <a:pt x="400940" y="149013"/>
                      <a:pt x="419209" y="132851"/>
                    </a:cubicBezTo>
                    <a:cubicBezTo>
                      <a:pt x="448018" y="106150"/>
                      <a:pt x="448018" y="89286"/>
                      <a:pt x="419209" y="63287"/>
                    </a:cubicBezTo>
                    <a:cubicBezTo>
                      <a:pt x="410777" y="56261"/>
                      <a:pt x="396724" y="50640"/>
                      <a:pt x="401643" y="35884"/>
                    </a:cubicBezTo>
                    <a:cubicBezTo>
                      <a:pt x="407264" y="19020"/>
                      <a:pt x="418506" y="2859"/>
                      <a:pt x="437478" y="2156"/>
                    </a:cubicBezTo>
                    <a:cubicBezTo>
                      <a:pt x="485962" y="48"/>
                      <a:pt x="534446" y="751"/>
                      <a:pt x="582228" y="751"/>
                    </a:cubicBezTo>
                    <a:cubicBezTo>
                      <a:pt x="596983" y="751"/>
                      <a:pt x="591362" y="11993"/>
                      <a:pt x="591362" y="19020"/>
                    </a:cubicBezTo>
                    <a:cubicBezTo>
                      <a:pt x="592065" y="57666"/>
                      <a:pt x="591362" y="95610"/>
                      <a:pt x="591362" y="134257"/>
                    </a:cubicBezTo>
                    <a:cubicBezTo>
                      <a:pt x="591362" y="143391"/>
                      <a:pt x="592065" y="152526"/>
                      <a:pt x="596983" y="160255"/>
                    </a:cubicBezTo>
                    <a:cubicBezTo>
                      <a:pt x="608929" y="179930"/>
                      <a:pt x="618766" y="180632"/>
                      <a:pt x="634224" y="164471"/>
                    </a:cubicBezTo>
                    <a:cubicBezTo>
                      <a:pt x="665142" y="130041"/>
                      <a:pt x="692545" y="130743"/>
                      <a:pt x="722760" y="165174"/>
                    </a:cubicBezTo>
                    <a:cubicBezTo>
                      <a:pt x="758596" y="205928"/>
                      <a:pt x="743840" y="274790"/>
                      <a:pt x="695356" y="298680"/>
                    </a:cubicBezTo>
                    <a:cubicBezTo>
                      <a:pt x="671465" y="310625"/>
                      <a:pt x="653899" y="300788"/>
                      <a:pt x="637035" y="283221"/>
                    </a:cubicBezTo>
                    <a:cubicBezTo>
                      <a:pt x="630711" y="276195"/>
                      <a:pt x="627901" y="260033"/>
                      <a:pt x="613144" y="267060"/>
                    </a:cubicBezTo>
                    <a:cubicBezTo>
                      <a:pt x="599794" y="273384"/>
                      <a:pt x="591362" y="285330"/>
                      <a:pt x="591362" y="302193"/>
                    </a:cubicBezTo>
                    <a:cubicBezTo>
                      <a:pt x="591362" y="341543"/>
                      <a:pt x="590659" y="380892"/>
                      <a:pt x="592065" y="420241"/>
                    </a:cubicBezTo>
                    <a:cubicBezTo>
                      <a:pt x="592767" y="437807"/>
                      <a:pt x="588551" y="443429"/>
                      <a:pt x="570282" y="442726"/>
                    </a:cubicBezTo>
                    <a:cubicBezTo>
                      <a:pt x="504232" y="440618"/>
                      <a:pt x="437478" y="441321"/>
                      <a:pt x="370725" y="44132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8BECBB46-8B25-4D11-9A1A-98648FB28524}"/>
                  </a:ext>
                </a:extLst>
              </p:cNvPr>
              <p:cNvSpPr/>
              <p:nvPr userDrawn="1"/>
            </p:nvSpPr>
            <p:spPr>
              <a:xfrm>
                <a:off x="1595120" y="3554872"/>
                <a:ext cx="314770" cy="419693"/>
              </a:xfrm>
              <a:custGeom>
                <a:avLst/>
                <a:gdLst>
                  <a:gd name="connsiteX0" fmla="*/ 222808 w 442678"/>
                  <a:gd name="connsiteY0" fmla="*/ 592910 h 590237"/>
                  <a:gd name="connsiteX1" fmla="*/ 22549 w 442678"/>
                  <a:gd name="connsiteY1" fmla="*/ 593613 h 590237"/>
                  <a:gd name="connsiteX2" fmla="*/ 64 w 442678"/>
                  <a:gd name="connsiteY2" fmla="*/ 570425 h 590237"/>
                  <a:gd name="connsiteX3" fmla="*/ 64 w 442678"/>
                  <a:gd name="connsiteY3" fmla="*/ 457998 h 590237"/>
                  <a:gd name="connsiteX4" fmla="*/ 15523 w 442678"/>
                  <a:gd name="connsiteY4" fmla="*/ 415839 h 590237"/>
                  <a:gd name="connsiteX5" fmla="*/ 62601 w 442678"/>
                  <a:gd name="connsiteY5" fmla="*/ 417947 h 590237"/>
                  <a:gd name="connsiteX6" fmla="*/ 104761 w 442678"/>
                  <a:gd name="connsiteY6" fmla="*/ 440432 h 590237"/>
                  <a:gd name="connsiteX7" fmla="*/ 147624 w 442678"/>
                  <a:gd name="connsiteY7" fmla="*/ 391245 h 590237"/>
                  <a:gd name="connsiteX8" fmla="*/ 127246 w 442678"/>
                  <a:gd name="connsiteY8" fmla="*/ 316061 h 590237"/>
                  <a:gd name="connsiteX9" fmla="*/ 66817 w 442678"/>
                  <a:gd name="connsiteY9" fmla="*/ 319574 h 590237"/>
                  <a:gd name="connsiteX10" fmla="*/ 35900 w 442678"/>
                  <a:gd name="connsiteY10" fmla="*/ 339249 h 590237"/>
                  <a:gd name="connsiteX11" fmla="*/ 1469 w 442678"/>
                  <a:gd name="connsiteY11" fmla="*/ 297791 h 590237"/>
                  <a:gd name="connsiteX12" fmla="*/ 767 w 442678"/>
                  <a:gd name="connsiteY12" fmla="*/ 163583 h 590237"/>
                  <a:gd name="connsiteX13" fmla="*/ 19036 w 442678"/>
                  <a:gd name="connsiteY13" fmla="*/ 150934 h 590237"/>
                  <a:gd name="connsiteX14" fmla="*/ 137084 w 442678"/>
                  <a:gd name="connsiteY14" fmla="*/ 150934 h 590237"/>
                  <a:gd name="connsiteX15" fmla="*/ 165190 w 442678"/>
                  <a:gd name="connsiteY15" fmla="*/ 143205 h 590237"/>
                  <a:gd name="connsiteX16" fmla="*/ 166595 w 442678"/>
                  <a:gd name="connsiteY16" fmla="*/ 107369 h 590237"/>
                  <a:gd name="connsiteX17" fmla="*/ 163785 w 442678"/>
                  <a:gd name="connsiteY17" fmla="*/ 22347 h 590237"/>
                  <a:gd name="connsiteX18" fmla="*/ 290967 w 442678"/>
                  <a:gd name="connsiteY18" fmla="*/ 30779 h 590237"/>
                  <a:gd name="connsiteX19" fmla="*/ 286048 w 442678"/>
                  <a:gd name="connsiteY19" fmla="*/ 104559 h 590237"/>
                  <a:gd name="connsiteX20" fmla="*/ 270590 w 442678"/>
                  <a:gd name="connsiteY20" fmla="*/ 129152 h 590237"/>
                  <a:gd name="connsiteX21" fmla="*/ 303615 w 442678"/>
                  <a:gd name="connsiteY21" fmla="*/ 150232 h 590237"/>
                  <a:gd name="connsiteX22" fmla="*/ 421662 w 442678"/>
                  <a:gd name="connsiteY22" fmla="*/ 149529 h 590237"/>
                  <a:gd name="connsiteX23" fmla="*/ 446256 w 442678"/>
                  <a:gd name="connsiteY23" fmla="*/ 175528 h 590237"/>
                  <a:gd name="connsiteX24" fmla="*/ 446256 w 442678"/>
                  <a:gd name="connsiteY24" fmla="*/ 287954 h 590237"/>
                  <a:gd name="connsiteX25" fmla="*/ 428689 w 442678"/>
                  <a:gd name="connsiteY25" fmla="*/ 329411 h 590237"/>
                  <a:gd name="connsiteX26" fmla="*/ 385827 w 442678"/>
                  <a:gd name="connsiteY26" fmla="*/ 327303 h 590237"/>
                  <a:gd name="connsiteX27" fmla="*/ 342261 w 442678"/>
                  <a:gd name="connsiteY27" fmla="*/ 303412 h 590237"/>
                  <a:gd name="connsiteX28" fmla="*/ 298696 w 442678"/>
                  <a:gd name="connsiteY28" fmla="*/ 357518 h 590237"/>
                  <a:gd name="connsiteX29" fmla="*/ 318371 w 442678"/>
                  <a:gd name="connsiteY29" fmla="*/ 425676 h 590237"/>
                  <a:gd name="connsiteX30" fmla="*/ 380908 w 442678"/>
                  <a:gd name="connsiteY30" fmla="*/ 422865 h 590237"/>
                  <a:gd name="connsiteX31" fmla="*/ 415338 w 442678"/>
                  <a:gd name="connsiteY31" fmla="*/ 404596 h 590237"/>
                  <a:gd name="connsiteX32" fmla="*/ 446256 w 442678"/>
                  <a:gd name="connsiteY32" fmla="*/ 446054 h 590237"/>
                  <a:gd name="connsiteX33" fmla="*/ 446958 w 442678"/>
                  <a:gd name="connsiteY33" fmla="*/ 577451 h 590237"/>
                  <a:gd name="connsiteX34" fmla="*/ 425878 w 442678"/>
                  <a:gd name="connsiteY34" fmla="*/ 592910 h 590237"/>
                  <a:gd name="connsiteX35" fmla="*/ 222808 w 442678"/>
                  <a:gd name="connsiteY35" fmla="*/ 592910 h 59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42678" h="590237">
                    <a:moveTo>
                      <a:pt x="222808" y="592910"/>
                    </a:moveTo>
                    <a:cubicBezTo>
                      <a:pt x="156055" y="592910"/>
                      <a:pt x="89302" y="592208"/>
                      <a:pt x="22549" y="593613"/>
                    </a:cubicBezTo>
                    <a:cubicBezTo>
                      <a:pt x="4280" y="593613"/>
                      <a:pt x="-639" y="588694"/>
                      <a:pt x="64" y="570425"/>
                    </a:cubicBezTo>
                    <a:cubicBezTo>
                      <a:pt x="1469" y="533184"/>
                      <a:pt x="767" y="495240"/>
                      <a:pt x="64" y="457998"/>
                    </a:cubicBezTo>
                    <a:cubicBezTo>
                      <a:pt x="64" y="441837"/>
                      <a:pt x="3577" y="427784"/>
                      <a:pt x="15523" y="415839"/>
                    </a:cubicBezTo>
                    <a:cubicBezTo>
                      <a:pt x="33792" y="397570"/>
                      <a:pt x="45035" y="397570"/>
                      <a:pt x="62601" y="417947"/>
                    </a:cubicBezTo>
                    <a:cubicBezTo>
                      <a:pt x="73844" y="431297"/>
                      <a:pt x="85086" y="448161"/>
                      <a:pt x="104761" y="440432"/>
                    </a:cubicBezTo>
                    <a:cubicBezTo>
                      <a:pt x="126544" y="432000"/>
                      <a:pt x="144813" y="417244"/>
                      <a:pt x="147624" y="391245"/>
                    </a:cubicBezTo>
                    <a:cubicBezTo>
                      <a:pt x="150434" y="363842"/>
                      <a:pt x="152542" y="336438"/>
                      <a:pt x="127246" y="316061"/>
                    </a:cubicBezTo>
                    <a:cubicBezTo>
                      <a:pt x="102653" y="295683"/>
                      <a:pt x="87897" y="296386"/>
                      <a:pt x="66817" y="319574"/>
                    </a:cubicBezTo>
                    <a:cubicBezTo>
                      <a:pt x="58385" y="328709"/>
                      <a:pt x="54169" y="345572"/>
                      <a:pt x="35900" y="339249"/>
                    </a:cubicBezTo>
                    <a:cubicBezTo>
                      <a:pt x="15523" y="332222"/>
                      <a:pt x="2172" y="318169"/>
                      <a:pt x="1469" y="297791"/>
                    </a:cubicBezTo>
                    <a:cubicBezTo>
                      <a:pt x="-639" y="252821"/>
                      <a:pt x="1469" y="208553"/>
                      <a:pt x="767" y="163583"/>
                    </a:cubicBezTo>
                    <a:cubicBezTo>
                      <a:pt x="767" y="148827"/>
                      <a:pt x="9901" y="150934"/>
                      <a:pt x="19036" y="150934"/>
                    </a:cubicBezTo>
                    <a:cubicBezTo>
                      <a:pt x="58385" y="150934"/>
                      <a:pt x="97734" y="150934"/>
                      <a:pt x="137084" y="150934"/>
                    </a:cubicBezTo>
                    <a:cubicBezTo>
                      <a:pt x="147624" y="150934"/>
                      <a:pt x="157461" y="150232"/>
                      <a:pt x="165190" y="143205"/>
                    </a:cubicBezTo>
                    <a:cubicBezTo>
                      <a:pt x="178541" y="131963"/>
                      <a:pt x="185567" y="122828"/>
                      <a:pt x="166595" y="107369"/>
                    </a:cubicBezTo>
                    <a:cubicBezTo>
                      <a:pt x="132165" y="80668"/>
                      <a:pt x="132165" y="53264"/>
                      <a:pt x="163785" y="22347"/>
                    </a:cubicBezTo>
                    <a:cubicBezTo>
                      <a:pt x="197513" y="-10678"/>
                      <a:pt x="260752" y="-6462"/>
                      <a:pt x="290967" y="30779"/>
                    </a:cubicBezTo>
                    <a:cubicBezTo>
                      <a:pt x="314155" y="58885"/>
                      <a:pt x="312047" y="79263"/>
                      <a:pt x="286048" y="104559"/>
                    </a:cubicBezTo>
                    <a:cubicBezTo>
                      <a:pt x="279022" y="111585"/>
                      <a:pt x="263563" y="115099"/>
                      <a:pt x="270590" y="129152"/>
                    </a:cubicBezTo>
                    <a:cubicBezTo>
                      <a:pt x="276914" y="141800"/>
                      <a:pt x="288156" y="150232"/>
                      <a:pt x="303615" y="150232"/>
                    </a:cubicBezTo>
                    <a:cubicBezTo>
                      <a:pt x="342964" y="150232"/>
                      <a:pt x="382313" y="151637"/>
                      <a:pt x="421662" y="149529"/>
                    </a:cubicBezTo>
                    <a:cubicBezTo>
                      <a:pt x="443445" y="148124"/>
                      <a:pt x="446958" y="155853"/>
                      <a:pt x="446256" y="175528"/>
                    </a:cubicBezTo>
                    <a:cubicBezTo>
                      <a:pt x="444850" y="212769"/>
                      <a:pt x="445553" y="250713"/>
                      <a:pt x="446256" y="287954"/>
                    </a:cubicBezTo>
                    <a:cubicBezTo>
                      <a:pt x="446256" y="304818"/>
                      <a:pt x="441337" y="318169"/>
                      <a:pt x="428689" y="329411"/>
                    </a:cubicBezTo>
                    <a:cubicBezTo>
                      <a:pt x="413933" y="342059"/>
                      <a:pt x="399880" y="346275"/>
                      <a:pt x="385827" y="327303"/>
                    </a:cubicBezTo>
                    <a:cubicBezTo>
                      <a:pt x="375287" y="313250"/>
                      <a:pt x="364044" y="295683"/>
                      <a:pt x="342261" y="303412"/>
                    </a:cubicBezTo>
                    <a:cubicBezTo>
                      <a:pt x="316965" y="312547"/>
                      <a:pt x="300804" y="330114"/>
                      <a:pt x="298696" y="357518"/>
                    </a:cubicBezTo>
                    <a:cubicBezTo>
                      <a:pt x="296588" y="382814"/>
                      <a:pt x="297994" y="406704"/>
                      <a:pt x="318371" y="425676"/>
                    </a:cubicBezTo>
                    <a:cubicBezTo>
                      <a:pt x="342964" y="448161"/>
                      <a:pt x="358423" y="447459"/>
                      <a:pt x="380908" y="422865"/>
                    </a:cubicBezTo>
                    <a:cubicBezTo>
                      <a:pt x="390043" y="412325"/>
                      <a:pt x="397069" y="395462"/>
                      <a:pt x="415338" y="404596"/>
                    </a:cubicBezTo>
                    <a:cubicBezTo>
                      <a:pt x="432202" y="413028"/>
                      <a:pt x="445553" y="425676"/>
                      <a:pt x="446256" y="446054"/>
                    </a:cubicBezTo>
                    <a:cubicBezTo>
                      <a:pt x="446958" y="489618"/>
                      <a:pt x="445553" y="533887"/>
                      <a:pt x="446958" y="577451"/>
                    </a:cubicBezTo>
                    <a:cubicBezTo>
                      <a:pt x="447661" y="595721"/>
                      <a:pt x="436418" y="592910"/>
                      <a:pt x="425878" y="592910"/>
                    </a:cubicBezTo>
                    <a:cubicBezTo>
                      <a:pt x="355612" y="592910"/>
                      <a:pt x="288859" y="592910"/>
                      <a:pt x="222808" y="5929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C6DE4B94-C45B-4EEE-B1FB-58BCD5180448}"/>
                  </a:ext>
                </a:extLst>
              </p:cNvPr>
              <p:cNvSpPr/>
              <p:nvPr userDrawn="1"/>
            </p:nvSpPr>
            <p:spPr>
              <a:xfrm>
                <a:off x="1803386" y="3664792"/>
                <a:ext cx="419693" cy="309773"/>
              </a:xfrm>
              <a:custGeom>
                <a:avLst/>
                <a:gdLst>
                  <a:gd name="connsiteX0" fmla="*/ 368817 w 590237"/>
                  <a:gd name="connsiteY0" fmla="*/ 441448 h 435651"/>
                  <a:gd name="connsiteX1" fmla="*/ 166450 w 590237"/>
                  <a:gd name="connsiteY1" fmla="*/ 441448 h 435651"/>
                  <a:gd name="connsiteX2" fmla="*/ 148180 w 590237"/>
                  <a:gd name="connsiteY2" fmla="*/ 423882 h 435651"/>
                  <a:gd name="connsiteX3" fmla="*/ 148883 w 590237"/>
                  <a:gd name="connsiteY3" fmla="*/ 308645 h 435651"/>
                  <a:gd name="connsiteX4" fmla="*/ 140451 w 590237"/>
                  <a:gd name="connsiteY4" fmla="*/ 277728 h 435651"/>
                  <a:gd name="connsiteX5" fmla="*/ 106723 w 590237"/>
                  <a:gd name="connsiteY5" fmla="*/ 276322 h 435651"/>
                  <a:gd name="connsiteX6" fmla="*/ 16782 w 590237"/>
                  <a:gd name="connsiteY6" fmla="*/ 274917 h 435651"/>
                  <a:gd name="connsiteX7" fmla="*/ 26619 w 590237"/>
                  <a:gd name="connsiteY7" fmla="*/ 155465 h 435651"/>
                  <a:gd name="connsiteX8" fmla="*/ 102507 w 590237"/>
                  <a:gd name="connsiteY8" fmla="*/ 157572 h 435651"/>
                  <a:gd name="connsiteX9" fmla="*/ 126398 w 590237"/>
                  <a:gd name="connsiteY9" fmla="*/ 175139 h 435651"/>
                  <a:gd name="connsiteX10" fmla="*/ 148883 w 590237"/>
                  <a:gd name="connsiteY10" fmla="*/ 137898 h 435651"/>
                  <a:gd name="connsiteX11" fmla="*/ 148180 w 590237"/>
                  <a:gd name="connsiteY11" fmla="*/ 25472 h 435651"/>
                  <a:gd name="connsiteX12" fmla="*/ 172773 w 590237"/>
                  <a:gd name="connsiteY12" fmla="*/ 176 h 435651"/>
                  <a:gd name="connsiteX13" fmla="*/ 290821 w 590237"/>
                  <a:gd name="connsiteY13" fmla="*/ 176 h 435651"/>
                  <a:gd name="connsiteX14" fmla="*/ 332278 w 590237"/>
                  <a:gd name="connsiteY14" fmla="*/ 22661 h 435651"/>
                  <a:gd name="connsiteX15" fmla="*/ 328062 w 590237"/>
                  <a:gd name="connsiteY15" fmla="*/ 57794 h 435651"/>
                  <a:gd name="connsiteX16" fmla="*/ 303469 w 590237"/>
                  <a:gd name="connsiteY16" fmla="*/ 111196 h 435651"/>
                  <a:gd name="connsiteX17" fmla="*/ 381465 w 590237"/>
                  <a:gd name="connsiteY17" fmla="*/ 148438 h 435651"/>
                  <a:gd name="connsiteX18" fmla="*/ 439083 w 590237"/>
                  <a:gd name="connsiteY18" fmla="*/ 100656 h 435651"/>
                  <a:gd name="connsiteX19" fmla="*/ 418706 w 590237"/>
                  <a:gd name="connsiteY19" fmla="*/ 64118 h 435651"/>
                  <a:gd name="connsiteX20" fmla="*/ 401842 w 590237"/>
                  <a:gd name="connsiteY20" fmla="*/ 31093 h 435651"/>
                  <a:gd name="connsiteX21" fmla="*/ 437678 w 590237"/>
                  <a:gd name="connsiteY21" fmla="*/ 878 h 435651"/>
                  <a:gd name="connsiteX22" fmla="*/ 580319 w 590237"/>
                  <a:gd name="connsiteY22" fmla="*/ 176 h 435651"/>
                  <a:gd name="connsiteX23" fmla="*/ 590859 w 590237"/>
                  <a:gd name="connsiteY23" fmla="*/ 14229 h 435651"/>
                  <a:gd name="connsiteX24" fmla="*/ 590859 w 590237"/>
                  <a:gd name="connsiteY24" fmla="*/ 142816 h 435651"/>
                  <a:gd name="connsiteX25" fmla="*/ 569779 w 590237"/>
                  <a:gd name="connsiteY25" fmla="*/ 182166 h 435651"/>
                  <a:gd name="connsiteX26" fmla="*/ 532537 w 590237"/>
                  <a:gd name="connsiteY26" fmla="*/ 178652 h 435651"/>
                  <a:gd name="connsiteX27" fmla="*/ 486864 w 590237"/>
                  <a:gd name="connsiteY27" fmla="*/ 152654 h 435651"/>
                  <a:gd name="connsiteX28" fmla="*/ 442596 w 590237"/>
                  <a:gd name="connsiteY28" fmla="*/ 209569 h 435651"/>
                  <a:gd name="connsiteX29" fmla="*/ 462271 w 590237"/>
                  <a:gd name="connsiteY29" fmla="*/ 274917 h 435651"/>
                  <a:gd name="connsiteX30" fmla="*/ 526213 w 590237"/>
                  <a:gd name="connsiteY30" fmla="*/ 270701 h 435651"/>
                  <a:gd name="connsiteX31" fmla="*/ 556428 w 590237"/>
                  <a:gd name="connsiteY31" fmla="*/ 253135 h 435651"/>
                  <a:gd name="connsiteX32" fmla="*/ 588048 w 590237"/>
                  <a:gd name="connsiteY32" fmla="*/ 287565 h 435651"/>
                  <a:gd name="connsiteX33" fmla="*/ 590156 w 590237"/>
                  <a:gd name="connsiteY33" fmla="*/ 432314 h 435651"/>
                  <a:gd name="connsiteX34" fmla="*/ 569076 w 590237"/>
                  <a:gd name="connsiteY34" fmla="*/ 441448 h 435651"/>
                  <a:gd name="connsiteX35" fmla="*/ 368817 w 590237"/>
                  <a:gd name="connsiteY35" fmla="*/ 441448 h 435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90237" h="435651">
                    <a:moveTo>
                      <a:pt x="368817" y="441448"/>
                    </a:moveTo>
                    <a:cubicBezTo>
                      <a:pt x="301361" y="441448"/>
                      <a:pt x="233905" y="440746"/>
                      <a:pt x="166450" y="441448"/>
                    </a:cubicBezTo>
                    <a:cubicBezTo>
                      <a:pt x="152396" y="441448"/>
                      <a:pt x="147478" y="438638"/>
                      <a:pt x="148180" y="423882"/>
                    </a:cubicBezTo>
                    <a:cubicBezTo>
                      <a:pt x="149586" y="385235"/>
                      <a:pt x="148180" y="347292"/>
                      <a:pt x="148883" y="308645"/>
                    </a:cubicBezTo>
                    <a:cubicBezTo>
                      <a:pt x="148883" y="297402"/>
                      <a:pt x="148180" y="286862"/>
                      <a:pt x="140451" y="277728"/>
                    </a:cubicBezTo>
                    <a:cubicBezTo>
                      <a:pt x="129208" y="264377"/>
                      <a:pt x="120776" y="258756"/>
                      <a:pt x="106723" y="276322"/>
                    </a:cubicBezTo>
                    <a:cubicBezTo>
                      <a:pt x="77211" y="312159"/>
                      <a:pt x="46294" y="310753"/>
                      <a:pt x="16782" y="274917"/>
                    </a:cubicBezTo>
                    <a:cubicBezTo>
                      <a:pt x="-9216" y="243298"/>
                      <a:pt x="-4298" y="182868"/>
                      <a:pt x="26619" y="155465"/>
                    </a:cubicBezTo>
                    <a:cubicBezTo>
                      <a:pt x="54726" y="130871"/>
                      <a:pt x="77914" y="131574"/>
                      <a:pt x="102507" y="157572"/>
                    </a:cubicBezTo>
                    <a:cubicBezTo>
                      <a:pt x="109534" y="164599"/>
                      <a:pt x="112344" y="180760"/>
                      <a:pt x="126398" y="175139"/>
                    </a:cubicBezTo>
                    <a:cubicBezTo>
                      <a:pt x="141154" y="168815"/>
                      <a:pt x="148883" y="155465"/>
                      <a:pt x="148883" y="137898"/>
                    </a:cubicBezTo>
                    <a:cubicBezTo>
                      <a:pt x="148883" y="100656"/>
                      <a:pt x="150288" y="62713"/>
                      <a:pt x="148180" y="25472"/>
                    </a:cubicBezTo>
                    <a:cubicBezTo>
                      <a:pt x="147478" y="5797"/>
                      <a:pt x="151694" y="-1230"/>
                      <a:pt x="172773" y="176"/>
                    </a:cubicBezTo>
                    <a:cubicBezTo>
                      <a:pt x="212123" y="2283"/>
                      <a:pt x="251472" y="1581"/>
                      <a:pt x="290821" y="176"/>
                    </a:cubicBezTo>
                    <a:cubicBezTo>
                      <a:pt x="309793" y="-527"/>
                      <a:pt x="321738" y="8608"/>
                      <a:pt x="332278" y="22661"/>
                    </a:cubicBezTo>
                    <a:cubicBezTo>
                      <a:pt x="341413" y="35309"/>
                      <a:pt x="342116" y="46552"/>
                      <a:pt x="328062" y="57794"/>
                    </a:cubicBezTo>
                    <a:cubicBezTo>
                      <a:pt x="311901" y="71145"/>
                      <a:pt x="289416" y="83090"/>
                      <a:pt x="303469" y="111196"/>
                    </a:cubicBezTo>
                    <a:cubicBezTo>
                      <a:pt x="317522" y="139303"/>
                      <a:pt x="346332" y="152654"/>
                      <a:pt x="381465" y="148438"/>
                    </a:cubicBezTo>
                    <a:cubicBezTo>
                      <a:pt x="408166" y="144925"/>
                      <a:pt x="435570" y="123142"/>
                      <a:pt x="439083" y="100656"/>
                    </a:cubicBezTo>
                    <a:cubicBezTo>
                      <a:pt x="441894" y="83793"/>
                      <a:pt x="429949" y="73955"/>
                      <a:pt x="418706" y="64118"/>
                    </a:cubicBezTo>
                    <a:cubicBezTo>
                      <a:pt x="408869" y="55686"/>
                      <a:pt x="394113" y="48660"/>
                      <a:pt x="401842" y="31093"/>
                    </a:cubicBezTo>
                    <a:cubicBezTo>
                      <a:pt x="408869" y="15634"/>
                      <a:pt x="419409" y="1581"/>
                      <a:pt x="437678" y="878"/>
                    </a:cubicBezTo>
                    <a:cubicBezTo>
                      <a:pt x="485459" y="-527"/>
                      <a:pt x="532537" y="176"/>
                      <a:pt x="580319" y="176"/>
                    </a:cubicBezTo>
                    <a:cubicBezTo>
                      <a:pt x="591561" y="176"/>
                      <a:pt x="590859" y="6500"/>
                      <a:pt x="590859" y="14229"/>
                    </a:cubicBezTo>
                    <a:cubicBezTo>
                      <a:pt x="590859" y="57092"/>
                      <a:pt x="590859" y="99954"/>
                      <a:pt x="590859" y="142816"/>
                    </a:cubicBezTo>
                    <a:cubicBezTo>
                      <a:pt x="590859" y="159680"/>
                      <a:pt x="582427" y="172328"/>
                      <a:pt x="569779" y="182166"/>
                    </a:cubicBezTo>
                    <a:cubicBezTo>
                      <a:pt x="556428" y="192706"/>
                      <a:pt x="544483" y="193408"/>
                      <a:pt x="532537" y="178652"/>
                    </a:cubicBezTo>
                    <a:cubicBezTo>
                      <a:pt x="521295" y="163896"/>
                      <a:pt x="510052" y="144222"/>
                      <a:pt x="486864" y="152654"/>
                    </a:cubicBezTo>
                    <a:cubicBezTo>
                      <a:pt x="460866" y="161788"/>
                      <a:pt x="444704" y="180760"/>
                      <a:pt x="442596" y="209569"/>
                    </a:cubicBezTo>
                    <a:cubicBezTo>
                      <a:pt x="441191" y="234163"/>
                      <a:pt x="442596" y="256648"/>
                      <a:pt x="462271" y="274917"/>
                    </a:cubicBezTo>
                    <a:cubicBezTo>
                      <a:pt x="488270" y="298105"/>
                      <a:pt x="503026" y="297402"/>
                      <a:pt x="526213" y="270701"/>
                    </a:cubicBezTo>
                    <a:cubicBezTo>
                      <a:pt x="533943" y="261567"/>
                      <a:pt x="539564" y="247513"/>
                      <a:pt x="556428" y="253135"/>
                    </a:cubicBezTo>
                    <a:cubicBezTo>
                      <a:pt x="572589" y="258756"/>
                      <a:pt x="587345" y="269999"/>
                      <a:pt x="588048" y="287565"/>
                    </a:cubicBezTo>
                    <a:cubicBezTo>
                      <a:pt x="590156" y="336049"/>
                      <a:pt x="590156" y="384533"/>
                      <a:pt x="590156" y="432314"/>
                    </a:cubicBezTo>
                    <a:cubicBezTo>
                      <a:pt x="590156" y="447773"/>
                      <a:pt x="576805" y="440746"/>
                      <a:pt x="569076" y="441448"/>
                    </a:cubicBezTo>
                    <a:cubicBezTo>
                      <a:pt x="502323" y="441448"/>
                      <a:pt x="435570" y="441448"/>
                      <a:pt x="368817" y="44144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7A34D084-8B59-4ABE-B457-46822CFD7149}"/>
                  </a:ext>
                </a:extLst>
              </p:cNvPr>
              <p:cNvSpPr/>
              <p:nvPr userDrawn="1"/>
            </p:nvSpPr>
            <p:spPr>
              <a:xfrm>
                <a:off x="2111839" y="3556009"/>
                <a:ext cx="419693" cy="419693"/>
              </a:xfrm>
              <a:custGeom>
                <a:avLst/>
                <a:gdLst>
                  <a:gd name="connsiteX0" fmla="*/ 370196 w 590237"/>
                  <a:gd name="connsiteY0" fmla="*/ 591917 h 590237"/>
                  <a:gd name="connsiteX1" fmla="*/ 167829 w 590237"/>
                  <a:gd name="connsiteY1" fmla="*/ 591917 h 590237"/>
                  <a:gd name="connsiteX2" fmla="*/ 147452 w 590237"/>
                  <a:gd name="connsiteY2" fmla="*/ 572242 h 590237"/>
                  <a:gd name="connsiteX3" fmla="*/ 148154 w 590237"/>
                  <a:gd name="connsiteY3" fmla="*/ 454897 h 590237"/>
                  <a:gd name="connsiteX4" fmla="*/ 139020 w 590237"/>
                  <a:gd name="connsiteY4" fmla="*/ 424683 h 590237"/>
                  <a:gd name="connsiteX5" fmla="*/ 108805 w 590237"/>
                  <a:gd name="connsiteY5" fmla="*/ 425385 h 590237"/>
                  <a:gd name="connsiteX6" fmla="*/ 56808 w 590237"/>
                  <a:gd name="connsiteY6" fmla="*/ 451384 h 590237"/>
                  <a:gd name="connsiteX7" fmla="*/ 4811 w 590237"/>
                  <a:gd name="connsiteY7" fmla="*/ 400089 h 590237"/>
                  <a:gd name="connsiteX8" fmla="*/ 38539 w 590237"/>
                  <a:gd name="connsiteY8" fmla="*/ 296798 h 590237"/>
                  <a:gd name="connsiteX9" fmla="*/ 105292 w 590237"/>
                  <a:gd name="connsiteY9" fmla="*/ 309446 h 590237"/>
                  <a:gd name="connsiteX10" fmla="*/ 127074 w 590237"/>
                  <a:gd name="connsiteY10" fmla="*/ 324904 h 590237"/>
                  <a:gd name="connsiteX11" fmla="*/ 148857 w 590237"/>
                  <a:gd name="connsiteY11" fmla="*/ 293284 h 590237"/>
                  <a:gd name="connsiteX12" fmla="*/ 148154 w 590237"/>
                  <a:gd name="connsiteY12" fmla="*/ 175940 h 590237"/>
                  <a:gd name="connsiteX13" fmla="*/ 174153 w 590237"/>
                  <a:gd name="connsiteY13" fmla="*/ 148536 h 590237"/>
                  <a:gd name="connsiteX14" fmla="*/ 286579 w 590237"/>
                  <a:gd name="connsiteY14" fmla="*/ 149238 h 590237"/>
                  <a:gd name="connsiteX15" fmla="*/ 310470 w 590237"/>
                  <a:gd name="connsiteY15" fmla="*/ 145022 h 590237"/>
                  <a:gd name="connsiteX16" fmla="*/ 313983 w 590237"/>
                  <a:gd name="connsiteY16" fmla="*/ 108484 h 590237"/>
                  <a:gd name="connsiteX17" fmla="*/ 312578 w 590237"/>
                  <a:gd name="connsiteY17" fmla="*/ 21354 h 590237"/>
                  <a:gd name="connsiteX18" fmla="*/ 449597 w 590237"/>
                  <a:gd name="connsiteY18" fmla="*/ 48757 h 590237"/>
                  <a:gd name="connsiteX19" fmla="*/ 433436 w 590237"/>
                  <a:gd name="connsiteY19" fmla="*/ 104268 h 590237"/>
                  <a:gd name="connsiteX20" fmla="*/ 417275 w 590237"/>
                  <a:gd name="connsiteY20" fmla="*/ 128861 h 590237"/>
                  <a:gd name="connsiteX21" fmla="*/ 452408 w 590237"/>
                  <a:gd name="connsiteY21" fmla="*/ 149941 h 590237"/>
                  <a:gd name="connsiteX22" fmla="*/ 572564 w 590237"/>
                  <a:gd name="connsiteY22" fmla="*/ 149238 h 590237"/>
                  <a:gd name="connsiteX23" fmla="*/ 592941 w 590237"/>
                  <a:gd name="connsiteY23" fmla="*/ 168210 h 590237"/>
                  <a:gd name="connsiteX24" fmla="*/ 592941 w 590237"/>
                  <a:gd name="connsiteY24" fmla="*/ 291176 h 590237"/>
                  <a:gd name="connsiteX25" fmla="*/ 566942 w 590237"/>
                  <a:gd name="connsiteY25" fmla="*/ 336147 h 590237"/>
                  <a:gd name="connsiteX26" fmla="*/ 538133 w 590237"/>
                  <a:gd name="connsiteY26" fmla="*/ 333336 h 590237"/>
                  <a:gd name="connsiteX27" fmla="*/ 472082 w 590237"/>
                  <a:gd name="connsiteY27" fmla="*/ 312256 h 590237"/>
                  <a:gd name="connsiteX28" fmla="*/ 452408 w 590237"/>
                  <a:gd name="connsiteY28" fmla="*/ 408521 h 590237"/>
                  <a:gd name="connsiteX29" fmla="*/ 530404 w 590237"/>
                  <a:gd name="connsiteY29" fmla="*/ 419764 h 590237"/>
                  <a:gd name="connsiteX30" fmla="*/ 560618 w 590237"/>
                  <a:gd name="connsiteY30" fmla="*/ 403603 h 590237"/>
                  <a:gd name="connsiteX31" fmla="*/ 592238 w 590237"/>
                  <a:gd name="connsiteY31" fmla="*/ 441547 h 590237"/>
                  <a:gd name="connsiteX32" fmla="*/ 592941 w 590237"/>
                  <a:gd name="connsiteY32" fmla="*/ 581377 h 590237"/>
                  <a:gd name="connsiteX33" fmla="*/ 574671 w 590237"/>
                  <a:gd name="connsiteY33" fmla="*/ 593322 h 590237"/>
                  <a:gd name="connsiteX34" fmla="*/ 370196 w 590237"/>
                  <a:gd name="connsiteY34" fmla="*/ 591917 h 59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90237" h="590237">
                    <a:moveTo>
                      <a:pt x="370196" y="591917"/>
                    </a:moveTo>
                    <a:cubicBezTo>
                      <a:pt x="302740" y="591917"/>
                      <a:pt x="235285" y="591214"/>
                      <a:pt x="167829" y="591917"/>
                    </a:cubicBezTo>
                    <a:cubicBezTo>
                      <a:pt x="152370" y="591917"/>
                      <a:pt x="147452" y="588403"/>
                      <a:pt x="147452" y="572242"/>
                    </a:cubicBezTo>
                    <a:cubicBezTo>
                      <a:pt x="148857" y="532893"/>
                      <a:pt x="147452" y="493544"/>
                      <a:pt x="148154" y="454897"/>
                    </a:cubicBezTo>
                    <a:cubicBezTo>
                      <a:pt x="148154" y="443655"/>
                      <a:pt x="147452" y="433115"/>
                      <a:pt x="139020" y="424683"/>
                    </a:cubicBezTo>
                    <a:cubicBezTo>
                      <a:pt x="128480" y="414143"/>
                      <a:pt x="119345" y="410629"/>
                      <a:pt x="108805" y="425385"/>
                    </a:cubicBezTo>
                    <a:cubicBezTo>
                      <a:pt x="96157" y="442249"/>
                      <a:pt x="81401" y="459113"/>
                      <a:pt x="56808" y="451384"/>
                    </a:cubicBezTo>
                    <a:cubicBezTo>
                      <a:pt x="30810" y="443655"/>
                      <a:pt x="12540" y="426790"/>
                      <a:pt x="4811" y="400089"/>
                    </a:cubicBezTo>
                    <a:cubicBezTo>
                      <a:pt x="-7837" y="357929"/>
                      <a:pt x="4811" y="317878"/>
                      <a:pt x="38539" y="296798"/>
                    </a:cubicBezTo>
                    <a:cubicBezTo>
                      <a:pt x="64537" y="279934"/>
                      <a:pt x="81401" y="284150"/>
                      <a:pt x="105292" y="309446"/>
                    </a:cubicBezTo>
                    <a:cubicBezTo>
                      <a:pt x="110913" y="315770"/>
                      <a:pt x="113724" y="330526"/>
                      <a:pt x="127074" y="324904"/>
                    </a:cubicBezTo>
                    <a:cubicBezTo>
                      <a:pt x="140425" y="319283"/>
                      <a:pt x="148857" y="308743"/>
                      <a:pt x="148857" y="293284"/>
                    </a:cubicBezTo>
                    <a:cubicBezTo>
                      <a:pt x="148857" y="253935"/>
                      <a:pt x="150262" y="214586"/>
                      <a:pt x="148154" y="175940"/>
                    </a:cubicBezTo>
                    <a:cubicBezTo>
                      <a:pt x="147452" y="155562"/>
                      <a:pt x="150965" y="147130"/>
                      <a:pt x="174153" y="148536"/>
                    </a:cubicBezTo>
                    <a:cubicBezTo>
                      <a:pt x="211394" y="150644"/>
                      <a:pt x="248635" y="149238"/>
                      <a:pt x="286579" y="149238"/>
                    </a:cubicBezTo>
                    <a:cubicBezTo>
                      <a:pt x="294309" y="149238"/>
                      <a:pt x="302740" y="149941"/>
                      <a:pt x="310470" y="145022"/>
                    </a:cubicBezTo>
                    <a:cubicBezTo>
                      <a:pt x="328739" y="133077"/>
                      <a:pt x="330145" y="122537"/>
                      <a:pt x="313983" y="108484"/>
                    </a:cubicBezTo>
                    <a:cubicBezTo>
                      <a:pt x="280255" y="78972"/>
                      <a:pt x="280255" y="52271"/>
                      <a:pt x="312578" y="21354"/>
                    </a:cubicBezTo>
                    <a:cubicBezTo>
                      <a:pt x="353332" y="-16590"/>
                      <a:pt x="426409" y="-1835"/>
                      <a:pt x="449597" y="48757"/>
                    </a:cubicBezTo>
                    <a:cubicBezTo>
                      <a:pt x="460137" y="72648"/>
                      <a:pt x="449597" y="88107"/>
                      <a:pt x="433436" y="104268"/>
                    </a:cubicBezTo>
                    <a:cubicBezTo>
                      <a:pt x="426409" y="111295"/>
                      <a:pt x="410951" y="114808"/>
                      <a:pt x="417275" y="128861"/>
                    </a:cubicBezTo>
                    <a:cubicBezTo>
                      <a:pt x="423599" y="142914"/>
                      <a:pt x="435544" y="149941"/>
                      <a:pt x="452408" y="149941"/>
                    </a:cubicBezTo>
                    <a:cubicBezTo>
                      <a:pt x="492460" y="149238"/>
                      <a:pt x="532512" y="150644"/>
                      <a:pt x="572564" y="149238"/>
                    </a:cubicBezTo>
                    <a:cubicBezTo>
                      <a:pt x="587319" y="149238"/>
                      <a:pt x="592941" y="152049"/>
                      <a:pt x="592941" y="168210"/>
                    </a:cubicBezTo>
                    <a:cubicBezTo>
                      <a:pt x="591535" y="208965"/>
                      <a:pt x="592238" y="250422"/>
                      <a:pt x="592941" y="291176"/>
                    </a:cubicBezTo>
                    <a:cubicBezTo>
                      <a:pt x="592941" y="312256"/>
                      <a:pt x="582401" y="324904"/>
                      <a:pt x="566942" y="336147"/>
                    </a:cubicBezTo>
                    <a:cubicBezTo>
                      <a:pt x="556402" y="343174"/>
                      <a:pt x="547268" y="342471"/>
                      <a:pt x="538133" y="333336"/>
                    </a:cubicBezTo>
                    <a:cubicBezTo>
                      <a:pt x="500892" y="297501"/>
                      <a:pt x="494568" y="295393"/>
                      <a:pt x="472082" y="312256"/>
                    </a:cubicBezTo>
                    <a:cubicBezTo>
                      <a:pt x="444679" y="332634"/>
                      <a:pt x="435544" y="378307"/>
                      <a:pt x="452408" y="408521"/>
                    </a:cubicBezTo>
                    <a:cubicBezTo>
                      <a:pt x="472785" y="445762"/>
                      <a:pt x="503702" y="449979"/>
                      <a:pt x="530404" y="419764"/>
                    </a:cubicBezTo>
                    <a:cubicBezTo>
                      <a:pt x="538133" y="410629"/>
                      <a:pt x="544457" y="395874"/>
                      <a:pt x="560618" y="403603"/>
                    </a:cubicBezTo>
                    <a:cubicBezTo>
                      <a:pt x="576779" y="410629"/>
                      <a:pt x="592238" y="422575"/>
                      <a:pt x="592238" y="441547"/>
                    </a:cubicBezTo>
                    <a:cubicBezTo>
                      <a:pt x="593643" y="487922"/>
                      <a:pt x="592238" y="534298"/>
                      <a:pt x="592941" y="581377"/>
                    </a:cubicBezTo>
                    <a:cubicBezTo>
                      <a:pt x="592941" y="596835"/>
                      <a:pt x="582401" y="593322"/>
                      <a:pt x="574671" y="593322"/>
                    </a:cubicBezTo>
                    <a:cubicBezTo>
                      <a:pt x="505108" y="592619"/>
                      <a:pt x="437652" y="591917"/>
                      <a:pt x="370196" y="591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93A29165-6F0F-4442-8AD0-B92B40B59854}"/>
                  </a:ext>
                </a:extLst>
              </p:cNvPr>
              <p:cNvSpPr/>
              <p:nvPr userDrawn="1"/>
            </p:nvSpPr>
            <p:spPr>
              <a:xfrm>
                <a:off x="2425095" y="3660932"/>
                <a:ext cx="524616" cy="314770"/>
              </a:xfrm>
              <a:custGeom>
                <a:avLst/>
                <a:gdLst>
                  <a:gd name="connsiteX0" fmla="*/ 370725 w 737797"/>
                  <a:gd name="connsiteY0" fmla="*/ 441321 h 442678"/>
                  <a:gd name="connsiteX1" fmla="*/ 178898 w 737797"/>
                  <a:gd name="connsiteY1" fmla="*/ 442023 h 442678"/>
                  <a:gd name="connsiteX2" fmla="*/ 148684 w 737797"/>
                  <a:gd name="connsiteY2" fmla="*/ 413214 h 442678"/>
                  <a:gd name="connsiteX3" fmla="*/ 149386 w 737797"/>
                  <a:gd name="connsiteY3" fmla="*/ 303599 h 442678"/>
                  <a:gd name="connsiteX4" fmla="*/ 138846 w 737797"/>
                  <a:gd name="connsiteY4" fmla="*/ 274087 h 442678"/>
                  <a:gd name="connsiteX5" fmla="*/ 110037 w 737797"/>
                  <a:gd name="connsiteY5" fmla="*/ 274790 h 442678"/>
                  <a:gd name="connsiteX6" fmla="*/ 55230 w 737797"/>
                  <a:gd name="connsiteY6" fmla="*/ 301491 h 442678"/>
                  <a:gd name="connsiteX7" fmla="*/ 2530 w 737797"/>
                  <a:gd name="connsiteY7" fmla="*/ 243872 h 442678"/>
                  <a:gd name="connsiteX8" fmla="*/ 40473 w 737797"/>
                  <a:gd name="connsiteY8" fmla="*/ 146905 h 442678"/>
                  <a:gd name="connsiteX9" fmla="*/ 105119 w 737797"/>
                  <a:gd name="connsiteY9" fmla="*/ 160255 h 442678"/>
                  <a:gd name="connsiteX10" fmla="*/ 127604 w 737797"/>
                  <a:gd name="connsiteY10" fmla="*/ 175714 h 442678"/>
                  <a:gd name="connsiteX11" fmla="*/ 149386 w 737797"/>
                  <a:gd name="connsiteY11" fmla="*/ 143391 h 442678"/>
                  <a:gd name="connsiteX12" fmla="*/ 148684 w 737797"/>
                  <a:gd name="connsiteY12" fmla="*/ 23236 h 442678"/>
                  <a:gd name="connsiteX13" fmla="*/ 170466 w 737797"/>
                  <a:gd name="connsiteY13" fmla="*/ 48 h 442678"/>
                  <a:gd name="connsiteX14" fmla="*/ 290622 w 737797"/>
                  <a:gd name="connsiteY14" fmla="*/ 751 h 442678"/>
                  <a:gd name="connsiteX15" fmla="*/ 330673 w 737797"/>
                  <a:gd name="connsiteY15" fmla="*/ 19722 h 442678"/>
                  <a:gd name="connsiteX16" fmla="*/ 327160 w 737797"/>
                  <a:gd name="connsiteY16" fmla="*/ 59072 h 442678"/>
                  <a:gd name="connsiteX17" fmla="*/ 301864 w 737797"/>
                  <a:gd name="connsiteY17" fmla="*/ 105447 h 442678"/>
                  <a:gd name="connsiteX18" fmla="*/ 357375 w 737797"/>
                  <a:gd name="connsiteY18" fmla="*/ 148310 h 442678"/>
                  <a:gd name="connsiteX19" fmla="*/ 419209 w 737797"/>
                  <a:gd name="connsiteY19" fmla="*/ 132851 h 442678"/>
                  <a:gd name="connsiteX20" fmla="*/ 419209 w 737797"/>
                  <a:gd name="connsiteY20" fmla="*/ 63287 h 442678"/>
                  <a:gd name="connsiteX21" fmla="*/ 401643 w 737797"/>
                  <a:gd name="connsiteY21" fmla="*/ 35884 h 442678"/>
                  <a:gd name="connsiteX22" fmla="*/ 437478 w 737797"/>
                  <a:gd name="connsiteY22" fmla="*/ 2156 h 442678"/>
                  <a:gd name="connsiteX23" fmla="*/ 582228 w 737797"/>
                  <a:gd name="connsiteY23" fmla="*/ 751 h 442678"/>
                  <a:gd name="connsiteX24" fmla="*/ 591362 w 737797"/>
                  <a:gd name="connsiteY24" fmla="*/ 19020 h 442678"/>
                  <a:gd name="connsiteX25" fmla="*/ 591362 w 737797"/>
                  <a:gd name="connsiteY25" fmla="*/ 134257 h 442678"/>
                  <a:gd name="connsiteX26" fmla="*/ 596983 w 737797"/>
                  <a:gd name="connsiteY26" fmla="*/ 160255 h 442678"/>
                  <a:gd name="connsiteX27" fmla="*/ 634224 w 737797"/>
                  <a:gd name="connsiteY27" fmla="*/ 164471 h 442678"/>
                  <a:gd name="connsiteX28" fmla="*/ 722760 w 737797"/>
                  <a:gd name="connsiteY28" fmla="*/ 165174 h 442678"/>
                  <a:gd name="connsiteX29" fmla="*/ 695356 w 737797"/>
                  <a:gd name="connsiteY29" fmla="*/ 298680 h 442678"/>
                  <a:gd name="connsiteX30" fmla="*/ 637035 w 737797"/>
                  <a:gd name="connsiteY30" fmla="*/ 283221 h 442678"/>
                  <a:gd name="connsiteX31" fmla="*/ 613144 w 737797"/>
                  <a:gd name="connsiteY31" fmla="*/ 267060 h 442678"/>
                  <a:gd name="connsiteX32" fmla="*/ 591362 w 737797"/>
                  <a:gd name="connsiteY32" fmla="*/ 302193 h 442678"/>
                  <a:gd name="connsiteX33" fmla="*/ 592065 w 737797"/>
                  <a:gd name="connsiteY33" fmla="*/ 420241 h 442678"/>
                  <a:gd name="connsiteX34" fmla="*/ 570282 w 737797"/>
                  <a:gd name="connsiteY34" fmla="*/ 442726 h 442678"/>
                  <a:gd name="connsiteX35" fmla="*/ 370725 w 737797"/>
                  <a:gd name="connsiteY35" fmla="*/ 441321 h 442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37797" h="442678">
                    <a:moveTo>
                      <a:pt x="370725" y="441321"/>
                    </a:moveTo>
                    <a:cubicBezTo>
                      <a:pt x="306783" y="441321"/>
                      <a:pt x="242840" y="440618"/>
                      <a:pt x="178898" y="442023"/>
                    </a:cubicBezTo>
                    <a:cubicBezTo>
                      <a:pt x="155710" y="442726"/>
                      <a:pt x="146576" y="438510"/>
                      <a:pt x="148684" y="413214"/>
                    </a:cubicBezTo>
                    <a:cubicBezTo>
                      <a:pt x="151494" y="376676"/>
                      <a:pt x="149386" y="340137"/>
                      <a:pt x="149386" y="303599"/>
                    </a:cubicBezTo>
                    <a:cubicBezTo>
                      <a:pt x="149386" y="292356"/>
                      <a:pt x="147981" y="282519"/>
                      <a:pt x="138846" y="274087"/>
                    </a:cubicBezTo>
                    <a:cubicBezTo>
                      <a:pt x="128306" y="264250"/>
                      <a:pt x="119874" y="260736"/>
                      <a:pt x="110037" y="274790"/>
                    </a:cubicBezTo>
                    <a:cubicBezTo>
                      <a:pt x="96686" y="293761"/>
                      <a:pt x="79823" y="309923"/>
                      <a:pt x="55230" y="301491"/>
                    </a:cubicBezTo>
                    <a:cubicBezTo>
                      <a:pt x="28528" y="292356"/>
                      <a:pt x="8853" y="274087"/>
                      <a:pt x="2530" y="243872"/>
                    </a:cubicBezTo>
                    <a:cubicBezTo>
                      <a:pt x="-5902" y="201010"/>
                      <a:pt x="6746" y="166579"/>
                      <a:pt x="40473" y="146905"/>
                    </a:cubicBezTo>
                    <a:cubicBezTo>
                      <a:pt x="65067" y="132148"/>
                      <a:pt x="82633" y="136365"/>
                      <a:pt x="105119" y="160255"/>
                    </a:cubicBezTo>
                    <a:cubicBezTo>
                      <a:pt x="111443" y="167282"/>
                      <a:pt x="114956" y="181335"/>
                      <a:pt x="127604" y="175714"/>
                    </a:cubicBezTo>
                    <a:cubicBezTo>
                      <a:pt x="140252" y="170092"/>
                      <a:pt x="149386" y="159552"/>
                      <a:pt x="149386" y="143391"/>
                    </a:cubicBezTo>
                    <a:cubicBezTo>
                      <a:pt x="149386" y="103339"/>
                      <a:pt x="150089" y="63287"/>
                      <a:pt x="148684" y="23236"/>
                    </a:cubicBezTo>
                    <a:cubicBezTo>
                      <a:pt x="147981" y="6372"/>
                      <a:pt x="150792" y="-655"/>
                      <a:pt x="170466" y="48"/>
                    </a:cubicBezTo>
                    <a:cubicBezTo>
                      <a:pt x="210518" y="2156"/>
                      <a:pt x="250570" y="751"/>
                      <a:pt x="290622" y="751"/>
                    </a:cubicBezTo>
                    <a:cubicBezTo>
                      <a:pt x="307486" y="751"/>
                      <a:pt x="320836" y="7074"/>
                      <a:pt x="330673" y="19722"/>
                    </a:cubicBezTo>
                    <a:cubicBezTo>
                      <a:pt x="341916" y="33775"/>
                      <a:pt x="344024" y="46424"/>
                      <a:pt x="327160" y="59072"/>
                    </a:cubicBezTo>
                    <a:cubicBezTo>
                      <a:pt x="312404" y="70314"/>
                      <a:pt x="292730" y="82259"/>
                      <a:pt x="301864" y="105447"/>
                    </a:cubicBezTo>
                    <a:cubicBezTo>
                      <a:pt x="311702" y="129338"/>
                      <a:pt x="329268" y="146202"/>
                      <a:pt x="357375" y="148310"/>
                    </a:cubicBezTo>
                    <a:cubicBezTo>
                      <a:pt x="379860" y="150418"/>
                      <a:pt x="400940" y="149013"/>
                      <a:pt x="419209" y="132851"/>
                    </a:cubicBezTo>
                    <a:cubicBezTo>
                      <a:pt x="448018" y="106150"/>
                      <a:pt x="448018" y="89286"/>
                      <a:pt x="419209" y="63287"/>
                    </a:cubicBezTo>
                    <a:cubicBezTo>
                      <a:pt x="410777" y="56261"/>
                      <a:pt x="396724" y="50640"/>
                      <a:pt x="401643" y="35884"/>
                    </a:cubicBezTo>
                    <a:cubicBezTo>
                      <a:pt x="407264" y="19020"/>
                      <a:pt x="418506" y="2859"/>
                      <a:pt x="437478" y="2156"/>
                    </a:cubicBezTo>
                    <a:cubicBezTo>
                      <a:pt x="485962" y="48"/>
                      <a:pt x="534446" y="751"/>
                      <a:pt x="582228" y="751"/>
                    </a:cubicBezTo>
                    <a:cubicBezTo>
                      <a:pt x="596983" y="751"/>
                      <a:pt x="591362" y="11993"/>
                      <a:pt x="591362" y="19020"/>
                    </a:cubicBezTo>
                    <a:cubicBezTo>
                      <a:pt x="592065" y="57666"/>
                      <a:pt x="591362" y="95610"/>
                      <a:pt x="591362" y="134257"/>
                    </a:cubicBezTo>
                    <a:cubicBezTo>
                      <a:pt x="591362" y="143391"/>
                      <a:pt x="592065" y="152526"/>
                      <a:pt x="596983" y="160255"/>
                    </a:cubicBezTo>
                    <a:cubicBezTo>
                      <a:pt x="608929" y="179930"/>
                      <a:pt x="618766" y="180632"/>
                      <a:pt x="634224" y="164471"/>
                    </a:cubicBezTo>
                    <a:cubicBezTo>
                      <a:pt x="665142" y="130041"/>
                      <a:pt x="692545" y="130743"/>
                      <a:pt x="722760" y="165174"/>
                    </a:cubicBezTo>
                    <a:cubicBezTo>
                      <a:pt x="758596" y="205928"/>
                      <a:pt x="743840" y="274790"/>
                      <a:pt x="695356" y="298680"/>
                    </a:cubicBezTo>
                    <a:cubicBezTo>
                      <a:pt x="671465" y="310625"/>
                      <a:pt x="653899" y="300788"/>
                      <a:pt x="637035" y="283221"/>
                    </a:cubicBezTo>
                    <a:cubicBezTo>
                      <a:pt x="630711" y="276195"/>
                      <a:pt x="627901" y="260033"/>
                      <a:pt x="613144" y="267060"/>
                    </a:cubicBezTo>
                    <a:cubicBezTo>
                      <a:pt x="599794" y="273384"/>
                      <a:pt x="591362" y="285330"/>
                      <a:pt x="591362" y="302193"/>
                    </a:cubicBezTo>
                    <a:cubicBezTo>
                      <a:pt x="591362" y="341543"/>
                      <a:pt x="590659" y="380892"/>
                      <a:pt x="592065" y="420241"/>
                    </a:cubicBezTo>
                    <a:cubicBezTo>
                      <a:pt x="592767" y="437807"/>
                      <a:pt x="588551" y="443429"/>
                      <a:pt x="570282" y="442726"/>
                    </a:cubicBezTo>
                    <a:cubicBezTo>
                      <a:pt x="504232" y="440618"/>
                      <a:pt x="437478" y="441321"/>
                      <a:pt x="370725" y="44132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50654623-9DEF-4FB6-8E55-A519B4282B0C}"/>
                  </a:ext>
                </a:extLst>
              </p:cNvPr>
              <p:cNvSpPr/>
              <p:nvPr userDrawn="1"/>
            </p:nvSpPr>
            <p:spPr>
              <a:xfrm>
                <a:off x="2843207" y="3552413"/>
                <a:ext cx="314770" cy="419693"/>
              </a:xfrm>
              <a:custGeom>
                <a:avLst/>
                <a:gdLst>
                  <a:gd name="connsiteX0" fmla="*/ 222808 w 442678"/>
                  <a:gd name="connsiteY0" fmla="*/ 592910 h 590237"/>
                  <a:gd name="connsiteX1" fmla="*/ 22549 w 442678"/>
                  <a:gd name="connsiteY1" fmla="*/ 593613 h 590237"/>
                  <a:gd name="connsiteX2" fmla="*/ 64 w 442678"/>
                  <a:gd name="connsiteY2" fmla="*/ 570425 h 590237"/>
                  <a:gd name="connsiteX3" fmla="*/ 64 w 442678"/>
                  <a:gd name="connsiteY3" fmla="*/ 457998 h 590237"/>
                  <a:gd name="connsiteX4" fmla="*/ 15523 w 442678"/>
                  <a:gd name="connsiteY4" fmla="*/ 415839 h 590237"/>
                  <a:gd name="connsiteX5" fmla="*/ 62601 w 442678"/>
                  <a:gd name="connsiteY5" fmla="*/ 417947 h 590237"/>
                  <a:gd name="connsiteX6" fmla="*/ 104761 w 442678"/>
                  <a:gd name="connsiteY6" fmla="*/ 440432 h 590237"/>
                  <a:gd name="connsiteX7" fmla="*/ 147624 w 442678"/>
                  <a:gd name="connsiteY7" fmla="*/ 391245 h 590237"/>
                  <a:gd name="connsiteX8" fmla="*/ 127246 w 442678"/>
                  <a:gd name="connsiteY8" fmla="*/ 316061 h 590237"/>
                  <a:gd name="connsiteX9" fmla="*/ 66817 w 442678"/>
                  <a:gd name="connsiteY9" fmla="*/ 319574 h 590237"/>
                  <a:gd name="connsiteX10" fmla="*/ 35900 w 442678"/>
                  <a:gd name="connsiteY10" fmla="*/ 339249 h 590237"/>
                  <a:gd name="connsiteX11" fmla="*/ 1469 w 442678"/>
                  <a:gd name="connsiteY11" fmla="*/ 297791 h 590237"/>
                  <a:gd name="connsiteX12" fmla="*/ 767 w 442678"/>
                  <a:gd name="connsiteY12" fmla="*/ 163583 h 590237"/>
                  <a:gd name="connsiteX13" fmla="*/ 19036 w 442678"/>
                  <a:gd name="connsiteY13" fmla="*/ 150934 h 590237"/>
                  <a:gd name="connsiteX14" fmla="*/ 137084 w 442678"/>
                  <a:gd name="connsiteY14" fmla="*/ 150934 h 590237"/>
                  <a:gd name="connsiteX15" fmla="*/ 165190 w 442678"/>
                  <a:gd name="connsiteY15" fmla="*/ 143205 h 590237"/>
                  <a:gd name="connsiteX16" fmla="*/ 166595 w 442678"/>
                  <a:gd name="connsiteY16" fmla="*/ 107369 h 590237"/>
                  <a:gd name="connsiteX17" fmla="*/ 163785 w 442678"/>
                  <a:gd name="connsiteY17" fmla="*/ 22347 h 590237"/>
                  <a:gd name="connsiteX18" fmla="*/ 290967 w 442678"/>
                  <a:gd name="connsiteY18" fmla="*/ 30779 h 590237"/>
                  <a:gd name="connsiteX19" fmla="*/ 286048 w 442678"/>
                  <a:gd name="connsiteY19" fmla="*/ 104559 h 590237"/>
                  <a:gd name="connsiteX20" fmla="*/ 270590 w 442678"/>
                  <a:gd name="connsiteY20" fmla="*/ 129152 h 590237"/>
                  <a:gd name="connsiteX21" fmla="*/ 303615 w 442678"/>
                  <a:gd name="connsiteY21" fmla="*/ 150232 h 590237"/>
                  <a:gd name="connsiteX22" fmla="*/ 421662 w 442678"/>
                  <a:gd name="connsiteY22" fmla="*/ 149529 h 590237"/>
                  <a:gd name="connsiteX23" fmla="*/ 446256 w 442678"/>
                  <a:gd name="connsiteY23" fmla="*/ 175528 h 590237"/>
                  <a:gd name="connsiteX24" fmla="*/ 446256 w 442678"/>
                  <a:gd name="connsiteY24" fmla="*/ 287954 h 590237"/>
                  <a:gd name="connsiteX25" fmla="*/ 428689 w 442678"/>
                  <a:gd name="connsiteY25" fmla="*/ 329411 h 590237"/>
                  <a:gd name="connsiteX26" fmla="*/ 385827 w 442678"/>
                  <a:gd name="connsiteY26" fmla="*/ 327303 h 590237"/>
                  <a:gd name="connsiteX27" fmla="*/ 342261 w 442678"/>
                  <a:gd name="connsiteY27" fmla="*/ 303412 h 590237"/>
                  <a:gd name="connsiteX28" fmla="*/ 298696 w 442678"/>
                  <a:gd name="connsiteY28" fmla="*/ 357518 h 590237"/>
                  <a:gd name="connsiteX29" fmla="*/ 318371 w 442678"/>
                  <a:gd name="connsiteY29" fmla="*/ 425676 h 590237"/>
                  <a:gd name="connsiteX30" fmla="*/ 380908 w 442678"/>
                  <a:gd name="connsiteY30" fmla="*/ 422865 h 590237"/>
                  <a:gd name="connsiteX31" fmla="*/ 415338 w 442678"/>
                  <a:gd name="connsiteY31" fmla="*/ 404596 h 590237"/>
                  <a:gd name="connsiteX32" fmla="*/ 446256 w 442678"/>
                  <a:gd name="connsiteY32" fmla="*/ 446054 h 590237"/>
                  <a:gd name="connsiteX33" fmla="*/ 446958 w 442678"/>
                  <a:gd name="connsiteY33" fmla="*/ 577451 h 590237"/>
                  <a:gd name="connsiteX34" fmla="*/ 425878 w 442678"/>
                  <a:gd name="connsiteY34" fmla="*/ 592910 h 590237"/>
                  <a:gd name="connsiteX35" fmla="*/ 222808 w 442678"/>
                  <a:gd name="connsiteY35" fmla="*/ 592910 h 59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42678" h="590237">
                    <a:moveTo>
                      <a:pt x="222808" y="592910"/>
                    </a:moveTo>
                    <a:cubicBezTo>
                      <a:pt x="156055" y="592910"/>
                      <a:pt x="89302" y="592208"/>
                      <a:pt x="22549" y="593613"/>
                    </a:cubicBezTo>
                    <a:cubicBezTo>
                      <a:pt x="4280" y="593613"/>
                      <a:pt x="-639" y="588694"/>
                      <a:pt x="64" y="570425"/>
                    </a:cubicBezTo>
                    <a:cubicBezTo>
                      <a:pt x="1469" y="533184"/>
                      <a:pt x="767" y="495240"/>
                      <a:pt x="64" y="457998"/>
                    </a:cubicBezTo>
                    <a:cubicBezTo>
                      <a:pt x="64" y="441837"/>
                      <a:pt x="3577" y="427784"/>
                      <a:pt x="15523" y="415839"/>
                    </a:cubicBezTo>
                    <a:cubicBezTo>
                      <a:pt x="33792" y="397570"/>
                      <a:pt x="45035" y="397570"/>
                      <a:pt x="62601" y="417947"/>
                    </a:cubicBezTo>
                    <a:cubicBezTo>
                      <a:pt x="73844" y="431297"/>
                      <a:pt x="85086" y="448161"/>
                      <a:pt x="104761" y="440432"/>
                    </a:cubicBezTo>
                    <a:cubicBezTo>
                      <a:pt x="126544" y="432000"/>
                      <a:pt x="144813" y="417244"/>
                      <a:pt x="147624" y="391245"/>
                    </a:cubicBezTo>
                    <a:cubicBezTo>
                      <a:pt x="150434" y="363842"/>
                      <a:pt x="152542" y="336438"/>
                      <a:pt x="127246" y="316061"/>
                    </a:cubicBezTo>
                    <a:cubicBezTo>
                      <a:pt x="102653" y="295683"/>
                      <a:pt x="87897" y="296386"/>
                      <a:pt x="66817" y="319574"/>
                    </a:cubicBezTo>
                    <a:cubicBezTo>
                      <a:pt x="58385" y="328709"/>
                      <a:pt x="54169" y="345572"/>
                      <a:pt x="35900" y="339249"/>
                    </a:cubicBezTo>
                    <a:cubicBezTo>
                      <a:pt x="15523" y="332222"/>
                      <a:pt x="2172" y="318169"/>
                      <a:pt x="1469" y="297791"/>
                    </a:cubicBezTo>
                    <a:cubicBezTo>
                      <a:pt x="-639" y="252821"/>
                      <a:pt x="1469" y="208553"/>
                      <a:pt x="767" y="163583"/>
                    </a:cubicBezTo>
                    <a:cubicBezTo>
                      <a:pt x="767" y="148827"/>
                      <a:pt x="9901" y="150934"/>
                      <a:pt x="19036" y="150934"/>
                    </a:cubicBezTo>
                    <a:cubicBezTo>
                      <a:pt x="58385" y="150934"/>
                      <a:pt x="97734" y="150934"/>
                      <a:pt x="137084" y="150934"/>
                    </a:cubicBezTo>
                    <a:cubicBezTo>
                      <a:pt x="147624" y="150934"/>
                      <a:pt x="157461" y="150232"/>
                      <a:pt x="165190" y="143205"/>
                    </a:cubicBezTo>
                    <a:cubicBezTo>
                      <a:pt x="178541" y="131963"/>
                      <a:pt x="185567" y="122828"/>
                      <a:pt x="166595" y="107369"/>
                    </a:cubicBezTo>
                    <a:cubicBezTo>
                      <a:pt x="132165" y="80668"/>
                      <a:pt x="132165" y="53264"/>
                      <a:pt x="163785" y="22347"/>
                    </a:cubicBezTo>
                    <a:cubicBezTo>
                      <a:pt x="197513" y="-10678"/>
                      <a:pt x="260752" y="-6462"/>
                      <a:pt x="290967" y="30779"/>
                    </a:cubicBezTo>
                    <a:cubicBezTo>
                      <a:pt x="314155" y="58885"/>
                      <a:pt x="312047" y="79263"/>
                      <a:pt x="286048" y="104559"/>
                    </a:cubicBezTo>
                    <a:cubicBezTo>
                      <a:pt x="279022" y="111585"/>
                      <a:pt x="263563" y="115099"/>
                      <a:pt x="270590" y="129152"/>
                    </a:cubicBezTo>
                    <a:cubicBezTo>
                      <a:pt x="276914" y="141800"/>
                      <a:pt x="288156" y="150232"/>
                      <a:pt x="303615" y="150232"/>
                    </a:cubicBezTo>
                    <a:cubicBezTo>
                      <a:pt x="342964" y="150232"/>
                      <a:pt x="382313" y="151637"/>
                      <a:pt x="421662" y="149529"/>
                    </a:cubicBezTo>
                    <a:cubicBezTo>
                      <a:pt x="443445" y="148124"/>
                      <a:pt x="446958" y="155853"/>
                      <a:pt x="446256" y="175528"/>
                    </a:cubicBezTo>
                    <a:cubicBezTo>
                      <a:pt x="444850" y="212769"/>
                      <a:pt x="445553" y="250713"/>
                      <a:pt x="446256" y="287954"/>
                    </a:cubicBezTo>
                    <a:cubicBezTo>
                      <a:pt x="446256" y="304818"/>
                      <a:pt x="441337" y="318169"/>
                      <a:pt x="428689" y="329411"/>
                    </a:cubicBezTo>
                    <a:cubicBezTo>
                      <a:pt x="413933" y="342059"/>
                      <a:pt x="399880" y="346275"/>
                      <a:pt x="385827" y="327303"/>
                    </a:cubicBezTo>
                    <a:cubicBezTo>
                      <a:pt x="375287" y="313250"/>
                      <a:pt x="364044" y="295683"/>
                      <a:pt x="342261" y="303412"/>
                    </a:cubicBezTo>
                    <a:cubicBezTo>
                      <a:pt x="316965" y="312547"/>
                      <a:pt x="300804" y="330114"/>
                      <a:pt x="298696" y="357518"/>
                    </a:cubicBezTo>
                    <a:cubicBezTo>
                      <a:pt x="296588" y="382814"/>
                      <a:pt x="297994" y="406704"/>
                      <a:pt x="318371" y="425676"/>
                    </a:cubicBezTo>
                    <a:cubicBezTo>
                      <a:pt x="342964" y="448161"/>
                      <a:pt x="358423" y="447459"/>
                      <a:pt x="380908" y="422865"/>
                    </a:cubicBezTo>
                    <a:cubicBezTo>
                      <a:pt x="390043" y="412325"/>
                      <a:pt x="397069" y="395462"/>
                      <a:pt x="415338" y="404596"/>
                    </a:cubicBezTo>
                    <a:cubicBezTo>
                      <a:pt x="432202" y="413028"/>
                      <a:pt x="445553" y="425676"/>
                      <a:pt x="446256" y="446054"/>
                    </a:cubicBezTo>
                    <a:cubicBezTo>
                      <a:pt x="446958" y="489618"/>
                      <a:pt x="445553" y="533887"/>
                      <a:pt x="446958" y="577451"/>
                    </a:cubicBezTo>
                    <a:cubicBezTo>
                      <a:pt x="447661" y="595721"/>
                      <a:pt x="436418" y="592910"/>
                      <a:pt x="425878" y="592910"/>
                    </a:cubicBezTo>
                    <a:cubicBezTo>
                      <a:pt x="355612" y="592910"/>
                      <a:pt x="288859" y="592910"/>
                      <a:pt x="222808" y="5929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D3B24E16-89CF-4CC0-9032-F3F09600E409}"/>
                  </a:ext>
                </a:extLst>
              </p:cNvPr>
              <p:cNvSpPr/>
              <p:nvPr userDrawn="1"/>
            </p:nvSpPr>
            <p:spPr>
              <a:xfrm>
                <a:off x="3051472" y="3662333"/>
                <a:ext cx="419693" cy="309773"/>
              </a:xfrm>
              <a:custGeom>
                <a:avLst/>
                <a:gdLst>
                  <a:gd name="connsiteX0" fmla="*/ 368817 w 590237"/>
                  <a:gd name="connsiteY0" fmla="*/ 441448 h 435651"/>
                  <a:gd name="connsiteX1" fmla="*/ 166450 w 590237"/>
                  <a:gd name="connsiteY1" fmla="*/ 441448 h 435651"/>
                  <a:gd name="connsiteX2" fmla="*/ 148180 w 590237"/>
                  <a:gd name="connsiteY2" fmla="*/ 423882 h 435651"/>
                  <a:gd name="connsiteX3" fmla="*/ 148883 w 590237"/>
                  <a:gd name="connsiteY3" fmla="*/ 308645 h 435651"/>
                  <a:gd name="connsiteX4" fmla="*/ 140451 w 590237"/>
                  <a:gd name="connsiteY4" fmla="*/ 277728 h 435651"/>
                  <a:gd name="connsiteX5" fmla="*/ 106723 w 590237"/>
                  <a:gd name="connsiteY5" fmla="*/ 276322 h 435651"/>
                  <a:gd name="connsiteX6" fmla="*/ 16782 w 590237"/>
                  <a:gd name="connsiteY6" fmla="*/ 274917 h 435651"/>
                  <a:gd name="connsiteX7" fmla="*/ 26619 w 590237"/>
                  <a:gd name="connsiteY7" fmla="*/ 155465 h 435651"/>
                  <a:gd name="connsiteX8" fmla="*/ 102507 w 590237"/>
                  <a:gd name="connsiteY8" fmla="*/ 157572 h 435651"/>
                  <a:gd name="connsiteX9" fmla="*/ 126398 w 590237"/>
                  <a:gd name="connsiteY9" fmla="*/ 175139 h 435651"/>
                  <a:gd name="connsiteX10" fmla="*/ 148883 w 590237"/>
                  <a:gd name="connsiteY10" fmla="*/ 137898 h 435651"/>
                  <a:gd name="connsiteX11" fmla="*/ 148180 w 590237"/>
                  <a:gd name="connsiteY11" fmla="*/ 25472 h 435651"/>
                  <a:gd name="connsiteX12" fmla="*/ 172773 w 590237"/>
                  <a:gd name="connsiteY12" fmla="*/ 176 h 435651"/>
                  <a:gd name="connsiteX13" fmla="*/ 290821 w 590237"/>
                  <a:gd name="connsiteY13" fmla="*/ 176 h 435651"/>
                  <a:gd name="connsiteX14" fmla="*/ 332278 w 590237"/>
                  <a:gd name="connsiteY14" fmla="*/ 22661 h 435651"/>
                  <a:gd name="connsiteX15" fmla="*/ 328062 w 590237"/>
                  <a:gd name="connsiteY15" fmla="*/ 57794 h 435651"/>
                  <a:gd name="connsiteX16" fmla="*/ 303469 w 590237"/>
                  <a:gd name="connsiteY16" fmla="*/ 111196 h 435651"/>
                  <a:gd name="connsiteX17" fmla="*/ 381465 w 590237"/>
                  <a:gd name="connsiteY17" fmla="*/ 148438 h 435651"/>
                  <a:gd name="connsiteX18" fmla="*/ 439083 w 590237"/>
                  <a:gd name="connsiteY18" fmla="*/ 100656 h 435651"/>
                  <a:gd name="connsiteX19" fmla="*/ 418706 w 590237"/>
                  <a:gd name="connsiteY19" fmla="*/ 64118 h 435651"/>
                  <a:gd name="connsiteX20" fmla="*/ 401842 w 590237"/>
                  <a:gd name="connsiteY20" fmla="*/ 31093 h 435651"/>
                  <a:gd name="connsiteX21" fmla="*/ 437678 w 590237"/>
                  <a:gd name="connsiteY21" fmla="*/ 878 h 435651"/>
                  <a:gd name="connsiteX22" fmla="*/ 580319 w 590237"/>
                  <a:gd name="connsiteY22" fmla="*/ 176 h 435651"/>
                  <a:gd name="connsiteX23" fmla="*/ 590859 w 590237"/>
                  <a:gd name="connsiteY23" fmla="*/ 14229 h 435651"/>
                  <a:gd name="connsiteX24" fmla="*/ 590859 w 590237"/>
                  <a:gd name="connsiteY24" fmla="*/ 142816 h 435651"/>
                  <a:gd name="connsiteX25" fmla="*/ 569779 w 590237"/>
                  <a:gd name="connsiteY25" fmla="*/ 182166 h 435651"/>
                  <a:gd name="connsiteX26" fmla="*/ 532537 w 590237"/>
                  <a:gd name="connsiteY26" fmla="*/ 178652 h 435651"/>
                  <a:gd name="connsiteX27" fmla="*/ 486864 w 590237"/>
                  <a:gd name="connsiteY27" fmla="*/ 152654 h 435651"/>
                  <a:gd name="connsiteX28" fmla="*/ 442596 w 590237"/>
                  <a:gd name="connsiteY28" fmla="*/ 209569 h 435651"/>
                  <a:gd name="connsiteX29" fmla="*/ 462271 w 590237"/>
                  <a:gd name="connsiteY29" fmla="*/ 274917 h 435651"/>
                  <a:gd name="connsiteX30" fmla="*/ 526213 w 590237"/>
                  <a:gd name="connsiteY30" fmla="*/ 270701 h 435651"/>
                  <a:gd name="connsiteX31" fmla="*/ 556428 w 590237"/>
                  <a:gd name="connsiteY31" fmla="*/ 253135 h 435651"/>
                  <a:gd name="connsiteX32" fmla="*/ 588048 w 590237"/>
                  <a:gd name="connsiteY32" fmla="*/ 287565 h 435651"/>
                  <a:gd name="connsiteX33" fmla="*/ 590156 w 590237"/>
                  <a:gd name="connsiteY33" fmla="*/ 432314 h 435651"/>
                  <a:gd name="connsiteX34" fmla="*/ 569076 w 590237"/>
                  <a:gd name="connsiteY34" fmla="*/ 441448 h 435651"/>
                  <a:gd name="connsiteX35" fmla="*/ 368817 w 590237"/>
                  <a:gd name="connsiteY35" fmla="*/ 441448 h 435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90237" h="435651">
                    <a:moveTo>
                      <a:pt x="368817" y="441448"/>
                    </a:moveTo>
                    <a:cubicBezTo>
                      <a:pt x="301361" y="441448"/>
                      <a:pt x="233905" y="440746"/>
                      <a:pt x="166450" y="441448"/>
                    </a:cubicBezTo>
                    <a:cubicBezTo>
                      <a:pt x="152396" y="441448"/>
                      <a:pt x="147478" y="438638"/>
                      <a:pt x="148180" y="423882"/>
                    </a:cubicBezTo>
                    <a:cubicBezTo>
                      <a:pt x="149586" y="385235"/>
                      <a:pt x="148180" y="347292"/>
                      <a:pt x="148883" y="308645"/>
                    </a:cubicBezTo>
                    <a:cubicBezTo>
                      <a:pt x="148883" y="297402"/>
                      <a:pt x="148180" y="286862"/>
                      <a:pt x="140451" y="277728"/>
                    </a:cubicBezTo>
                    <a:cubicBezTo>
                      <a:pt x="129208" y="264377"/>
                      <a:pt x="120776" y="258756"/>
                      <a:pt x="106723" y="276322"/>
                    </a:cubicBezTo>
                    <a:cubicBezTo>
                      <a:pt x="77211" y="312159"/>
                      <a:pt x="46294" y="310753"/>
                      <a:pt x="16782" y="274917"/>
                    </a:cubicBezTo>
                    <a:cubicBezTo>
                      <a:pt x="-9216" y="243298"/>
                      <a:pt x="-4298" y="182868"/>
                      <a:pt x="26619" y="155465"/>
                    </a:cubicBezTo>
                    <a:cubicBezTo>
                      <a:pt x="54726" y="130871"/>
                      <a:pt x="77914" y="131574"/>
                      <a:pt x="102507" y="157572"/>
                    </a:cubicBezTo>
                    <a:cubicBezTo>
                      <a:pt x="109534" y="164599"/>
                      <a:pt x="112344" y="180760"/>
                      <a:pt x="126398" y="175139"/>
                    </a:cubicBezTo>
                    <a:cubicBezTo>
                      <a:pt x="141154" y="168815"/>
                      <a:pt x="148883" y="155465"/>
                      <a:pt x="148883" y="137898"/>
                    </a:cubicBezTo>
                    <a:cubicBezTo>
                      <a:pt x="148883" y="100656"/>
                      <a:pt x="150288" y="62713"/>
                      <a:pt x="148180" y="25472"/>
                    </a:cubicBezTo>
                    <a:cubicBezTo>
                      <a:pt x="147478" y="5797"/>
                      <a:pt x="151694" y="-1230"/>
                      <a:pt x="172773" y="176"/>
                    </a:cubicBezTo>
                    <a:cubicBezTo>
                      <a:pt x="212123" y="2283"/>
                      <a:pt x="251472" y="1581"/>
                      <a:pt x="290821" y="176"/>
                    </a:cubicBezTo>
                    <a:cubicBezTo>
                      <a:pt x="309793" y="-527"/>
                      <a:pt x="321738" y="8608"/>
                      <a:pt x="332278" y="22661"/>
                    </a:cubicBezTo>
                    <a:cubicBezTo>
                      <a:pt x="341413" y="35309"/>
                      <a:pt x="342116" y="46552"/>
                      <a:pt x="328062" y="57794"/>
                    </a:cubicBezTo>
                    <a:cubicBezTo>
                      <a:pt x="311901" y="71145"/>
                      <a:pt x="289416" y="83090"/>
                      <a:pt x="303469" y="111196"/>
                    </a:cubicBezTo>
                    <a:cubicBezTo>
                      <a:pt x="317522" y="139303"/>
                      <a:pt x="346332" y="152654"/>
                      <a:pt x="381465" y="148438"/>
                    </a:cubicBezTo>
                    <a:cubicBezTo>
                      <a:pt x="408166" y="144925"/>
                      <a:pt x="435570" y="123142"/>
                      <a:pt x="439083" y="100656"/>
                    </a:cubicBezTo>
                    <a:cubicBezTo>
                      <a:pt x="441894" y="83793"/>
                      <a:pt x="429949" y="73955"/>
                      <a:pt x="418706" y="64118"/>
                    </a:cubicBezTo>
                    <a:cubicBezTo>
                      <a:pt x="408869" y="55686"/>
                      <a:pt x="394113" y="48660"/>
                      <a:pt x="401842" y="31093"/>
                    </a:cubicBezTo>
                    <a:cubicBezTo>
                      <a:pt x="408869" y="15634"/>
                      <a:pt x="419409" y="1581"/>
                      <a:pt x="437678" y="878"/>
                    </a:cubicBezTo>
                    <a:cubicBezTo>
                      <a:pt x="485459" y="-527"/>
                      <a:pt x="532537" y="176"/>
                      <a:pt x="580319" y="176"/>
                    </a:cubicBezTo>
                    <a:cubicBezTo>
                      <a:pt x="591561" y="176"/>
                      <a:pt x="590859" y="6500"/>
                      <a:pt x="590859" y="14229"/>
                    </a:cubicBezTo>
                    <a:cubicBezTo>
                      <a:pt x="590859" y="57092"/>
                      <a:pt x="590859" y="99954"/>
                      <a:pt x="590859" y="142816"/>
                    </a:cubicBezTo>
                    <a:cubicBezTo>
                      <a:pt x="590859" y="159680"/>
                      <a:pt x="582427" y="172328"/>
                      <a:pt x="569779" y="182166"/>
                    </a:cubicBezTo>
                    <a:cubicBezTo>
                      <a:pt x="556428" y="192706"/>
                      <a:pt x="544483" y="193408"/>
                      <a:pt x="532537" y="178652"/>
                    </a:cubicBezTo>
                    <a:cubicBezTo>
                      <a:pt x="521295" y="163896"/>
                      <a:pt x="510052" y="144222"/>
                      <a:pt x="486864" y="152654"/>
                    </a:cubicBezTo>
                    <a:cubicBezTo>
                      <a:pt x="460866" y="161788"/>
                      <a:pt x="444704" y="180760"/>
                      <a:pt x="442596" y="209569"/>
                    </a:cubicBezTo>
                    <a:cubicBezTo>
                      <a:pt x="441191" y="234163"/>
                      <a:pt x="442596" y="256648"/>
                      <a:pt x="462271" y="274917"/>
                    </a:cubicBezTo>
                    <a:cubicBezTo>
                      <a:pt x="488270" y="298105"/>
                      <a:pt x="503026" y="297402"/>
                      <a:pt x="526213" y="270701"/>
                    </a:cubicBezTo>
                    <a:cubicBezTo>
                      <a:pt x="533943" y="261567"/>
                      <a:pt x="539564" y="247513"/>
                      <a:pt x="556428" y="253135"/>
                    </a:cubicBezTo>
                    <a:cubicBezTo>
                      <a:pt x="572589" y="258756"/>
                      <a:pt x="587345" y="269999"/>
                      <a:pt x="588048" y="287565"/>
                    </a:cubicBezTo>
                    <a:cubicBezTo>
                      <a:pt x="590156" y="336049"/>
                      <a:pt x="590156" y="384533"/>
                      <a:pt x="590156" y="432314"/>
                    </a:cubicBezTo>
                    <a:cubicBezTo>
                      <a:pt x="590156" y="447773"/>
                      <a:pt x="576805" y="440746"/>
                      <a:pt x="569076" y="441448"/>
                    </a:cubicBezTo>
                    <a:cubicBezTo>
                      <a:pt x="502323" y="441448"/>
                      <a:pt x="435570" y="441448"/>
                      <a:pt x="368817" y="44144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8763C9C4-FE72-43C8-B25B-4B611D52FE4E}"/>
                  </a:ext>
                </a:extLst>
              </p:cNvPr>
              <p:cNvSpPr/>
              <p:nvPr userDrawn="1"/>
            </p:nvSpPr>
            <p:spPr>
              <a:xfrm>
                <a:off x="3359794" y="3552413"/>
                <a:ext cx="419693" cy="419693"/>
              </a:xfrm>
              <a:custGeom>
                <a:avLst/>
                <a:gdLst>
                  <a:gd name="connsiteX0" fmla="*/ 370196 w 590237"/>
                  <a:gd name="connsiteY0" fmla="*/ 591917 h 590237"/>
                  <a:gd name="connsiteX1" fmla="*/ 167829 w 590237"/>
                  <a:gd name="connsiteY1" fmla="*/ 591917 h 590237"/>
                  <a:gd name="connsiteX2" fmla="*/ 147452 w 590237"/>
                  <a:gd name="connsiteY2" fmla="*/ 572242 h 590237"/>
                  <a:gd name="connsiteX3" fmla="*/ 148154 w 590237"/>
                  <a:gd name="connsiteY3" fmla="*/ 454897 h 590237"/>
                  <a:gd name="connsiteX4" fmla="*/ 139020 w 590237"/>
                  <a:gd name="connsiteY4" fmla="*/ 424683 h 590237"/>
                  <a:gd name="connsiteX5" fmla="*/ 108805 w 590237"/>
                  <a:gd name="connsiteY5" fmla="*/ 425385 h 590237"/>
                  <a:gd name="connsiteX6" fmla="*/ 56808 w 590237"/>
                  <a:gd name="connsiteY6" fmla="*/ 451384 h 590237"/>
                  <a:gd name="connsiteX7" fmla="*/ 4811 w 590237"/>
                  <a:gd name="connsiteY7" fmla="*/ 400089 h 590237"/>
                  <a:gd name="connsiteX8" fmla="*/ 38539 w 590237"/>
                  <a:gd name="connsiteY8" fmla="*/ 296798 h 590237"/>
                  <a:gd name="connsiteX9" fmla="*/ 105292 w 590237"/>
                  <a:gd name="connsiteY9" fmla="*/ 309446 h 590237"/>
                  <a:gd name="connsiteX10" fmla="*/ 127074 w 590237"/>
                  <a:gd name="connsiteY10" fmla="*/ 324904 h 590237"/>
                  <a:gd name="connsiteX11" fmla="*/ 148857 w 590237"/>
                  <a:gd name="connsiteY11" fmla="*/ 293284 h 590237"/>
                  <a:gd name="connsiteX12" fmla="*/ 148154 w 590237"/>
                  <a:gd name="connsiteY12" fmla="*/ 175940 h 590237"/>
                  <a:gd name="connsiteX13" fmla="*/ 174153 w 590237"/>
                  <a:gd name="connsiteY13" fmla="*/ 148536 h 590237"/>
                  <a:gd name="connsiteX14" fmla="*/ 286579 w 590237"/>
                  <a:gd name="connsiteY14" fmla="*/ 149238 h 590237"/>
                  <a:gd name="connsiteX15" fmla="*/ 310470 w 590237"/>
                  <a:gd name="connsiteY15" fmla="*/ 145022 h 590237"/>
                  <a:gd name="connsiteX16" fmla="*/ 313983 w 590237"/>
                  <a:gd name="connsiteY16" fmla="*/ 108484 h 590237"/>
                  <a:gd name="connsiteX17" fmla="*/ 312578 w 590237"/>
                  <a:gd name="connsiteY17" fmla="*/ 21354 h 590237"/>
                  <a:gd name="connsiteX18" fmla="*/ 449597 w 590237"/>
                  <a:gd name="connsiteY18" fmla="*/ 48757 h 590237"/>
                  <a:gd name="connsiteX19" fmla="*/ 433436 w 590237"/>
                  <a:gd name="connsiteY19" fmla="*/ 104268 h 590237"/>
                  <a:gd name="connsiteX20" fmla="*/ 417275 w 590237"/>
                  <a:gd name="connsiteY20" fmla="*/ 128861 h 590237"/>
                  <a:gd name="connsiteX21" fmla="*/ 452408 w 590237"/>
                  <a:gd name="connsiteY21" fmla="*/ 149941 h 590237"/>
                  <a:gd name="connsiteX22" fmla="*/ 572564 w 590237"/>
                  <a:gd name="connsiteY22" fmla="*/ 149238 h 590237"/>
                  <a:gd name="connsiteX23" fmla="*/ 592941 w 590237"/>
                  <a:gd name="connsiteY23" fmla="*/ 168210 h 590237"/>
                  <a:gd name="connsiteX24" fmla="*/ 592941 w 590237"/>
                  <a:gd name="connsiteY24" fmla="*/ 291176 h 590237"/>
                  <a:gd name="connsiteX25" fmla="*/ 566942 w 590237"/>
                  <a:gd name="connsiteY25" fmla="*/ 336147 h 590237"/>
                  <a:gd name="connsiteX26" fmla="*/ 538133 w 590237"/>
                  <a:gd name="connsiteY26" fmla="*/ 333336 h 590237"/>
                  <a:gd name="connsiteX27" fmla="*/ 472082 w 590237"/>
                  <a:gd name="connsiteY27" fmla="*/ 312256 h 590237"/>
                  <a:gd name="connsiteX28" fmla="*/ 452408 w 590237"/>
                  <a:gd name="connsiteY28" fmla="*/ 408521 h 590237"/>
                  <a:gd name="connsiteX29" fmla="*/ 530404 w 590237"/>
                  <a:gd name="connsiteY29" fmla="*/ 419764 h 590237"/>
                  <a:gd name="connsiteX30" fmla="*/ 560618 w 590237"/>
                  <a:gd name="connsiteY30" fmla="*/ 403603 h 590237"/>
                  <a:gd name="connsiteX31" fmla="*/ 592238 w 590237"/>
                  <a:gd name="connsiteY31" fmla="*/ 441547 h 590237"/>
                  <a:gd name="connsiteX32" fmla="*/ 592941 w 590237"/>
                  <a:gd name="connsiteY32" fmla="*/ 581377 h 590237"/>
                  <a:gd name="connsiteX33" fmla="*/ 574671 w 590237"/>
                  <a:gd name="connsiteY33" fmla="*/ 593322 h 590237"/>
                  <a:gd name="connsiteX34" fmla="*/ 370196 w 590237"/>
                  <a:gd name="connsiteY34" fmla="*/ 591917 h 59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90237" h="590237">
                    <a:moveTo>
                      <a:pt x="370196" y="591917"/>
                    </a:moveTo>
                    <a:cubicBezTo>
                      <a:pt x="302740" y="591917"/>
                      <a:pt x="235285" y="591214"/>
                      <a:pt x="167829" y="591917"/>
                    </a:cubicBezTo>
                    <a:cubicBezTo>
                      <a:pt x="152370" y="591917"/>
                      <a:pt x="147452" y="588403"/>
                      <a:pt x="147452" y="572242"/>
                    </a:cubicBezTo>
                    <a:cubicBezTo>
                      <a:pt x="148857" y="532893"/>
                      <a:pt x="147452" y="493544"/>
                      <a:pt x="148154" y="454897"/>
                    </a:cubicBezTo>
                    <a:cubicBezTo>
                      <a:pt x="148154" y="443655"/>
                      <a:pt x="147452" y="433115"/>
                      <a:pt x="139020" y="424683"/>
                    </a:cubicBezTo>
                    <a:cubicBezTo>
                      <a:pt x="128480" y="414143"/>
                      <a:pt x="119345" y="410629"/>
                      <a:pt x="108805" y="425385"/>
                    </a:cubicBezTo>
                    <a:cubicBezTo>
                      <a:pt x="96157" y="442249"/>
                      <a:pt x="81401" y="459113"/>
                      <a:pt x="56808" y="451384"/>
                    </a:cubicBezTo>
                    <a:cubicBezTo>
                      <a:pt x="30810" y="443655"/>
                      <a:pt x="12540" y="426790"/>
                      <a:pt x="4811" y="400089"/>
                    </a:cubicBezTo>
                    <a:cubicBezTo>
                      <a:pt x="-7837" y="357929"/>
                      <a:pt x="4811" y="317878"/>
                      <a:pt x="38539" y="296798"/>
                    </a:cubicBezTo>
                    <a:cubicBezTo>
                      <a:pt x="64537" y="279934"/>
                      <a:pt x="81401" y="284150"/>
                      <a:pt x="105292" y="309446"/>
                    </a:cubicBezTo>
                    <a:cubicBezTo>
                      <a:pt x="110913" y="315770"/>
                      <a:pt x="113724" y="330526"/>
                      <a:pt x="127074" y="324904"/>
                    </a:cubicBezTo>
                    <a:cubicBezTo>
                      <a:pt x="140425" y="319283"/>
                      <a:pt x="148857" y="308743"/>
                      <a:pt x="148857" y="293284"/>
                    </a:cubicBezTo>
                    <a:cubicBezTo>
                      <a:pt x="148857" y="253935"/>
                      <a:pt x="150262" y="214586"/>
                      <a:pt x="148154" y="175940"/>
                    </a:cubicBezTo>
                    <a:cubicBezTo>
                      <a:pt x="147452" y="155562"/>
                      <a:pt x="150965" y="147130"/>
                      <a:pt x="174153" y="148536"/>
                    </a:cubicBezTo>
                    <a:cubicBezTo>
                      <a:pt x="211394" y="150644"/>
                      <a:pt x="248635" y="149238"/>
                      <a:pt x="286579" y="149238"/>
                    </a:cubicBezTo>
                    <a:cubicBezTo>
                      <a:pt x="294309" y="149238"/>
                      <a:pt x="302740" y="149941"/>
                      <a:pt x="310470" y="145022"/>
                    </a:cubicBezTo>
                    <a:cubicBezTo>
                      <a:pt x="328739" y="133077"/>
                      <a:pt x="330145" y="122537"/>
                      <a:pt x="313983" y="108484"/>
                    </a:cubicBezTo>
                    <a:cubicBezTo>
                      <a:pt x="280255" y="78972"/>
                      <a:pt x="280255" y="52271"/>
                      <a:pt x="312578" y="21354"/>
                    </a:cubicBezTo>
                    <a:cubicBezTo>
                      <a:pt x="353332" y="-16590"/>
                      <a:pt x="426409" y="-1835"/>
                      <a:pt x="449597" y="48757"/>
                    </a:cubicBezTo>
                    <a:cubicBezTo>
                      <a:pt x="460137" y="72648"/>
                      <a:pt x="449597" y="88107"/>
                      <a:pt x="433436" y="104268"/>
                    </a:cubicBezTo>
                    <a:cubicBezTo>
                      <a:pt x="426409" y="111295"/>
                      <a:pt x="410951" y="114808"/>
                      <a:pt x="417275" y="128861"/>
                    </a:cubicBezTo>
                    <a:cubicBezTo>
                      <a:pt x="423599" y="142914"/>
                      <a:pt x="435544" y="149941"/>
                      <a:pt x="452408" y="149941"/>
                    </a:cubicBezTo>
                    <a:cubicBezTo>
                      <a:pt x="492460" y="149238"/>
                      <a:pt x="532512" y="150644"/>
                      <a:pt x="572564" y="149238"/>
                    </a:cubicBezTo>
                    <a:cubicBezTo>
                      <a:pt x="587319" y="149238"/>
                      <a:pt x="592941" y="152049"/>
                      <a:pt x="592941" y="168210"/>
                    </a:cubicBezTo>
                    <a:cubicBezTo>
                      <a:pt x="591535" y="208965"/>
                      <a:pt x="592238" y="250422"/>
                      <a:pt x="592941" y="291176"/>
                    </a:cubicBezTo>
                    <a:cubicBezTo>
                      <a:pt x="592941" y="312256"/>
                      <a:pt x="582401" y="324904"/>
                      <a:pt x="566942" y="336147"/>
                    </a:cubicBezTo>
                    <a:cubicBezTo>
                      <a:pt x="556402" y="343174"/>
                      <a:pt x="547268" y="342471"/>
                      <a:pt x="538133" y="333336"/>
                    </a:cubicBezTo>
                    <a:cubicBezTo>
                      <a:pt x="500892" y="297501"/>
                      <a:pt x="494568" y="295393"/>
                      <a:pt x="472082" y="312256"/>
                    </a:cubicBezTo>
                    <a:cubicBezTo>
                      <a:pt x="444679" y="332634"/>
                      <a:pt x="435544" y="378307"/>
                      <a:pt x="452408" y="408521"/>
                    </a:cubicBezTo>
                    <a:cubicBezTo>
                      <a:pt x="472785" y="445762"/>
                      <a:pt x="503702" y="449979"/>
                      <a:pt x="530404" y="419764"/>
                    </a:cubicBezTo>
                    <a:cubicBezTo>
                      <a:pt x="538133" y="410629"/>
                      <a:pt x="544457" y="395874"/>
                      <a:pt x="560618" y="403603"/>
                    </a:cubicBezTo>
                    <a:cubicBezTo>
                      <a:pt x="576779" y="410629"/>
                      <a:pt x="592238" y="422575"/>
                      <a:pt x="592238" y="441547"/>
                    </a:cubicBezTo>
                    <a:cubicBezTo>
                      <a:pt x="593643" y="487922"/>
                      <a:pt x="592238" y="534298"/>
                      <a:pt x="592941" y="581377"/>
                    </a:cubicBezTo>
                    <a:cubicBezTo>
                      <a:pt x="592941" y="596835"/>
                      <a:pt x="582401" y="593322"/>
                      <a:pt x="574671" y="593322"/>
                    </a:cubicBezTo>
                    <a:cubicBezTo>
                      <a:pt x="505108" y="592619"/>
                      <a:pt x="437652" y="591917"/>
                      <a:pt x="370196" y="591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3BAA08E4-4598-4857-8851-301D047009CA}"/>
                  </a:ext>
                </a:extLst>
              </p:cNvPr>
              <p:cNvSpPr/>
              <p:nvPr userDrawn="1"/>
            </p:nvSpPr>
            <p:spPr>
              <a:xfrm>
                <a:off x="3673051" y="3657336"/>
                <a:ext cx="524616" cy="314770"/>
              </a:xfrm>
              <a:custGeom>
                <a:avLst/>
                <a:gdLst>
                  <a:gd name="connsiteX0" fmla="*/ 370725 w 737797"/>
                  <a:gd name="connsiteY0" fmla="*/ 441321 h 442678"/>
                  <a:gd name="connsiteX1" fmla="*/ 178898 w 737797"/>
                  <a:gd name="connsiteY1" fmla="*/ 442023 h 442678"/>
                  <a:gd name="connsiteX2" fmla="*/ 148684 w 737797"/>
                  <a:gd name="connsiteY2" fmla="*/ 413214 h 442678"/>
                  <a:gd name="connsiteX3" fmla="*/ 149386 w 737797"/>
                  <a:gd name="connsiteY3" fmla="*/ 303599 h 442678"/>
                  <a:gd name="connsiteX4" fmla="*/ 138846 w 737797"/>
                  <a:gd name="connsiteY4" fmla="*/ 274087 h 442678"/>
                  <a:gd name="connsiteX5" fmla="*/ 110037 w 737797"/>
                  <a:gd name="connsiteY5" fmla="*/ 274790 h 442678"/>
                  <a:gd name="connsiteX6" fmla="*/ 55230 w 737797"/>
                  <a:gd name="connsiteY6" fmla="*/ 301491 h 442678"/>
                  <a:gd name="connsiteX7" fmla="*/ 2530 w 737797"/>
                  <a:gd name="connsiteY7" fmla="*/ 243872 h 442678"/>
                  <a:gd name="connsiteX8" fmla="*/ 40473 w 737797"/>
                  <a:gd name="connsiteY8" fmla="*/ 146905 h 442678"/>
                  <a:gd name="connsiteX9" fmla="*/ 105119 w 737797"/>
                  <a:gd name="connsiteY9" fmla="*/ 160255 h 442678"/>
                  <a:gd name="connsiteX10" fmla="*/ 127604 w 737797"/>
                  <a:gd name="connsiteY10" fmla="*/ 175714 h 442678"/>
                  <a:gd name="connsiteX11" fmla="*/ 149386 w 737797"/>
                  <a:gd name="connsiteY11" fmla="*/ 143391 h 442678"/>
                  <a:gd name="connsiteX12" fmla="*/ 148684 w 737797"/>
                  <a:gd name="connsiteY12" fmla="*/ 23236 h 442678"/>
                  <a:gd name="connsiteX13" fmla="*/ 170466 w 737797"/>
                  <a:gd name="connsiteY13" fmla="*/ 48 h 442678"/>
                  <a:gd name="connsiteX14" fmla="*/ 290622 w 737797"/>
                  <a:gd name="connsiteY14" fmla="*/ 751 h 442678"/>
                  <a:gd name="connsiteX15" fmla="*/ 330673 w 737797"/>
                  <a:gd name="connsiteY15" fmla="*/ 19722 h 442678"/>
                  <a:gd name="connsiteX16" fmla="*/ 327160 w 737797"/>
                  <a:gd name="connsiteY16" fmla="*/ 59072 h 442678"/>
                  <a:gd name="connsiteX17" fmla="*/ 301864 w 737797"/>
                  <a:gd name="connsiteY17" fmla="*/ 105447 h 442678"/>
                  <a:gd name="connsiteX18" fmla="*/ 357375 w 737797"/>
                  <a:gd name="connsiteY18" fmla="*/ 148310 h 442678"/>
                  <a:gd name="connsiteX19" fmla="*/ 419209 w 737797"/>
                  <a:gd name="connsiteY19" fmla="*/ 132851 h 442678"/>
                  <a:gd name="connsiteX20" fmla="*/ 419209 w 737797"/>
                  <a:gd name="connsiteY20" fmla="*/ 63287 h 442678"/>
                  <a:gd name="connsiteX21" fmla="*/ 401643 w 737797"/>
                  <a:gd name="connsiteY21" fmla="*/ 35884 h 442678"/>
                  <a:gd name="connsiteX22" fmla="*/ 437478 w 737797"/>
                  <a:gd name="connsiteY22" fmla="*/ 2156 h 442678"/>
                  <a:gd name="connsiteX23" fmla="*/ 582228 w 737797"/>
                  <a:gd name="connsiteY23" fmla="*/ 751 h 442678"/>
                  <a:gd name="connsiteX24" fmla="*/ 591362 w 737797"/>
                  <a:gd name="connsiteY24" fmla="*/ 19020 h 442678"/>
                  <a:gd name="connsiteX25" fmla="*/ 591362 w 737797"/>
                  <a:gd name="connsiteY25" fmla="*/ 134257 h 442678"/>
                  <a:gd name="connsiteX26" fmla="*/ 596983 w 737797"/>
                  <a:gd name="connsiteY26" fmla="*/ 160255 h 442678"/>
                  <a:gd name="connsiteX27" fmla="*/ 634224 w 737797"/>
                  <a:gd name="connsiteY27" fmla="*/ 164471 h 442678"/>
                  <a:gd name="connsiteX28" fmla="*/ 722760 w 737797"/>
                  <a:gd name="connsiteY28" fmla="*/ 165174 h 442678"/>
                  <a:gd name="connsiteX29" fmla="*/ 695356 w 737797"/>
                  <a:gd name="connsiteY29" fmla="*/ 298680 h 442678"/>
                  <a:gd name="connsiteX30" fmla="*/ 637035 w 737797"/>
                  <a:gd name="connsiteY30" fmla="*/ 283221 h 442678"/>
                  <a:gd name="connsiteX31" fmla="*/ 613144 w 737797"/>
                  <a:gd name="connsiteY31" fmla="*/ 267060 h 442678"/>
                  <a:gd name="connsiteX32" fmla="*/ 591362 w 737797"/>
                  <a:gd name="connsiteY32" fmla="*/ 302193 h 442678"/>
                  <a:gd name="connsiteX33" fmla="*/ 592065 w 737797"/>
                  <a:gd name="connsiteY33" fmla="*/ 420241 h 442678"/>
                  <a:gd name="connsiteX34" fmla="*/ 570282 w 737797"/>
                  <a:gd name="connsiteY34" fmla="*/ 442726 h 442678"/>
                  <a:gd name="connsiteX35" fmla="*/ 370725 w 737797"/>
                  <a:gd name="connsiteY35" fmla="*/ 441321 h 442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37797" h="442678">
                    <a:moveTo>
                      <a:pt x="370725" y="441321"/>
                    </a:moveTo>
                    <a:cubicBezTo>
                      <a:pt x="306783" y="441321"/>
                      <a:pt x="242840" y="440618"/>
                      <a:pt x="178898" y="442023"/>
                    </a:cubicBezTo>
                    <a:cubicBezTo>
                      <a:pt x="155710" y="442726"/>
                      <a:pt x="146576" y="438510"/>
                      <a:pt x="148684" y="413214"/>
                    </a:cubicBezTo>
                    <a:cubicBezTo>
                      <a:pt x="151494" y="376676"/>
                      <a:pt x="149386" y="340137"/>
                      <a:pt x="149386" y="303599"/>
                    </a:cubicBezTo>
                    <a:cubicBezTo>
                      <a:pt x="149386" y="292356"/>
                      <a:pt x="147981" y="282519"/>
                      <a:pt x="138846" y="274087"/>
                    </a:cubicBezTo>
                    <a:cubicBezTo>
                      <a:pt x="128306" y="264250"/>
                      <a:pt x="119874" y="260736"/>
                      <a:pt x="110037" y="274790"/>
                    </a:cubicBezTo>
                    <a:cubicBezTo>
                      <a:pt x="96686" y="293761"/>
                      <a:pt x="79823" y="309923"/>
                      <a:pt x="55230" y="301491"/>
                    </a:cubicBezTo>
                    <a:cubicBezTo>
                      <a:pt x="28528" y="292356"/>
                      <a:pt x="8853" y="274087"/>
                      <a:pt x="2530" y="243872"/>
                    </a:cubicBezTo>
                    <a:cubicBezTo>
                      <a:pt x="-5902" y="201010"/>
                      <a:pt x="6746" y="166579"/>
                      <a:pt x="40473" y="146905"/>
                    </a:cubicBezTo>
                    <a:cubicBezTo>
                      <a:pt x="65067" y="132148"/>
                      <a:pt x="82633" y="136365"/>
                      <a:pt x="105119" y="160255"/>
                    </a:cubicBezTo>
                    <a:cubicBezTo>
                      <a:pt x="111443" y="167282"/>
                      <a:pt x="114956" y="181335"/>
                      <a:pt x="127604" y="175714"/>
                    </a:cubicBezTo>
                    <a:cubicBezTo>
                      <a:pt x="140252" y="170092"/>
                      <a:pt x="149386" y="159552"/>
                      <a:pt x="149386" y="143391"/>
                    </a:cubicBezTo>
                    <a:cubicBezTo>
                      <a:pt x="149386" y="103339"/>
                      <a:pt x="150089" y="63287"/>
                      <a:pt x="148684" y="23236"/>
                    </a:cubicBezTo>
                    <a:cubicBezTo>
                      <a:pt x="147981" y="6372"/>
                      <a:pt x="150792" y="-655"/>
                      <a:pt x="170466" y="48"/>
                    </a:cubicBezTo>
                    <a:cubicBezTo>
                      <a:pt x="210518" y="2156"/>
                      <a:pt x="250570" y="751"/>
                      <a:pt x="290622" y="751"/>
                    </a:cubicBezTo>
                    <a:cubicBezTo>
                      <a:pt x="307486" y="751"/>
                      <a:pt x="320836" y="7074"/>
                      <a:pt x="330673" y="19722"/>
                    </a:cubicBezTo>
                    <a:cubicBezTo>
                      <a:pt x="341916" y="33775"/>
                      <a:pt x="344024" y="46424"/>
                      <a:pt x="327160" y="59072"/>
                    </a:cubicBezTo>
                    <a:cubicBezTo>
                      <a:pt x="312404" y="70314"/>
                      <a:pt x="292730" y="82259"/>
                      <a:pt x="301864" y="105447"/>
                    </a:cubicBezTo>
                    <a:cubicBezTo>
                      <a:pt x="311702" y="129338"/>
                      <a:pt x="329268" y="146202"/>
                      <a:pt x="357375" y="148310"/>
                    </a:cubicBezTo>
                    <a:cubicBezTo>
                      <a:pt x="379860" y="150418"/>
                      <a:pt x="400940" y="149013"/>
                      <a:pt x="419209" y="132851"/>
                    </a:cubicBezTo>
                    <a:cubicBezTo>
                      <a:pt x="448018" y="106150"/>
                      <a:pt x="448018" y="89286"/>
                      <a:pt x="419209" y="63287"/>
                    </a:cubicBezTo>
                    <a:cubicBezTo>
                      <a:pt x="410777" y="56261"/>
                      <a:pt x="396724" y="50640"/>
                      <a:pt x="401643" y="35884"/>
                    </a:cubicBezTo>
                    <a:cubicBezTo>
                      <a:pt x="407264" y="19020"/>
                      <a:pt x="418506" y="2859"/>
                      <a:pt x="437478" y="2156"/>
                    </a:cubicBezTo>
                    <a:cubicBezTo>
                      <a:pt x="485962" y="48"/>
                      <a:pt x="534446" y="751"/>
                      <a:pt x="582228" y="751"/>
                    </a:cubicBezTo>
                    <a:cubicBezTo>
                      <a:pt x="596983" y="751"/>
                      <a:pt x="591362" y="11993"/>
                      <a:pt x="591362" y="19020"/>
                    </a:cubicBezTo>
                    <a:cubicBezTo>
                      <a:pt x="592065" y="57666"/>
                      <a:pt x="591362" y="95610"/>
                      <a:pt x="591362" y="134257"/>
                    </a:cubicBezTo>
                    <a:cubicBezTo>
                      <a:pt x="591362" y="143391"/>
                      <a:pt x="592065" y="152526"/>
                      <a:pt x="596983" y="160255"/>
                    </a:cubicBezTo>
                    <a:cubicBezTo>
                      <a:pt x="608929" y="179930"/>
                      <a:pt x="618766" y="180632"/>
                      <a:pt x="634224" y="164471"/>
                    </a:cubicBezTo>
                    <a:cubicBezTo>
                      <a:pt x="665142" y="130041"/>
                      <a:pt x="692545" y="130743"/>
                      <a:pt x="722760" y="165174"/>
                    </a:cubicBezTo>
                    <a:cubicBezTo>
                      <a:pt x="758596" y="205928"/>
                      <a:pt x="743840" y="274790"/>
                      <a:pt x="695356" y="298680"/>
                    </a:cubicBezTo>
                    <a:cubicBezTo>
                      <a:pt x="671465" y="310625"/>
                      <a:pt x="653899" y="300788"/>
                      <a:pt x="637035" y="283221"/>
                    </a:cubicBezTo>
                    <a:cubicBezTo>
                      <a:pt x="630711" y="276195"/>
                      <a:pt x="627901" y="260033"/>
                      <a:pt x="613144" y="267060"/>
                    </a:cubicBezTo>
                    <a:cubicBezTo>
                      <a:pt x="599794" y="273384"/>
                      <a:pt x="591362" y="285330"/>
                      <a:pt x="591362" y="302193"/>
                    </a:cubicBezTo>
                    <a:cubicBezTo>
                      <a:pt x="591362" y="341543"/>
                      <a:pt x="590659" y="380892"/>
                      <a:pt x="592065" y="420241"/>
                    </a:cubicBezTo>
                    <a:cubicBezTo>
                      <a:pt x="592767" y="437807"/>
                      <a:pt x="588551" y="443429"/>
                      <a:pt x="570282" y="442726"/>
                    </a:cubicBezTo>
                    <a:cubicBezTo>
                      <a:pt x="504232" y="440618"/>
                      <a:pt x="437478" y="441321"/>
                      <a:pt x="370725" y="44132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385B1328-7C18-4976-ABEE-40CEF6B4E942}"/>
                  </a:ext>
                </a:extLst>
              </p:cNvPr>
              <p:cNvSpPr/>
              <p:nvPr userDrawn="1"/>
            </p:nvSpPr>
            <p:spPr>
              <a:xfrm>
                <a:off x="4091163" y="3552413"/>
                <a:ext cx="314770" cy="419693"/>
              </a:xfrm>
              <a:custGeom>
                <a:avLst/>
                <a:gdLst>
                  <a:gd name="connsiteX0" fmla="*/ 222808 w 442678"/>
                  <a:gd name="connsiteY0" fmla="*/ 592910 h 590237"/>
                  <a:gd name="connsiteX1" fmla="*/ 22549 w 442678"/>
                  <a:gd name="connsiteY1" fmla="*/ 593613 h 590237"/>
                  <a:gd name="connsiteX2" fmla="*/ 64 w 442678"/>
                  <a:gd name="connsiteY2" fmla="*/ 570425 h 590237"/>
                  <a:gd name="connsiteX3" fmla="*/ 64 w 442678"/>
                  <a:gd name="connsiteY3" fmla="*/ 457998 h 590237"/>
                  <a:gd name="connsiteX4" fmla="*/ 15523 w 442678"/>
                  <a:gd name="connsiteY4" fmla="*/ 415839 h 590237"/>
                  <a:gd name="connsiteX5" fmla="*/ 62601 w 442678"/>
                  <a:gd name="connsiteY5" fmla="*/ 417947 h 590237"/>
                  <a:gd name="connsiteX6" fmla="*/ 104761 w 442678"/>
                  <a:gd name="connsiteY6" fmla="*/ 440432 h 590237"/>
                  <a:gd name="connsiteX7" fmla="*/ 147624 w 442678"/>
                  <a:gd name="connsiteY7" fmla="*/ 391245 h 590237"/>
                  <a:gd name="connsiteX8" fmla="*/ 127246 w 442678"/>
                  <a:gd name="connsiteY8" fmla="*/ 316061 h 590237"/>
                  <a:gd name="connsiteX9" fmla="*/ 66817 w 442678"/>
                  <a:gd name="connsiteY9" fmla="*/ 319574 h 590237"/>
                  <a:gd name="connsiteX10" fmla="*/ 35900 w 442678"/>
                  <a:gd name="connsiteY10" fmla="*/ 339249 h 590237"/>
                  <a:gd name="connsiteX11" fmla="*/ 1469 w 442678"/>
                  <a:gd name="connsiteY11" fmla="*/ 297791 h 590237"/>
                  <a:gd name="connsiteX12" fmla="*/ 767 w 442678"/>
                  <a:gd name="connsiteY12" fmla="*/ 163583 h 590237"/>
                  <a:gd name="connsiteX13" fmla="*/ 19036 w 442678"/>
                  <a:gd name="connsiteY13" fmla="*/ 150934 h 590237"/>
                  <a:gd name="connsiteX14" fmla="*/ 137084 w 442678"/>
                  <a:gd name="connsiteY14" fmla="*/ 150934 h 590237"/>
                  <a:gd name="connsiteX15" fmla="*/ 165190 w 442678"/>
                  <a:gd name="connsiteY15" fmla="*/ 143205 h 590237"/>
                  <a:gd name="connsiteX16" fmla="*/ 166595 w 442678"/>
                  <a:gd name="connsiteY16" fmla="*/ 107369 h 590237"/>
                  <a:gd name="connsiteX17" fmla="*/ 163785 w 442678"/>
                  <a:gd name="connsiteY17" fmla="*/ 22347 h 590237"/>
                  <a:gd name="connsiteX18" fmla="*/ 290967 w 442678"/>
                  <a:gd name="connsiteY18" fmla="*/ 30779 h 590237"/>
                  <a:gd name="connsiteX19" fmla="*/ 286048 w 442678"/>
                  <a:gd name="connsiteY19" fmla="*/ 104559 h 590237"/>
                  <a:gd name="connsiteX20" fmla="*/ 270590 w 442678"/>
                  <a:gd name="connsiteY20" fmla="*/ 129152 h 590237"/>
                  <a:gd name="connsiteX21" fmla="*/ 303615 w 442678"/>
                  <a:gd name="connsiteY21" fmla="*/ 150232 h 590237"/>
                  <a:gd name="connsiteX22" fmla="*/ 421662 w 442678"/>
                  <a:gd name="connsiteY22" fmla="*/ 149529 h 590237"/>
                  <a:gd name="connsiteX23" fmla="*/ 446256 w 442678"/>
                  <a:gd name="connsiteY23" fmla="*/ 175528 h 590237"/>
                  <a:gd name="connsiteX24" fmla="*/ 446256 w 442678"/>
                  <a:gd name="connsiteY24" fmla="*/ 287954 h 590237"/>
                  <a:gd name="connsiteX25" fmla="*/ 428689 w 442678"/>
                  <a:gd name="connsiteY25" fmla="*/ 329411 h 590237"/>
                  <a:gd name="connsiteX26" fmla="*/ 385827 w 442678"/>
                  <a:gd name="connsiteY26" fmla="*/ 327303 h 590237"/>
                  <a:gd name="connsiteX27" fmla="*/ 342261 w 442678"/>
                  <a:gd name="connsiteY27" fmla="*/ 303412 h 590237"/>
                  <a:gd name="connsiteX28" fmla="*/ 298696 w 442678"/>
                  <a:gd name="connsiteY28" fmla="*/ 357518 h 590237"/>
                  <a:gd name="connsiteX29" fmla="*/ 318371 w 442678"/>
                  <a:gd name="connsiteY29" fmla="*/ 425676 h 590237"/>
                  <a:gd name="connsiteX30" fmla="*/ 380908 w 442678"/>
                  <a:gd name="connsiteY30" fmla="*/ 422865 h 590237"/>
                  <a:gd name="connsiteX31" fmla="*/ 415338 w 442678"/>
                  <a:gd name="connsiteY31" fmla="*/ 404596 h 590237"/>
                  <a:gd name="connsiteX32" fmla="*/ 446256 w 442678"/>
                  <a:gd name="connsiteY32" fmla="*/ 446054 h 590237"/>
                  <a:gd name="connsiteX33" fmla="*/ 446958 w 442678"/>
                  <a:gd name="connsiteY33" fmla="*/ 577451 h 590237"/>
                  <a:gd name="connsiteX34" fmla="*/ 425878 w 442678"/>
                  <a:gd name="connsiteY34" fmla="*/ 592910 h 590237"/>
                  <a:gd name="connsiteX35" fmla="*/ 222808 w 442678"/>
                  <a:gd name="connsiteY35" fmla="*/ 592910 h 59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42678" h="590237">
                    <a:moveTo>
                      <a:pt x="222808" y="592910"/>
                    </a:moveTo>
                    <a:cubicBezTo>
                      <a:pt x="156055" y="592910"/>
                      <a:pt x="89302" y="592208"/>
                      <a:pt x="22549" y="593613"/>
                    </a:cubicBezTo>
                    <a:cubicBezTo>
                      <a:pt x="4280" y="593613"/>
                      <a:pt x="-639" y="588694"/>
                      <a:pt x="64" y="570425"/>
                    </a:cubicBezTo>
                    <a:cubicBezTo>
                      <a:pt x="1469" y="533184"/>
                      <a:pt x="767" y="495240"/>
                      <a:pt x="64" y="457998"/>
                    </a:cubicBezTo>
                    <a:cubicBezTo>
                      <a:pt x="64" y="441837"/>
                      <a:pt x="3577" y="427784"/>
                      <a:pt x="15523" y="415839"/>
                    </a:cubicBezTo>
                    <a:cubicBezTo>
                      <a:pt x="33792" y="397570"/>
                      <a:pt x="45035" y="397570"/>
                      <a:pt x="62601" y="417947"/>
                    </a:cubicBezTo>
                    <a:cubicBezTo>
                      <a:pt x="73844" y="431297"/>
                      <a:pt x="85086" y="448161"/>
                      <a:pt x="104761" y="440432"/>
                    </a:cubicBezTo>
                    <a:cubicBezTo>
                      <a:pt x="126544" y="432000"/>
                      <a:pt x="144813" y="417244"/>
                      <a:pt x="147624" y="391245"/>
                    </a:cubicBezTo>
                    <a:cubicBezTo>
                      <a:pt x="150434" y="363842"/>
                      <a:pt x="152542" y="336438"/>
                      <a:pt x="127246" y="316061"/>
                    </a:cubicBezTo>
                    <a:cubicBezTo>
                      <a:pt x="102653" y="295683"/>
                      <a:pt x="87897" y="296386"/>
                      <a:pt x="66817" y="319574"/>
                    </a:cubicBezTo>
                    <a:cubicBezTo>
                      <a:pt x="58385" y="328709"/>
                      <a:pt x="54169" y="345572"/>
                      <a:pt x="35900" y="339249"/>
                    </a:cubicBezTo>
                    <a:cubicBezTo>
                      <a:pt x="15523" y="332222"/>
                      <a:pt x="2172" y="318169"/>
                      <a:pt x="1469" y="297791"/>
                    </a:cubicBezTo>
                    <a:cubicBezTo>
                      <a:pt x="-639" y="252821"/>
                      <a:pt x="1469" y="208553"/>
                      <a:pt x="767" y="163583"/>
                    </a:cubicBezTo>
                    <a:cubicBezTo>
                      <a:pt x="767" y="148827"/>
                      <a:pt x="9901" y="150934"/>
                      <a:pt x="19036" y="150934"/>
                    </a:cubicBezTo>
                    <a:cubicBezTo>
                      <a:pt x="58385" y="150934"/>
                      <a:pt x="97734" y="150934"/>
                      <a:pt x="137084" y="150934"/>
                    </a:cubicBezTo>
                    <a:cubicBezTo>
                      <a:pt x="147624" y="150934"/>
                      <a:pt x="157461" y="150232"/>
                      <a:pt x="165190" y="143205"/>
                    </a:cubicBezTo>
                    <a:cubicBezTo>
                      <a:pt x="178541" y="131963"/>
                      <a:pt x="185567" y="122828"/>
                      <a:pt x="166595" y="107369"/>
                    </a:cubicBezTo>
                    <a:cubicBezTo>
                      <a:pt x="132165" y="80668"/>
                      <a:pt x="132165" y="53264"/>
                      <a:pt x="163785" y="22347"/>
                    </a:cubicBezTo>
                    <a:cubicBezTo>
                      <a:pt x="197513" y="-10678"/>
                      <a:pt x="260752" y="-6462"/>
                      <a:pt x="290967" y="30779"/>
                    </a:cubicBezTo>
                    <a:cubicBezTo>
                      <a:pt x="314155" y="58885"/>
                      <a:pt x="312047" y="79263"/>
                      <a:pt x="286048" y="104559"/>
                    </a:cubicBezTo>
                    <a:cubicBezTo>
                      <a:pt x="279022" y="111585"/>
                      <a:pt x="263563" y="115099"/>
                      <a:pt x="270590" y="129152"/>
                    </a:cubicBezTo>
                    <a:cubicBezTo>
                      <a:pt x="276914" y="141800"/>
                      <a:pt x="288156" y="150232"/>
                      <a:pt x="303615" y="150232"/>
                    </a:cubicBezTo>
                    <a:cubicBezTo>
                      <a:pt x="342964" y="150232"/>
                      <a:pt x="382313" y="151637"/>
                      <a:pt x="421662" y="149529"/>
                    </a:cubicBezTo>
                    <a:cubicBezTo>
                      <a:pt x="443445" y="148124"/>
                      <a:pt x="446958" y="155853"/>
                      <a:pt x="446256" y="175528"/>
                    </a:cubicBezTo>
                    <a:cubicBezTo>
                      <a:pt x="444850" y="212769"/>
                      <a:pt x="445553" y="250713"/>
                      <a:pt x="446256" y="287954"/>
                    </a:cubicBezTo>
                    <a:cubicBezTo>
                      <a:pt x="446256" y="304818"/>
                      <a:pt x="441337" y="318169"/>
                      <a:pt x="428689" y="329411"/>
                    </a:cubicBezTo>
                    <a:cubicBezTo>
                      <a:pt x="413933" y="342059"/>
                      <a:pt x="399880" y="346275"/>
                      <a:pt x="385827" y="327303"/>
                    </a:cubicBezTo>
                    <a:cubicBezTo>
                      <a:pt x="375287" y="313250"/>
                      <a:pt x="364044" y="295683"/>
                      <a:pt x="342261" y="303412"/>
                    </a:cubicBezTo>
                    <a:cubicBezTo>
                      <a:pt x="316965" y="312547"/>
                      <a:pt x="300804" y="330114"/>
                      <a:pt x="298696" y="357518"/>
                    </a:cubicBezTo>
                    <a:cubicBezTo>
                      <a:pt x="296588" y="382814"/>
                      <a:pt x="297994" y="406704"/>
                      <a:pt x="318371" y="425676"/>
                    </a:cubicBezTo>
                    <a:cubicBezTo>
                      <a:pt x="342964" y="448161"/>
                      <a:pt x="358423" y="447459"/>
                      <a:pt x="380908" y="422865"/>
                    </a:cubicBezTo>
                    <a:cubicBezTo>
                      <a:pt x="390043" y="412325"/>
                      <a:pt x="397069" y="395462"/>
                      <a:pt x="415338" y="404596"/>
                    </a:cubicBezTo>
                    <a:cubicBezTo>
                      <a:pt x="432202" y="413028"/>
                      <a:pt x="445553" y="425676"/>
                      <a:pt x="446256" y="446054"/>
                    </a:cubicBezTo>
                    <a:cubicBezTo>
                      <a:pt x="446958" y="489618"/>
                      <a:pt x="445553" y="533887"/>
                      <a:pt x="446958" y="577451"/>
                    </a:cubicBezTo>
                    <a:cubicBezTo>
                      <a:pt x="447661" y="595721"/>
                      <a:pt x="436418" y="592910"/>
                      <a:pt x="425878" y="592910"/>
                    </a:cubicBezTo>
                    <a:cubicBezTo>
                      <a:pt x="355612" y="592910"/>
                      <a:pt x="288859" y="592910"/>
                      <a:pt x="222808" y="5929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468ECEF8-4812-4C87-81CE-92DA7679584E}"/>
                  </a:ext>
                </a:extLst>
              </p:cNvPr>
              <p:cNvSpPr/>
              <p:nvPr userDrawn="1"/>
            </p:nvSpPr>
            <p:spPr>
              <a:xfrm>
                <a:off x="4303024" y="3662333"/>
                <a:ext cx="419693" cy="309773"/>
              </a:xfrm>
              <a:custGeom>
                <a:avLst/>
                <a:gdLst>
                  <a:gd name="connsiteX0" fmla="*/ 368817 w 590237"/>
                  <a:gd name="connsiteY0" fmla="*/ 441448 h 435651"/>
                  <a:gd name="connsiteX1" fmla="*/ 166450 w 590237"/>
                  <a:gd name="connsiteY1" fmla="*/ 441448 h 435651"/>
                  <a:gd name="connsiteX2" fmla="*/ 148180 w 590237"/>
                  <a:gd name="connsiteY2" fmla="*/ 423882 h 435651"/>
                  <a:gd name="connsiteX3" fmla="*/ 148883 w 590237"/>
                  <a:gd name="connsiteY3" fmla="*/ 308645 h 435651"/>
                  <a:gd name="connsiteX4" fmla="*/ 140451 w 590237"/>
                  <a:gd name="connsiteY4" fmla="*/ 277728 h 435651"/>
                  <a:gd name="connsiteX5" fmla="*/ 106723 w 590237"/>
                  <a:gd name="connsiteY5" fmla="*/ 276322 h 435651"/>
                  <a:gd name="connsiteX6" fmla="*/ 16782 w 590237"/>
                  <a:gd name="connsiteY6" fmla="*/ 274917 h 435651"/>
                  <a:gd name="connsiteX7" fmla="*/ 26619 w 590237"/>
                  <a:gd name="connsiteY7" fmla="*/ 155465 h 435651"/>
                  <a:gd name="connsiteX8" fmla="*/ 102507 w 590237"/>
                  <a:gd name="connsiteY8" fmla="*/ 157572 h 435651"/>
                  <a:gd name="connsiteX9" fmla="*/ 126398 w 590237"/>
                  <a:gd name="connsiteY9" fmla="*/ 175139 h 435651"/>
                  <a:gd name="connsiteX10" fmla="*/ 148883 w 590237"/>
                  <a:gd name="connsiteY10" fmla="*/ 137898 h 435651"/>
                  <a:gd name="connsiteX11" fmla="*/ 148180 w 590237"/>
                  <a:gd name="connsiteY11" fmla="*/ 25472 h 435651"/>
                  <a:gd name="connsiteX12" fmla="*/ 172773 w 590237"/>
                  <a:gd name="connsiteY12" fmla="*/ 176 h 435651"/>
                  <a:gd name="connsiteX13" fmla="*/ 290821 w 590237"/>
                  <a:gd name="connsiteY13" fmla="*/ 176 h 435651"/>
                  <a:gd name="connsiteX14" fmla="*/ 332278 w 590237"/>
                  <a:gd name="connsiteY14" fmla="*/ 22661 h 435651"/>
                  <a:gd name="connsiteX15" fmla="*/ 328062 w 590237"/>
                  <a:gd name="connsiteY15" fmla="*/ 57794 h 435651"/>
                  <a:gd name="connsiteX16" fmla="*/ 303469 w 590237"/>
                  <a:gd name="connsiteY16" fmla="*/ 111196 h 435651"/>
                  <a:gd name="connsiteX17" fmla="*/ 381465 w 590237"/>
                  <a:gd name="connsiteY17" fmla="*/ 148438 h 435651"/>
                  <a:gd name="connsiteX18" fmla="*/ 439083 w 590237"/>
                  <a:gd name="connsiteY18" fmla="*/ 100656 h 435651"/>
                  <a:gd name="connsiteX19" fmla="*/ 418706 w 590237"/>
                  <a:gd name="connsiteY19" fmla="*/ 64118 h 435651"/>
                  <a:gd name="connsiteX20" fmla="*/ 401842 w 590237"/>
                  <a:gd name="connsiteY20" fmla="*/ 31093 h 435651"/>
                  <a:gd name="connsiteX21" fmla="*/ 437678 w 590237"/>
                  <a:gd name="connsiteY21" fmla="*/ 878 h 435651"/>
                  <a:gd name="connsiteX22" fmla="*/ 580319 w 590237"/>
                  <a:gd name="connsiteY22" fmla="*/ 176 h 435651"/>
                  <a:gd name="connsiteX23" fmla="*/ 590859 w 590237"/>
                  <a:gd name="connsiteY23" fmla="*/ 14229 h 435651"/>
                  <a:gd name="connsiteX24" fmla="*/ 590859 w 590237"/>
                  <a:gd name="connsiteY24" fmla="*/ 142816 h 435651"/>
                  <a:gd name="connsiteX25" fmla="*/ 569779 w 590237"/>
                  <a:gd name="connsiteY25" fmla="*/ 182166 h 435651"/>
                  <a:gd name="connsiteX26" fmla="*/ 532537 w 590237"/>
                  <a:gd name="connsiteY26" fmla="*/ 178652 h 435651"/>
                  <a:gd name="connsiteX27" fmla="*/ 486864 w 590237"/>
                  <a:gd name="connsiteY27" fmla="*/ 152654 h 435651"/>
                  <a:gd name="connsiteX28" fmla="*/ 442596 w 590237"/>
                  <a:gd name="connsiteY28" fmla="*/ 209569 h 435651"/>
                  <a:gd name="connsiteX29" fmla="*/ 462271 w 590237"/>
                  <a:gd name="connsiteY29" fmla="*/ 274917 h 435651"/>
                  <a:gd name="connsiteX30" fmla="*/ 526213 w 590237"/>
                  <a:gd name="connsiteY30" fmla="*/ 270701 h 435651"/>
                  <a:gd name="connsiteX31" fmla="*/ 556428 w 590237"/>
                  <a:gd name="connsiteY31" fmla="*/ 253135 h 435651"/>
                  <a:gd name="connsiteX32" fmla="*/ 588048 w 590237"/>
                  <a:gd name="connsiteY32" fmla="*/ 287565 h 435651"/>
                  <a:gd name="connsiteX33" fmla="*/ 590156 w 590237"/>
                  <a:gd name="connsiteY33" fmla="*/ 432314 h 435651"/>
                  <a:gd name="connsiteX34" fmla="*/ 569076 w 590237"/>
                  <a:gd name="connsiteY34" fmla="*/ 441448 h 435651"/>
                  <a:gd name="connsiteX35" fmla="*/ 368817 w 590237"/>
                  <a:gd name="connsiteY35" fmla="*/ 441448 h 435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90237" h="435651">
                    <a:moveTo>
                      <a:pt x="368817" y="441448"/>
                    </a:moveTo>
                    <a:cubicBezTo>
                      <a:pt x="301361" y="441448"/>
                      <a:pt x="233905" y="440746"/>
                      <a:pt x="166450" y="441448"/>
                    </a:cubicBezTo>
                    <a:cubicBezTo>
                      <a:pt x="152396" y="441448"/>
                      <a:pt x="147478" y="438638"/>
                      <a:pt x="148180" y="423882"/>
                    </a:cubicBezTo>
                    <a:cubicBezTo>
                      <a:pt x="149586" y="385235"/>
                      <a:pt x="148180" y="347292"/>
                      <a:pt x="148883" y="308645"/>
                    </a:cubicBezTo>
                    <a:cubicBezTo>
                      <a:pt x="148883" y="297402"/>
                      <a:pt x="148180" y="286862"/>
                      <a:pt x="140451" y="277728"/>
                    </a:cubicBezTo>
                    <a:cubicBezTo>
                      <a:pt x="129208" y="264377"/>
                      <a:pt x="120776" y="258756"/>
                      <a:pt x="106723" y="276322"/>
                    </a:cubicBezTo>
                    <a:cubicBezTo>
                      <a:pt x="77211" y="312159"/>
                      <a:pt x="46294" y="310753"/>
                      <a:pt x="16782" y="274917"/>
                    </a:cubicBezTo>
                    <a:cubicBezTo>
                      <a:pt x="-9216" y="243298"/>
                      <a:pt x="-4298" y="182868"/>
                      <a:pt x="26619" y="155465"/>
                    </a:cubicBezTo>
                    <a:cubicBezTo>
                      <a:pt x="54726" y="130871"/>
                      <a:pt x="77914" y="131574"/>
                      <a:pt x="102507" y="157572"/>
                    </a:cubicBezTo>
                    <a:cubicBezTo>
                      <a:pt x="109534" y="164599"/>
                      <a:pt x="112344" y="180760"/>
                      <a:pt x="126398" y="175139"/>
                    </a:cubicBezTo>
                    <a:cubicBezTo>
                      <a:pt x="141154" y="168815"/>
                      <a:pt x="148883" y="155465"/>
                      <a:pt x="148883" y="137898"/>
                    </a:cubicBezTo>
                    <a:cubicBezTo>
                      <a:pt x="148883" y="100656"/>
                      <a:pt x="150288" y="62713"/>
                      <a:pt x="148180" y="25472"/>
                    </a:cubicBezTo>
                    <a:cubicBezTo>
                      <a:pt x="147478" y="5797"/>
                      <a:pt x="151694" y="-1230"/>
                      <a:pt x="172773" y="176"/>
                    </a:cubicBezTo>
                    <a:cubicBezTo>
                      <a:pt x="212123" y="2283"/>
                      <a:pt x="251472" y="1581"/>
                      <a:pt x="290821" y="176"/>
                    </a:cubicBezTo>
                    <a:cubicBezTo>
                      <a:pt x="309793" y="-527"/>
                      <a:pt x="321738" y="8608"/>
                      <a:pt x="332278" y="22661"/>
                    </a:cubicBezTo>
                    <a:cubicBezTo>
                      <a:pt x="341413" y="35309"/>
                      <a:pt x="342116" y="46552"/>
                      <a:pt x="328062" y="57794"/>
                    </a:cubicBezTo>
                    <a:cubicBezTo>
                      <a:pt x="311901" y="71145"/>
                      <a:pt x="289416" y="83090"/>
                      <a:pt x="303469" y="111196"/>
                    </a:cubicBezTo>
                    <a:cubicBezTo>
                      <a:pt x="317522" y="139303"/>
                      <a:pt x="346332" y="152654"/>
                      <a:pt x="381465" y="148438"/>
                    </a:cubicBezTo>
                    <a:cubicBezTo>
                      <a:pt x="408166" y="144925"/>
                      <a:pt x="435570" y="123142"/>
                      <a:pt x="439083" y="100656"/>
                    </a:cubicBezTo>
                    <a:cubicBezTo>
                      <a:pt x="441894" y="83793"/>
                      <a:pt x="429949" y="73955"/>
                      <a:pt x="418706" y="64118"/>
                    </a:cubicBezTo>
                    <a:cubicBezTo>
                      <a:pt x="408869" y="55686"/>
                      <a:pt x="394113" y="48660"/>
                      <a:pt x="401842" y="31093"/>
                    </a:cubicBezTo>
                    <a:cubicBezTo>
                      <a:pt x="408869" y="15634"/>
                      <a:pt x="419409" y="1581"/>
                      <a:pt x="437678" y="878"/>
                    </a:cubicBezTo>
                    <a:cubicBezTo>
                      <a:pt x="485459" y="-527"/>
                      <a:pt x="532537" y="176"/>
                      <a:pt x="580319" y="176"/>
                    </a:cubicBezTo>
                    <a:cubicBezTo>
                      <a:pt x="591561" y="176"/>
                      <a:pt x="590859" y="6500"/>
                      <a:pt x="590859" y="14229"/>
                    </a:cubicBezTo>
                    <a:cubicBezTo>
                      <a:pt x="590859" y="57092"/>
                      <a:pt x="590859" y="99954"/>
                      <a:pt x="590859" y="142816"/>
                    </a:cubicBezTo>
                    <a:cubicBezTo>
                      <a:pt x="590859" y="159680"/>
                      <a:pt x="582427" y="172328"/>
                      <a:pt x="569779" y="182166"/>
                    </a:cubicBezTo>
                    <a:cubicBezTo>
                      <a:pt x="556428" y="192706"/>
                      <a:pt x="544483" y="193408"/>
                      <a:pt x="532537" y="178652"/>
                    </a:cubicBezTo>
                    <a:cubicBezTo>
                      <a:pt x="521295" y="163896"/>
                      <a:pt x="510052" y="144222"/>
                      <a:pt x="486864" y="152654"/>
                    </a:cubicBezTo>
                    <a:cubicBezTo>
                      <a:pt x="460866" y="161788"/>
                      <a:pt x="444704" y="180760"/>
                      <a:pt x="442596" y="209569"/>
                    </a:cubicBezTo>
                    <a:cubicBezTo>
                      <a:pt x="441191" y="234163"/>
                      <a:pt x="442596" y="256648"/>
                      <a:pt x="462271" y="274917"/>
                    </a:cubicBezTo>
                    <a:cubicBezTo>
                      <a:pt x="488270" y="298105"/>
                      <a:pt x="503026" y="297402"/>
                      <a:pt x="526213" y="270701"/>
                    </a:cubicBezTo>
                    <a:cubicBezTo>
                      <a:pt x="533943" y="261567"/>
                      <a:pt x="539564" y="247513"/>
                      <a:pt x="556428" y="253135"/>
                    </a:cubicBezTo>
                    <a:cubicBezTo>
                      <a:pt x="572589" y="258756"/>
                      <a:pt x="587345" y="269999"/>
                      <a:pt x="588048" y="287565"/>
                    </a:cubicBezTo>
                    <a:cubicBezTo>
                      <a:pt x="590156" y="336049"/>
                      <a:pt x="590156" y="384533"/>
                      <a:pt x="590156" y="432314"/>
                    </a:cubicBezTo>
                    <a:cubicBezTo>
                      <a:pt x="590156" y="447773"/>
                      <a:pt x="576805" y="440746"/>
                      <a:pt x="569076" y="441448"/>
                    </a:cubicBezTo>
                    <a:cubicBezTo>
                      <a:pt x="502323" y="441448"/>
                      <a:pt x="435570" y="441448"/>
                      <a:pt x="368817" y="44144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B8D30CF9-9EBE-4CEB-ADFD-922204AF6282}"/>
                  </a:ext>
                </a:extLst>
              </p:cNvPr>
              <p:cNvSpPr/>
              <p:nvPr userDrawn="1"/>
            </p:nvSpPr>
            <p:spPr>
              <a:xfrm>
                <a:off x="4609322" y="3553845"/>
                <a:ext cx="419693" cy="419693"/>
              </a:xfrm>
              <a:custGeom>
                <a:avLst/>
                <a:gdLst>
                  <a:gd name="connsiteX0" fmla="*/ 370196 w 590237"/>
                  <a:gd name="connsiteY0" fmla="*/ 591917 h 590237"/>
                  <a:gd name="connsiteX1" fmla="*/ 167829 w 590237"/>
                  <a:gd name="connsiteY1" fmla="*/ 591917 h 590237"/>
                  <a:gd name="connsiteX2" fmla="*/ 147452 w 590237"/>
                  <a:gd name="connsiteY2" fmla="*/ 572242 h 590237"/>
                  <a:gd name="connsiteX3" fmla="*/ 148154 w 590237"/>
                  <a:gd name="connsiteY3" fmla="*/ 454897 h 590237"/>
                  <a:gd name="connsiteX4" fmla="*/ 139020 w 590237"/>
                  <a:gd name="connsiteY4" fmla="*/ 424683 h 590237"/>
                  <a:gd name="connsiteX5" fmla="*/ 108805 w 590237"/>
                  <a:gd name="connsiteY5" fmla="*/ 425385 h 590237"/>
                  <a:gd name="connsiteX6" fmla="*/ 56808 w 590237"/>
                  <a:gd name="connsiteY6" fmla="*/ 451384 h 590237"/>
                  <a:gd name="connsiteX7" fmla="*/ 4811 w 590237"/>
                  <a:gd name="connsiteY7" fmla="*/ 400089 h 590237"/>
                  <a:gd name="connsiteX8" fmla="*/ 38539 w 590237"/>
                  <a:gd name="connsiteY8" fmla="*/ 296798 h 590237"/>
                  <a:gd name="connsiteX9" fmla="*/ 105292 w 590237"/>
                  <a:gd name="connsiteY9" fmla="*/ 309446 h 590237"/>
                  <a:gd name="connsiteX10" fmla="*/ 127074 w 590237"/>
                  <a:gd name="connsiteY10" fmla="*/ 324904 h 590237"/>
                  <a:gd name="connsiteX11" fmla="*/ 148857 w 590237"/>
                  <a:gd name="connsiteY11" fmla="*/ 293284 h 590237"/>
                  <a:gd name="connsiteX12" fmla="*/ 148154 w 590237"/>
                  <a:gd name="connsiteY12" fmla="*/ 175940 h 590237"/>
                  <a:gd name="connsiteX13" fmla="*/ 174153 w 590237"/>
                  <a:gd name="connsiteY13" fmla="*/ 148536 h 590237"/>
                  <a:gd name="connsiteX14" fmla="*/ 286579 w 590237"/>
                  <a:gd name="connsiteY14" fmla="*/ 149238 h 590237"/>
                  <a:gd name="connsiteX15" fmla="*/ 310470 w 590237"/>
                  <a:gd name="connsiteY15" fmla="*/ 145022 h 590237"/>
                  <a:gd name="connsiteX16" fmla="*/ 313983 w 590237"/>
                  <a:gd name="connsiteY16" fmla="*/ 108484 h 590237"/>
                  <a:gd name="connsiteX17" fmla="*/ 312578 w 590237"/>
                  <a:gd name="connsiteY17" fmla="*/ 21354 h 590237"/>
                  <a:gd name="connsiteX18" fmla="*/ 449597 w 590237"/>
                  <a:gd name="connsiteY18" fmla="*/ 48757 h 590237"/>
                  <a:gd name="connsiteX19" fmla="*/ 433436 w 590237"/>
                  <a:gd name="connsiteY19" fmla="*/ 104268 h 590237"/>
                  <a:gd name="connsiteX20" fmla="*/ 417275 w 590237"/>
                  <a:gd name="connsiteY20" fmla="*/ 128861 h 590237"/>
                  <a:gd name="connsiteX21" fmla="*/ 452408 w 590237"/>
                  <a:gd name="connsiteY21" fmla="*/ 149941 h 590237"/>
                  <a:gd name="connsiteX22" fmla="*/ 572564 w 590237"/>
                  <a:gd name="connsiteY22" fmla="*/ 149238 h 590237"/>
                  <a:gd name="connsiteX23" fmla="*/ 592941 w 590237"/>
                  <a:gd name="connsiteY23" fmla="*/ 168210 h 590237"/>
                  <a:gd name="connsiteX24" fmla="*/ 592941 w 590237"/>
                  <a:gd name="connsiteY24" fmla="*/ 291176 h 590237"/>
                  <a:gd name="connsiteX25" fmla="*/ 566942 w 590237"/>
                  <a:gd name="connsiteY25" fmla="*/ 336147 h 590237"/>
                  <a:gd name="connsiteX26" fmla="*/ 538133 w 590237"/>
                  <a:gd name="connsiteY26" fmla="*/ 333336 h 590237"/>
                  <a:gd name="connsiteX27" fmla="*/ 472082 w 590237"/>
                  <a:gd name="connsiteY27" fmla="*/ 312256 h 590237"/>
                  <a:gd name="connsiteX28" fmla="*/ 452408 w 590237"/>
                  <a:gd name="connsiteY28" fmla="*/ 408521 h 590237"/>
                  <a:gd name="connsiteX29" fmla="*/ 530404 w 590237"/>
                  <a:gd name="connsiteY29" fmla="*/ 419764 h 590237"/>
                  <a:gd name="connsiteX30" fmla="*/ 560618 w 590237"/>
                  <a:gd name="connsiteY30" fmla="*/ 403603 h 590237"/>
                  <a:gd name="connsiteX31" fmla="*/ 592238 w 590237"/>
                  <a:gd name="connsiteY31" fmla="*/ 441547 h 590237"/>
                  <a:gd name="connsiteX32" fmla="*/ 592941 w 590237"/>
                  <a:gd name="connsiteY32" fmla="*/ 581377 h 590237"/>
                  <a:gd name="connsiteX33" fmla="*/ 574671 w 590237"/>
                  <a:gd name="connsiteY33" fmla="*/ 593322 h 590237"/>
                  <a:gd name="connsiteX34" fmla="*/ 370196 w 590237"/>
                  <a:gd name="connsiteY34" fmla="*/ 591917 h 59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90237" h="590237">
                    <a:moveTo>
                      <a:pt x="370196" y="591917"/>
                    </a:moveTo>
                    <a:cubicBezTo>
                      <a:pt x="302740" y="591917"/>
                      <a:pt x="235285" y="591214"/>
                      <a:pt x="167829" y="591917"/>
                    </a:cubicBezTo>
                    <a:cubicBezTo>
                      <a:pt x="152370" y="591917"/>
                      <a:pt x="147452" y="588403"/>
                      <a:pt x="147452" y="572242"/>
                    </a:cubicBezTo>
                    <a:cubicBezTo>
                      <a:pt x="148857" y="532893"/>
                      <a:pt x="147452" y="493544"/>
                      <a:pt x="148154" y="454897"/>
                    </a:cubicBezTo>
                    <a:cubicBezTo>
                      <a:pt x="148154" y="443655"/>
                      <a:pt x="147452" y="433115"/>
                      <a:pt x="139020" y="424683"/>
                    </a:cubicBezTo>
                    <a:cubicBezTo>
                      <a:pt x="128480" y="414143"/>
                      <a:pt x="119345" y="410629"/>
                      <a:pt x="108805" y="425385"/>
                    </a:cubicBezTo>
                    <a:cubicBezTo>
                      <a:pt x="96157" y="442249"/>
                      <a:pt x="81401" y="459113"/>
                      <a:pt x="56808" y="451384"/>
                    </a:cubicBezTo>
                    <a:cubicBezTo>
                      <a:pt x="30810" y="443655"/>
                      <a:pt x="12540" y="426790"/>
                      <a:pt x="4811" y="400089"/>
                    </a:cubicBezTo>
                    <a:cubicBezTo>
                      <a:pt x="-7837" y="357929"/>
                      <a:pt x="4811" y="317878"/>
                      <a:pt x="38539" y="296798"/>
                    </a:cubicBezTo>
                    <a:cubicBezTo>
                      <a:pt x="64537" y="279934"/>
                      <a:pt x="81401" y="284150"/>
                      <a:pt x="105292" y="309446"/>
                    </a:cubicBezTo>
                    <a:cubicBezTo>
                      <a:pt x="110913" y="315770"/>
                      <a:pt x="113724" y="330526"/>
                      <a:pt x="127074" y="324904"/>
                    </a:cubicBezTo>
                    <a:cubicBezTo>
                      <a:pt x="140425" y="319283"/>
                      <a:pt x="148857" y="308743"/>
                      <a:pt x="148857" y="293284"/>
                    </a:cubicBezTo>
                    <a:cubicBezTo>
                      <a:pt x="148857" y="253935"/>
                      <a:pt x="150262" y="214586"/>
                      <a:pt x="148154" y="175940"/>
                    </a:cubicBezTo>
                    <a:cubicBezTo>
                      <a:pt x="147452" y="155562"/>
                      <a:pt x="150965" y="147130"/>
                      <a:pt x="174153" y="148536"/>
                    </a:cubicBezTo>
                    <a:cubicBezTo>
                      <a:pt x="211394" y="150644"/>
                      <a:pt x="248635" y="149238"/>
                      <a:pt x="286579" y="149238"/>
                    </a:cubicBezTo>
                    <a:cubicBezTo>
                      <a:pt x="294309" y="149238"/>
                      <a:pt x="302740" y="149941"/>
                      <a:pt x="310470" y="145022"/>
                    </a:cubicBezTo>
                    <a:cubicBezTo>
                      <a:pt x="328739" y="133077"/>
                      <a:pt x="330145" y="122537"/>
                      <a:pt x="313983" y="108484"/>
                    </a:cubicBezTo>
                    <a:cubicBezTo>
                      <a:pt x="280255" y="78972"/>
                      <a:pt x="280255" y="52271"/>
                      <a:pt x="312578" y="21354"/>
                    </a:cubicBezTo>
                    <a:cubicBezTo>
                      <a:pt x="353332" y="-16590"/>
                      <a:pt x="426409" y="-1835"/>
                      <a:pt x="449597" y="48757"/>
                    </a:cubicBezTo>
                    <a:cubicBezTo>
                      <a:pt x="460137" y="72648"/>
                      <a:pt x="449597" y="88107"/>
                      <a:pt x="433436" y="104268"/>
                    </a:cubicBezTo>
                    <a:cubicBezTo>
                      <a:pt x="426409" y="111295"/>
                      <a:pt x="410951" y="114808"/>
                      <a:pt x="417275" y="128861"/>
                    </a:cubicBezTo>
                    <a:cubicBezTo>
                      <a:pt x="423599" y="142914"/>
                      <a:pt x="435544" y="149941"/>
                      <a:pt x="452408" y="149941"/>
                    </a:cubicBezTo>
                    <a:cubicBezTo>
                      <a:pt x="492460" y="149238"/>
                      <a:pt x="532512" y="150644"/>
                      <a:pt x="572564" y="149238"/>
                    </a:cubicBezTo>
                    <a:cubicBezTo>
                      <a:pt x="587319" y="149238"/>
                      <a:pt x="592941" y="152049"/>
                      <a:pt x="592941" y="168210"/>
                    </a:cubicBezTo>
                    <a:cubicBezTo>
                      <a:pt x="591535" y="208965"/>
                      <a:pt x="592238" y="250422"/>
                      <a:pt x="592941" y="291176"/>
                    </a:cubicBezTo>
                    <a:cubicBezTo>
                      <a:pt x="592941" y="312256"/>
                      <a:pt x="582401" y="324904"/>
                      <a:pt x="566942" y="336147"/>
                    </a:cubicBezTo>
                    <a:cubicBezTo>
                      <a:pt x="556402" y="343174"/>
                      <a:pt x="547268" y="342471"/>
                      <a:pt x="538133" y="333336"/>
                    </a:cubicBezTo>
                    <a:cubicBezTo>
                      <a:pt x="500892" y="297501"/>
                      <a:pt x="494568" y="295393"/>
                      <a:pt x="472082" y="312256"/>
                    </a:cubicBezTo>
                    <a:cubicBezTo>
                      <a:pt x="444679" y="332634"/>
                      <a:pt x="435544" y="378307"/>
                      <a:pt x="452408" y="408521"/>
                    </a:cubicBezTo>
                    <a:cubicBezTo>
                      <a:pt x="472785" y="445762"/>
                      <a:pt x="503702" y="449979"/>
                      <a:pt x="530404" y="419764"/>
                    </a:cubicBezTo>
                    <a:cubicBezTo>
                      <a:pt x="538133" y="410629"/>
                      <a:pt x="544457" y="395874"/>
                      <a:pt x="560618" y="403603"/>
                    </a:cubicBezTo>
                    <a:cubicBezTo>
                      <a:pt x="576779" y="410629"/>
                      <a:pt x="592238" y="422575"/>
                      <a:pt x="592238" y="441547"/>
                    </a:cubicBezTo>
                    <a:cubicBezTo>
                      <a:pt x="593643" y="487922"/>
                      <a:pt x="592238" y="534298"/>
                      <a:pt x="592941" y="581377"/>
                    </a:cubicBezTo>
                    <a:cubicBezTo>
                      <a:pt x="592941" y="596835"/>
                      <a:pt x="582401" y="593322"/>
                      <a:pt x="574671" y="593322"/>
                    </a:cubicBezTo>
                    <a:cubicBezTo>
                      <a:pt x="505108" y="592619"/>
                      <a:pt x="437652" y="591917"/>
                      <a:pt x="370196" y="591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083EC381-B699-4B1C-BF8C-928889B67764}"/>
                  </a:ext>
                </a:extLst>
              </p:cNvPr>
              <p:cNvSpPr/>
              <p:nvPr userDrawn="1"/>
            </p:nvSpPr>
            <p:spPr>
              <a:xfrm>
                <a:off x="4923526" y="3663765"/>
                <a:ext cx="419693" cy="309773"/>
              </a:xfrm>
              <a:custGeom>
                <a:avLst/>
                <a:gdLst>
                  <a:gd name="connsiteX0" fmla="*/ 368817 w 590237"/>
                  <a:gd name="connsiteY0" fmla="*/ 441448 h 435651"/>
                  <a:gd name="connsiteX1" fmla="*/ 166450 w 590237"/>
                  <a:gd name="connsiteY1" fmla="*/ 441448 h 435651"/>
                  <a:gd name="connsiteX2" fmla="*/ 148180 w 590237"/>
                  <a:gd name="connsiteY2" fmla="*/ 423882 h 435651"/>
                  <a:gd name="connsiteX3" fmla="*/ 148883 w 590237"/>
                  <a:gd name="connsiteY3" fmla="*/ 308645 h 435651"/>
                  <a:gd name="connsiteX4" fmla="*/ 140451 w 590237"/>
                  <a:gd name="connsiteY4" fmla="*/ 277728 h 435651"/>
                  <a:gd name="connsiteX5" fmla="*/ 106723 w 590237"/>
                  <a:gd name="connsiteY5" fmla="*/ 276322 h 435651"/>
                  <a:gd name="connsiteX6" fmla="*/ 16782 w 590237"/>
                  <a:gd name="connsiteY6" fmla="*/ 274917 h 435651"/>
                  <a:gd name="connsiteX7" fmla="*/ 26619 w 590237"/>
                  <a:gd name="connsiteY7" fmla="*/ 155465 h 435651"/>
                  <a:gd name="connsiteX8" fmla="*/ 102507 w 590237"/>
                  <a:gd name="connsiteY8" fmla="*/ 157572 h 435651"/>
                  <a:gd name="connsiteX9" fmla="*/ 126398 w 590237"/>
                  <a:gd name="connsiteY9" fmla="*/ 175139 h 435651"/>
                  <a:gd name="connsiteX10" fmla="*/ 148883 w 590237"/>
                  <a:gd name="connsiteY10" fmla="*/ 137898 h 435651"/>
                  <a:gd name="connsiteX11" fmla="*/ 148180 w 590237"/>
                  <a:gd name="connsiteY11" fmla="*/ 25472 h 435651"/>
                  <a:gd name="connsiteX12" fmla="*/ 172773 w 590237"/>
                  <a:gd name="connsiteY12" fmla="*/ 176 h 435651"/>
                  <a:gd name="connsiteX13" fmla="*/ 290821 w 590237"/>
                  <a:gd name="connsiteY13" fmla="*/ 176 h 435651"/>
                  <a:gd name="connsiteX14" fmla="*/ 332278 w 590237"/>
                  <a:gd name="connsiteY14" fmla="*/ 22661 h 435651"/>
                  <a:gd name="connsiteX15" fmla="*/ 328062 w 590237"/>
                  <a:gd name="connsiteY15" fmla="*/ 57794 h 435651"/>
                  <a:gd name="connsiteX16" fmla="*/ 303469 w 590237"/>
                  <a:gd name="connsiteY16" fmla="*/ 111196 h 435651"/>
                  <a:gd name="connsiteX17" fmla="*/ 381465 w 590237"/>
                  <a:gd name="connsiteY17" fmla="*/ 148438 h 435651"/>
                  <a:gd name="connsiteX18" fmla="*/ 439083 w 590237"/>
                  <a:gd name="connsiteY18" fmla="*/ 100656 h 435651"/>
                  <a:gd name="connsiteX19" fmla="*/ 418706 w 590237"/>
                  <a:gd name="connsiteY19" fmla="*/ 64118 h 435651"/>
                  <a:gd name="connsiteX20" fmla="*/ 401842 w 590237"/>
                  <a:gd name="connsiteY20" fmla="*/ 31093 h 435651"/>
                  <a:gd name="connsiteX21" fmla="*/ 437678 w 590237"/>
                  <a:gd name="connsiteY21" fmla="*/ 878 h 435651"/>
                  <a:gd name="connsiteX22" fmla="*/ 580319 w 590237"/>
                  <a:gd name="connsiteY22" fmla="*/ 176 h 435651"/>
                  <a:gd name="connsiteX23" fmla="*/ 590859 w 590237"/>
                  <a:gd name="connsiteY23" fmla="*/ 14229 h 435651"/>
                  <a:gd name="connsiteX24" fmla="*/ 590859 w 590237"/>
                  <a:gd name="connsiteY24" fmla="*/ 142816 h 435651"/>
                  <a:gd name="connsiteX25" fmla="*/ 569779 w 590237"/>
                  <a:gd name="connsiteY25" fmla="*/ 182166 h 435651"/>
                  <a:gd name="connsiteX26" fmla="*/ 532537 w 590237"/>
                  <a:gd name="connsiteY26" fmla="*/ 178652 h 435651"/>
                  <a:gd name="connsiteX27" fmla="*/ 486864 w 590237"/>
                  <a:gd name="connsiteY27" fmla="*/ 152654 h 435651"/>
                  <a:gd name="connsiteX28" fmla="*/ 442596 w 590237"/>
                  <a:gd name="connsiteY28" fmla="*/ 209569 h 435651"/>
                  <a:gd name="connsiteX29" fmla="*/ 462271 w 590237"/>
                  <a:gd name="connsiteY29" fmla="*/ 274917 h 435651"/>
                  <a:gd name="connsiteX30" fmla="*/ 526213 w 590237"/>
                  <a:gd name="connsiteY30" fmla="*/ 270701 h 435651"/>
                  <a:gd name="connsiteX31" fmla="*/ 556428 w 590237"/>
                  <a:gd name="connsiteY31" fmla="*/ 253135 h 435651"/>
                  <a:gd name="connsiteX32" fmla="*/ 588048 w 590237"/>
                  <a:gd name="connsiteY32" fmla="*/ 287565 h 435651"/>
                  <a:gd name="connsiteX33" fmla="*/ 590156 w 590237"/>
                  <a:gd name="connsiteY33" fmla="*/ 432314 h 435651"/>
                  <a:gd name="connsiteX34" fmla="*/ 569076 w 590237"/>
                  <a:gd name="connsiteY34" fmla="*/ 441448 h 435651"/>
                  <a:gd name="connsiteX35" fmla="*/ 368817 w 590237"/>
                  <a:gd name="connsiteY35" fmla="*/ 441448 h 435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90237" h="435651">
                    <a:moveTo>
                      <a:pt x="368817" y="441448"/>
                    </a:moveTo>
                    <a:cubicBezTo>
                      <a:pt x="301361" y="441448"/>
                      <a:pt x="233905" y="440746"/>
                      <a:pt x="166450" y="441448"/>
                    </a:cubicBezTo>
                    <a:cubicBezTo>
                      <a:pt x="152396" y="441448"/>
                      <a:pt x="147478" y="438638"/>
                      <a:pt x="148180" y="423882"/>
                    </a:cubicBezTo>
                    <a:cubicBezTo>
                      <a:pt x="149586" y="385235"/>
                      <a:pt x="148180" y="347292"/>
                      <a:pt x="148883" y="308645"/>
                    </a:cubicBezTo>
                    <a:cubicBezTo>
                      <a:pt x="148883" y="297402"/>
                      <a:pt x="148180" y="286862"/>
                      <a:pt x="140451" y="277728"/>
                    </a:cubicBezTo>
                    <a:cubicBezTo>
                      <a:pt x="129208" y="264377"/>
                      <a:pt x="120776" y="258756"/>
                      <a:pt x="106723" y="276322"/>
                    </a:cubicBezTo>
                    <a:cubicBezTo>
                      <a:pt x="77211" y="312159"/>
                      <a:pt x="46294" y="310753"/>
                      <a:pt x="16782" y="274917"/>
                    </a:cubicBezTo>
                    <a:cubicBezTo>
                      <a:pt x="-9216" y="243298"/>
                      <a:pt x="-4298" y="182868"/>
                      <a:pt x="26619" y="155465"/>
                    </a:cubicBezTo>
                    <a:cubicBezTo>
                      <a:pt x="54726" y="130871"/>
                      <a:pt x="77914" y="131574"/>
                      <a:pt x="102507" y="157572"/>
                    </a:cubicBezTo>
                    <a:cubicBezTo>
                      <a:pt x="109534" y="164599"/>
                      <a:pt x="112344" y="180760"/>
                      <a:pt x="126398" y="175139"/>
                    </a:cubicBezTo>
                    <a:cubicBezTo>
                      <a:pt x="141154" y="168815"/>
                      <a:pt x="148883" y="155465"/>
                      <a:pt x="148883" y="137898"/>
                    </a:cubicBezTo>
                    <a:cubicBezTo>
                      <a:pt x="148883" y="100656"/>
                      <a:pt x="150288" y="62713"/>
                      <a:pt x="148180" y="25472"/>
                    </a:cubicBezTo>
                    <a:cubicBezTo>
                      <a:pt x="147478" y="5797"/>
                      <a:pt x="151694" y="-1230"/>
                      <a:pt x="172773" y="176"/>
                    </a:cubicBezTo>
                    <a:cubicBezTo>
                      <a:pt x="212123" y="2283"/>
                      <a:pt x="251472" y="1581"/>
                      <a:pt x="290821" y="176"/>
                    </a:cubicBezTo>
                    <a:cubicBezTo>
                      <a:pt x="309793" y="-527"/>
                      <a:pt x="321738" y="8608"/>
                      <a:pt x="332278" y="22661"/>
                    </a:cubicBezTo>
                    <a:cubicBezTo>
                      <a:pt x="341413" y="35309"/>
                      <a:pt x="342116" y="46552"/>
                      <a:pt x="328062" y="57794"/>
                    </a:cubicBezTo>
                    <a:cubicBezTo>
                      <a:pt x="311901" y="71145"/>
                      <a:pt x="289416" y="83090"/>
                      <a:pt x="303469" y="111196"/>
                    </a:cubicBezTo>
                    <a:cubicBezTo>
                      <a:pt x="317522" y="139303"/>
                      <a:pt x="346332" y="152654"/>
                      <a:pt x="381465" y="148438"/>
                    </a:cubicBezTo>
                    <a:cubicBezTo>
                      <a:pt x="408166" y="144925"/>
                      <a:pt x="435570" y="123142"/>
                      <a:pt x="439083" y="100656"/>
                    </a:cubicBezTo>
                    <a:cubicBezTo>
                      <a:pt x="441894" y="83793"/>
                      <a:pt x="429949" y="73955"/>
                      <a:pt x="418706" y="64118"/>
                    </a:cubicBezTo>
                    <a:cubicBezTo>
                      <a:pt x="408869" y="55686"/>
                      <a:pt x="394113" y="48660"/>
                      <a:pt x="401842" y="31093"/>
                    </a:cubicBezTo>
                    <a:cubicBezTo>
                      <a:pt x="408869" y="15634"/>
                      <a:pt x="419409" y="1581"/>
                      <a:pt x="437678" y="878"/>
                    </a:cubicBezTo>
                    <a:cubicBezTo>
                      <a:pt x="485459" y="-527"/>
                      <a:pt x="532537" y="176"/>
                      <a:pt x="580319" y="176"/>
                    </a:cubicBezTo>
                    <a:cubicBezTo>
                      <a:pt x="591561" y="176"/>
                      <a:pt x="590859" y="6500"/>
                      <a:pt x="590859" y="14229"/>
                    </a:cubicBezTo>
                    <a:cubicBezTo>
                      <a:pt x="590859" y="57092"/>
                      <a:pt x="590859" y="99954"/>
                      <a:pt x="590859" y="142816"/>
                    </a:cubicBezTo>
                    <a:cubicBezTo>
                      <a:pt x="590859" y="159680"/>
                      <a:pt x="582427" y="172328"/>
                      <a:pt x="569779" y="182166"/>
                    </a:cubicBezTo>
                    <a:cubicBezTo>
                      <a:pt x="556428" y="192706"/>
                      <a:pt x="544483" y="193408"/>
                      <a:pt x="532537" y="178652"/>
                    </a:cubicBezTo>
                    <a:cubicBezTo>
                      <a:pt x="521295" y="163896"/>
                      <a:pt x="510052" y="144222"/>
                      <a:pt x="486864" y="152654"/>
                    </a:cubicBezTo>
                    <a:cubicBezTo>
                      <a:pt x="460866" y="161788"/>
                      <a:pt x="444704" y="180760"/>
                      <a:pt x="442596" y="209569"/>
                    </a:cubicBezTo>
                    <a:cubicBezTo>
                      <a:pt x="441191" y="234163"/>
                      <a:pt x="442596" y="256648"/>
                      <a:pt x="462271" y="274917"/>
                    </a:cubicBezTo>
                    <a:cubicBezTo>
                      <a:pt x="488270" y="298105"/>
                      <a:pt x="503026" y="297402"/>
                      <a:pt x="526213" y="270701"/>
                    </a:cubicBezTo>
                    <a:cubicBezTo>
                      <a:pt x="533943" y="261567"/>
                      <a:pt x="539564" y="247513"/>
                      <a:pt x="556428" y="253135"/>
                    </a:cubicBezTo>
                    <a:cubicBezTo>
                      <a:pt x="572589" y="258756"/>
                      <a:pt x="587345" y="269999"/>
                      <a:pt x="588048" y="287565"/>
                    </a:cubicBezTo>
                    <a:cubicBezTo>
                      <a:pt x="590156" y="336049"/>
                      <a:pt x="590156" y="384533"/>
                      <a:pt x="590156" y="432314"/>
                    </a:cubicBezTo>
                    <a:cubicBezTo>
                      <a:pt x="590156" y="447773"/>
                      <a:pt x="576805" y="440746"/>
                      <a:pt x="569076" y="441448"/>
                    </a:cubicBezTo>
                    <a:cubicBezTo>
                      <a:pt x="502323" y="441448"/>
                      <a:pt x="435570" y="441448"/>
                      <a:pt x="368817" y="44144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82D39E54-F095-45D7-99E1-52430D55BBAF}"/>
                  </a:ext>
                </a:extLst>
              </p:cNvPr>
              <p:cNvSpPr/>
              <p:nvPr userDrawn="1"/>
            </p:nvSpPr>
            <p:spPr>
              <a:xfrm rot="10800000" flipV="1">
                <a:off x="1285960" y="3657337"/>
                <a:ext cx="419693" cy="309773"/>
              </a:xfrm>
              <a:custGeom>
                <a:avLst/>
                <a:gdLst>
                  <a:gd name="connsiteX0" fmla="*/ 368817 w 590237"/>
                  <a:gd name="connsiteY0" fmla="*/ 441448 h 435651"/>
                  <a:gd name="connsiteX1" fmla="*/ 166450 w 590237"/>
                  <a:gd name="connsiteY1" fmla="*/ 441448 h 435651"/>
                  <a:gd name="connsiteX2" fmla="*/ 148180 w 590237"/>
                  <a:gd name="connsiteY2" fmla="*/ 423882 h 435651"/>
                  <a:gd name="connsiteX3" fmla="*/ 148883 w 590237"/>
                  <a:gd name="connsiteY3" fmla="*/ 308645 h 435651"/>
                  <a:gd name="connsiteX4" fmla="*/ 140451 w 590237"/>
                  <a:gd name="connsiteY4" fmla="*/ 277728 h 435651"/>
                  <a:gd name="connsiteX5" fmla="*/ 106723 w 590237"/>
                  <a:gd name="connsiteY5" fmla="*/ 276322 h 435651"/>
                  <a:gd name="connsiteX6" fmla="*/ 16782 w 590237"/>
                  <a:gd name="connsiteY6" fmla="*/ 274917 h 435651"/>
                  <a:gd name="connsiteX7" fmla="*/ 26619 w 590237"/>
                  <a:gd name="connsiteY7" fmla="*/ 155465 h 435651"/>
                  <a:gd name="connsiteX8" fmla="*/ 102507 w 590237"/>
                  <a:gd name="connsiteY8" fmla="*/ 157572 h 435651"/>
                  <a:gd name="connsiteX9" fmla="*/ 126398 w 590237"/>
                  <a:gd name="connsiteY9" fmla="*/ 175139 h 435651"/>
                  <a:gd name="connsiteX10" fmla="*/ 148883 w 590237"/>
                  <a:gd name="connsiteY10" fmla="*/ 137898 h 435651"/>
                  <a:gd name="connsiteX11" fmla="*/ 148180 w 590237"/>
                  <a:gd name="connsiteY11" fmla="*/ 25472 h 435651"/>
                  <a:gd name="connsiteX12" fmla="*/ 172773 w 590237"/>
                  <a:gd name="connsiteY12" fmla="*/ 176 h 435651"/>
                  <a:gd name="connsiteX13" fmla="*/ 290821 w 590237"/>
                  <a:gd name="connsiteY13" fmla="*/ 176 h 435651"/>
                  <a:gd name="connsiteX14" fmla="*/ 332278 w 590237"/>
                  <a:gd name="connsiteY14" fmla="*/ 22661 h 435651"/>
                  <a:gd name="connsiteX15" fmla="*/ 328062 w 590237"/>
                  <a:gd name="connsiteY15" fmla="*/ 57794 h 435651"/>
                  <a:gd name="connsiteX16" fmla="*/ 303469 w 590237"/>
                  <a:gd name="connsiteY16" fmla="*/ 111196 h 435651"/>
                  <a:gd name="connsiteX17" fmla="*/ 381465 w 590237"/>
                  <a:gd name="connsiteY17" fmla="*/ 148438 h 435651"/>
                  <a:gd name="connsiteX18" fmla="*/ 439083 w 590237"/>
                  <a:gd name="connsiteY18" fmla="*/ 100656 h 435651"/>
                  <a:gd name="connsiteX19" fmla="*/ 418706 w 590237"/>
                  <a:gd name="connsiteY19" fmla="*/ 64118 h 435651"/>
                  <a:gd name="connsiteX20" fmla="*/ 401842 w 590237"/>
                  <a:gd name="connsiteY20" fmla="*/ 31093 h 435651"/>
                  <a:gd name="connsiteX21" fmla="*/ 437678 w 590237"/>
                  <a:gd name="connsiteY21" fmla="*/ 878 h 435651"/>
                  <a:gd name="connsiteX22" fmla="*/ 580319 w 590237"/>
                  <a:gd name="connsiteY22" fmla="*/ 176 h 435651"/>
                  <a:gd name="connsiteX23" fmla="*/ 590859 w 590237"/>
                  <a:gd name="connsiteY23" fmla="*/ 14229 h 435651"/>
                  <a:gd name="connsiteX24" fmla="*/ 590859 w 590237"/>
                  <a:gd name="connsiteY24" fmla="*/ 142816 h 435651"/>
                  <a:gd name="connsiteX25" fmla="*/ 569779 w 590237"/>
                  <a:gd name="connsiteY25" fmla="*/ 182166 h 435651"/>
                  <a:gd name="connsiteX26" fmla="*/ 532537 w 590237"/>
                  <a:gd name="connsiteY26" fmla="*/ 178652 h 435651"/>
                  <a:gd name="connsiteX27" fmla="*/ 486864 w 590237"/>
                  <a:gd name="connsiteY27" fmla="*/ 152654 h 435651"/>
                  <a:gd name="connsiteX28" fmla="*/ 442596 w 590237"/>
                  <a:gd name="connsiteY28" fmla="*/ 209569 h 435651"/>
                  <a:gd name="connsiteX29" fmla="*/ 462271 w 590237"/>
                  <a:gd name="connsiteY29" fmla="*/ 274917 h 435651"/>
                  <a:gd name="connsiteX30" fmla="*/ 526213 w 590237"/>
                  <a:gd name="connsiteY30" fmla="*/ 270701 h 435651"/>
                  <a:gd name="connsiteX31" fmla="*/ 556428 w 590237"/>
                  <a:gd name="connsiteY31" fmla="*/ 253135 h 435651"/>
                  <a:gd name="connsiteX32" fmla="*/ 588048 w 590237"/>
                  <a:gd name="connsiteY32" fmla="*/ 287565 h 435651"/>
                  <a:gd name="connsiteX33" fmla="*/ 590156 w 590237"/>
                  <a:gd name="connsiteY33" fmla="*/ 432314 h 435651"/>
                  <a:gd name="connsiteX34" fmla="*/ 569076 w 590237"/>
                  <a:gd name="connsiteY34" fmla="*/ 441448 h 435651"/>
                  <a:gd name="connsiteX35" fmla="*/ 368817 w 590237"/>
                  <a:gd name="connsiteY35" fmla="*/ 441448 h 435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90237" h="435651">
                    <a:moveTo>
                      <a:pt x="368817" y="441448"/>
                    </a:moveTo>
                    <a:cubicBezTo>
                      <a:pt x="301361" y="441448"/>
                      <a:pt x="233905" y="440746"/>
                      <a:pt x="166450" y="441448"/>
                    </a:cubicBezTo>
                    <a:cubicBezTo>
                      <a:pt x="152396" y="441448"/>
                      <a:pt x="147478" y="438638"/>
                      <a:pt x="148180" y="423882"/>
                    </a:cubicBezTo>
                    <a:cubicBezTo>
                      <a:pt x="149586" y="385235"/>
                      <a:pt x="148180" y="347292"/>
                      <a:pt x="148883" y="308645"/>
                    </a:cubicBezTo>
                    <a:cubicBezTo>
                      <a:pt x="148883" y="297402"/>
                      <a:pt x="148180" y="286862"/>
                      <a:pt x="140451" y="277728"/>
                    </a:cubicBezTo>
                    <a:cubicBezTo>
                      <a:pt x="129208" y="264377"/>
                      <a:pt x="120776" y="258756"/>
                      <a:pt x="106723" y="276322"/>
                    </a:cubicBezTo>
                    <a:cubicBezTo>
                      <a:pt x="77211" y="312159"/>
                      <a:pt x="46294" y="310753"/>
                      <a:pt x="16782" y="274917"/>
                    </a:cubicBezTo>
                    <a:cubicBezTo>
                      <a:pt x="-9216" y="243298"/>
                      <a:pt x="-4298" y="182868"/>
                      <a:pt x="26619" y="155465"/>
                    </a:cubicBezTo>
                    <a:cubicBezTo>
                      <a:pt x="54726" y="130871"/>
                      <a:pt x="77914" y="131574"/>
                      <a:pt x="102507" y="157572"/>
                    </a:cubicBezTo>
                    <a:cubicBezTo>
                      <a:pt x="109534" y="164599"/>
                      <a:pt x="112344" y="180760"/>
                      <a:pt x="126398" y="175139"/>
                    </a:cubicBezTo>
                    <a:cubicBezTo>
                      <a:pt x="141154" y="168815"/>
                      <a:pt x="148883" y="155465"/>
                      <a:pt x="148883" y="137898"/>
                    </a:cubicBezTo>
                    <a:cubicBezTo>
                      <a:pt x="148883" y="100656"/>
                      <a:pt x="150288" y="62713"/>
                      <a:pt x="148180" y="25472"/>
                    </a:cubicBezTo>
                    <a:cubicBezTo>
                      <a:pt x="147478" y="5797"/>
                      <a:pt x="151694" y="-1230"/>
                      <a:pt x="172773" y="176"/>
                    </a:cubicBezTo>
                    <a:cubicBezTo>
                      <a:pt x="212123" y="2283"/>
                      <a:pt x="251472" y="1581"/>
                      <a:pt x="290821" y="176"/>
                    </a:cubicBezTo>
                    <a:cubicBezTo>
                      <a:pt x="309793" y="-527"/>
                      <a:pt x="321738" y="8608"/>
                      <a:pt x="332278" y="22661"/>
                    </a:cubicBezTo>
                    <a:cubicBezTo>
                      <a:pt x="341413" y="35309"/>
                      <a:pt x="342116" y="46552"/>
                      <a:pt x="328062" y="57794"/>
                    </a:cubicBezTo>
                    <a:cubicBezTo>
                      <a:pt x="311901" y="71145"/>
                      <a:pt x="289416" y="83090"/>
                      <a:pt x="303469" y="111196"/>
                    </a:cubicBezTo>
                    <a:cubicBezTo>
                      <a:pt x="317522" y="139303"/>
                      <a:pt x="346332" y="152654"/>
                      <a:pt x="381465" y="148438"/>
                    </a:cubicBezTo>
                    <a:cubicBezTo>
                      <a:pt x="408166" y="144925"/>
                      <a:pt x="435570" y="123142"/>
                      <a:pt x="439083" y="100656"/>
                    </a:cubicBezTo>
                    <a:cubicBezTo>
                      <a:pt x="441894" y="83793"/>
                      <a:pt x="429949" y="73955"/>
                      <a:pt x="418706" y="64118"/>
                    </a:cubicBezTo>
                    <a:cubicBezTo>
                      <a:pt x="408869" y="55686"/>
                      <a:pt x="394113" y="48660"/>
                      <a:pt x="401842" y="31093"/>
                    </a:cubicBezTo>
                    <a:cubicBezTo>
                      <a:pt x="408869" y="15634"/>
                      <a:pt x="419409" y="1581"/>
                      <a:pt x="437678" y="878"/>
                    </a:cubicBezTo>
                    <a:cubicBezTo>
                      <a:pt x="485459" y="-527"/>
                      <a:pt x="532537" y="176"/>
                      <a:pt x="580319" y="176"/>
                    </a:cubicBezTo>
                    <a:cubicBezTo>
                      <a:pt x="591561" y="176"/>
                      <a:pt x="590859" y="6500"/>
                      <a:pt x="590859" y="14229"/>
                    </a:cubicBezTo>
                    <a:cubicBezTo>
                      <a:pt x="590859" y="57092"/>
                      <a:pt x="590859" y="99954"/>
                      <a:pt x="590859" y="142816"/>
                    </a:cubicBezTo>
                    <a:cubicBezTo>
                      <a:pt x="590859" y="159680"/>
                      <a:pt x="582427" y="172328"/>
                      <a:pt x="569779" y="182166"/>
                    </a:cubicBezTo>
                    <a:cubicBezTo>
                      <a:pt x="556428" y="192706"/>
                      <a:pt x="544483" y="193408"/>
                      <a:pt x="532537" y="178652"/>
                    </a:cubicBezTo>
                    <a:cubicBezTo>
                      <a:pt x="521295" y="163896"/>
                      <a:pt x="510052" y="144222"/>
                      <a:pt x="486864" y="152654"/>
                    </a:cubicBezTo>
                    <a:cubicBezTo>
                      <a:pt x="460866" y="161788"/>
                      <a:pt x="444704" y="180760"/>
                      <a:pt x="442596" y="209569"/>
                    </a:cubicBezTo>
                    <a:cubicBezTo>
                      <a:pt x="441191" y="234163"/>
                      <a:pt x="442596" y="256648"/>
                      <a:pt x="462271" y="274917"/>
                    </a:cubicBezTo>
                    <a:cubicBezTo>
                      <a:pt x="488270" y="298105"/>
                      <a:pt x="503026" y="297402"/>
                      <a:pt x="526213" y="270701"/>
                    </a:cubicBezTo>
                    <a:cubicBezTo>
                      <a:pt x="533943" y="261567"/>
                      <a:pt x="539564" y="247513"/>
                      <a:pt x="556428" y="253135"/>
                    </a:cubicBezTo>
                    <a:cubicBezTo>
                      <a:pt x="572589" y="258756"/>
                      <a:pt x="587345" y="269999"/>
                      <a:pt x="588048" y="287565"/>
                    </a:cubicBezTo>
                    <a:cubicBezTo>
                      <a:pt x="590156" y="336049"/>
                      <a:pt x="590156" y="384533"/>
                      <a:pt x="590156" y="432314"/>
                    </a:cubicBezTo>
                    <a:cubicBezTo>
                      <a:pt x="590156" y="447773"/>
                      <a:pt x="576805" y="440746"/>
                      <a:pt x="569076" y="441448"/>
                    </a:cubicBezTo>
                    <a:cubicBezTo>
                      <a:pt x="502323" y="441448"/>
                      <a:pt x="435570" y="441448"/>
                      <a:pt x="368817" y="44144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C1AECF7F-7CE2-4E34-95A2-2A7F03A16072}"/>
                </a:ext>
              </a:extLst>
            </p:cNvPr>
            <p:cNvSpPr/>
            <p:nvPr userDrawn="1"/>
          </p:nvSpPr>
          <p:spPr>
            <a:xfrm>
              <a:off x="4615" y="942392"/>
              <a:ext cx="314769" cy="314769"/>
            </a:xfrm>
            <a:custGeom>
              <a:avLst/>
              <a:gdLst>
                <a:gd name="connsiteX0" fmla="*/ 703 w 442678"/>
                <a:gd name="connsiteY0" fmla="*/ 221404 h 442678"/>
                <a:gd name="connsiteX1" fmla="*/ 0 w 442678"/>
                <a:gd name="connsiteY1" fmla="*/ 21144 h 442678"/>
                <a:gd name="connsiteX2" fmla="*/ 21080 w 442678"/>
                <a:gd name="connsiteY2" fmla="*/ 64 h 442678"/>
                <a:gd name="connsiteX3" fmla="*/ 139127 w 442678"/>
                <a:gd name="connsiteY3" fmla="*/ 64 h 442678"/>
                <a:gd name="connsiteX4" fmla="*/ 179882 w 442678"/>
                <a:gd name="connsiteY4" fmla="*/ 17631 h 442678"/>
                <a:gd name="connsiteX5" fmla="*/ 177071 w 442678"/>
                <a:gd name="connsiteY5" fmla="*/ 60494 h 442678"/>
                <a:gd name="connsiteX6" fmla="*/ 153181 w 442678"/>
                <a:gd name="connsiteY6" fmla="*/ 104761 h 442678"/>
                <a:gd name="connsiteX7" fmla="*/ 205178 w 442678"/>
                <a:gd name="connsiteY7" fmla="*/ 147624 h 442678"/>
                <a:gd name="connsiteX8" fmla="*/ 275444 w 442678"/>
                <a:gd name="connsiteY8" fmla="*/ 127949 h 442678"/>
                <a:gd name="connsiteX9" fmla="*/ 271931 w 442678"/>
                <a:gd name="connsiteY9" fmla="*/ 65412 h 442678"/>
                <a:gd name="connsiteX10" fmla="*/ 252959 w 442678"/>
                <a:gd name="connsiteY10" fmla="*/ 33090 h 442678"/>
                <a:gd name="connsiteX11" fmla="*/ 293713 w 442678"/>
                <a:gd name="connsiteY11" fmla="*/ 767 h 442678"/>
                <a:gd name="connsiteX12" fmla="*/ 430733 w 442678"/>
                <a:gd name="connsiteY12" fmla="*/ 64 h 442678"/>
                <a:gd name="connsiteX13" fmla="*/ 443381 w 442678"/>
                <a:gd name="connsiteY13" fmla="*/ 16226 h 442678"/>
                <a:gd name="connsiteX14" fmla="*/ 443381 w 442678"/>
                <a:gd name="connsiteY14" fmla="*/ 144813 h 442678"/>
                <a:gd name="connsiteX15" fmla="*/ 423004 w 442678"/>
                <a:gd name="connsiteY15" fmla="*/ 182054 h 442678"/>
                <a:gd name="connsiteX16" fmla="*/ 383655 w 442678"/>
                <a:gd name="connsiteY16" fmla="*/ 178541 h 442678"/>
                <a:gd name="connsiteX17" fmla="*/ 335171 w 442678"/>
                <a:gd name="connsiteY17" fmla="*/ 153948 h 442678"/>
                <a:gd name="connsiteX18" fmla="*/ 295119 w 442678"/>
                <a:gd name="connsiteY18" fmla="*/ 213674 h 442678"/>
                <a:gd name="connsiteX19" fmla="*/ 318307 w 442678"/>
                <a:gd name="connsiteY19" fmla="*/ 277617 h 442678"/>
                <a:gd name="connsiteX20" fmla="*/ 376628 w 442678"/>
                <a:gd name="connsiteY20" fmla="*/ 273401 h 442678"/>
                <a:gd name="connsiteX21" fmla="*/ 411058 w 442678"/>
                <a:gd name="connsiteY21" fmla="*/ 253726 h 442678"/>
                <a:gd name="connsiteX22" fmla="*/ 443381 w 442678"/>
                <a:gd name="connsiteY22" fmla="*/ 300102 h 442678"/>
                <a:gd name="connsiteX23" fmla="*/ 443381 w 442678"/>
                <a:gd name="connsiteY23" fmla="*/ 425879 h 442678"/>
                <a:gd name="connsiteX24" fmla="*/ 423706 w 442678"/>
                <a:gd name="connsiteY24" fmla="*/ 443445 h 442678"/>
                <a:gd name="connsiteX25" fmla="*/ 303551 w 442678"/>
                <a:gd name="connsiteY25" fmla="*/ 443445 h 442678"/>
                <a:gd name="connsiteX26" fmla="*/ 260689 w 442678"/>
                <a:gd name="connsiteY26" fmla="*/ 423068 h 442678"/>
                <a:gd name="connsiteX27" fmla="*/ 264202 w 442678"/>
                <a:gd name="connsiteY27" fmla="*/ 383719 h 442678"/>
                <a:gd name="connsiteX28" fmla="*/ 289498 w 442678"/>
                <a:gd name="connsiteY28" fmla="*/ 337343 h 442678"/>
                <a:gd name="connsiteX29" fmla="*/ 231879 w 442678"/>
                <a:gd name="connsiteY29" fmla="*/ 295183 h 442678"/>
                <a:gd name="connsiteX30" fmla="*/ 165126 w 442678"/>
                <a:gd name="connsiteY30" fmla="*/ 317669 h 442678"/>
                <a:gd name="connsiteX31" fmla="*/ 169342 w 442678"/>
                <a:gd name="connsiteY31" fmla="*/ 376692 h 442678"/>
                <a:gd name="connsiteX32" fmla="*/ 189017 w 442678"/>
                <a:gd name="connsiteY32" fmla="*/ 410420 h 442678"/>
                <a:gd name="connsiteX33" fmla="*/ 146154 w 442678"/>
                <a:gd name="connsiteY33" fmla="*/ 443445 h 442678"/>
                <a:gd name="connsiteX34" fmla="*/ 14756 w 442678"/>
                <a:gd name="connsiteY34" fmla="*/ 444148 h 442678"/>
                <a:gd name="connsiteX35" fmla="*/ 703 w 442678"/>
                <a:gd name="connsiteY35" fmla="*/ 424473 h 442678"/>
                <a:gd name="connsiteX36" fmla="*/ 703 w 442678"/>
                <a:gd name="connsiteY36" fmla="*/ 221404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42678" h="442678">
                  <a:moveTo>
                    <a:pt x="703" y="221404"/>
                  </a:moveTo>
                  <a:cubicBezTo>
                    <a:pt x="703" y="154650"/>
                    <a:pt x="1405" y="87897"/>
                    <a:pt x="0" y="21144"/>
                  </a:cubicBezTo>
                  <a:cubicBezTo>
                    <a:pt x="0" y="4280"/>
                    <a:pt x="3513" y="-638"/>
                    <a:pt x="21080" y="64"/>
                  </a:cubicBezTo>
                  <a:cubicBezTo>
                    <a:pt x="60429" y="1470"/>
                    <a:pt x="99778" y="767"/>
                    <a:pt x="139127" y="64"/>
                  </a:cubicBezTo>
                  <a:cubicBezTo>
                    <a:pt x="155991" y="64"/>
                    <a:pt x="169342" y="4983"/>
                    <a:pt x="179882" y="17631"/>
                  </a:cubicBezTo>
                  <a:cubicBezTo>
                    <a:pt x="193233" y="32387"/>
                    <a:pt x="197449" y="46440"/>
                    <a:pt x="177071" y="60494"/>
                  </a:cubicBezTo>
                  <a:cubicBezTo>
                    <a:pt x="162316" y="71033"/>
                    <a:pt x="145452" y="82276"/>
                    <a:pt x="153181" y="104761"/>
                  </a:cubicBezTo>
                  <a:cubicBezTo>
                    <a:pt x="161613" y="128652"/>
                    <a:pt x="178477" y="144813"/>
                    <a:pt x="205178" y="147624"/>
                  </a:cubicBezTo>
                  <a:cubicBezTo>
                    <a:pt x="231177" y="150434"/>
                    <a:pt x="256472" y="149732"/>
                    <a:pt x="275444" y="127949"/>
                  </a:cubicBezTo>
                  <a:cubicBezTo>
                    <a:pt x="297227" y="103356"/>
                    <a:pt x="296524" y="87897"/>
                    <a:pt x="271931" y="65412"/>
                  </a:cubicBezTo>
                  <a:cubicBezTo>
                    <a:pt x="262094" y="56980"/>
                    <a:pt x="245932" y="50656"/>
                    <a:pt x="252959" y="33090"/>
                  </a:cubicBezTo>
                  <a:cubicBezTo>
                    <a:pt x="259986" y="15523"/>
                    <a:pt x="273336" y="1470"/>
                    <a:pt x="293713" y="767"/>
                  </a:cubicBezTo>
                  <a:cubicBezTo>
                    <a:pt x="339387" y="-638"/>
                    <a:pt x="385060" y="767"/>
                    <a:pt x="430733" y="64"/>
                  </a:cubicBezTo>
                  <a:cubicBezTo>
                    <a:pt x="443381" y="64"/>
                    <a:pt x="443381" y="7091"/>
                    <a:pt x="443381" y="16226"/>
                  </a:cubicBezTo>
                  <a:cubicBezTo>
                    <a:pt x="443381" y="59088"/>
                    <a:pt x="443381" y="101951"/>
                    <a:pt x="443381" y="144813"/>
                  </a:cubicBezTo>
                  <a:cubicBezTo>
                    <a:pt x="443381" y="160272"/>
                    <a:pt x="434949" y="172217"/>
                    <a:pt x="423004" y="182054"/>
                  </a:cubicBezTo>
                  <a:cubicBezTo>
                    <a:pt x="408951" y="193297"/>
                    <a:pt x="396303" y="195405"/>
                    <a:pt x="383655" y="178541"/>
                  </a:cubicBezTo>
                  <a:cubicBezTo>
                    <a:pt x="371709" y="163082"/>
                    <a:pt x="359764" y="143408"/>
                    <a:pt x="335171" y="153948"/>
                  </a:cubicBezTo>
                  <a:cubicBezTo>
                    <a:pt x="310578" y="165190"/>
                    <a:pt x="295119" y="183460"/>
                    <a:pt x="295119" y="213674"/>
                  </a:cubicBezTo>
                  <a:cubicBezTo>
                    <a:pt x="295119" y="238267"/>
                    <a:pt x="297227" y="260753"/>
                    <a:pt x="318307" y="277617"/>
                  </a:cubicBezTo>
                  <a:cubicBezTo>
                    <a:pt x="341495" y="296589"/>
                    <a:pt x="356251" y="295183"/>
                    <a:pt x="376628" y="273401"/>
                  </a:cubicBezTo>
                  <a:cubicBezTo>
                    <a:pt x="385763" y="263563"/>
                    <a:pt x="392789" y="245294"/>
                    <a:pt x="411058" y="253726"/>
                  </a:cubicBezTo>
                  <a:cubicBezTo>
                    <a:pt x="430030" y="262158"/>
                    <a:pt x="443381" y="276914"/>
                    <a:pt x="443381" y="300102"/>
                  </a:cubicBezTo>
                  <a:cubicBezTo>
                    <a:pt x="443381" y="342262"/>
                    <a:pt x="442678" y="384422"/>
                    <a:pt x="443381" y="425879"/>
                  </a:cubicBezTo>
                  <a:cubicBezTo>
                    <a:pt x="444084" y="441337"/>
                    <a:pt x="437057" y="443445"/>
                    <a:pt x="423706" y="443445"/>
                  </a:cubicBezTo>
                  <a:cubicBezTo>
                    <a:pt x="383655" y="442743"/>
                    <a:pt x="343603" y="442743"/>
                    <a:pt x="303551" y="443445"/>
                  </a:cubicBezTo>
                  <a:cubicBezTo>
                    <a:pt x="285984" y="443445"/>
                    <a:pt x="271931" y="436419"/>
                    <a:pt x="260689" y="423068"/>
                  </a:cubicBezTo>
                  <a:cubicBezTo>
                    <a:pt x="248743" y="409015"/>
                    <a:pt x="247338" y="396367"/>
                    <a:pt x="264202" y="383719"/>
                  </a:cubicBezTo>
                  <a:cubicBezTo>
                    <a:pt x="279660" y="372476"/>
                    <a:pt x="298632" y="359828"/>
                    <a:pt x="289498" y="337343"/>
                  </a:cubicBezTo>
                  <a:cubicBezTo>
                    <a:pt x="279660" y="312750"/>
                    <a:pt x="261391" y="295886"/>
                    <a:pt x="231879" y="295183"/>
                  </a:cubicBezTo>
                  <a:cubicBezTo>
                    <a:pt x="206583" y="294481"/>
                    <a:pt x="182693" y="295886"/>
                    <a:pt x="165126" y="317669"/>
                  </a:cubicBezTo>
                  <a:cubicBezTo>
                    <a:pt x="146154" y="340856"/>
                    <a:pt x="147559" y="355612"/>
                    <a:pt x="169342" y="376692"/>
                  </a:cubicBezTo>
                  <a:cubicBezTo>
                    <a:pt x="178477" y="385827"/>
                    <a:pt x="197449" y="390043"/>
                    <a:pt x="189017" y="410420"/>
                  </a:cubicBezTo>
                  <a:cubicBezTo>
                    <a:pt x="180585" y="430095"/>
                    <a:pt x="166531" y="442743"/>
                    <a:pt x="146154" y="443445"/>
                  </a:cubicBezTo>
                  <a:cubicBezTo>
                    <a:pt x="102589" y="444851"/>
                    <a:pt x="58321" y="443445"/>
                    <a:pt x="14756" y="444148"/>
                  </a:cubicBezTo>
                  <a:cubicBezTo>
                    <a:pt x="-2108" y="444148"/>
                    <a:pt x="703" y="434311"/>
                    <a:pt x="703" y="424473"/>
                  </a:cubicBezTo>
                  <a:cubicBezTo>
                    <a:pt x="703" y="356315"/>
                    <a:pt x="703" y="288859"/>
                    <a:pt x="703" y="22140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5E14CED1-D454-4538-B332-B8BDE0751759}"/>
                </a:ext>
              </a:extLst>
            </p:cNvPr>
            <p:cNvSpPr/>
            <p:nvPr userDrawn="1"/>
          </p:nvSpPr>
          <p:spPr>
            <a:xfrm>
              <a:off x="4615" y="1152725"/>
              <a:ext cx="419693" cy="419693"/>
            </a:xfrm>
            <a:custGeom>
              <a:avLst/>
              <a:gdLst>
                <a:gd name="connsiteX0" fmla="*/ 0 w 590237"/>
                <a:gd name="connsiteY0" fmla="*/ 368438 h 590237"/>
                <a:gd name="connsiteX1" fmla="*/ 0 w 590237"/>
                <a:gd name="connsiteY1" fmla="*/ 168882 h 590237"/>
                <a:gd name="connsiteX2" fmla="*/ 21080 w 590237"/>
                <a:gd name="connsiteY2" fmla="*/ 147099 h 590237"/>
                <a:gd name="connsiteX3" fmla="*/ 136317 w 590237"/>
                <a:gd name="connsiteY3" fmla="*/ 147802 h 590237"/>
                <a:gd name="connsiteX4" fmla="*/ 167234 w 590237"/>
                <a:gd name="connsiteY4" fmla="*/ 139370 h 590237"/>
                <a:gd name="connsiteX5" fmla="*/ 167936 w 590237"/>
                <a:gd name="connsiteY5" fmla="*/ 109156 h 590237"/>
                <a:gd name="connsiteX6" fmla="*/ 142641 w 590237"/>
                <a:gd name="connsiteY6" fmla="*/ 51537 h 590237"/>
                <a:gd name="connsiteX7" fmla="*/ 202367 w 590237"/>
                <a:gd name="connsiteY7" fmla="*/ 1648 h 590237"/>
                <a:gd name="connsiteX8" fmla="*/ 292308 w 590237"/>
                <a:gd name="connsiteY8" fmla="*/ 32565 h 590237"/>
                <a:gd name="connsiteX9" fmla="*/ 285281 w 590237"/>
                <a:gd name="connsiteY9" fmla="*/ 102129 h 590237"/>
                <a:gd name="connsiteX10" fmla="*/ 267715 w 590237"/>
                <a:gd name="connsiteY10" fmla="*/ 126019 h 590237"/>
                <a:gd name="connsiteX11" fmla="*/ 302848 w 590237"/>
                <a:gd name="connsiteY11" fmla="*/ 147802 h 590237"/>
                <a:gd name="connsiteX12" fmla="*/ 418085 w 590237"/>
                <a:gd name="connsiteY12" fmla="*/ 147099 h 590237"/>
                <a:gd name="connsiteX13" fmla="*/ 444083 w 590237"/>
                <a:gd name="connsiteY13" fmla="*/ 172395 h 590237"/>
                <a:gd name="connsiteX14" fmla="*/ 443381 w 590237"/>
                <a:gd name="connsiteY14" fmla="*/ 284822 h 590237"/>
                <a:gd name="connsiteX15" fmla="*/ 455326 w 590237"/>
                <a:gd name="connsiteY15" fmla="*/ 317144 h 590237"/>
                <a:gd name="connsiteX16" fmla="*/ 483433 w 590237"/>
                <a:gd name="connsiteY16" fmla="*/ 316441 h 590237"/>
                <a:gd name="connsiteX17" fmla="*/ 541051 w 590237"/>
                <a:gd name="connsiteY17" fmla="*/ 289740 h 590237"/>
                <a:gd name="connsiteX18" fmla="*/ 591643 w 590237"/>
                <a:gd name="connsiteY18" fmla="*/ 355088 h 590237"/>
                <a:gd name="connsiteX19" fmla="*/ 560023 w 590237"/>
                <a:gd name="connsiteY19" fmla="*/ 440110 h 590237"/>
                <a:gd name="connsiteX20" fmla="*/ 490459 w 590237"/>
                <a:gd name="connsiteY20" fmla="*/ 433786 h 590237"/>
                <a:gd name="connsiteX21" fmla="*/ 463758 w 590237"/>
                <a:gd name="connsiteY21" fmla="*/ 417625 h 590237"/>
                <a:gd name="connsiteX22" fmla="*/ 443381 w 590237"/>
                <a:gd name="connsiteY22" fmla="*/ 453461 h 590237"/>
                <a:gd name="connsiteX23" fmla="*/ 444083 w 590237"/>
                <a:gd name="connsiteY23" fmla="*/ 568698 h 590237"/>
                <a:gd name="connsiteX24" fmla="*/ 419490 w 590237"/>
                <a:gd name="connsiteY24" fmla="*/ 591886 h 590237"/>
                <a:gd name="connsiteX25" fmla="*/ 301443 w 590237"/>
                <a:gd name="connsiteY25" fmla="*/ 591886 h 590237"/>
                <a:gd name="connsiteX26" fmla="*/ 257175 w 590237"/>
                <a:gd name="connsiteY26" fmla="*/ 565184 h 590237"/>
                <a:gd name="connsiteX27" fmla="*/ 261391 w 590237"/>
                <a:gd name="connsiteY27" fmla="*/ 536375 h 590237"/>
                <a:gd name="connsiteX28" fmla="*/ 276147 w 590237"/>
                <a:gd name="connsiteY28" fmla="*/ 464001 h 590237"/>
                <a:gd name="connsiteX29" fmla="*/ 174261 w 590237"/>
                <a:gd name="connsiteY29" fmla="*/ 458379 h 590237"/>
                <a:gd name="connsiteX30" fmla="*/ 173558 w 590237"/>
                <a:gd name="connsiteY30" fmla="*/ 527943 h 590237"/>
                <a:gd name="connsiteX31" fmla="*/ 190422 w 590237"/>
                <a:gd name="connsiteY31" fmla="*/ 558860 h 590237"/>
                <a:gd name="connsiteX32" fmla="*/ 153181 w 590237"/>
                <a:gd name="connsiteY32" fmla="*/ 590480 h 590237"/>
                <a:gd name="connsiteX33" fmla="*/ 13350 w 590237"/>
                <a:gd name="connsiteY33" fmla="*/ 591183 h 590237"/>
                <a:gd name="connsiteX34" fmla="*/ 2108 w 590237"/>
                <a:gd name="connsiteY34" fmla="*/ 572211 h 590237"/>
                <a:gd name="connsiteX35" fmla="*/ 0 w 590237"/>
                <a:gd name="connsiteY35" fmla="*/ 368438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90237" h="590237">
                  <a:moveTo>
                    <a:pt x="0" y="368438"/>
                  </a:moveTo>
                  <a:cubicBezTo>
                    <a:pt x="0" y="301685"/>
                    <a:pt x="702" y="234932"/>
                    <a:pt x="0" y="168882"/>
                  </a:cubicBezTo>
                  <a:cubicBezTo>
                    <a:pt x="0" y="152721"/>
                    <a:pt x="3513" y="146397"/>
                    <a:pt x="21080" y="147099"/>
                  </a:cubicBezTo>
                  <a:cubicBezTo>
                    <a:pt x="59024" y="148505"/>
                    <a:pt x="97670" y="147802"/>
                    <a:pt x="136317" y="147802"/>
                  </a:cubicBezTo>
                  <a:cubicBezTo>
                    <a:pt x="147559" y="147802"/>
                    <a:pt x="158099" y="147802"/>
                    <a:pt x="167234" y="139370"/>
                  </a:cubicBezTo>
                  <a:cubicBezTo>
                    <a:pt x="177071" y="129533"/>
                    <a:pt x="184098" y="120398"/>
                    <a:pt x="167936" y="109156"/>
                  </a:cubicBezTo>
                  <a:cubicBezTo>
                    <a:pt x="148262" y="95805"/>
                    <a:pt x="132101" y="77536"/>
                    <a:pt x="142641" y="51537"/>
                  </a:cubicBezTo>
                  <a:cubicBezTo>
                    <a:pt x="153181" y="24836"/>
                    <a:pt x="171450" y="5864"/>
                    <a:pt x="202367" y="1648"/>
                  </a:cubicBezTo>
                  <a:cubicBezTo>
                    <a:pt x="238203" y="-3271"/>
                    <a:pt x="269823" y="1648"/>
                    <a:pt x="292308" y="32565"/>
                  </a:cubicBezTo>
                  <a:cubicBezTo>
                    <a:pt x="311983" y="59266"/>
                    <a:pt x="309875" y="79644"/>
                    <a:pt x="285281" y="102129"/>
                  </a:cubicBezTo>
                  <a:cubicBezTo>
                    <a:pt x="278255" y="109156"/>
                    <a:pt x="262094" y="111966"/>
                    <a:pt x="267715" y="126019"/>
                  </a:cubicBezTo>
                  <a:cubicBezTo>
                    <a:pt x="273336" y="140073"/>
                    <a:pt x="285984" y="147802"/>
                    <a:pt x="302848" y="147802"/>
                  </a:cubicBezTo>
                  <a:cubicBezTo>
                    <a:pt x="341495" y="147099"/>
                    <a:pt x="379439" y="149207"/>
                    <a:pt x="418085" y="147099"/>
                  </a:cubicBezTo>
                  <a:cubicBezTo>
                    <a:pt x="437760" y="146397"/>
                    <a:pt x="444786" y="150613"/>
                    <a:pt x="444083" y="172395"/>
                  </a:cubicBezTo>
                  <a:cubicBezTo>
                    <a:pt x="441975" y="209636"/>
                    <a:pt x="444083" y="246878"/>
                    <a:pt x="443381" y="284822"/>
                  </a:cubicBezTo>
                  <a:cubicBezTo>
                    <a:pt x="443381" y="297469"/>
                    <a:pt x="446894" y="308009"/>
                    <a:pt x="455326" y="317144"/>
                  </a:cubicBezTo>
                  <a:cubicBezTo>
                    <a:pt x="465163" y="326981"/>
                    <a:pt x="472893" y="331197"/>
                    <a:pt x="483433" y="316441"/>
                  </a:cubicBezTo>
                  <a:cubicBezTo>
                    <a:pt x="496783" y="296767"/>
                    <a:pt x="514350" y="282011"/>
                    <a:pt x="541051" y="289740"/>
                  </a:cubicBezTo>
                  <a:cubicBezTo>
                    <a:pt x="567049" y="297469"/>
                    <a:pt x="588832" y="326279"/>
                    <a:pt x="591643" y="355088"/>
                  </a:cubicBezTo>
                  <a:cubicBezTo>
                    <a:pt x="595156" y="388816"/>
                    <a:pt x="590238" y="418328"/>
                    <a:pt x="560023" y="440110"/>
                  </a:cubicBezTo>
                  <a:cubicBezTo>
                    <a:pt x="532619" y="459785"/>
                    <a:pt x="513647" y="457677"/>
                    <a:pt x="490459" y="433786"/>
                  </a:cubicBezTo>
                  <a:cubicBezTo>
                    <a:pt x="483433" y="426057"/>
                    <a:pt x="479919" y="409193"/>
                    <a:pt x="463758" y="417625"/>
                  </a:cubicBezTo>
                  <a:cubicBezTo>
                    <a:pt x="450407" y="424652"/>
                    <a:pt x="443381" y="437300"/>
                    <a:pt x="443381" y="453461"/>
                  </a:cubicBezTo>
                  <a:cubicBezTo>
                    <a:pt x="444083" y="492107"/>
                    <a:pt x="441975" y="530051"/>
                    <a:pt x="444083" y="568698"/>
                  </a:cubicBezTo>
                  <a:cubicBezTo>
                    <a:pt x="444786" y="589075"/>
                    <a:pt x="438462" y="592588"/>
                    <a:pt x="419490" y="591886"/>
                  </a:cubicBezTo>
                  <a:cubicBezTo>
                    <a:pt x="380141" y="590480"/>
                    <a:pt x="340792" y="591183"/>
                    <a:pt x="301443" y="591886"/>
                  </a:cubicBezTo>
                  <a:cubicBezTo>
                    <a:pt x="280363" y="592588"/>
                    <a:pt x="267012" y="581346"/>
                    <a:pt x="257175" y="565184"/>
                  </a:cubicBezTo>
                  <a:cubicBezTo>
                    <a:pt x="250851" y="555347"/>
                    <a:pt x="251554" y="546212"/>
                    <a:pt x="261391" y="536375"/>
                  </a:cubicBezTo>
                  <a:cubicBezTo>
                    <a:pt x="299335" y="499134"/>
                    <a:pt x="300740" y="489999"/>
                    <a:pt x="276147" y="464001"/>
                  </a:cubicBezTo>
                  <a:cubicBezTo>
                    <a:pt x="250851" y="437300"/>
                    <a:pt x="201664" y="434489"/>
                    <a:pt x="174261" y="458379"/>
                  </a:cubicBezTo>
                  <a:cubicBezTo>
                    <a:pt x="144749" y="483675"/>
                    <a:pt x="144749" y="502647"/>
                    <a:pt x="173558" y="527943"/>
                  </a:cubicBezTo>
                  <a:cubicBezTo>
                    <a:pt x="182693" y="536375"/>
                    <a:pt x="196746" y="542699"/>
                    <a:pt x="190422" y="558860"/>
                  </a:cubicBezTo>
                  <a:cubicBezTo>
                    <a:pt x="183395" y="575724"/>
                    <a:pt x="172153" y="589778"/>
                    <a:pt x="153181" y="590480"/>
                  </a:cubicBezTo>
                  <a:cubicBezTo>
                    <a:pt x="106805" y="591886"/>
                    <a:pt x="60429" y="591183"/>
                    <a:pt x="13350" y="591183"/>
                  </a:cubicBezTo>
                  <a:cubicBezTo>
                    <a:pt x="-2108" y="591183"/>
                    <a:pt x="2108" y="580643"/>
                    <a:pt x="2108" y="572211"/>
                  </a:cubicBezTo>
                  <a:cubicBezTo>
                    <a:pt x="0" y="503350"/>
                    <a:pt x="0" y="435894"/>
                    <a:pt x="0" y="36843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456A045-59B1-4B5C-B3C9-5ABA7D64B183}"/>
                </a:ext>
              </a:extLst>
            </p:cNvPr>
            <p:cNvSpPr/>
            <p:nvPr userDrawn="1"/>
          </p:nvSpPr>
          <p:spPr>
            <a:xfrm>
              <a:off x="4615" y="522986"/>
              <a:ext cx="419693" cy="524616"/>
            </a:xfrm>
            <a:custGeom>
              <a:avLst/>
              <a:gdLst>
                <a:gd name="connsiteX0" fmla="*/ 590940 w 590237"/>
                <a:gd name="connsiteY0" fmla="*/ 398837 h 737797"/>
                <a:gd name="connsiteX1" fmla="*/ 564239 w 590237"/>
                <a:gd name="connsiteY1" fmla="*/ 435375 h 737797"/>
                <a:gd name="connsiteX2" fmla="*/ 486946 w 590237"/>
                <a:gd name="connsiteY2" fmla="*/ 431159 h 737797"/>
                <a:gd name="connsiteX3" fmla="*/ 464461 w 590237"/>
                <a:gd name="connsiteY3" fmla="*/ 416403 h 737797"/>
                <a:gd name="connsiteX4" fmla="*/ 443381 w 590237"/>
                <a:gd name="connsiteY4" fmla="*/ 448726 h 737797"/>
                <a:gd name="connsiteX5" fmla="*/ 444084 w 590237"/>
                <a:gd name="connsiteY5" fmla="*/ 568881 h 737797"/>
                <a:gd name="connsiteX6" fmla="*/ 422301 w 590237"/>
                <a:gd name="connsiteY6" fmla="*/ 592069 h 737797"/>
                <a:gd name="connsiteX7" fmla="*/ 307064 w 590237"/>
                <a:gd name="connsiteY7" fmla="*/ 591367 h 737797"/>
                <a:gd name="connsiteX8" fmla="*/ 274741 w 590237"/>
                <a:gd name="connsiteY8" fmla="*/ 603312 h 737797"/>
                <a:gd name="connsiteX9" fmla="*/ 276147 w 590237"/>
                <a:gd name="connsiteY9" fmla="*/ 631418 h 737797"/>
                <a:gd name="connsiteX10" fmla="*/ 302146 w 590237"/>
                <a:gd name="connsiteY10" fmla="*/ 688334 h 737797"/>
                <a:gd name="connsiteX11" fmla="*/ 236798 w 590237"/>
                <a:gd name="connsiteY11" fmla="*/ 738926 h 737797"/>
                <a:gd name="connsiteX12" fmla="*/ 153884 w 590237"/>
                <a:gd name="connsiteY12" fmla="*/ 709414 h 737797"/>
                <a:gd name="connsiteX13" fmla="*/ 158802 w 590237"/>
                <a:gd name="connsiteY13" fmla="*/ 637742 h 737797"/>
                <a:gd name="connsiteX14" fmla="*/ 175666 w 590237"/>
                <a:gd name="connsiteY14" fmla="*/ 611744 h 737797"/>
                <a:gd name="connsiteX15" fmla="*/ 139830 w 590237"/>
                <a:gd name="connsiteY15" fmla="*/ 591367 h 737797"/>
                <a:gd name="connsiteX16" fmla="*/ 24593 w 590237"/>
                <a:gd name="connsiteY16" fmla="*/ 592069 h 737797"/>
                <a:gd name="connsiteX17" fmla="*/ 0 w 590237"/>
                <a:gd name="connsiteY17" fmla="*/ 568881 h 737797"/>
                <a:gd name="connsiteX18" fmla="*/ 0 w 590237"/>
                <a:gd name="connsiteY18" fmla="*/ 171876 h 737797"/>
                <a:gd name="connsiteX19" fmla="*/ 24593 w 590237"/>
                <a:gd name="connsiteY19" fmla="*/ 147986 h 737797"/>
                <a:gd name="connsiteX20" fmla="*/ 134209 w 590237"/>
                <a:gd name="connsiteY20" fmla="*/ 148688 h 737797"/>
                <a:gd name="connsiteX21" fmla="*/ 163018 w 590237"/>
                <a:gd name="connsiteY21" fmla="*/ 143067 h 737797"/>
                <a:gd name="connsiteX22" fmla="*/ 165829 w 590237"/>
                <a:gd name="connsiteY22" fmla="*/ 107231 h 737797"/>
                <a:gd name="connsiteX23" fmla="*/ 165126 w 590237"/>
                <a:gd name="connsiteY23" fmla="*/ 19398 h 737797"/>
                <a:gd name="connsiteX24" fmla="*/ 291606 w 590237"/>
                <a:gd name="connsiteY24" fmla="*/ 33451 h 737797"/>
                <a:gd name="connsiteX25" fmla="*/ 285281 w 590237"/>
                <a:gd name="connsiteY25" fmla="*/ 103015 h 737797"/>
                <a:gd name="connsiteX26" fmla="*/ 268418 w 590237"/>
                <a:gd name="connsiteY26" fmla="*/ 129014 h 737797"/>
                <a:gd name="connsiteX27" fmla="*/ 304253 w 590237"/>
                <a:gd name="connsiteY27" fmla="*/ 148688 h 737797"/>
                <a:gd name="connsiteX28" fmla="*/ 405437 w 590237"/>
                <a:gd name="connsiteY28" fmla="*/ 148688 h 737797"/>
                <a:gd name="connsiteX29" fmla="*/ 443381 w 590237"/>
                <a:gd name="connsiteY29" fmla="*/ 188037 h 737797"/>
                <a:gd name="connsiteX30" fmla="*/ 443381 w 590237"/>
                <a:gd name="connsiteY30" fmla="*/ 286410 h 737797"/>
                <a:gd name="connsiteX31" fmla="*/ 455326 w 590237"/>
                <a:gd name="connsiteY31" fmla="*/ 318030 h 737797"/>
                <a:gd name="connsiteX32" fmla="*/ 482027 w 590237"/>
                <a:gd name="connsiteY32" fmla="*/ 317328 h 737797"/>
                <a:gd name="connsiteX33" fmla="*/ 586022 w 590237"/>
                <a:gd name="connsiteY33" fmla="*/ 332084 h 737797"/>
                <a:gd name="connsiteX34" fmla="*/ 591643 w 590237"/>
                <a:gd name="connsiteY34" fmla="*/ 343326 h 737797"/>
                <a:gd name="connsiteX35" fmla="*/ 590940 w 590237"/>
                <a:gd name="connsiteY35" fmla="*/ 398837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90237" h="737797">
                  <a:moveTo>
                    <a:pt x="590940" y="398837"/>
                  </a:moveTo>
                  <a:cubicBezTo>
                    <a:pt x="583211" y="411485"/>
                    <a:pt x="575482" y="424835"/>
                    <a:pt x="564239" y="435375"/>
                  </a:cubicBezTo>
                  <a:cubicBezTo>
                    <a:pt x="534727" y="461374"/>
                    <a:pt x="512945" y="459968"/>
                    <a:pt x="486946" y="431159"/>
                  </a:cubicBezTo>
                  <a:cubicBezTo>
                    <a:pt x="480622" y="424133"/>
                    <a:pt x="477109" y="410782"/>
                    <a:pt x="464461" y="416403"/>
                  </a:cubicBezTo>
                  <a:cubicBezTo>
                    <a:pt x="451813" y="422025"/>
                    <a:pt x="442678" y="432565"/>
                    <a:pt x="443381" y="448726"/>
                  </a:cubicBezTo>
                  <a:cubicBezTo>
                    <a:pt x="443381" y="488778"/>
                    <a:pt x="442678" y="528830"/>
                    <a:pt x="444084" y="568881"/>
                  </a:cubicBezTo>
                  <a:cubicBezTo>
                    <a:pt x="444786" y="585745"/>
                    <a:pt x="441273" y="592772"/>
                    <a:pt x="422301" y="592069"/>
                  </a:cubicBezTo>
                  <a:cubicBezTo>
                    <a:pt x="384357" y="590664"/>
                    <a:pt x="345711" y="592069"/>
                    <a:pt x="307064" y="591367"/>
                  </a:cubicBezTo>
                  <a:cubicBezTo>
                    <a:pt x="294416" y="591367"/>
                    <a:pt x="283876" y="594177"/>
                    <a:pt x="274741" y="603312"/>
                  </a:cubicBezTo>
                  <a:cubicBezTo>
                    <a:pt x="264904" y="613149"/>
                    <a:pt x="261391" y="621581"/>
                    <a:pt x="276147" y="631418"/>
                  </a:cubicBezTo>
                  <a:cubicBezTo>
                    <a:pt x="295119" y="644769"/>
                    <a:pt x="311280" y="661633"/>
                    <a:pt x="302146" y="688334"/>
                  </a:cubicBezTo>
                  <a:cubicBezTo>
                    <a:pt x="293011" y="715035"/>
                    <a:pt x="265607" y="736818"/>
                    <a:pt x="236798" y="738926"/>
                  </a:cubicBezTo>
                  <a:cubicBezTo>
                    <a:pt x="204475" y="741737"/>
                    <a:pt x="174963" y="738223"/>
                    <a:pt x="153884" y="709414"/>
                  </a:cubicBezTo>
                  <a:cubicBezTo>
                    <a:pt x="132804" y="681308"/>
                    <a:pt x="134209" y="662336"/>
                    <a:pt x="158802" y="637742"/>
                  </a:cubicBezTo>
                  <a:cubicBezTo>
                    <a:pt x="165829" y="630716"/>
                    <a:pt x="184098" y="627905"/>
                    <a:pt x="175666" y="611744"/>
                  </a:cubicBezTo>
                  <a:cubicBezTo>
                    <a:pt x="168639" y="598393"/>
                    <a:pt x="155991" y="591367"/>
                    <a:pt x="139830" y="591367"/>
                  </a:cubicBezTo>
                  <a:cubicBezTo>
                    <a:pt x="101184" y="592069"/>
                    <a:pt x="63240" y="590664"/>
                    <a:pt x="24593" y="592069"/>
                  </a:cubicBezTo>
                  <a:cubicBezTo>
                    <a:pt x="6324" y="592772"/>
                    <a:pt x="0" y="589961"/>
                    <a:pt x="0" y="568881"/>
                  </a:cubicBezTo>
                  <a:cubicBezTo>
                    <a:pt x="702" y="436780"/>
                    <a:pt x="702" y="303977"/>
                    <a:pt x="0" y="171876"/>
                  </a:cubicBezTo>
                  <a:cubicBezTo>
                    <a:pt x="0" y="152202"/>
                    <a:pt x="5621" y="147283"/>
                    <a:pt x="24593" y="147986"/>
                  </a:cubicBezTo>
                  <a:cubicBezTo>
                    <a:pt x="61132" y="149391"/>
                    <a:pt x="97670" y="148688"/>
                    <a:pt x="134209" y="148688"/>
                  </a:cubicBezTo>
                  <a:cubicBezTo>
                    <a:pt x="144046" y="148688"/>
                    <a:pt x="154586" y="150094"/>
                    <a:pt x="163018" y="143067"/>
                  </a:cubicBezTo>
                  <a:cubicBezTo>
                    <a:pt x="177071" y="132527"/>
                    <a:pt x="185503" y="123392"/>
                    <a:pt x="165829" y="107231"/>
                  </a:cubicBezTo>
                  <a:cubicBezTo>
                    <a:pt x="129290" y="77719"/>
                    <a:pt x="129993" y="50315"/>
                    <a:pt x="165126" y="19398"/>
                  </a:cubicBezTo>
                  <a:cubicBezTo>
                    <a:pt x="200259" y="-11519"/>
                    <a:pt x="263499" y="-4492"/>
                    <a:pt x="291606" y="33451"/>
                  </a:cubicBezTo>
                  <a:cubicBezTo>
                    <a:pt x="311280" y="60153"/>
                    <a:pt x="309172" y="79827"/>
                    <a:pt x="285281" y="103015"/>
                  </a:cubicBezTo>
                  <a:cubicBezTo>
                    <a:pt x="278255" y="110042"/>
                    <a:pt x="260688" y="112150"/>
                    <a:pt x="268418" y="129014"/>
                  </a:cubicBezTo>
                  <a:cubicBezTo>
                    <a:pt x="275444" y="143770"/>
                    <a:pt x="288092" y="148688"/>
                    <a:pt x="304253" y="148688"/>
                  </a:cubicBezTo>
                  <a:cubicBezTo>
                    <a:pt x="337981" y="148688"/>
                    <a:pt x="371709" y="148688"/>
                    <a:pt x="405437" y="148688"/>
                  </a:cubicBezTo>
                  <a:cubicBezTo>
                    <a:pt x="443381" y="148688"/>
                    <a:pt x="443381" y="148688"/>
                    <a:pt x="443381" y="188037"/>
                  </a:cubicBezTo>
                  <a:cubicBezTo>
                    <a:pt x="443381" y="221063"/>
                    <a:pt x="443381" y="253385"/>
                    <a:pt x="443381" y="286410"/>
                  </a:cubicBezTo>
                  <a:cubicBezTo>
                    <a:pt x="443381" y="299058"/>
                    <a:pt x="445489" y="309598"/>
                    <a:pt x="455326" y="318030"/>
                  </a:cubicBezTo>
                  <a:cubicBezTo>
                    <a:pt x="464461" y="326462"/>
                    <a:pt x="471487" y="329273"/>
                    <a:pt x="482027" y="317328"/>
                  </a:cubicBezTo>
                  <a:cubicBezTo>
                    <a:pt x="519971" y="274465"/>
                    <a:pt x="560023" y="280087"/>
                    <a:pt x="586022" y="332084"/>
                  </a:cubicBezTo>
                  <a:cubicBezTo>
                    <a:pt x="588130" y="335597"/>
                    <a:pt x="590238" y="339813"/>
                    <a:pt x="591643" y="343326"/>
                  </a:cubicBezTo>
                  <a:cubicBezTo>
                    <a:pt x="590940" y="362298"/>
                    <a:pt x="590940" y="380567"/>
                    <a:pt x="590940" y="39883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40994457-F6F8-4CC7-83BF-B9BB0FC2D094}"/>
                </a:ext>
              </a:extLst>
            </p:cNvPr>
            <p:cNvSpPr/>
            <p:nvPr userDrawn="1"/>
          </p:nvSpPr>
          <p:spPr>
            <a:xfrm>
              <a:off x="4615" y="1465627"/>
              <a:ext cx="314769" cy="524616"/>
            </a:xfrm>
            <a:custGeom>
              <a:avLst/>
              <a:gdLst>
                <a:gd name="connsiteX0" fmla="*/ 755 w 442678"/>
                <a:gd name="connsiteY0" fmla="*/ 370037 h 737797"/>
                <a:gd name="connsiteX1" fmla="*/ 52 w 442678"/>
                <a:gd name="connsiteY1" fmla="*/ 173292 h 737797"/>
                <a:gd name="connsiteX2" fmla="*/ 24645 w 442678"/>
                <a:gd name="connsiteY2" fmla="*/ 149401 h 737797"/>
                <a:gd name="connsiteX3" fmla="*/ 131450 w 442678"/>
                <a:gd name="connsiteY3" fmla="*/ 149401 h 737797"/>
                <a:gd name="connsiteX4" fmla="*/ 158151 w 442678"/>
                <a:gd name="connsiteY4" fmla="*/ 146590 h 737797"/>
                <a:gd name="connsiteX5" fmla="*/ 166583 w 442678"/>
                <a:gd name="connsiteY5" fmla="*/ 109349 h 737797"/>
                <a:gd name="connsiteX6" fmla="*/ 180637 w 442678"/>
                <a:gd name="connsiteY6" fmla="*/ 8868 h 737797"/>
                <a:gd name="connsiteX7" fmla="*/ 293063 w 442678"/>
                <a:gd name="connsiteY7" fmla="*/ 35569 h 737797"/>
                <a:gd name="connsiteX8" fmla="*/ 286036 w 442678"/>
                <a:gd name="connsiteY8" fmla="*/ 103025 h 737797"/>
                <a:gd name="connsiteX9" fmla="*/ 268470 w 442678"/>
                <a:gd name="connsiteY9" fmla="*/ 129024 h 737797"/>
                <a:gd name="connsiteX10" fmla="*/ 304305 w 442678"/>
                <a:gd name="connsiteY10" fmla="*/ 149401 h 737797"/>
                <a:gd name="connsiteX11" fmla="*/ 419543 w 442678"/>
                <a:gd name="connsiteY11" fmla="*/ 148698 h 737797"/>
                <a:gd name="connsiteX12" fmla="*/ 443433 w 442678"/>
                <a:gd name="connsiteY12" fmla="*/ 172589 h 737797"/>
                <a:gd name="connsiteX13" fmla="*/ 443433 w 442678"/>
                <a:gd name="connsiteY13" fmla="*/ 289934 h 737797"/>
                <a:gd name="connsiteX14" fmla="*/ 420245 w 442678"/>
                <a:gd name="connsiteY14" fmla="*/ 333499 h 737797"/>
                <a:gd name="connsiteX15" fmla="*/ 387220 w 442678"/>
                <a:gd name="connsiteY15" fmla="*/ 329986 h 737797"/>
                <a:gd name="connsiteX16" fmla="*/ 316953 w 442678"/>
                <a:gd name="connsiteY16" fmla="*/ 315932 h 737797"/>
                <a:gd name="connsiteX17" fmla="*/ 308521 w 442678"/>
                <a:gd name="connsiteY17" fmla="*/ 415711 h 737797"/>
                <a:gd name="connsiteX18" fmla="*/ 382301 w 442678"/>
                <a:gd name="connsiteY18" fmla="*/ 417819 h 737797"/>
                <a:gd name="connsiteX19" fmla="*/ 409705 w 442678"/>
                <a:gd name="connsiteY19" fmla="*/ 401657 h 737797"/>
                <a:gd name="connsiteX20" fmla="*/ 442730 w 442678"/>
                <a:gd name="connsiteY20" fmla="*/ 438196 h 737797"/>
                <a:gd name="connsiteX21" fmla="*/ 444136 w 442678"/>
                <a:gd name="connsiteY21" fmla="*/ 580134 h 737797"/>
                <a:gd name="connsiteX22" fmla="*/ 427272 w 442678"/>
                <a:gd name="connsiteY22" fmla="*/ 590674 h 737797"/>
                <a:gd name="connsiteX23" fmla="*/ 312035 w 442678"/>
                <a:gd name="connsiteY23" fmla="*/ 590674 h 737797"/>
                <a:gd name="connsiteX24" fmla="*/ 281118 w 442678"/>
                <a:gd name="connsiteY24" fmla="*/ 598403 h 737797"/>
                <a:gd name="connsiteX25" fmla="*/ 279712 w 442678"/>
                <a:gd name="connsiteY25" fmla="*/ 632834 h 737797"/>
                <a:gd name="connsiteX26" fmla="*/ 305008 w 442678"/>
                <a:gd name="connsiteY26" fmla="*/ 685534 h 737797"/>
                <a:gd name="connsiteX27" fmla="*/ 244579 w 442678"/>
                <a:gd name="connsiteY27" fmla="*/ 738233 h 737797"/>
                <a:gd name="connsiteX28" fmla="*/ 153935 w 442678"/>
                <a:gd name="connsiteY28" fmla="*/ 708019 h 737797"/>
                <a:gd name="connsiteX29" fmla="*/ 160962 w 442678"/>
                <a:gd name="connsiteY29" fmla="*/ 637752 h 737797"/>
                <a:gd name="connsiteX30" fmla="*/ 178528 w 442678"/>
                <a:gd name="connsiteY30" fmla="*/ 614565 h 737797"/>
                <a:gd name="connsiteX31" fmla="*/ 141990 w 442678"/>
                <a:gd name="connsiteY31" fmla="*/ 591377 h 737797"/>
                <a:gd name="connsiteX32" fmla="*/ 24645 w 442678"/>
                <a:gd name="connsiteY32" fmla="*/ 592079 h 737797"/>
                <a:gd name="connsiteX33" fmla="*/ 2160 w 442678"/>
                <a:gd name="connsiteY33" fmla="*/ 569594 h 737797"/>
                <a:gd name="connsiteX34" fmla="*/ 755 w 442678"/>
                <a:gd name="connsiteY34" fmla="*/ 370037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42678" h="737797">
                  <a:moveTo>
                    <a:pt x="755" y="370037"/>
                  </a:moveTo>
                  <a:cubicBezTo>
                    <a:pt x="755" y="304690"/>
                    <a:pt x="1457" y="238639"/>
                    <a:pt x="52" y="173292"/>
                  </a:cubicBezTo>
                  <a:cubicBezTo>
                    <a:pt x="-651" y="153617"/>
                    <a:pt x="5673" y="148698"/>
                    <a:pt x="24645" y="149401"/>
                  </a:cubicBezTo>
                  <a:cubicBezTo>
                    <a:pt x="60481" y="150806"/>
                    <a:pt x="95614" y="150104"/>
                    <a:pt x="131450" y="149401"/>
                  </a:cubicBezTo>
                  <a:cubicBezTo>
                    <a:pt x="140585" y="149401"/>
                    <a:pt x="150422" y="149401"/>
                    <a:pt x="158151" y="146590"/>
                  </a:cubicBezTo>
                  <a:cubicBezTo>
                    <a:pt x="178528" y="139564"/>
                    <a:pt x="181339" y="122700"/>
                    <a:pt x="166583" y="109349"/>
                  </a:cubicBezTo>
                  <a:cubicBezTo>
                    <a:pt x="127937" y="74919"/>
                    <a:pt x="133558" y="33461"/>
                    <a:pt x="180637" y="8868"/>
                  </a:cubicBezTo>
                  <a:cubicBezTo>
                    <a:pt x="216472" y="-10104"/>
                    <a:pt x="270578" y="2544"/>
                    <a:pt x="293063" y="35569"/>
                  </a:cubicBezTo>
                  <a:cubicBezTo>
                    <a:pt x="311332" y="61568"/>
                    <a:pt x="309224" y="80540"/>
                    <a:pt x="286036" y="103025"/>
                  </a:cubicBezTo>
                  <a:cubicBezTo>
                    <a:pt x="278307" y="110052"/>
                    <a:pt x="260740" y="112862"/>
                    <a:pt x="268470" y="129024"/>
                  </a:cubicBezTo>
                  <a:cubicBezTo>
                    <a:pt x="275496" y="143077"/>
                    <a:pt x="288144" y="149401"/>
                    <a:pt x="304305" y="149401"/>
                  </a:cubicBezTo>
                  <a:cubicBezTo>
                    <a:pt x="342952" y="148698"/>
                    <a:pt x="380896" y="150104"/>
                    <a:pt x="419543" y="148698"/>
                  </a:cubicBezTo>
                  <a:cubicBezTo>
                    <a:pt x="438514" y="147996"/>
                    <a:pt x="444136" y="153617"/>
                    <a:pt x="443433" y="172589"/>
                  </a:cubicBezTo>
                  <a:cubicBezTo>
                    <a:pt x="442027" y="211938"/>
                    <a:pt x="442730" y="251287"/>
                    <a:pt x="443433" y="289934"/>
                  </a:cubicBezTo>
                  <a:cubicBezTo>
                    <a:pt x="444136" y="309608"/>
                    <a:pt x="435001" y="322959"/>
                    <a:pt x="420245" y="333499"/>
                  </a:cubicBezTo>
                  <a:cubicBezTo>
                    <a:pt x="408300" y="341931"/>
                    <a:pt x="397760" y="341931"/>
                    <a:pt x="387220" y="329986"/>
                  </a:cubicBezTo>
                  <a:cubicBezTo>
                    <a:pt x="352789" y="293447"/>
                    <a:pt x="342952" y="292042"/>
                    <a:pt x="316953" y="315932"/>
                  </a:cubicBezTo>
                  <a:cubicBezTo>
                    <a:pt x="290955" y="339823"/>
                    <a:pt x="286739" y="389009"/>
                    <a:pt x="308521" y="415711"/>
                  </a:cubicBezTo>
                  <a:cubicBezTo>
                    <a:pt x="334520" y="447331"/>
                    <a:pt x="354897" y="448033"/>
                    <a:pt x="382301" y="417819"/>
                  </a:cubicBezTo>
                  <a:cubicBezTo>
                    <a:pt x="389328" y="410089"/>
                    <a:pt x="393544" y="395333"/>
                    <a:pt x="409705" y="401657"/>
                  </a:cubicBezTo>
                  <a:cubicBezTo>
                    <a:pt x="427272" y="408684"/>
                    <a:pt x="442027" y="419927"/>
                    <a:pt x="442730" y="438196"/>
                  </a:cubicBezTo>
                  <a:cubicBezTo>
                    <a:pt x="444838" y="485274"/>
                    <a:pt x="443433" y="533055"/>
                    <a:pt x="444136" y="580134"/>
                  </a:cubicBezTo>
                  <a:cubicBezTo>
                    <a:pt x="444136" y="594187"/>
                    <a:pt x="434298" y="590674"/>
                    <a:pt x="427272" y="590674"/>
                  </a:cubicBezTo>
                  <a:cubicBezTo>
                    <a:pt x="388625" y="590674"/>
                    <a:pt x="350681" y="590674"/>
                    <a:pt x="312035" y="590674"/>
                  </a:cubicBezTo>
                  <a:cubicBezTo>
                    <a:pt x="300792" y="590674"/>
                    <a:pt x="290252" y="590674"/>
                    <a:pt x="281118" y="598403"/>
                  </a:cubicBezTo>
                  <a:cubicBezTo>
                    <a:pt x="268470" y="608943"/>
                    <a:pt x="260740" y="619483"/>
                    <a:pt x="279712" y="632834"/>
                  </a:cubicBezTo>
                  <a:cubicBezTo>
                    <a:pt x="297279" y="645482"/>
                    <a:pt x="313440" y="661643"/>
                    <a:pt x="305008" y="685534"/>
                  </a:cubicBezTo>
                  <a:cubicBezTo>
                    <a:pt x="295171" y="713640"/>
                    <a:pt x="276199" y="734720"/>
                    <a:pt x="244579" y="738233"/>
                  </a:cubicBezTo>
                  <a:cubicBezTo>
                    <a:pt x="210148" y="742449"/>
                    <a:pt x="177123" y="740341"/>
                    <a:pt x="153935" y="708019"/>
                  </a:cubicBezTo>
                  <a:cubicBezTo>
                    <a:pt x="135666" y="682020"/>
                    <a:pt x="137072" y="660238"/>
                    <a:pt x="160962" y="637752"/>
                  </a:cubicBezTo>
                  <a:cubicBezTo>
                    <a:pt x="167988" y="630726"/>
                    <a:pt x="184150" y="627915"/>
                    <a:pt x="178528" y="614565"/>
                  </a:cubicBezTo>
                  <a:cubicBezTo>
                    <a:pt x="172205" y="599809"/>
                    <a:pt x="159557" y="590674"/>
                    <a:pt x="141990" y="591377"/>
                  </a:cubicBezTo>
                  <a:cubicBezTo>
                    <a:pt x="102641" y="592079"/>
                    <a:pt x="63292" y="590674"/>
                    <a:pt x="24645" y="592079"/>
                  </a:cubicBezTo>
                  <a:cubicBezTo>
                    <a:pt x="6376" y="592782"/>
                    <a:pt x="1457" y="587863"/>
                    <a:pt x="2160" y="569594"/>
                  </a:cubicBezTo>
                  <a:cubicBezTo>
                    <a:pt x="1457" y="503544"/>
                    <a:pt x="755" y="436791"/>
                    <a:pt x="755" y="37003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1CE7EE02-1EB8-44DA-B02F-5A06F0E3D990}"/>
                </a:ext>
              </a:extLst>
            </p:cNvPr>
            <p:cNvSpPr/>
            <p:nvPr userDrawn="1"/>
          </p:nvSpPr>
          <p:spPr>
            <a:xfrm>
              <a:off x="4615" y="209318"/>
              <a:ext cx="314769" cy="419693"/>
            </a:xfrm>
            <a:custGeom>
              <a:avLst/>
              <a:gdLst>
                <a:gd name="connsiteX0" fmla="*/ 703 w 442678"/>
                <a:gd name="connsiteY0" fmla="*/ 367448 h 590237"/>
                <a:gd name="connsiteX1" fmla="*/ 0 w 442678"/>
                <a:gd name="connsiteY1" fmla="*/ 167891 h 590237"/>
                <a:gd name="connsiteX2" fmla="*/ 21080 w 442678"/>
                <a:gd name="connsiteY2" fmla="*/ 146811 h 590237"/>
                <a:gd name="connsiteX3" fmla="*/ 136317 w 442678"/>
                <a:gd name="connsiteY3" fmla="*/ 147514 h 590237"/>
                <a:gd name="connsiteX4" fmla="*/ 166531 w 442678"/>
                <a:gd name="connsiteY4" fmla="*/ 138379 h 590237"/>
                <a:gd name="connsiteX5" fmla="*/ 165829 w 442678"/>
                <a:gd name="connsiteY5" fmla="*/ 108165 h 590237"/>
                <a:gd name="connsiteX6" fmla="*/ 139830 w 442678"/>
                <a:gd name="connsiteY6" fmla="*/ 56168 h 590237"/>
                <a:gd name="connsiteX7" fmla="*/ 196746 w 442678"/>
                <a:gd name="connsiteY7" fmla="*/ 2765 h 590237"/>
                <a:gd name="connsiteX8" fmla="*/ 288795 w 442678"/>
                <a:gd name="connsiteY8" fmla="*/ 29466 h 590237"/>
                <a:gd name="connsiteX9" fmla="*/ 283876 w 442678"/>
                <a:gd name="connsiteY9" fmla="*/ 103246 h 590237"/>
                <a:gd name="connsiteX10" fmla="*/ 267012 w 442678"/>
                <a:gd name="connsiteY10" fmla="*/ 127137 h 590237"/>
                <a:gd name="connsiteX11" fmla="*/ 302146 w 442678"/>
                <a:gd name="connsiteY11" fmla="*/ 148217 h 590237"/>
                <a:gd name="connsiteX12" fmla="*/ 420193 w 442678"/>
                <a:gd name="connsiteY12" fmla="*/ 147514 h 590237"/>
                <a:gd name="connsiteX13" fmla="*/ 444084 w 442678"/>
                <a:gd name="connsiteY13" fmla="*/ 171405 h 590237"/>
                <a:gd name="connsiteX14" fmla="*/ 444084 w 442678"/>
                <a:gd name="connsiteY14" fmla="*/ 286642 h 590237"/>
                <a:gd name="connsiteX15" fmla="*/ 424409 w 442678"/>
                <a:gd name="connsiteY15" fmla="*/ 329504 h 590237"/>
                <a:gd name="connsiteX16" fmla="*/ 382952 w 442678"/>
                <a:gd name="connsiteY16" fmla="*/ 325991 h 590237"/>
                <a:gd name="connsiteX17" fmla="*/ 338684 w 442678"/>
                <a:gd name="connsiteY17" fmla="*/ 301397 h 590237"/>
                <a:gd name="connsiteX18" fmla="*/ 295822 w 442678"/>
                <a:gd name="connsiteY18" fmla="*/ 352692 h 590237"/>
                <a:gd name="connsiteX19" fmla="*/ 314794 w 442678"/>
                <a:gd name="connsiteY19" fmla="*/ 422958 h 590237"/>
                <a:gd name="connsiteX20" fmla="*/ 377331 w 442678"/>
                <a:gd name="connsiteY20" fmla="*/ 420148 h 590237"/>
                <a:gd name="connsiteX21" fmla="*/ 408248 w 442678"/>
                <a:gd name="connsiteY21" fmla="*/ 400473 h 590237"/>
                <a:gd name="connsiteX22" fmla="*/ 442678 w 442678"/>
                <a:gd name="connsiteY22" fmla="*/ 441930 h 590237"/>
                <a:gd name="connsiteX23" fmla="*/ 443381 w 442678"/>
                <a:gd name="connsiteY23" fmla="*/ 576139 h 590237"/>
                <a:gd name="connsiteX24" fmla="*/ 425112 w 442678"/>
                <a:gd name="connsiteY24" fmla="*/ 589490 h 590237"/>
                <a:gd name="connsiteX25" fmla="*/ 299335 w 442678"/>
                <a:gd name="connsiteY25" fmla="*/ 589490 h 590237"/>
                <a:gd name="connsiteX26" fmla="*/ 254364 w 442678"/>
                <a:gd name="connsiteY26" fmla="*/ 559978 h 590237"/>
                <a:gd name="connsiteX27" fmla="*/ 273336 w 442678"/>
                <a:gd name="connsiteY27" fmla="*/ 523439 h 590237"/>
                <a:gd name="connsiteX28" fmla="*/ 277552 w 442678"/>
                <a:gd name="connsiteY28" fmla="*/ 465118 h 590237"/>
                <a:gd name="connsiteX29" fmla="*/ 164424 w 442678"/>
                <a:gd name="connsiteY29" fmla="*/ 465821 h 590237"/>
                <a:gd name="connsiteX30" fmla="*/ 168639 w 442678"/>
                <a:gd name="connsiteY30" fmla="*/ 524142 h 590237"/>
                <a:gd name="connsiteX31" fmla="*/ 188314 w 442678"/>
                <a:gd name="connsiteY31" fmla="*/ 557870 h 590237"/>
                <a:gd name="connsiteX32" fmla="*/ 142641 w 442678"/>
                <a:gd name="connsiteY32" fmla="*/ 590192 h 590237"/>
                <a:gd name="connsiteX33" fmla="*/ 19675 w 442678"/>
                <a:gd name="connsiteY33" fmla="*/ 590192 h 590237"/>
                <a:gd name="connsiteX34" fmla="*/ 0 w 442678"/>
                <a:gd name="connsiteY34" fmla="*/ 570518 h 590237"/>
                <a:gd name="connsiteX35" fmla="*/ 703 w 442678"/>
                <a:gd name="connsiteY35" fmla="*/ 367448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703" y="367448"/>
                  </a:moveTo>
                  <a:cubicBezTo>
                    <a:pt x="703" y="300695"/>
                    <a:pt x="1405" y="233942"/>
                    <a:pt x="0" y="167891"/>
                  </a:cubicBezTo>
                  <a:cubicBezTo>
                    <a:pt x="0" y="151027"/>
                    <a:pt x="4216" y="146109"/>
                    <a:pt x="21080" y="146811"/>
                  </a:cubicBezTo>
                  <a:cubicBezTo>
                    <a:pt x="59024" y="148217"/>
                    <a:pt x="97670" y="147514"/>
                    <a:pt x="136317" y="147514"/>
                  </a:cubicBezTo>
                  <a:cubicBezTo>
                    <a:pt x="147559" y="147514"/>
                    <a:pt x="158099" y="146811"/>
                    <a:pt x="166531" y="138379"/>
                  </a:cubicBezTo>
                  <a:cubicBezTo>
                    <a:pt x="177774" y="127839"/>
                    <a:pt x="181287" y="118705"/>
                    <a:pt x="165829" y="108165"/>
                  </a:cubicBezTo>
                  <a:cubicBezTo>
                    <a:pt x="148262" y="95517"/>
                    <a:pt x="132101" y="79356"/>
                    <a:pt x="139830" y="56168"/>
                  </a:cubicBezTo>
                  <a:cubicBezTo>
                    <a:pt x="148965" y="29466"/>
                    <a:pt x="166531" y="8387"/>
                    <a:pt x="196746" y="2765"/>
                  </a:cubicBezTo>
                  <a:cubicBezTo>
                    <a:pt x="231879" y="-3559"/>
                    <a:pt x="264202" y="-748"/>
                    <a:pt x="288795" y="29466"/>
                  </a:cubicBezTo>
                  <a:cubicBezTo>
                    <a:pt x="310578" y="56870"/>
                    <a:pt x="309172" y="79356"/>
                    <a:pt x="283876" y="103246"/>
                  </a:cubicBezTo>
                  <a:cubicBezTo>
                    <a:pt x="276850" y="109570"/>
                    <a:pt x="260688" y="112381"/>
                    <a:pt x="267012" y="127137"/>
                  </a:cubicBezTo>
                  <a:cubicBezTo>
                    <a:pt x="273336" y="141190"/>
                    <a:pt x="285984" y="148217"/>
                    <a:pt x="302146" y="148217"/>
                  </a:cubicBezTo>
                  <a:cubicBezTo>
                    <a:pt x="341495" y="147514"/>
                    <a:pt x="380844" y="148919"/>
                    <a:pt x="420193" y="147514"/>
                  </a:cubicBezTo>
                  <a:cubicBezTo>
                    <a:pt x="439868" y="146811"/>
                    <a:pt x="444786" y="152433"/>
                    <a:pt x="444084" y="171405"/>
                  </a:cubicBezTo>
                  <a:cubicBezTo>
                    <a:pt x="442678" y="209348"/>
                    <a:pt x="443381" y="247995"/>
                    <a:pt x="444084" y="286642"/>
                  </a:cubicBezTo>
                  <a:cubicBezTo>
                    <a:pt x="444084" y="304911"/>
                    <a:pt x="437760" y="318261"/>
                    <a:pt x="424409" y="329504"/>
                  </a:cubicBezTo>
                  <a:cubicBezTo>
                    <a:pt x="409653" y="342152"/>
                    <a:pt x="396303" y="343557"/>
                    <a:pt x="382952" y="325991"/>
                  </a:cubicBezTo>
                  <a:cubicBezTo>
                    <a:pt x="372412" y="311235"/>
                    <a:pt x="360467" y="293668"/>
                    <a:pt x="338684" y="301397"/>
                  </a:cubicBezTo>
                  <a:cubicBezTo>
                    <a:pt x="316199" y="309829"/>
                    <a:pt x="297930" y="325991"/>
                    <a:pt x="295822" y="352692"/>
                  </a:cubicBezTo>
                  <a:cubicBezTo>
                    <a:pt x="293714" y="378690"/>
                    <a:pt x="293011" y="403986"/>
                    <a:pt x="314794" y="422958"/>
                  </a:cubicBezTo>
                  <a:cubicBezTo>
                    <a:pt x="339387" y="445444"/>
                    <a:pt x="354845" y="444741"/>
                    <a:pt x="377331" y="420148"/>
                  </a:cubicBezTo>
                  <a:cubicBezTo>
                    <a:pt x="385763" y="411013"/>
                    <a:pt x="390681" y="394149"/>
                    <a:pt x="408248" y="400473"/>
                  </a:cubicBezTo>
                  <a:cubicBezTo>
                    <a:pt x="427923" y="407500"/>
                    <a:pt x="441976" y="421553"/>
                    <a:pt x="442678" y="441930"/>
                  </a:cubicBezTo>
                  <a:cubicBezTo>
                    <a:pt x="444084" y="486901"/>
                    <a:pt x="442678" y="531169"/>
                    <a:pt x="443381" y="576139"/>
                  </a:cubicBezTo>
                  <a:cubicBezTo>
                    <a:pt x="443381" y="590895"/>
                    <a:pt x="434949" y="589490"/>
                    <a:pt x="425112" y="589490"/>
                  </a:cubicBezTo>
                  <a:cubicBezTo>
                    <a:pt x="382952" y="589490"/>
                    <a:pt x="341495" y="589490"/>
                    <a:pt x="299335" y="589490"/>
                  </a:cubicBezTo>
                  <a:cubicBezTo>
                    <a:pt x="277552" y="589490"/>
                    <a:pt x="262796" y="577544"/>
                    <a:pt x="254364" y="559978"/>
                  </a:cubicBezTo>
                  <a:cubicBezTo>
                    <a:pt x="244527" y="540303"/>
                    <a:pt x="262796" y="533277"/>
                    <a:pt x="273336" y="523439"/>
                  </a:cubicBezTo>
                  <a:cubicBezTo>
                    <a:pt x="295822" y="502359"/>
                    <a:pt x="297227" y="489009"/>
                    <a:pt x="277552" y="465118"/>
                  </a:cubicBezTo>
                  <a:cubicBezTo>
                    <a:pt x="249446" y="431390"/>
                    <a:pt x="193233" y="431390"/>
                    <a:pt x="164424" y="465821"/>
                  </a:cubicBezTo>
                  <a:cubicBezTo>
                    <a:pt x="144749" y="489009"/>
                    <a:pt x="146154" y="502359"/>
                    <a:pt x="168639" y="524142"/>
                  </a:cubicBezTo>
                  <a:cubicBezTo>
                    <a:pt x="177774" y="533277"/>
                    <a:pt x="197449" y="537493"/>
                    <a:pt x="188314" y="557870"/>
                  </a:cubicBezTo>
                  <a:cubicBezTo>
                    <a:pt x="179882" y="577544"/>
                    <a:pt x="165829" y="590192"/>
                    <a:pt x="142641" y="590192"/>
                  </a:cubicBezTo>
                  <a:cubicBezTo>
                    <a:pt x="101886" y="590192"/>
                    <a:pt x="60429" y="589490"/>
                    <a:pt x="19675" y="590192"/>
                  </a:cubicBezTo>
                  <a:cubicBezTo>
                    <a:pt x="4216" y="590895"/>
                    <a:pt x="0" y="585274"/>
                    <a:pt x="0" y="570518"/>
                  </a:cubicBezTo>
                  <a:cubicBezTo>
                    <a:pt x="1405" y="502359"/>
                    <a:pt x="703" y="434904"/>
                    <a:pt x="703" y="36744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9510004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50256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" name="Group 147">
            <a:extLst>
              <a:ext uri="{FF2B5EF4-FFF2-40B4-BE49-F238E27FC236}">
                <a16:creationId xmlns:a16="http://schemas.microsoft.com/office/drawing/2014/main" id="{99F4CA38-68FE-41E8-A8D1-88970F9A49E7}"/>
              </a:ext>
            </a:extLst>
          </p:cNvPr>
          <p:cNvGrpSpPr/>
          <p:nvPr userDrawn="1"/>
        </p:nvGrpSpPr>
        <p:grpSpPr>
          <a:xfrm>
            <a:off x="-19663" y="-19923"/>
            <a:ext cx="12244413" cy="6871910"/>
            <a:chOff x="-19663" y="-19923"/>
            <a:chExt cx="12244413" cy="6871910"/>
          </a:xfrm>
        </p:grpSpPr>
        <p:sp>
          <p:nvSpPr>
            <p:cNvPr id="149" name="Text Placeholder 1">
              <a:extLst>
                <a:ext uri="{FF2B5EF4-FFF2-40B4-BE49-F238E27FC236}">
                  <a16:creationId xmlns:a16="http://schemas.microsoft.com/office/drawing/2014/main" id="{A5F759BA-D755-44D0-95B5-2235FA23EE1E}"/>
                </a:ext>
              </a:extLst>
            </p:cNvPr>
            <p:cNvSpPr txBox="1">
              <a:spLocks/>
            </p:cNvSpPr>
            <p:nvPr/>
          </p:nvSpPr>
          <p:spPr>
            <a:xfrm>
              <a:off x="619126" y="339725"/>
              <a:ext cx="1570160" cy="723900"/>
            </a:xfrm>
            <a:prstGeom prst="rect">
              <a:avLst/>
            </a:prstGeom>
            <a:ln w="6350">
              <a:solidFill>
                <a:schemeClr val="bg1"/>
              </a:solidFill>
            </a:ln>
          </p:spPr>
          <p:txBody>
            <a:bodyPr anchor="ctr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altLang="ko-KR" dirty="0"/>
                <a:t>Cover</a:t>
              </a:r>
              <a:r>
                <a:rPr lang="ko-KR" altLang="en-US" dirty="0"/>
                <a:t> </a:t>
              </a:r>
              <a:endParaRPr lang="en-US" dirty="0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67709172-32FB-49B4-BFE2-05FF512A430E}"/>
                </a:ext>
              </a:extLst>
            </p:cNvPr>
            <p:cNvSpPr/>
            <p:nvPr/>
          </p:nvSpPr>
          <p:spPr>
            <a:xfrm>
              <a:off x="11189772" y="2031153"/>
              <a:ext cx="1026185" cy="1282732"/>
            </a:xfrm>
            <a:custGeom>
              <a:avLst/>
              <a:gdLst>
                <a:gd name="connsiteX0" fmla="*/ 341872 w 590237"/>
                <a:gd name="connsiteY0" fmla="*/ 739554 h 737797"/>
                <a:gd name="connsiteX1" fmla="*/ 303928 w 590237"/>
                <a:gd name="connsiteY1" fmla="*/ 710744 h 737797"/>
                <a:gd name="connsiteX2" fmla="*/ 309549 w 590237"/>
                <a:gd name="connsiteY2" fmla="*/ 634857 h 737797"/>
                <a:gd name="connsiteX3" fmla="*/ 325008 w 590237"/>
                <a:gd name="connsiteY3" fmla="*/ 612372 h 737797"/>
                <a:gd name="connsiteX4" fmla="*/ 293388 w 590237"/>
                <a:gd name="connsiteY4" fmla="*/ 590589 h 737797"/>
                <a:gd name="connsiteX5" fmla="*/ 170422 w 590237"/>
                <a:gd name="connsiteY5" fmla="*/ 591292 h 737797"/>
                <a:gd name="connsiteX6" fmla="*/ 150044 w 590237"/>
                <a:gd name="connsiteY6" fmla="*/ 570212 h 737797"/>
                <a:gd name="connsiteX7" fmla="*/ 150747 w 590237"/>
                <a:gd name="connsiteY7" fmla="*/ 457785 h 737797"/>
                <a:gd name="connsiteX8" fmla="*/ 140910 w 590237"/>
                <a:gd name="connsiteY8" fmla="*/ 424760 h 737797"/>
                <a:gd name="connsiteX9" fmla="*/ 108587 w 590237"/>
                <a:gd name="connsiteY9" fmla="*/ 424760 h 737797"/>
                <a:gd name="connsiteX10" fmla="*/ 18646 w 590237"/>
                <a:gd name="connsiteY10" fmla="*/ 424760 h 737797"/>
                <a:gd name="connsiteX11" fmla="*/ 49563 w 590237"/>
                <a:gd name="connsiteY11" fmla="*/ 290552 h 737797"/>
                <a:gd name="connsiteX12" fmla="*/ 102966 w 590237"/>
                <a:gd name="connsiteY12" fmla="*/ 306010 h 737797"/>
                <a:gd name="connsiteX13" fmla="*/ 128965 w 590237"/>
                <a:gd name="connsiteY13" fmla="*/ 323576 h 737797"/>
                <a:gd name="connsiteX14" fmla="*/ 150747 w 590237"/>
                <a:gd name="connsiteY14" fmla="*/ 285633 h 737797"/>
                <a:gd name="connsiteX15" fmla="*/ 150044 w 590237"/>
                <a:gd name="connsiteY15" fmla="*/ 173207 h 737797"/>
                <a:gd name="connsiteX16" fmla="*/ 177448 w 590237"/>
                <a:gd name="connsiteY16" fmla="*/ 147208 h 737797"/>
                <a:gd name="connsiteX17" fmla="*/ 289875 w 590237"/>
                <a:gd name="connsiteY17" fmla="*/ 147910 h 737797"/>
                <a:gd name="connsiteX18" fmla="*/ 320792 w 590237"/>
                <a:gd name="connsiteY18" fmla="*/ 134560 h 737797"/>
                <a:gd name="connsiteX19" fmla="*/ 318684 w 590237"/>
                <a:gd name="connsiteY19" fmla="*/ 109967 h 737797"/>
                <a:gd name="connsiteX20" fmla="*/ 291280 w 590237"/>
                <a:gd name="connsiteY20" fmla="*/ 50943 h 737797"/>
                <a:gd name="connsiteX21" fmla="*/ 362249 w 590237"/>
                <a:gd name="connsiteY21" fmla="*/ 351 h 737797"/>
                <a:gd name="connsiteX22" fmla="*/ 439542 w 590237"/>
                <a:gd name="connsiteY22" fmla="*/ 31268 h 737797"/>
                <a:gd name="connsiteX23" fmla="*/ 433218 w 590237"/>
                <a:gd name="connsiteY23" fmla="*/ 103643 h 737797"/>
                <a:gd name="connsiteX24" fmla="*/ 416354 w 590237"/>
                <a:gd name="connsiteY24" fmla="*/ 127533 h 737797"/>
                <a:gd name="connsiteX25" fmla="*/ 451487 w 590237"/>
                <a:gd name="connsiteY25" fmla="*/ 148613 h 737797"/>
                <a:gd name="connsiteX26" fmla="*/ 571643 w 590237"/>
                <a:gd name="connsiteY26" fmla="*/ 147910 h 737797"/>
                <a:gd name="connsiteX27" fmla="*/ 592723 w 590237"/>
                <a:gd name="connsiteY27" fmla="*/ 169693 h 737797"/>
                <a:gd name="connsiteX28" fmla="*/ 592723 w 590237"/>
                <a:gd name="connsiteY28" fmla="*/ 569509 h 737797"/>
                <a:gd name="connsiteX29" fmla="*/ 570940 w 590237"/>
                <a:gd name="connsiteY29" fmla="*/ 592697 h 737797"/>
                <a:gd name="connsiteX30" fmla="*/ 455703 w 590237"/>
                <a:gd name="connsiteY30" fmla="*/ 591994 h 737797"/>
                <a:gd name="connsiteX31" fmla="*/ 421975 w 590237"/>
                <a:gd name="connsiteY31" fmla="*/ 605345 h 737797"/>
                <a:gd name="connsiteX32" fmla="*/ 424083 w 590237"/>
                <a:gd name="connsiteY32" fmla="*/ 629938 h 737797"/>
                <a:gd name="connsiteX33" fmla="*/ 407220 w 590237"/>
                <a:gd name="connsiteY33" fmla="*/ 735338 h 737797"/>
                <a:gd name="connsiteX34" fmla="*/ 398085 w 590237"/>
                <a:gd name="connsiteY34" fmla="*/ 740256 h 737797"/>
                <a:gd name="connsiteX35" fmla="*/ 341872 w 590237"/>
                <a:gd name="connsiteY35" fmla="*/ 739554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90237" h="737797">
                  <a:moveTo>
                    <a:pt x="341872" y="739554"/>
                  </a:moveTo>
                  <a:cubicBezTo>
                    <a:pt x="328521" y="731121"/>
                    <a:pt x="314468" y="723392"/>
                    <a:pt x="303928" y="710744"/>
                  </a:cubicBezTo>
                  <a:cubicBezTo>
                    <a:pt x="280037" y="681935"/>
                    <a:pt x="281443" y="660153"/>
                    <a:pt x="309549" y="634857"/>
                  </a:cubicBezTo>
                  <a:cubicBezTo>
                    <a:pt x="316576" y="628533"/>
                    <a:pt x="330629" y="625722"/>
                    <a:pt x="325008" y="612372"/>
                  </a:cubicBezTo>
                  <a:cubicBezTo>
                    <a:pt x="319387" y="599724"/>
                    <a:pt x="309549" y="590589"/>
                    <a:pt x="293388" y="590589"/>
                  </a:cubicBezTo>
                  <a:cubicBezTo>
                    <a:pt x="252633" y="590589"/>
                    <a:pt x="211176" y="589886"/>
                    <a:pt x="170422" y="591292"/>
                  </a:cubicBezTo>
                  <a:cubicBezTo>
                    <a:pt x="152855" y="591994"/>
                    <a:pt x="149342" y="586373"/>
                    <a:pt x="150044" y="570212"/>
                  </a:cubicBezTo>
                  <a:cubicBezTo>
                    <a:pt x="151450" y="532971"/>
                    <a:pt x="150044" y="495729"/>
                    <a:pt x="150747" y="457785"/>
                  </a:cubicBezTo>
                  <a:cubicBezTo>
                    <a:pt x="150747" y="445840"/>
                    <a:pt x="149342" y="434598"/>
                    <a:pt x="140910" y="424760"/>
                  </a:cubicBezTo>
                  <a:cubicBezTo>
                    <a:pt x="130370" y="412815"/>
                    <a:pt x="121938" y="408599"/>
                    <a:pt x="108587" y="424760"/>
                  </a:cubicBezTo>
                  <a:cubicBezTo>
                    <a:pt x="77670" y="462001"/>
                    <a:pt x="50266" y="461299"/>
                    <a:pt x="18646" y="424760"/>
                  </a:cubicBezTo>
                  <a:cubicBezTo>
                    <a:pt x="-16487" y="384006"/>
                    <a:pt x="377" y="311631"/>
                    <a:pt x="49563" y="290552"/>
                  </a:cubicBezTo>
                  <a:cubicBezTo>
                    <a:pt x="72049" y="280714"/>
                    <a:pt x="87507" y="291254"/>
                    <a:pt x="102966" y="306010"/>
                  </a:cubicBezTo>
                  <a:cubicBezTo>
                    <a:pt x="110695" y="313036"/>
                    <a:pt x="112803" y="331306"/>
                    <a:pt x="128965" y="323576"/>
                  </a:cubicBezTo>
                  <a:cubicBezTo>
                    <a:pt x="143721" y="316550"/>
                    <a:pt x="150747" y="303199"/>
                    <a:pt x="150747" y="285633"/>
                  </a:cubicBezTo>
                  <a:cubicBezTo>
                    <a:pt x="150044" y="248392"/>
                    <a:pt x="152152" y="210448"/>
                    <a:pt x="150044" y="173207"/>
                  </a:cubicBezTo>
                  <a:cubicBezTo>
                    <a:pt x="148639" y="150721"/>
                    <a:pt x="157071" y="146505"/>
                    <a:pt x="177448" y="147208"/>
                  </a:cubicBezTo>
                  <a:cubicBezTo>
                    <a:pt x="214690" y="148613"/>
                    <a:pt x="251931" y="147208"/>
                    <a:pt x="289875" y="147910"/>
                  </a:cubicBezTo>
                  <a:cubicBezTo>
                    <a:pt x="303225" y="147910"/>
                    <a:pt x="312360" y="143695"/>
                    <a:pt x="320792" y="134560"/>
                  </a:cubicBezTo>
                  <a:cubicBezTo>
                    <a:pt x="329224" y="125425"/>
                    <a:pt x="329224" y="117696"/>
                    <a:pt x="318684" y="109967"/>
                  </a:cubicBezTo>
                  <a:cubicBezTo>
                    <a:pt x="299009" y="95211"/>
                    <a:pt x="281443" y="79049"/>
                    <a:pt x="291280" y="50943"/>
                  </a:cubicBezTo>
                  <a:cubicBezTo>
                    <a:pt x="301820" y="21431"/>
                    <a:pt x="330629" y="1756"/>
                    <a:pt x="362249" y="351"/>
                  </a:cubicBezTo>
                  <a:cubicBezTo>
                    <a:pt x="393166" y="-1757"/>
                    <a:pt x="419867" y="5270"/>
                    <a:pt x="439542" y="31268"/>
                  </a:cubicBezTo>
                  <a:cubicBezTo>
                    <a:pt x="459919" y="57969"/>
                    <a:pt x="457811" y="80455"/>
                    <a:pt x="433218" y="103643"/>
                  </a:cubicBezTo>
                  <a:cubicBezTo>
                    <a:pt x="426191" y="109967"/>
                    <a:pt x="409327" y="112777"/>
                    <a:pt x="416354" y="127533"/>
                  </a:cubicBezTo>
                  <a:cubicBezTo>
                    <a:pt x="422678" y="141587"/>
                    <a:pt x="434623" y="149316"/>
                    <a:pt x="451487" y="148613"/>
                  </a:cubicBezTo>
                  <a:cubicBezTo>
                    <a:pt x="491539" y="147910"/>
                    <a:pt x="531591" y="149316"/>
                    <a:pt x="571643" y="147910"/>
                  </a:cubicBezTo>
                  <a:cubicBezTo>
                    <a:pt x="589209" y="147208"/>
                    <a:pt x="592723" y="153532"/>
                    <a:pt x="592723" y="169693"/>
                  </a:cubicBezTo>
                  <a:cubicBezTo>
                    <a:pt x="592020" y="303199"/>
                    <a:pt x="592020" y="436003"/>
                    <a:pt x="592723" y="569509"/>
                  </a:cubicBezTo>
                  <a:cubicBezTo>
                    <a:pt x="592723" y="586373"/>
                    <a:pt x="589912" y="593400"/>
                    <a:pt x="570940" y="592697"/>
                  </a:cubicBezTo>
                  <a:cubicBezTo>
                    <a:pt x="532996" y="591292"/>
                    <a:pt x="494350" y="592697"/>
                    <a:pt x="455703" y="591994"/>
                  </a:cubicBezTo>
                  <a:cubicBezTo>
                    <a:pt x="442353" y="591994"/>
                    <a:pt x="431110" y="594805"/>
                    <a:pt x="421975" y="605345"/>
                  </a:cubicBezTo>
                  <a:cubicBezTo>
                    <a:pt x="414246" y="614479"/>
                    <a:pt x="413543" y="620804"/>
                    <a:pt x="424083" y="629938"/>
                  </a:cubicBezTo>
                  <a:cubicBezTo>
                    <a:pt x="467649" y="669287"/>
                    <a:pt x="460622" y="708637"/>
                    <a:pt x="407220" y="735338"/>
                  </a:cubicBezTo>
                  <a:cubicBezTo>
                    <a:pt x="404409" y="736743"/>
                    <a:pt x="401598" y="738851"/>
                    <a:pt x="398085" y="740256"/>
                  </a:cubicBezTo>
                  <a:cubicBezTo>
                    <a:pt x="378410" y="739554"/>
                    <a:pt x="360141" y="739554"/>
                    <a:pt x="341872" y="73955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6994D080-36D0-4EF5-9339-0465E14238B7}"/>
                </a:ext>
              </a:extLst>
            </p:cNvPr>
            <p:cNvSpPr/>
            <p:nvPr/>
          </p:nvSpPr>
          <p:spPr>
            <a:xfrm>
              <a:off x="1252934" y="-8368"/>
              <a:ext cx="1282731" cy="1026186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A2510489-49DB-4195-87C4-41D122A1C1F4}"/>
                </a:ext>
              </a:extLst>
            </p:cNvPr>
            <p:cNvSpPr/>
            <p:nvPr/>
          </p:nvSpPr>
          <p:spPr>
            <a:xfrm>
              <a:off x="500852" y="490136"/>
              <a:ext cx="1282731" cy="1026186"/>
            </a:xfrm>
            <a:custGeom>
              <a:avLst/>
              <a:gdLst>
                <a:gd name="connsiteX0" fmla="*/ 510179 w 737797"/>
                <a:gd name="connsiteY0" fmla="*/ 592182 h 590237"/>
                <a:gd name="connsiteX1" fmla="*/ 449750 w 737797"/>
                <a:gd name="connsiteY1" fmla="*/ 592182 h 590237"/>
                <a:gd name="connsiteX2" fmla="*/ 408293 w 737797"/>
                <a:gd name="connsiteY2" fmla="*/ 569697 h 590237"/>
                <a:gd name="connsiteX3" fmla="*/ 412509 w 737797"/>
                <a:gd name="connsiteY3" fmla="*/ 532456 h 590237"/>
                <a:gd name="connsiteX4" fmla="*/ 438507 w 737797"/>
                <a:gd name="connsiteY4" fmla="*/ 486783 h 590237"/>
                <a:gd name="connsiteX5" fmla="*/ 378781 w 737797"/>
                <a:gd name="connsiteY5" fmla="*/ 443218 h 590237"/>
                <a:gd name="connsiteX6" fmla="*/ 314838 w 737797"/>
                <a:gd name="connsiteY6" fmla="*/ 465703 h 590237"/>
                <a:gd name="connsiteX7" fmla="*/ 319757 w 737797"/>
                <a:gd name="connsiteY7" fmla="*/ 526132 h 590237"/>
                <a:gd name="connsiteX8" fmla="*/ 338729 w 737797"/>
                <a:gd name="connsiteY8" fmla="*/ 558455 h 590237"/>
                <a:gd name="connsiteX9" fmla="*/ 298677 w 737797"/>
                <a:gd name="connsiteY9" fmla="*/ 591480 h 590237"/>
                <a:gd name="connsiteX10" fmla="*/ 161658 w 737797"/>
                <a:gd name="connsiteY10" fmla="*/ 592182 h 590237"/>
                <a:gd name="connsiteX11" fmla="*/ 149712 w 737797"/>
                <a:gd name="connsiteY11" fmla="*/ 573913 h 590237"/>
                <a:gd name="connsiteX12" fmla="*/ 149712 w 737797"/>
                <a:gd name="connsiteY12" fmla="*/ 458676 h 590237"/>
                <a:gd name="connsiteX13" fmla="*/ 141983 w 737797"/>
                <a:gd name="connsiteY13" fmla="*/ 427759 h 590237"/>
                <a:gd name="connsiteX14" fmla="*/ 108255 w 737797"/>
                <a:gd name="connsiteY14" fmla="*/ 426354 h 590237"/>
                <a:gd name="connsiteX15" fmla="*/ 55555 w 737797"/>
                <a:gd name="connsiteY15" fmla="*/ 450947 h 590237"/>
                <a:gd name="connsiteX16" fmla="*/ 4261 w 737797"/>
                <a:gd name="connsiteY16" fmla="*/ 398950 h 590237"/>
                <a:gd name="connsiteX17" fmla="*/ 35178 w 737797"/>
                <a:gd name="connsiteY17" fmla="*/ 299172 h 590237"/>
                <a:gd name="connsiteX18" fmla="*/ 102634 w 737797"/>
                <a:gd name="connsiteY18" fmla="*/ 306901 h 590237"/>
                <a:gd name="connsiteX19" fmla="*/ 128632 w 737797"/>
                <a:gd name="connsiteY19" fmla="*/ 324468 h 590237"/>
                <a:gd name="connsiteX20" fmla="*/ 149712 w 737797"/>
                <a:gd name="connsiteY20" fmla="*/ 289334 h 590237"/>
                <a:gd name="connsiteX21" fmla="*/ 149010 w 737797"/>
                <a:gd name="connsiteY21" fmla="*/ 174097 h 590237"/>
                <a:gd name="connsiteX22" fmla="*/ 174305 w 737797"/>
                <a:gd name="connsiteY22" fmla="*/ 148802 h 590237"/>
                <a:gd name="connsiteX23" fmla="*/ 286732 w 737797"/>
                <a:gd name="connsiteY23" fmla="*/ 149504 h 590237"/>
                <a:gd name="connsiteX24" fmla="*/ 310622 w 737797"/>
                <a:gd name="connsiteY24" fmla="*/ 144586 h 590237"/>
                <a:gd name="connsiteX25" fmla="*/ 314136 w 737797"/>
                <a:gd name="connsiteY25" fmla="*/ 108047 h 590237"/>
                <a:gd name="connsiteX26" fmla="*/ 311325 w 737797"/>
                <a:gd name="connsiteY26" fmla="*/ 23025 h 590237"/>
                <a:gd name="connsiteX27" fmla="*/ 439913 w 737797"/>
                <a:gd name="connsiteY27" fmla="*/ 32862 h 590237"/>
                <a:gd name="connsiteX28" fmla="*/ 433589 w 737797"/>
                <a:gd name="connsiteY28" fmla="*/ 104534 h 590237"/>
                <a:gd name="connsiteX29" fmla="*/ 416724 w 737797"/>
                <a:gd name="connsiteY29" fmla="*/ 128424 h 590237"/>
                <a:gd name="connsiteX30" fmla="*/ 451858 w 737797"/>
                <a:gd name="connsiteY30" fmla="*/ 149504 h 590237"/>
                <a:gd name="connsiteX31" fmla="*/ 572013 w 737797"/>
                <a:gd name="connsiteY31" fmla="*/ 148802 h 590237"/>
                <a:gd name="connsiteX32" fmla="*/ 590985 w 737797"/>
                <a:gd name="connsiteY32" fmla="*/ 168476 h 590237"/>
                <a:gd name="connsiteX33" fmla="*/ 590283 w 737797"/>
                <a:gd name="connsiteY33" fmla="*/ 283713 h 590237"/>
                <a:gd name="connsiteX34" fmla="*/ 597309 w 737797"/>
                <a:gd name="connsiteY34" fmla="*/ 312522 h 590237"/>
                <a:gd name="connsiteX35" fmla="*/ 633145 w 737797"/>
                <a:gd name="connsiteY35" fmla="*/ 314630 h 590237"/>
                <a:gd name="connsiteX36" fmla="*/ 719573 w 737797"/>
                <a:gd name="connsiteY36" fmla="*/ 312522 h 590237"/>
                <a:gd name="connsiteX37" fmla="*/ 694980 w 737797"/>
                <a:gd name="connsiteY37" fmla="*/ 448136 h 590237"/>
                <a:gd name="connsiteX38" fmla="*/ 636659 w 737797"/>
                <a:gd name="connsiteY38" fmla="*/ 433380 h 590237"/>
                <a:gd name="connsiteX39" fmla="*/ 612768 w 737797"/>
                <a:gd name="connsiteY39" fmla="*/ 417219 h 590237"/>
                <a:gd name="connsiteX40" fmla="*/ 590283 w 737797"/>
                <a:gd name="connsiteY40" fmla="*/ 451650 h 590237"/>
                <a:gd name="connsiteX41" fmla="*/ 590985 w 737797"/>
                <a:gd name="connsiteY41" fmla="*/ 569697 h 590237"/>
                <a:gd name="connsiteX42" fmla="*/ 567797 w 737797"/>
                <a:gd name="connsiteY42" fmla="*/ 593588 h 590237"/>
                <a:gd name="connsiteX43" fmla="*/ 510179 w 737797"/>
                <a:gd name="connsiteY43" fmla="*/ 592182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737797" h="590237">
                  <a:moveTo>
                    <a:pt x="510179" y="592182"/>
                  </a:moveTo>
                  <a:cubicBezTo>
                    <a:pt x="489802" y="592182"/>
                    <a:pt x="470127" y="592182"/>
                    <a:pt x="449750" y="592182"/>
                  </a:cubicBezTo>
                  <a:cubicBezTo>
                    <a:pt x="431481" y="592182"/>
                    <a:pt x="418833" y="583751"/>
                    <a:pt x="408293" y="569697"/>
                  </a:cubicBezTo>
                  <a:cubicBezTo>
                    <a:pt x="397753" y="555644"/>
                    <a:pt x="397753" y="543699"/>
                    <a:pt x="412509" y="532456"/>
                  </a:cubicBezTo>
                  <a:cubicBezTo>
                    <a:pt x="427264" y="521213"/>
                    <a:pt x="445534" y="509971"/>
                    <a:pt x="438507" y="486783"/>
                  </a:cubicBezTo>
                  <a:cubicBezTo>
                    <a:pt x="430778" y="460785"/>
                    <a:pt x="407590" y="445326"/>
                    <a:pt x="378781" y="443218"/>
                  </a:cubicBezTo>
                  <a:cubicBezTo>
                    <a:pt x="354188" y="441813"/>
                    <a:pt x="331702" y="444623"/>
                    <a:pt x="314838" y="465703"/>
                  </a:cubicBezTo>
                  <a:cubicBezTo>
                    <a:pt x="294461" y="490296"/>
                    <a:pt x="295164" y="504349"/>
                    <a:pt x="319757" y="526132"/>
                  </a:cubicBezTo>
                  <a:cubicBezTo>
                    <a:pt x="329594" y="534564"/>
                    <a:pt x="345053" y="540186"/>
                    <a:pt x="338729" y="558455"/>
                  </a:cubicBezTo>
                  <a:cubicBezTo>
                    <a:pt x="331702" y="576724"/>
                    <a:pt x="317649" y="590777"/>
                    <a:pt x="298677" y="591480"/>
                  </a:cubicBezTo>
                  <a:cubicBezTo>
                    <a:pt x="253004" y="593588"/>
                    <a:pt x="207331" y="591480"/>
                    <a:pt x="161658" y="592182"/>
                  </a:cubicBezTo>
                  <a:cubicBezTo>
                    <a:pt x="146199" y="592182"/>
                    <a:pt x="149712" y="581642"/>
                    <a:pt x="149712" y="573913"/>
                  </a:cubicBezTo>
                  <a:cubicBezTo>
                    <a:pt x="149712" y="535267"/>
                    <a:pt x="149712" y="497323"/>
                    <a:pt x="149712" y="458676"/>
                  </a:cubicBezTo>
                  <a:cubicBezTo>
                    <a:pt x="149712" y="447434"/>
                    <a:pt x="149712" y="436894"/>
                    <a:pt x="141983" y="427759"/>
                  </a:cubicBezTo>
                  <a:cubicBezTo>
                    <a:pt x="131443" y="415111"/>
                    <a:pt x="121606" y="407382"/>
                    <a:pt x="108255" y="426354"/>
                  </a:cubicBezTo>
                  <a:cubicBezTo>
                    <a:pt x="95607" y="443920"/>
                    <a:pt x="80149" y="459379"/>
                    <a:pt x="55555" y="450947"/>
                  </a:cubicBezTo>
                  <a:cubicBezTo>
                    <a:pt x="30259" y="442515"/>
                    <a:pt x="11288" y="426354"/>
                    <a:pt x="4261" y="398950"/>
                  </a:cubicBezTo>
                  <a:cubicBezTo>
                    <a:pt x="-6982" y="356087"/>
                    <a:pt x="4261" y="320954"/>
                    <a:pt x="35178" y="299172"/>
                  </a:cubicBezTo>
                  <a:cubicBezTo>
                    <a:pt x="61177" y="280902"/>
                    <a:pt x="80149" y="283713"/>
                    <a:pt x="102634" y="306901"/>
                  </a:cubicBezTo>
                  <a:cubicBezTo>
                    <a:pt x="109661" y="313928"/>
                    <a:pt x="111769" y="331494"/>
                    <a:pt x="128632" y="324468"/>
                  </a:cubicBezTo>
                  <a:cubicBezTo>
                    <a:pt x="143388" y="317441"/>
                    <a:pt x="149712" y="304793"/>
                    <a:pt x="149712" y="289334"/>
                  </a:cubicBezTo>
                  <a:cubicBezTo>
                    <a:pt x="149712" y="250688"/>
                    <a:pt x="151118" y="212744"/>
                    <a:pt x="149010" y="174097"/>
                  </a:cubicBezTo>
                  <a:cubicBezTo>
                    <a:pt x="148307" y="153720"/>
                    <a:pt x="153225" y="147396"/>
                    <a:pt x="174305" y="148802"/>
                  </a:cubicBezTo>
                  <a:cubicBezTo>
                    <a:pt x="211547" y="150910"/>
                    <a:pt x="249491" y="149504"/>
                    <a:pt x="286732" y="149504"/>
                  </a:cubicBezTo>
                  <a:cubicBezTo>
                    <a:pt x="295164" y="149504"/>
                    <a:pt x="302893" y="149504"/>
                    <a:pt x="310622" y="144586"/>
                  </a:cubicBezTo>
                  <a:cubicBezTo>
                    <a:pt x="330297" y="132640"/>
                    <a:pt x="331000" y="122803"/>
                    <a:pt x="314136" y="108047"/>
                  </a:cubicBezTo>
                  <a:cubicBezTo>
                    <a:pt x="281110" y="79941"/>
                    <a:pt x="280408" y="52537"/>
                    <a:pt x="311325" y="23025"/>
                  </a:cubicBezTo>
                  <a:cubicBezTo>
                    <a:pt x="346458" y="-11406"/>
                    <a:pt x="409698" y="-6487"/>
                    <a:pt x="439913" y="32862"/>
                  </a:cubicBezTo>
                  <a:cubicBezTo>
                    <a:pt x="460993" y="59563"/>
                    <a:pt x="458884" y="81346"/>
                    <a:pt x="433589" y="104534"/>
                  </a:cubicBezTo>
                  <a:cubicBezTo>
                    <a:pt x="426562" y="111560"/>
                    <a:pt x="410401" y="114371"/>
                    <a:pt x="416724" y="128424"/>
                  </a:cubicBezTo>
                  <a:cubicBezTo>
                    <a:pt x="423049" y="141775"/>
                    <a:pt x="434994" y="149504"/>
                    <a:pt x="451858" y="149504"/>
                  </a:cubicBezTo>
                  <a:cubicBezTo>
                    <a:pt x="491910" y="148802"/>
                    <a:pt x="531962" y="150207"/>
                    <a:pt x="572013" y="148802"/>
                  </a:cubicBezTo>
                  <a:cubicBezTo>
                    <a:pt x="588175" y="148099"/>
                    <a:pt x="591688" y="153720"/>
                    <a:pt x="590985" y="168476"/>
                  </a:cubicBezTo>
                  <a:cubicBezTo>
                    <a:pt x="589580" y="207123"/>
                    <a:pt x="590985" y="245067"/>
                    <a:pt x="590283" y="283713"/>
                  </a:cubicBezTo>
                  <a:cubicBezTo>
                    <a:pt x="590283" y="294253"/>
                    <a:pt x="590985" y="304090"/>
                    <a:pt x="597309" y="312522"/>
                  </a:cubicBezTo>
                  <a:cubicBezTo>
                    <a:pt x="607849" y="325873"/>
                    <a:pt x="617687" y="333602"/>
                    <a:pt x="633145" y="314630"/>
                  </a:cubicBezTo>
                  <a:cubicBezTo>
                    <a:pt x="661954" y="278794"/>
                    <a:pt x="687953" y="279497"/>
                    <a:pt x="719573" y="312522"/>
                  </a:cubicBezTo>
                  <a:cubicBezTo>
                    <a:pt x="756112" y="351872"/>
                    <a:pt x="742761" y="424948"/>
                    <a:pt x="694980" y="448136"/>
                  </a:cubicBezTo>
                  <a:cubicBezTo>
                    <a:pt x="671089" y="459379"/>
                    <a:pt x="653522" y="450947"/>
                    <a:pt x="636659" y="433380"/>
                  </a:cubicBezTo>
                  <a:cubicBezTo>
                    <a:pt x="630334" y="426354"/>
                    <a:pt x="627524" y="410895"/>
                    <a:pt x="612768" y="417219"/>
                  </a:cubicBezTo>
                  <a:cubicBezTo>
                    <a:pt x="598012" y="423543"/>
                    <a:pt x="590283" y="435488"/>
                    <a:pt x="590283" y="451650"/>
                  </a:cubicBezTo>
                  <a:cubicBezTo>
                    <a:pt x="590283" y="490999"/>
                    <a:pt x="588877" y="530348"/>
                    <a:pt x="590985" y="569697"/>
                  </a:cubicBezTo>
                  <a:cubicBezTo>
                    <a:pt x="591688" y="587967"/>
                    <a:pt x="587472" y="595696"/>
                    <a:pt x="567797" y="593588"/>
                  </a:cubicBezTo>
                  <a:cubicBezTo>
                    <a:pt x="548826" y="590777"/>
                    <a:pt x="529151" y="592182"/>
                    <a:pt x="510179" y="59218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4FD9DC28-42BC-4F03-83F0-328F559C608F}"/>
                </a:ext>
              </a:extLst>
            </p:cNvPr>
            <p:cNvSpPr/>
            <p:nvPr/>
          </p:nvSpPr>
          <p:spPr>
            <a:xfrm>
              <a:off x="11198565" y="5820543"/>
              <a:ext cx="1026185" cy="1026186"/>
            </a:xfrm>
            <a:custGeom>
              <a:avLst/>
              <a:gdLst>
                <a:gd name="connsiteX0" fmla="*/ 592633 w 590237"/>
                <a:gd name="connsiteY0" fmla="*/ 370707 h 590237"/>
                <a:gd name="connsiteX1" fmla="*/ 592633 w 590237"/>
                <a:gd name="connsiteY1" fmla="*/ 570966 h 590237"/>
                <a:gd name="connsiteX2" fmla="*/ 573661 w 590237"/>
                <a:gd name="connsiteY2" fmla="*/ 591344 h 590237"/>
                <a:gd name="connsiteX3" fmla="*/ 168224 w 590237"/>
                <a:gd name="connsiteY3" fmla="*/ 591344 h 590237"/>
                <a:gd name="connsiteX4" fmla="*/ 148550 w 590237"/>
                <a:gd name="connsiteY4" fmla="*/ 571669 h 590237"/>
                <a:gd name="connsiteX5" fmla="*/ 149253 w 590237"/>
                <a:gd name="connsiteY5" fmla="*/ 453621 h 590237"/>
                <a:gd name="connsiteX6" fmla="*/ 138713 w 590237"/>
                <a:gd name="connsiteY6" fmla="*/ 424110 h 590237"/>
                <a:gd name="connsiteX7" fmla="*/ 109903 w 590237"/>
                <a:gd name="connsiteY7" fmla="*/ 424110 h 590237"/>
                <a:gd name="connsiteX8" fmla="*/ 50177 w 590237"/>
                <a:gd name="connsiteY8" fmla="*/ 450108 h 590237"/>
                <a:gd name="connsiteX9" fmla="*/ 288 w 590237"/>
                <a:gd name="connsiteY9" fmla="*/ 381247 h 590237"/>
                <a:gd name="connsiteX10" fmla="*/ 38934 w 590237"/>
                <a:gd name="connsiteY10" fmla="*/ 296927 h 590237"/>
                <a:gd name="connsiteX11" fmla="*/ 103579 w 590237"/>
                <a:gd name="connsiteY11" fmla="*/ 309575 h 590237"/>
                <a:gd name="connsiteX12" fmla="*/ 128173 w 590237"/>
                <a:gd name="connsiteY12" fmla="*/ 325034 h 590237"/>
                <a:gd name="connsiteX13" fmla="*/ 148550 w 590237"/>
                <a:gd name="connsiteY13" fmla="*/ 292008 h 590237"/>
                <a:gd name="connsiteX14" fmla="*/ 147847 w 590237"/>
                <a:gd name="connsiteY14" fmla="*/ 171853 h 590237"/>
                <a:gd name="connsiteX15" fmla="*/ 168224 w 590237"/>
                <a:gd name="connsiteY15" fmla="*/ 150071 h 590237"/>
                <a:gd name="connsiteX16" fmla="*/ 280650 w 590237"/>
                <a:gd name="connsiteY16" fmla="*/ 150773 h 590237"/>
                <a:gd name="connsiteX17" fmla="*/ 307352 w 590237"/>
                <a:gd name="connsiteY17" fmla="*/ 145854 h 590237"/>
                <a:gd name="connsiteX18" fmla="*/ 312270 w 590237"/>
                <a:gd name="connsiteY18" fmla="*/ 107911 h 590237"/>
                <a:gd name="connsiteX19" fmla="*/ 287677 w 590237"/>
                <a:gd name="connsiteY19" fmla="*/ 59427 h 590237"/>
                <a:gd name="connsiteX20" fmla="*/ 337566 w 590237"/>
                <a:gd name="connsiteY20" fmla="*/ 5322 h 590237"/>
                <a:gd name="connsiteX21" fmla="*/ 438750 w 590237"/>
                <a:gd name="connsiteY21" fmla="*/ 33428 h 590237"/>
                <a:gd name="connsiteX22" fmla="*/ 431723 w 590237"/>
                <a:gd name="connsiteY22" fmla="*/ 105100 h 590237"/>
                <a:gd name="connsiteX23" fmla="*/ 416265 w 590237"/>
                <a:gd name="connsiteY23" fmla="*/ 129693 h 590237"/>
                <a:gd name="connsiteX24" fmla="*/ 451398 w 590237"/>
                <a:gd name="connsiteY24" fmla="*/ 150773 h 590237"/>
                <a:gd name="connsiteX25" fmla="*/ 566635 w 590237"/>
                <a:gd name="connsiteY25" fmla="*/ 150071 h 590237"/>
                <a:gd name="connsiteX26" fmla="*/ 592633 w 590237"/>
                <a:gd name="connsiteY26" fmla="*/ 174664 h 590237"/>
                <a:gd name="connsiteX27" fmla="*/ 592633 w 590237"/>
                <a:gd name="connsiteY27" fmla="*/ 370707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90237" h="590237">
                  <a:moveTo>
                    <a:pt x="592633" y="370707"/>
                  </a:moveTo>
                  <a:cubicBezTo>
                    <a:pt x="592633" y="437460"/>
                    <a:pt x="591931" y="504213"/>
                    <a:pt x="592633" y="570966"/>
                  </a:cubicBezTo>
                  <a:cubicBezTo>
                    <a:pt x="592633" y="585722"/>
                    <a:pt x="589823" y="591344"/>
                    <a:pt x="573661" y="591344"/>
                  </a:cubicBezTo>
                  <a:cubicBezTo>
                    <a:pt x="438750" y="590641"/>
                    <a:pt x="303136" y="590641"/>
                    <a:pt x="168224" y="591344"/>
                  </a:cubicBezTo>
                  <a:cubicBezTo>
                    <a:pt x="152063" y="591344"/>
                    <a:pt x="148550" y="586425"/>
                    <a:pt x="148550" y="571669"/>
                  </a:cubicBezTo>
                  <a:cubicBezTo>
                    <a:pt x="149253" y="532320"/>
                    <a:pt x="148550" y="492971"/>
                    <a:pt x="149253" y="453621"/>
                  </a:cubicBezTo>
                  <a:cubicBezTo>
                    <a:pt x="149253" y="442379"/>
                    <a:pt x="147144" y="432541"/>
                    <a:pt x="138713" y="424110"/>
                  </a:cubicBezTo>
                  <a:cubicBezTo>
                    <a:pt x="128875" y="414272"/>
                    <a:pt x="120443" y="409353"/>
                    <a:pt x="109903" y="424110"/>
                  </a:cubicBezTo>
                  <a:cubicBezTo>
                    <a:pt x="95147" y="444487"/>
                    <a:pt x="77581" y="461351"/>
                    <a:pt x="50177" y="450108"/>
                  </a:cubicBezTo>
                  <a:cubicBezTo>
                    <a:pt x="20665" y="437460"/>
                    <a:pt x="2396" y="415678"/>
                    <a:pt x="288" y="381247"/>
                  </a:cubicBezTo>
                  <a:cubicBezTo>
                    <a:pt x="-1820" y="345411"/>
                    <a:pt x="7314" y="316602"/>
                    <a:pt x="38934" y="296927"/>
                  </a:cubicBezTo>
                  <a:cubicBezTo>
                    <a:pt x="63528" y="281468"/>
                    <a:pt x="81797" y="285685"/>
                    <a:pt x="103579" y="309575"/>
                  </a:cubicBezTo>
                  <a:cubicBezTo>
                    <a:pt x="109903" y="316602"/>
                    <a:pt x="113416" y="332763"/>
                    <a:pt x="128173" y="325034"/>
                  </a:cubicBezTo>
                  <a:cubicBezTo>
                    <a:pt x="140821" y="318710"/>
                    <a:pt x="148550" y="308170"/>
                    <a:pt x="148550" y="292008"/>
                  </a:cubicBezTo>
                  <a:cubicBezTo>
                    <a:pt x="147847" y="251957"/>
                    <a:pt x="149253" y="211905"/>
                    <a:pt x="147847" y="171853"/>
                  </a:cubicBezTo>
                  <a:cubicBezTo>
                    <a:pt x="147144" y="155692"/>
                    <a:pt x="150658" y="149368"/>
                    <a:pt x="168224" y="150071"/>
                  </a:cubicBezTo>
                  <a:cubicBezTo>
                    <a:pt x="205466" y="151476"/>
                    <a:pt x="243409" y="150773"/>
                    <a:pt x="280650" y="150773"/>
                  </a:cubicBezTo>
                  <a:cubicBezTo>
                    <a:pt x="289785" y="150773"/>
                    <a:pt x="298920" y="150773"/>
                    <a:pt x="307352" y="145854"/>
                  </a:cubicBezTo>
                  <a:cubicBezTo>
                    <a:pt x="327729" y="135314"/>
                    <a:pt x="329134" y="122667"/>
                    <a:pt x="312270" y="107911"/>
                  </a:cubicBezTo>
                  <a:cubicBezTo>
                    <a:pt x="297515" y="95263"/>
                    <a:pt x="282056" y="81209"/>
                    <a:pt x="287677" y="59427"/>
                  </a:cubicBezTo>
                  <a:cubicBezTo>
                    <a:pt x="294704" y="33428"/>
                    <a:pt x="312270" y="13754"/>
                    <a:pt x="337566" y="5322"/>
                  </a:cubicBezTo>
                  <a:cubicBezTo>
                    <a:pt x="374808" y="-8029"/>
                    <a:pt x="416265" y="4619"/>
                    <a:pt x="438750" y="33428"/>
                  </a:cubicBezTo>
                  <a:cubicBezTo>
                    <a:pt x="459830" y="60129"/>
                    <a:pt x="457019" y="81209"/>
                    <a:pt x="431723" y="105100"/>
                  </a:cubicBezTo>
                  <a:cubicBezTo>
                    <a:pt x="424697" y="111424"/>
                    <a:pt x="409238" y="114235"/>
                    <a:pt x="416265" y="129693"/>
                  </a:cubicBezTo>
                  <a:cubicBezTo>
                    <a:pt x="423292" y="143747"/>
                    <a:pt x="435939" y="150773"/>
                    <a:pt x="451398" y="150773"/>
                  </a:cubicBezTo>
                  <a:cubicBezTo>
                    <a:pt x="490045" y="150773"/>
                    <a:pt x="527988" y="152179"/>
                    <a:pt x="566635" y="150071"/>
                  </a:cubicBezTo>
                  <a:cubicBezTo>
                    <a:pt x="586309" y="149368"/>
                    <a:pt x="593336" y="152881"/>
                    <a:pt x="592633" y="174664"/>
                  </a:cubicBezTo>
                  <a:cubicBezTo>
                    <a:pt x="591931" y="239309"/>
                    <a:pt x="592633" y="305359"/>
                    <a:pt x="592633" y="37070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754C6435-4F67-46FE-B8B8-EDC2F9F65865}"/>
                </a:ext>
              </a:extLst>
            </p:cNvPr>
            <p:cNvSpPr/>
            <p:nvPr/>
          </p:nvSpPr>
          <p:spPr>
            <a:xfrm>
              <a:off x="11189772" y="1260583"/>
              <a:ext cx="1026185" cy="1026186"/>
            </a:xfrm>
            <a:custGeom>
              <a:avLst/>
              <a:gdLst>
                <a:gd name="connsiteX0" fmla="*/ 511508 w 590237"/>
                <a:gd name="connsiteY0" fmla="*/ 592383 h 590237"/>
                <a:gd name="connsiteX1" fmla="*/ 451079 w 590237"/>
                <a:gd name="connsiteY1" fmla="*/ 592383 h 590237"/>
                <a:gd name="connsiteX2" fmla="*/ 411027 w 590237"/>
                <a:gd name="connsiteY2" fmla="*/ 572006 h 590237"/>
                <a:gd name="connsiteX3" fmla="*/ 414541 w 590237"/>
                <a:gd name="connsiteY3" fmla="*/ 532656 h 590237"/>
                <a:gd name="connsiteX4" fmla="*/ 438431 w 590237"/>
                <a:gd name="connsiteY4" fmla="*/ 483470 h 590237"/>
                <a:gd name="connsiteX5" fmla="*/ 378705 w 590237"/>
                <a:gd name="connsiteY5" fmla="*/ 443418 h 590237"/>
                <a:gd name="connsiteX6" fmla="*/ 311249 w 590237"/>
                <a:gd name="connsiteY6" fmla="*/ 470822 h 590237"/>
                <a:gd name="connsiteX7" fmla="*/ 318978 w 590237"/>
                <a:gd name="connsiteY7" fmla="*/ 525630 h 590237"/>
                <a:gd name="connsiteX8" fmla="*/ 339356 w 590237"/>
                <a:gd name="connsiteY8" fmla="*/ 559358 h 590237"/>
                <a:gd name="connsiteX9" fmla="*/ 295791 w 590237"/>
                <a:gd name="connsiteY9" fmla="*/ 591680 h 590237"/>
                <a:gd name="connsiteX10" fmla="*/ 164392 w 590237"/>
                <a:gd name="connsiteY10" fmla="*/ 592383 h 590237"/>
                <a:gd name="connsiteX11" fmla="*/ 149636 w 590237"/>
                <a:gd name="connsiteY11" fmla="*/ 573411 h 590237"/>
                <a:gd name="connsiteX12" fmla="*/ 149636 w 590237"/>
                <a:gd name="connsiteY12" fmla="*/ 456066 h 590237"/>
                <a:gd name="connsiteX13" fmla="*/ 140502 w 590237"/>
                <a:gd name="connsiteY13" fmla="*/ 425852 h 590237"/>
                <a:gd name="connsiteX14" fmla="*/ 110287 w 590237"/>
                <a:gd name="connsiteY14" fmla="*/ 425149 h 590237"/>
                <a:gd name="connsiteX15" fmla="*/ 55480 w 590237"/>
                <a:gd name="connsiteY15" fmla="*/ 451147 h 590237"/>
                <a:gd name="connsiteX16" fmla="*/ 2077 w 590237"/>
                <a:gd name="connsiteY16" fmla="*/ 390718 h 590237"/>
                <a:gd name="connsiteX17" fmla="*/ 40724 w 590237"/>
                <a:gd name="connsiteY17" fmla="*/ 296561 h 590237"/>
                <a:gd name="connsiteX18" fmla="*/ 104666 w 590237"/>
                <a:gd name="connsiteY18" fmla="*/ 309912 h 590237"/>
                <a:gd name="connsiteX19" fmla="*/ 126449 w 590237"/>
                <a:gd name="connsiteY19" fmla="*/ 325370 h 590237"/>
                <a:gd name="connsiteX20" fmla="*/ 148231 w 590237"/>
                <a:gd name="connsiteY20" fmla="*/ 293750 h 590237"/>
                <a:gd name="connsiteX21" fmla="*/ 147528 w 590237"/>
                <a:gd name="connsiteY21" fmla="*/ 178514 h 590237"/>
                <a:gd name="connsiteX22" fmla="*/ 179148 w 590237"/>
                <a:gd name="connsiteY22" fmla="*/ 148299 h 590237"/>
                <a:gd name="connsiteX23" fmla="*/ 285953 w 590237"/>
                <a:gd name="connsiteY23" fmla="*/ 149002 h 590237"/>
                <a:gd name="connsiteX24" fmla="*/ 314060 w 590237"/>
                <a:gd name="connsiteY24" fmla="*/ 140570 h 590237"/>
                <a:gd name="connsiteX25" fmla="*/ 315465 w 590237"/>
                <a:gd name="connsiteY25" fmla="*/ 108950 h 590237"/>
                <a:gd name="connsiteX26" fmla="*/ 318978 w 590237"/>
                <a:gd name="connsiteY26" fmla="*/ 15496 h 590237"/>
                <a:gd name="connsiteX27" fmla="*/ 449674 w 590237"/>
                <a:gd name="connsiteY27" fmla="*/ 48521 h 590237"/>
                <a:gd name="connsiteX28" fmla="*/ 433513 w 590237"/>
                <a:gd name="connsiteY28" fmla="*/ 104031 h 590237"/>
                <a:gd name="connsiteX29" fmla="*/ 416649 w 590237"/>
                <a:gd name="connsiteY29" fmla="*/ 128624 h 590237"/>
                <a:gd name="connsiteX30" fmla="*/ 451782 w 590237"/>
                <a:gd name="connsiteY30" fmla="*/ 149704 h 590237"/>
                <a:gd name="connsiteX31" fmla="*/ 571938 w 590237"/>
                <a:gd name="connsiteY31" fmla="*/ 149002 h 590237"/>
                <a:gd name="connsiteX32" fmla="*/ 592315 w 590237"/>
                <a:gd name="connsiteY32" fmla="*/ 167974 h 590237"/>
                <a:gd name="connsiteX33" fmla="*/ 592315 w 590237"/>
                <a:gd name="connsiteY33" fmla="*/ 572708 h 590237"/>
                <a:gd name="connsiteX34" fmla="*/ 573343 w 590237"/>
                <a:gd name="connsiteY34" fmla="*/ 593086 h 590237"/>
                <a:gd name="connsiteX35" fmla="*/ 511508 w 590237"/>
                <a:gd name="connsiteY35" fmla="*/ 59238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90237" h="590237">
                  <a:moveTo>
                    <a:pt x="511508" y="592383"/>
                  </a:moveTo>
                  <a:cubicBezTo>
                    <a:pt x="491131" y="592383"/>
                    <a:pt x="471457" y="592383"/>
                    <a:pt x="451079" y="592383"/>
                  </a:cubicBezTo>
                  <a:cubicBezTo>
                    <a:pt x="434215" y="592383"/>
                    <a:pt x="421567" y="584653"/>
                    <a:pt x="411027" y="572006"/>
                  </a:cubicBezTo>
                  <a:cubicBezTo>
                    <a:pt x="399785" y="557952"/>
                    <a:pt x="397677" y="545304"/>
                    <a:pt x="414541" y="532656"/>
                  </a:cubicBezTo>
                  <a:cubicBezTo>
                    <a:pt x="430702" y="520711"/>
                    <a:pt x="449674" y="508063"/>
                    <a:pt x="438431" y="483470"/>
                  </a:cubicBezTo>
                  <a:cubicBezTo>
                    <a:pt x="427189" y="458876"/>
                    <a:pt x="408217" y="443418"/>
                    <a:pt x="378705" y="443418"/>
                  </a:cubicBezTo>
                  <a:cubicBezTo>
                    <a:pt x="351301" y="442715"/>
                    <a:pt x="328816" y="447634"/>
                    <a:pt x="311249" y="470822"/>
                  </a:cubicBezTo>
                  <a:cubicBezTo>
                    <a:pt x="295791" y="491902"/>
                    <a:pt x="299304" y="508766"/>
                    <a:pt x="318978" y="525630"/>
                  </a:cubicBezTo>
                  <a:cubicBezTo>
                    <a:pt x="329518" y="534062"/>
                    <a:pt x="347085" y="541088"/>
                    <a:pt x="339356" y="559358"/>
                  </a:cubicBezTo>
                  <a:cubicBezTo>
                    <a:pt x="331626" y="577627"/>
                    <a:pt x="316871" y="590978"/>
                    <a:pt x="295791" y="591680"/>
                  </a:cubicBezTo>
                  <a:cubicBezTo>
                    <a:pt x="252225" y="592383"/>
                    <a:pt x="207958" y="590978"/>
                    <a:pt x="164392" y="592383"/>
                  </a:cubicBezTo>
                  <a:cubicBezTo>
                    <a:pt x="148231" y="593086"/>
                    <a:pt x="149636" y="583248"/>
                    <a:pt x="149636" y="573411"/>
                  </a:cubicBezTo>
                  <a:cubicBezTo>
                    <a:pt x="149636" y="534062"/>
                    <a:pt x="149636" y="494713"/>
                    <a:pt x="149636" y="456066"/>
                  </a:cubicBezTo>
                  <a:cubicBezTo>
                    <a:pt x="149636" y="444823"/>
                    <a:pt x="149636" y="434283"/>
                    <a:pt x="140502" y="425852"/>
                  </a:cubicBezTo>
                  <a:cubicBezTo>
                    <a:pt x="130665" y="416014"/>
                    <a:pt x="121530" y="409690"/>
                    <a:pt x="110287" y="425149"/>
                  </a:cubicBezTo>
                  <a:cubicBezTo>
                    <a:pt x="96937" y="443418"/>
                    <a:pt x="81478" y="460282"/>
                    <a:pt x="55480" y="451147"/>
                  </a:cubicBezTo>
                  <a:cubicBezTo>
                    <a:pt x="26670" y="441310"/>
                    <a:pt x="7698" y="421635"/>
                    <a:pt x="2077" y="390718"/>
                  </a:cubicBezTo>
                  <a:cubicBezTo>
                    <a:pt x="-5652" y="348559"/>
                    <a:pt x="8401" y="316236"/>
                    <a:pt x="40724" y="296561"/>
                  </a:cubicBezTo>
                  <a:cubicBezTo>
                    <a:pt x="66722" y="281103"/>
                    <a:pt x="80775" y="284616"/>
                    <a:pt x="104666" y="309912"/>
                  </a:cubicBezTo>
                  <a:cubicBezTo>
                    <a:pt x="110990" y="316236"/>
                    <a:pt x="113801" y="330992"/>
                    <a:pt x="126449" y="325370"/>
                  </a:cubicBezTo>
                  <a:cubicBezTo>
                    <a:pt x="139097" y="319749"/>
                    <a:pt x="148934" y="309912"/>
                    <a:pt x="148231" y="293750"/>
                  </a:cubicBezTo>
                  <a:cubicBezTo>
                    <a:pt x="148231" y="255104"/>
                    <a:pt x="150339" y="217160"/>
                    <a:pt x="147528" y="178514"/>
                  </a:cubicBezTo>
                  <a:cubicBezTo>
                    <a:pt x="145420" y="151813"/>
                    <a:pt x="155960" y="146894"/>
                    <a:pt x="179148" y="148299"/>
                  </a:cubicBezTo>
                  <a:cubicBezTo>
                    <a:pt x="214282" y="150407"/>
                    <a:pt x="250117" y="148299"/>
                    <a:pt x="285953" y="149002"/>
                  </a:cubicBezTo>
                  <a:cubicBezTo>
                    <a:pt x="296493" y="149002"/>
                    <a:pt x="305628" y="148299"/>
                    <a:pt x="314060" y="140570"/>
                  </a:cubicBezTo>
                  <a:cubicBezTo>
                    <a:pt x="325302" y="130030"/>
                    <a:pt x="331626" y="122301"/>
                    <a:pt x="315465" y="108950"/>
                  </a:cubicBezTo>
                  <a:cubicBezTo>
                    <a:pt x="277521" y="77330"/>
                    <a:pt x="279629" y="45008"/>
                    <a:pt x="318978" y="15496"/>
                  </a:cubicBezTo>
                  <a:cubicBezTo>
                    <a:pt x="359733" y="-15422"/>
                    <a:pt x="427891" y="2145"/>
                    <a:pt x="449674" y="48521"/>
                  </a:cubicBezTo>
                  <a:cubicBezTo>
                    <a:pt x="460214" y="72411"/>
                    <a:pt x="449674" y="87870"/>
                    <a:pt x="433513" y="104031"/>
                  </a:cubicBezTo>
                  <a:cubicBezTo>
                    <a:pt x="426486" y="111058"/>
                    <a:pt x="411027" y="114571"/>
                    <a:pt x="416649" y="128624"/>
                  </a:cubicBezTo>
                  <a:cubicBezTo>
                    <a:pt x="422973" y="142678"/>
                    <a:pt x="434918" y="150407"/>
                    <a:pt x="451782" y="149704"/>
                  </a:cubicBezTo>
                  <a:cubicBezTo>
                    <a:pt x="491834" y="149002"/>
                    <a:pt x="531886" y="149704"/>
                    <a:pt x="571938" y="149002"/>
                  </a:cubicBezTo>
                  <a:cubicBezTo>
                    <a:pt x="585991" y="149002"/>
                    <a:pt x="592315" y="151110"/>
                    <a:pt x="592315" y="167974"/>
                  </a:cubicBezTo>
                  <a:cubicBezTo>
                    <a:pt x="591612" y="302885"/>
                    <a:pt x="591612" y="437797"/>
                    <a:pt x="592315" y="572708"/>
                  </a:cubicBezTo>
                  <a:cubicBezTo>
                    <a:pt x="592315" y="587464"/>
                    <a:pt x="589504" y="593788"/>
                    <a:pt x="573343" y="593086"/>
                  </a:cubicBezTo>
                  <a:cubicBezTo>
                    <a:pt x="553668" y="591680"/>
                    <a:pt x="532588" y="592383"/>
                    <a:pt x="511508" y="59238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F31F0078-3D30-47A6-B0BE-D1D59532E745}"/>
                </a:ext>
              </a:extLst>
            </p:cNvPr>
            <p:cNvSpPr/>
            <p:nvPr/>
          </p:nvSpPr>
          <p:spPr>
            <a:xfrm>
              <a:off x="503393" y="5823022"/>
              <a:ext cx="1026185" cy="1026186"/>
            </a:xfrm>
            <a:custGeom>
              <a:avLst/>
              <a:gdLst>
                <a:gd name="connsiteX0" fmla="*/ 370196 w 590237"/>
                <a:gd name="connsiteY0" fmla="*/ 591917 h 590237"/>
                <a:gd name="connsiteX1" fmla="*/ 167829 w 590237"/>
                <a:gd name="connsiteY1" fmla="*/ 591917 h 590237"/>
                <a:gd name="connsiteX2" fmla="*/ 147452 w 590237"/>
                <a:gd name="connsiteY2" fmla="*/ 572242 h 590237"/>
                <a:gd name="connsiteX3" fmla="*/ 148154 w 590237"/>
                <a:gd name="connsiteY3" fmla="*/ 454897 h 590237"/>
                <a:gd name="connsiteX4" fmla="*/ 139020 w 590237"/>
                <a:gd name="connsiteY4" fmla="*/ 424683 h 590237"/>
                <a:gd name="connsiteX5" fmla="*/ 108805 w 590237"/>
                <a:gd name="connsiteY5" fmla="*/ 425385 h 590237"/>
                <a:gd name="connsiteX6" fmla="*/ 56808 w 590237"/>
                <a:gd name="connsiteY6" fmla="*/ 451384 h 590237"/>
                <a:gd name="connsiteX7" fmla="*/ 4811 w 590237"/>
                <a:gd name="connsiteY7" fmla="*/ 400089 h 590237"/>
                <a:gd name="connsiteX8" fmla="*/ 38539 w 590237"/>
                <a:gd name="connsiteY8" fmla="*/ 296798 h 590237"/>
                <a:gd name="connsiteX9" fmla="*/ 105292 w 590237"/>
                <a:gd name="connsiteY9" fmla="*/ 309446 h 590237"/>
                <a:gd name="connsiteX10" fmla="*/ 127074 w 590237"/>
                <a:gd name="connsiteY10" fmla="*/ 324904 h 590237"/>
                <a:gd name="connsiteX11" fmla="*/ 148857 w 590237"/>
                <a:gd name="connsiteY11" fmla="*/ 293284 h 590237"/>
                <a:gd name="connsiteX12" fmla="*/ 148154 w 590237"/>
                <a:gd name="connsiteY12" fmla="*/ 175940 h 590237"/>
                <a:gd name="connsiteX13" fmla="*/ 174153 w 590237"/>
                <a:gd name="connsiteY13" fmla="*/ 148536 h 590237"/>
                <a:gd name="connsiteX14" fmla="*/ 286579 w 590237"/>
                <a:gd name="connsiteY14" fmla="*/ 149238 h 590237"/>
                <a:gd name="connsiteX15" fmla="*/ 310470 w 590237"/>
                <a:gd name="connsiteY15" fmla="*/ 145022 h 590237"/>
                <a:gd name="connsiteX16" fmla="*/ 313983 w 590237"/>
                <a:gd name="connsiteY16" fmla="*/ 108484 h 590237"/>
                <a:gd name="connsiteX17" fmla="*/ 312578 w 590237"/>
                <a:gd name="connsiteY17" fmla="*/ 21354 h 590237"/>
                <a:gd name="connsiteX18" fmla="*/ 449597 w 590237"/>
                <a:gd name="connsiteY18" fmla="*/ 48757 h 590237"/>
                <a:gd name="connsiteX19" fmla="*/ 433436 w 590237"/>
                <a:gd name="connsiteY19" fmla="*/ 104268 h 590237"/>
                <a:gd name="connsiteX20" fmla="*/ 417275 w 590237"/>
                <a:gd name="connsiteY20" fmla="*/ 128861 h 590237"/>
                <a:gd name="connsiteX21" fmla="*/ 452408 w 590237"/>
                <a:gd name="connsiteY21" fmla="*/ 149941 h 590237"/>
                <a:gd name="connsiteX22" fmla="*/ 572564 w 590237"/>
                <a:gd name="connsiteY22" fmla="*/ 149238 h 590237"/>
                <a:gd name="connsiteX23" fmla="*/ 592941 w 590237"/>
                <a:gd name="connsiteY23" fmla="*/ 168210 h 590237"/>
                <a:gd name="connsiteX24" fmla="*/ 592941 w 590237"/>
                <a:gd name="connsiteY24" fmla="*/ 291176 h 590237"/>
                <a:gd name="connsiteX25" fmla="*/ 566942 w 590237"/>
                <a:gd name="connsiteY25" fmla="*/ 336147 h 590237"/>
                <a:gd name="connsiteX26" fmla="*/ 538133 w 590237"/>
                <a:gd name="connsiteY26" fmla="*/ 333336 h 590237"/>
                <a:gd name="connsiteX27" fmla="*/ 472082 w 590237"/>
                <a:gd name="connsiteY27" fmla="*/ 312256 h 590237"/>
                <a:gd name="connsiteX28" fmla="*/ 452408 w 590237"/>
                <a:gd name="connsiteY28" fmla="*/ 408521 h 590237"/>
                <a:gd name="connsiteX29" fmla="*/ 530404 w 590237"/>
                <a:gd name="connsiteY29" fmla="*/ 419764 h 590237"/>
                <a:gd name="connsiteX30" fmla="*/ 560618 w 590237"/>
                <a:gd name="connsiteY30" fmla="*/ 403603 h 590237"/>
                <a:gd name="connsiteX31" fmla="*/ 592238 w 590237"/>
                <a:gd name="connsiteY31" fmla="*/ 441547 h 590237"/>
                <a:gd name="connsiteX32" fmla="*/ 592941 w 590237"/>
                <a:gd name="connsiteY32" fmla="*/ 581377 h 590237"/>
                <a:gd name="connsiteX33" fmla="*/ 574671 w 590237"/>
                <a:gd name="connsiteY33" fmla="*/ 593322 h 590237"/>
                <a:gd name="connsiteX34" fmla="*/ 370196 w 590237"/>
                <a:gd name="connsiteY34" fmla="*/ 591917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90237" h="590237">
                  <a:moveTo>
                    <a:pt x="370196" y="591917"/>
                  </a:moveTo>
                  <a:cubicBezTo>
                    <a:pt x="302740" y="591917"/>
                    <a:pt x="235285" y="591214"/>
                    <a:pt x="167829" y="591917"/>
                  </a:cubicBezTo>
                  <a:cubicBezTo>
                    <a:pt x="152370" y="591917"/>
                    <a:pt x="147452" y="588403"/>
                    <a:pt x="147452" y="572242"/>
                  </a:cubicBezTo>
                  <a:cubicBezTo>
                    <a:pt x="148857" y="532893"/>
                    <a:pt x="147452" y="493544"/>
                    <a:pt x="148154" y="454897"/>
                  </a:cubicBezTo>
                  <a:cubicBezTo>
                    <a:pt x="148154" y="443655"/>
                    <a:pt x="147452" y="433115"/>
                    <a:pt x="139020" y="424683"/>
                  </a:cubicBezTo>
                  <a:cubicBezTo>
                    <a:pt x="128480" y="414143"/>
                    <a:pt x="119345" y="410629"/>
                    <a:pt x="108805" y="425385"/>
                  </a:cubicBezTo>
                  <a:cubicBezTo>
                    <a:pt x="96157" y="442249"/>
                    <a:pt x="81401" y="459113"/>
                    <a:pt x="56808" y="451384"/>
                  </a:cubicBezTo>
                  <a:cubicBezTo>
                    <a:pt x="30810" y="443655"/>
                    <a:pt x="12540" y="426790"/>
                    <a:pt x="4811" y="400089"/>
                  </a:cubicBezTo>
                  <a:cubicBezTo>
                    <a:pt x="-7837" y="357929"/>
                    <a:pt x="4811" y="317878"/>
                    <a:pt x="38539" y="296798"/>
                  </a:cubicBezTo>
                  <a:cubicBezTo>
                    <a:pt x="64537" y="279934"/>
                    <a:pt x="81401" y="284150"/>
                    <a:pt x="105292" y="309446"/>
                  </a:cubicBezTo>
                  <a:cubicBezTo>
                    <a:pt x="110913" y="315770"/>
                    <a:pt x="113724" y="330526"/>
                    <a:pt x="127074" y="324904"/>
                  </a:cubicBezTo>
                  <a:cubicBezTo>
                    <a:pt x="140425" y="319283"/>
                    <a:pt x="148857" y="308743"/>
                    <a:pt x="148857" y="293284"/>
                  </a:cubicBezTo>
                  <a:cubicBezTo>
                    <a:pt x="148857" y="253935"/>
                    <a:pt x="150262" y="214586"/>
                    <a:pt x="148154" y="175940"/>
                  </a:cubicBezTo>
                  <a:cubicBezTo>
                    <a:pt x="147452" y="155562"/>
                    <a:pt x="150965" y="147130"/>
                    <a:pt x="174153" y="148536"/>
                  </a:cubicBezTo>
                  <a:cubicBezTo>
                    <a:pt x="211394" y="150644"/>
                    <a:pt x="248635" y="149238"/>
                    <a:pt x="286579" y="149238"/>
                  </a:cubicBezTo>
                  <a:cubicBezTo>
                    <a:pt x="294309" y="149238"/>
                    <a:pt x="302740" y="149941"/>
                    <a:pt x="310470" y="145022"/>
                  </a:cubicBezTo>
                  <a:cubicBezTo>
                    <a:pt x="328739" y="133077"/>
                    <a:pt x="330145" y="122537"/>
                    <a:pt x="313983" y="108484"/>
                  </a:cubicBezTo>
                  <a:cubicBezTo>
                    <a:pt x="280255" y="78972"/>
                    <a:pt x="280255" y="52271"/>
                    <a:pt x="312578" y="21354"/>
                  </a:cubicBezTo>
                  <a:cubicBezTo>
                    <a:pt x="353332" y="-16590"/>
                    <a:pt x="426409" y="-1835"/>
                    <a:pt x="449597" y="48757"/>
                  </a:cubicBezTo>
                  <a:cubicBezTo>
                    <a:pt x="460137" y="72648"/>
                    <a:pt x="449597" y="88107"/>
                    <a:pt x="433436" y="104268"/>
                  </a:cubicBezTo>
                  <a:cubicBezTo>
                    <a:pt x="426409" y="111295"/>
                    <a:pt x="410951" y="114808"/>
                    <a:pt x="417275" y="128861"/>
                  </a:cubicBezTo>
                  <a:cubicBezTo>
                    <a:pt x="423599" y="142914"/>
                    <a:pt x="435544" y="149941"/>
                    <a:pt x="452408" y="149941"/>
                  </a:cubicBezTo>
                  <a:cubicBezTo>
                    <a:pt x="492460" y="149238"/>
                    <a:pt x="532512" y="150644"/>
                    <a:pt x="572564" y="149238"/>
                  </a:cubicBezTo>
                  <a:cubicBezTo>
                    <a:pt x="587319" y="149238"/>
                    <a:pt x="592941" y="152049"/>
                    <a:pt x="592941" y="168210"/>
                  </a:cubicBezTo>
                  <a:cubicBezTo>
                    <a:pt x="591535" y="208965"/>
                    <a:pt x="592238" y="250422"/>
                    <a:pt x="592941" y="291176"/>
                  </a:cubicBezTo>
                  <a:cubicBezTo>
                    <a:pt x="592941" y="312256"/>
                    <a:pt x="582401" y="324904"/>
                    <a:pt x="566942" y="336147"/>
                  </a:cubicBezTo>
                  <a:cubicBezTo>
                    <a:pt x="556402" y="343174"/>
                    <a:pt x="547268" y="342471"/>
                    <a:pt x="538133" y="333336"/>
                  </a:cubicBezTo>
                  <a:cubicBezTo>
                    <a:pt x="500892" y="297501"/>
                    <a:pt x="494568" y="295393"/>
                    <a:pt x="472082" y="312256"/>
                  </a:cubicBezTo>
                  <a:cubicBezTo>
                    <a:pt x="444679" y="332634"/>
                    <a:pt x="435544" y="378307"/>
                    <a:pt x="452408" y="408521"/>
                  </a:cubicBezTo>
                  <a:cubicBezTo>
                    <a:pt x="472785" y="445762"/>
                    <a:pt x="503702" y="449979"/>
                    <a:pt x="530404" y="419764"/>
                  </a:cubicBezTo>
                  <a:cubicBezTo>
                    <a:pt x="538133" y="410629"/>
                    <a:pt x="544457" y="395874"/>
                    <a:pt x="560618" y="403603"/>
                  </a:cubicBezTo>
                  <a:cubicBezTo>
                    <a:pt x="576779" y="410629"/>
                    <a:pt x="592238" y="422575"/>
                    <a:pt x="592238" y="441547"/>
                  </a:cubicBezTo>
                  <a:cubicBezTo>
                    <a:pt x="593643" y="487922"/>
                    <a:pt x="592238" y="534298"/>
                    <a:pt x="592941" y="581377"/>
                  </a:cubicBezTo>
                  <a:cubicBezTo>
                    <a:pt x="592941" y="596835"/>
                    <a:pt x="582401" y="593322"/>
                    <a:pt x="574671" y="593322"/>
                  </a:cubicBezTo>
                  <a:cubicBezTo>
                    <a:pt x="505108" y="592619"/>
                    <a:pt x="437652" y="591917"/>
                    <a:pt x="370196" y="59191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81EB1109-6D7A-4AB9-935B-1D3E7ADFD9A5}"/>
                </a:ext>
              </a:extLst>
            </p:cNvPr>
            <p:cNvSpPr/>
            <p:nvPr/>
          </p:nvSpPr>
          <p:spPr>
            <a:xfrm>
              <a:off x="2279759" y="-8368"/>
              <a:ext cx="1026185" cy="1026186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617167F3-21A3-414B-9532-5CEF33A002E1}"/>
                </a:ext>
              </a:extLst>
            </p:cNvPr>
            <p:cNvSpPr/>
            <p:nvPr/>
          </p:nvSpPr>
          <p:spPr>
            <a:xfrm>
              <a:off x="11189772" y="3061522"/>
              <a:ext cx="1026185" cy="1026186"/>
            </a:xfrm>
            <a:custGeom>
              <a:avLst/>
              <a:gdLst>
                <a:gd name="connsiteX0" fmla="*/ 592177 w 590237"/>
                <a:gd name="connsiteY0" fmla="*/ 219934 h 590237"/>
                <a:gd name="connsiteX1" fmla="*/ 592880 w 590237"/>
                <a:gd name="connsiteY1" fmla="*/ 417382 h 590237"/>
                <a:gd name="connsiteX2" fmla="*/ 569692 w 590237"/>
                <a:gd name="connsiteY2" fmla="*/ 441975 h 590237"/>
                <a:gd name="connsiteX3" fmla="*/ 457265 w 590237"/>
                <a:gd name="connsiteY3" fmla="*/ 441273 h 590237"/>
                <a:gd name="connsiteX4" fmla="*/ 424240 w 590237"/>
                <a:gd name="connsiteY4" fmla="*/ 452515 h 590237"/>
                <a:gd name="connsiteX5" fmla="*/ 424240 w 590237"/>
                <a:gd name="connsiteY5" fmla="*/ 481325 h 590237"/>
                <a:gd name="connsiteX6" fmla="*/ 451644 w 590237"/>
                <a:gd name="connsiteY6" fmla="*/ 535430 h 590237"/>
                <a:gd name="connsiteX7" fmla="*/ 386296 w 590237"/>
                <a:gd name="connsiteY7" fmla="*/ 589535 h 590237"/>
                <a:gd name="connsiteX8" fmla="*/ 301274 w 590237"/>
                <a:gd name="connsiteY8" fmla="*/ 558618 h 590237"/>
                <a:gd name="connsiteX9" fmla="*/ 306895 w 590237"/>
                <a:gd name="connsiteY9" fmla="*/ 489054 h 590237"/>
                <a:gd name="connsiteX10" fmla="*/ 323759 w 590237"/>
                <a:gd name="connsiteY10" fmla="*/ 463055 h 590237"/>
                <a:gd name="connsiteX11" fmla="*/ 288626 w 590237"/>
                <a:gd name="connsiteY11" fmla="*/ 441975 h 590237"/>
                <a:gd name="connsiteX12" fmla="*/ 170579 w 590237"/>
                <a:gd name="connsiteY12" fmla="*/ 442678 h 590237"/>
                <a:gd name="connsiteX13" fmla="*/ 148093 w 590237"/>
                <a:gd name="connsiteY13" fmla="*/ 420193 h 590237"/>
                <a:gd name="connsiteX14" fmla="*/ 148796 w 590237"/>
                <a:gd name="connsiteY14" fmla="*/ 304956 h 590237"/>
                <a:gd name="connsiteX15" fmla="*/ 136851 w 590237"/>
                <a:gd name="connsiteY15" fmla="*/ 273336 h 590237"/>
                <a:gd name="connsiteX16" fmla="*/ 110150 w 590237"/>
                <a:gd name="connsiteY16" fmla="*/ 274741 h 590237"/>
                <a:gd name="connsiteX17" fmla="*/ 50423 w 590237"/>
                <a:gd name="connsiteY17" fmla="*/ 300740 h 590237"/>
                <a:gd name="connsiteX18" fmla="*/ 534 w 590237"/>
                <a:gd name="connsiteY18" fmla="*/ 234690 h 590237"/>
                <a:gd name="connsiteX19" fmla="*/ 37072 w 590237"/>
                <a:gd name="connsiteY19" fmla="*/ 148964 h 590237"/>
                <a:gd name="connsiteX20" fmla="*/ 103826 w 590237"/>
                <a:gd name="connsiteY20" fmla="*/ 159504 h 590237"/>
                <a:gd name="connsiteX21" fmla="*/ 128419 w 590237"/>
                <a:gd name="connsiteY21" fmla="*/ 174963 h 590237"/>
                <a:gd name="connsiteX22" fmla="*/ 148796 w 590237"/>
                <a:gd name="connsiteY22" fmla="*/ 141938 h 590237"/>
                <a:gd name="connsiteX23" fmla="*/ 148093 w 590237"/>
                <a:gd name="connsiteY23" fmla="*/ 18972 h 590237"/>
                <a:gd name="connsiteX24" fmla="*/ 165660 w 590237"/>
                <a:gd name="connsiteY24" fmla="*/ 0 h 590237"/>
                <a:gd name="connsiteX25" fmla="*/ 291437 w 590237"/>
                <a:gd name="connsiteY25" fmla="*/ 0 h 590237"/>
                <a:gd name="connsiteX26" fmla="*/ 329381 w 590237"/>
                <a:gd name="connsiteY26" fmla="*/ 18269 h 590237"/>
                <a:gd name="connsiteX27" fmla="*/ 325867 w 590237"/>
                <a:gd name="connsiteY27" fmla="*/ 59726 h 590237"/>
                <a:gd name="connsiteX28" fmla="*/ 301274 w 590237"/>
                <a:gd name="connsiteY28" fmla="*/ 103994 h 590237"/>
                <a:gd name="connsiteX29" fmla="*/ 350461 w 590237"/>
                <a:gd name="connsiteY29" fmla="*/ 146857 h 590237"/>
                <a:gd name="connsiteX30" fmla="*/ 421430 w 590237"/>
                <a:gd name="connsiteY30" fmla="*/ 129993 h 590237"/>
                <a:gd name="connsiteX31" fmla="*/ 418619 w 590237"/>
                <a:gd name="connsiteY31" fmla="*/ 63942 h 590237"/>
                <a:gd name="connsiteX32" fmla="*/ 401052 w 590237"/>
                <a:gd name="connsiteY32" fmla="*/ 33728 h 590237"/>
                <a:gd name="connsiteX33" fmla="*/ 435483 w 590237"/>
                <a:gd name="connsiteY33" fmla="*/ 2108 h 590237"/>
                <a:gd name="connsiteX34" fmla="*/ 580232 w 590237"/>
                <a:gd name="connsiteY34" fmla="*/ 702 h 590237"/>
                <a:gd name="connsiteX35" fmla="*/ 590069 w 590237"/>
                <a:gd name="connsiteY35" fmla="*/ 21080 h 590237"/>
                <a:gd name="connsiteX36" fmla="*/ 592177 w 590237"/>
                <a:gd name="connsiteY36" fmla="*/ 219934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592177" y="219934"/>
                  </a:moveTo>
                  <a:cubicBezTo>
                    <a:pt x="592177" y="285984"/>
                    <a:pt x="591474" y="351332"/>
                    <a:pt x="592880" y="417382"/>
                  </a:cubicBezTo>
                  <a:cubicBezTo>
                    <a:pt x="592880" y="435652"/>
                    <a:pt x="590069" y="442678"/>
                    <a:pt x="569692" y="441975"/>
                  </a:cubicBezTo>
                  <a:cubicBezTo>
                    <a:pt x="532451" y="439867"/>
                    <a:pt x="494507" y="441975"/>
                    <a:pt x="457265" y="441273"/>
                  </a:cubicBezTo>
                  <a:cubicBezTo>
                    <a:pt x="444618" y="441273"/>
                    <a:pt x="433375" y="443381"/>
                    <a:pt x="424240" y="452515"/>
                  </a:cubicBezTo>
                  <a:cubicBezTo>
                    <a:pt x="415106" y="461650"/>
                    <a:pt x="410187" y="470785"/>
                    <a:pt x="424240" y="481325"/>
                  </a:cubicBezTo>
                  <a:cubicBezTo>
                    <a:pt x="441807" y="494675"/>
                    <a:pt x="460779" y="510134"/>
                    <a:pt x="451644" y="535430"/>
                  </a:cubicBezTo>
                  <a:cubicBezTo>
                    <a:pt x="441104" y="565644"/>
                    <a:pt x="420727" y="586021"/>
                    <a:pt x="386296" y="589535"/>
                  </a:cubicBezTo>
                  <a:cubicBezTo>
                    <a:pt x="352569" y="592346"/>
                    <a:pt x="323057" y="588129"/>
                    <a:pt x="301274" y="558618"/>
                  </a:cubicBezTo>
                  <a:cubicBezTo>
                    <a:pt x="281600" y="531916"/>
                    <a:pt x="283708" y="511539"/>
                    <a:pt x="306895" y="489054"/>
                  </a:cubicBezTo>
                  <a:cubicBezTo>
                    <a:pt x="313922" y="482027"/>
                    <a:pt x="332191" y="479919"/>
                    <a:pt x="323759" y="463055"/>
                  </a:cubicBezTo>
                  <a:cubicBezTo>
                    <a:pt x="316733" y="449002"/>
                    <a:pt x="304085" y="441975"/>
                    <a:pt x="288626" y="441975"/>
                  </a:cubicBezTo>
                  <a:cubicBezTo>
                    <a:pt x="249277" y="441975"/>
                    <a:pt x="209928" y="441273"/>
                    <a:pt x="170579" y="442678"/>
                  </a:cubicBezTo>
                  <a:cubicBezTo>
                    <a:pt x="152309" y="443381"/>
                    <a:pt x="147391" y="438462"/>
                    <a:pt x="148093" y="420193"/>
                  </a:cubicBezTo>
                  <a:cubicBezTo>
                    <a:pt x="149499" y="382249"/>
                    <a:pt x="148093" y="343602"/>
                    <a:pt x="148796" y="304956"/>
                  </a:cubicBezTo>
                  <a:cubicBezTo>
                    <a:pt x="148796" y="292308"/>
                    <a:pt x="146688" y="281768"/>
                    <a:pt x="136851" y="273336"/>
                  </a:cubicBezTo>
                  <a:cubicBezTo>
                    <a:pt x="127013" y="264904"/>
                    <a:pt x="119284" y="262094"/>
                    <a:pt x="110150" y="274741"/>
                  </a:cubicBezTo>
                  <a:cubicBezTo>
                    <a:pt x="96096" y="295119"/>
                    <a:pt x="77827" y="311983"/>
                    <a:pt x="50423" y="300740"/>
                  </a:cubicBezTo>
                  <a:cubicBezTo>
                    <a:pt x="22317" y="288795"/>
                    <a:pt x="3345" y="267715"/>
                    <a:pt x="534" y="234690"/>
                  </a:cubicBezTo>
                  <a:cubicBezTo>
                    <a:pt x="-2277" y="199556"/>
                    <a:pt x="5453" y="169342"/>
                    <a:pt x="37072" y="148964"/>
                  </a:cubicBezTo>
                  <a:cubicBezTo>
                    <a:pt x="63071" y="132101"/>
                    <a:pt x="81340" y="134911"/>
                    <a:pt x="103826" y="159504"/>
                  </a:cubicBezTo>
                  <a:cubicBezTo>
                    <a:pt x="110150" y="166531"/>
                    <a:pt x="113663" y="182693"/>
                    <a:pt x="128419" y="174963"/>
                  </a:cubicBezTo>
                  <a:cubicBezTo>
                    <a:pt x="141067" y="168639"/>
                    <a:pt x="148796" y="158099"/>
                    <a:pt x="148796" y="141938"/>
                  </a:cubicBezTo>
                  <a:cubicBezTo>
                    <a:pt x="148093" y="101183"/>
                    <a:pt x="149499" y="59726"/>
                    <a:pt x="148093" y="18972"/>
                  </a:cubicBezTo>
                  <a:cubicBezTo>
                    <a:pt x="148093" y="4918"/>
                    <a:pt x="150904" y="0"/>
                    <a:pt x="165660" y="0"/>
                  </a:cubicBezTo>
                  <a:cubicBezTo>
                    <a:pt x="207820" y="702"/>
                    <a:pt x="249980" y="702"/>
                    <a:pt x="291437" y="0"/>
                  </a:cubicBezTo>
                  <a:cubicBezTo>
                    <a:pt x="307598" y="0"/>
                    <a:pt x="319543" y="6324"/>
                    <a:pt x="329381" y="18269"/>
                  </a:cubicBezTo>
                  <a:cubicBezTo>
                    <a:pt x="342029" y="33728"/>
                    <a:pt x="343434" y="47078"/>
                    <a:pt x="325867" y="59726"/>
                  </a:cubicBezTo>
                  <a:cubicBezTo>
                    <a:pt x="311111" y="70266"/>
                    <a:pt x="294247" y="82211"/>
                    <a:pt x="301274" y="103994"/>
                  </a:cubicBezTo>
                  <a:cubicBezTo>
                    <a:pt x="309003" y="126480"/>
                    <a:pt x="325165" y="142641"/>
                    <a:pt x="350461" y="146857"/>
                  </a:cubicBezTo>
                  <a:cubicBezTo>
                    <a:pt x="376459" y="151073"/>
                    <a:pt x="401755" y="150370"/>
                    <a:pt x="421430" y="129993"/>
                  </a:cubicBezTo>
                  <a:cubicBezTo>
                    <a:pt x="446023" y="104697"/>
                    <a:pt x="445320" y="87130"/>
                    <a:pt x="418619" y="63942"/>
                  </a:cubicBezTo>
                  <a:cubicBezTo>
                    <a:pt x="409484" y="56213"/>
                    <a:pt x="394728" y="50591"/>
                    <a:pt x="401052" y="33728"/>
                  </a:cubicBezTo>
                  <a:cubicBezTo>
                    <a:pt x="407376" y="18269"/>
                    <a:pt x="417916" y="2810"/>
                    <a:pt x="435483" y="2108"/>
                  </a:cubicBezTo>
                  <a:cubicBezTo>
                    <a:pt x="483967" y="0"/>
                    <a:pt x="532451" y="702"/>
                    <a:pt x="580232" y="702"/>
                  </a:cubicBezTo>
                  <a:cubicBezTo>
                    <a:pt x="596393" y="702"/>
                    <a:pt x="589366" y="13350"/>
                    <a:pt x="590069" y="21080"/>
                  </a:cubicBezTo>
                  <a:cubicBezTo>
                    <a:pt x="592177" y="86428"/>
                    <a:pt x="592177" y="153181"/>
                    <a:pt x="592177" y="21993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0881E037-185D-4938-9F4E-53A9E89BBC23}"/>
                </a:ext>
              </a:extLst>
            </p:cNvPr>
            <p:cNvSpPr/>
            <p:nvPr/>
          </p:nvSpPr>
          <p:spPr>
            <a:xfrm>
              <a:off x="1278125" y="6079568"/>
              <a:ext cx="1282731" cy="769640"/>
            </a:xfrm>
            <a:custGeom>
              <a:avLst/>
              <a:gdLst>
                <a:gd name="connsiteX0" fmla="*/ 370725 w 737797"/>
                <a:gd name="connsiteY0" fmla="*/ 441321 h 442678"/>
                <a:gd name="connsiteX1" fmla="*/ 178898 w 737797"/>
                <a:gd name="connsiteY1" fmla="*/ 442023 h 442678"/>
                <a:gd name="connsiteX2" fmla="*/ 148684 w 737797"/>
                <a:gd name="connsiteY2" fmla="*/ 413214 h 442678"/>
                <a:gd name="connsiteX3" fmla="*/ 149386 w 737797"/>
                <a:gd name="connsiteY3" fmla="*/ 303599 h 442678"/>
                <a:gd name="connsiteX4" fmla="*/ 138846 w 737797"/>
                <a:gd name="connsiteY4" fmla="*/ 274087 h 442678"/>
                <a:gd name="connsiteX5" fmla="*/ 110037 w 737797"/>
                <a:gd name="connsiteY5" fmla="*/ 274790 h 442678"/>
                <a:gd name="connsiteX6" fmla="*/ 55230 w 737797"/>
                <a:gd name="connsiteY6" fmla="*/ 301491 h 442678"/>
                <a:gd name="connsiteX7" fmla="*/ 2530 w 737797"/>
                <a:gd name="connsiteY7" fmla="*/ 243872 h 442678"/>
                <a:gd name="connsiteX8" fmla="*/ 40473 w 737797"/>
                <a:gd name="connsiteY8" fmla="*/ 146905 h 442678"/>
                <a:gd name="connsiteX9" fmla="*/ 105119 w 737797"/>
                <a:gd name="connsiteY9" fmla="*/ 160255 h 442678"/>
                <a:gd name="connsiteX10" fmla="*/ 127604 w 737797"/>
                <a:gd name="connsiteY10" fmla="*/ 175714 h 442678"/>
                <a:gd name="connsiteX11" fmla="*/ 149386 w 737797"/>
                <a:gd name="connsiteY11" fmla="*/ 143391 h 442678"/>
                <a:gd name="connsiteX12" fmla="*/ 148684 w 737797"/>
                <a:gd name="connsiteY12" fmla="*/ 23236 h 442678"/>
                <a:gd name="connsiteX13" fmla="*/ 170466 w 737797"/>
                <a:gd name="connsiteY13" fmla="*/ 48 h 442678"/>
                <a:gd name="connsiteX14" fmla="*/ 290622 w 737797"/>
                <a:gd name="connsiteY14" fmla="*/ 751 h 442678"/>
                <a:gd name="connsiteX15" fmla="*/ 330673 w 737797"/>
                <a:gd name="connsiteY15" fmla="*/ 19722 h 442678"/>
                <a:gd name="connsiteX16" fmla="*/ 327160 w 737797"/>
                <a:gd name="connsiteY16" fmla="*/ 59072 h 442678"/>
                <a:gd name="connsiteX17" fmla="*/ 301864 w 737797"/>
                <a:gd name="connsiteY17" fmla="*/ 105447 h 442678"/>
                <a:gd name="connsiteX18" fmla="*/ 357375 w 737797"/>
                <a:gd name="connsiteY18" fmla="*/ 148310 h 442678"/>
                <a:gd name="connsiteX19" fmla="*/ 419209 w 737797"/>
                <a:gd name="connsiteY19" fmla="*/ 132851 h 442678"/>
                <a:gd name="connsiteX20" fmla="*/ 419209 w 737797"/>
                <a:gd name="connsiteY20" fmla="*/ 63287 h 442678"/>
                <a:gd name="connsiteX21" fmla="*/ 401643 w 737797"/>
                <a:gd name="connsiteY21" fmla="*/ 35884 h 442678"/>
                <a:gd name="connsiteX22" fmla="*/ 437478 w 737797"/>
                <a:gd name="connsiteY22" fmla="*/ 2156 h 442678"/>
                <a:gd name="connsiteX23" fmla="*/ 582228 w 737797"/>
                <a:gd name="connsiteY23" fmla="*/ 751 h 442678"/>
                <a:gd name="connsiteX24" fmla="*/ 591362 w 737797"/>
                <a:gd name="connsiteY24" fmla="*/ 19020 h 442678"/>
                <a:gd name="connsiteX25" fmla="*/ 591362 w 737797"/>
                <a:gd name="connsiteY25" fmla="*/ 134257 h 442678"/>
                <a:gd name="connsiteX26" fmla="*/ 596983 w 737797"/>
                <a:gd name="connsiteY26" fmla="*/ 160255 h 442678"/>
                <a:gd name="connsiteX27" fmla="*/ 634224 w 737797"/>
                <a:gd name="connsiteY27" fmla="*/ 164471 h 442678"/>
                <a:gd name="connsiteX28" fmla="*/ 722760 w 737797"/>
                <a:gd name="connsiteY28" fmla="*/ 165174 h 442678"/>
                <a:gd name="connsiteX29" fmla="*/ 695356 w 737797"/>
                <a:gd name="connsiteY29" fmla="*/ 298680 h 442678"/>
                <a:gd name="connsiteX30" fmla="*/ 637035 w 737797"/>
                <a:gd name="connsiteY30" fmla="*/ 283221 h 442678"/>
                <a:gd name="connsiteX31" fmla="*/ 613144 w 737797"/>
                <a:gd name="connsiteY31" fmla="*/ 267060 h 442678"/>
                <a:gd name="connsiteX32" fmla="*/ 591362 w 737797"/>
                <a:gd name="connsiteY32" fmla="*/ 302193 h 442678"/>
                <a:gd name="connsiteX33" fmla="*/ 592065 w 737797"/>
                <a:gd name="connsiteY33" fmla="*/ 420241 h 442678"/>
                <a:gd name="connsiteX34" fmla="*/ 570282 w 737797"/>
                <a:gd name="connsiteY34" fmla="*/ 442726 h 442678"/>
                <a:gd name="connsiteX35" fmla="*/ 370725 w 737797"/>
                <a:gd name="connsiteY35" fmla="*/ 441321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37797" h="442678">
                  <a:moveTo>
                    <a:pt x="370725" y="441321"/>
                  </a:moveTo>
                  <a:cubicBezTo>
                    <a:pt x="306783" y="441321"/>
                    <a:pt x="242840" y="440618"/>
                    <a:pt x="178898" y="442023"/>
                  </a:cubicBezTo>
                  <a:cubicBezTo>
                    <a:pt x="155710" y="442726"/>
                    <a:pt x="146576" y="438510"/>
                    <a:pt x="148684" y="413214"/>
                  </a:cubicBezTo>
                  <a:cubicBezTo>
                    <a:pt x="151494" y="376676"/>
                    <a:pt x="149386" y="340137"/>
                    <a:pt x="149386" y="303599"/>
                  </a:cubicBezTo>
                  <a:cubicBezTo>
                    <a:pt x="149386" y="292356"/>
                    <a:pt x="147981" y="282519"/>
                    <a:pt x="138846" y="274087"/>
                  </a:cubicBezTo>
                  <a:cubicBezTo>
                    <a:pt x="128306" y="264250"/>
                    <a:pt x="119874" y="260736"/>
                    <a:pt x="110037" y="274790"/>
                  </a:cubicBezTo>
                  <a:cubicBezTo>
                    <a:pt x="96686" y="293761"/>
                    <a:pt x="79823" y="309923"/>
                    <a:pt x="55230" y="301491"/>
                  </a:cubicBezTo>
                  <a:cubicBezTo>
                    <a:pt x="28528" y="292356"/>
                    <a:pt x="8853" y="274087"/>
                    <a:pt x="2530" y="243872"/>
                  </a:cubicBezTo>
                  <a:cubicBezTo>
                    <a:pt x="-5902" y="201010"/>
                    <a:pt x="6746" y="166579"/>
                    <a:pt x="40473" y="146905"/>
                  </a:cubicBezTo>
                  <a:cubicBezTo>
                    <a:pt x="65067" y="132148"/>
                    <a:pt x="82633" y="136365"/>
                    <a:pt x="105119" y="160255"/>
                  </a:cubicBezTo>
                  <a:cubicBezTo>
                    <a:pt x="111443" y="167282"/>
                    <a:pt x="114956" y="181335"/>
                    <a:pt x="127604" y="175714"/>
                  </a:cubicBezTo>
                  <a:cubicBezTo>
                    <a:pt x="140252" y="170092"/>
                    <a:pt x="149386" y="159552"/>
                    <a:pt x="149386" y="143391"/>
                  </a:cubicBezTo>
                  <a:cubicBezTo>
                    <a:pt x="149386" y="103339"/>
                    <a:pt x="150089" y="63287"/>
                    <a:pt x="148684" y="23236"/>
                  </a:cubicBezTo>
                  <a:cubicBezTo>
                    <a:pt x="147981" y="6372"/>
                    <a:pt x="150792" y="-655"/>
                    <a:pt x="170466" y="48"/>
                  </a:cubicBezTo>
                  <a:cubicBezTo>
                    <a:pt x="210518" y="2156"/>
                    <a:pt x="250570" y="751"/>
                    <a:pt x="290622" y="751"/>
                  </a:cubicBezTo>
                  <a:cubicBezTo>
                    <a:pt x="307486" y="751"/>
                    <a:pt x="320836" y="7074"/>
                    <a:pt x="330673" y="19722"/>
                  </a:cubicBezTo>
                  <a:cubicBezTo>
                    <a:pt x="341916" y="33775"/>
                    <a:pt x="344024" y="46424"/>
                    <a:pt x="327160" y="59072"/>
                  </a:cubicBezTo>
                  <a:cubicBezTo>
                    <a:pt x="312404" y="70314"/>
                    <a:pt x="292730" y="82259"/>
                    <a:pt x="301864" y="105447"/>
                  </a:cubicBezTo>
                  <a:cubicBezTo>
                    <a:pt x="311702" y="129338"/>
                    <a:pt x="329268" y="146202"/>
                    <a:pt x="357375" y="148310"/>
                  </a:cubicBezTo>
                  <a:cubicBezTo>
                    <a:pt x="379860" y="150418"/>
                    <a:pt x="400940" y="149013"/>
                    <a:pt x="419209" y="132851"/>
                  </a:cubicBezTo>
                  <a:cubicBezTo>
                    <a:pt x="448018" y="106150"/>
                    <a:pt x="448018" y="89286"/>
                    <a:pt x="419209" y="63287"/>
                  </a:cubicBezTo>
                  <a:cubicBezTo>
                    <a:pt x="410777" y="56261"/>
                    <a:pt x="396724" y="50640"/>
                    <a:pt x="401643" y="35884"/>
                  </a:cubicBezTo>
                  <a:cubicBezTo>
                    <a:pt x="407264" y="19020"/>
                    <a:pt x="418506" y="2859"/>
                    <a:pt x="437478" y="2156"/>
                  </a:cubicBezTo>
                  <a:cubicBezTo>
                    <a:pt x="485962" y="48"/>
                    <a:pt x="534446" y="751"/>
                    <a:pt x="582228" y="751"/>
                  </a:cubicBezTo>
                  <a:cubicBezTo>
                    <a:pt x="596983" y="751"/>
                    <a:pt x="591362" y="11993"/>
                    <a:pt x="591362" y="19020"/>
                  </a:cubicBezTo>
                  <a:cubicBezTo>
                    <a:pt x="592065" y="57666"/>
                    <a:pt x="591362" y="95610"/>
                    <a:pt x="591362" y="134257"/>
                  </a:cubicBezTo>
                  <a:cubicBezTo>
                    <a:pt x="591362" y="143391"/>
                    <a:pt x="592065" y="152526"/>
                    <a:pt x="596983" y="160255"/>
                  </a:cubicBezTo>
                  <a:cubicBezTo>
                    <a:pt x="608929" y="179930"/>
                    <a:pt x="618766" y="180632"/>
                    <a:pt x="634224" y="164471"/>
                  </a:cubicBezTo>
                  <a:cubicBezTo>
                    <a:pt x="665142" y="130041"/>
                    <a:pt x="692545" y="130743"/>
                    <a:pt x="722760" y="165174"/>
                  </a:cubicBezTo>
                  <a:cubicBezTo>
                    <a:pt x="758596" y="205928"/>
                    <a:pt x="743840" y="274790"/>
                    <a:pt x="695356" y="298680"/>
                  </a:cubicBezTo>
                  <a:cubicBezTo>
                    <a:pt x="671465" y="310625"/>
                    <a:pt x="653899" y="300788"/>
                    <a:pt x="637035" y="283221"/>
                  </a:cubicBezTo>
                  <a:cubicBezTo>
                    <a:pt x="630711" y="276195"/>
                    <a:pt x="627901" y="260033"/>
                    <a:pt x="613144" y="267060"/>
                  </a:cubicBezTo>
                  <a:cubicBezTo>
                    <a:pt x="599794" y="273384"/>
                    <a:pt x="591362" y="285330"/>
                    <a:pt x="591362" y="302193"/>
                  </a:cubicBezTo>
                  <a:cubicBezTo>
                    <a:pt x="591362" y="341543"/>
                    <a:pt x="590659" y="380892"/>
                    <a:pt x="592065" y="420241"/>
                  </a:cubicBezTo>
                  <a:cubicBezTo>
                    <a:pt x="592767" y="437807"/>
                    <a:pt x="588551" y="443429"/>
                    <a:pt x="570282" y="442726"/>
                  </a:cubicBezTo>
                  <a:cubicBezTo>
                    <a:pt x="504232" y="440618"/>
                    <a:pt x="437478" y="441321"/>
                    <a:pt x="370725" y="44132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0FB8B94A-449E-4972-B973-B35FDAADE8A5}"/>
                </a:ext>
              </a:extLst>
            </p:cNvPr>
            <p:cNvSpPr/>
            <p:nvPr/>
          </p:nvSpPr>
          <p:spPr>
            <a:xfrm>
              <a:off x="2019223" y="746850"/>
              <a:ext cx="1282731" cy="769640"/>
            </a:xfrm>
            <a:custGeom>
              <a:avLst/>
              <a:gdLst>
                <a:gd name="connsiteX0" fmla="*/ 220814 w 737797"/>
                <a:gd name="connsiteY0" fmla="*/ 442759 h 442678"/>
                <a:gd name="connsiteX1" fmla="*/ 153359 w 737797"/>
                <a:gd name="connsiteY1" fmla="*/ 437841 h 442678"/>
                <a:gd name="connsiteX2" fmla="*/ 149143 w 737797"/>
                <a:gd name="connsiteY2" fmla="*/ 366169 h 442678"/>
                <a:gd name="connsiteX3" fmla="*/ 149143 w 737797"/>
                <a:gd name="connsiteY3" fmla="*/ 302929 h 442678"/>
                <a:gd name="connsiteX4" fmla="*/ 127360 w 737797"/>
                <a:gd name="connsiteY4" fmla="*/ 267796 h 442678"/>
                <a:gd name="connsiteX5" fmla="*/ 103470 w 737797"/>
                <a:gd name="connsiteY5" fmla="*/ 283957 h 442678"/>
                <a:gd name="connsiteX6" fmla="*/ 31095 w 737797"/>
                <a:gd name="connsiteY6" fmla="*/ 290984 h 442678"/>
                <a:gd name="connsiteX7" fmla="*/ 28987 w 737797"/>
                <a:gd name="connsiteY7" fmla="*/ 153965 h 442678"/>
                <a:gd name="connsiteX8" fmla="*/ 102767 w 737797"/>
                <a:gd name="connsiteY8" fmla="*/ 160288 h 442678"/>
                <a:gd name="connsiteX9" fmla="*/ 127360 w 737797"/>
                <a:gd name="connsiteY9" fmla="*/ 175747 h 442678"/>
                <a:gd name="connsiteX10" fmla="*/ 148440 w 737797"/>
                <a:gd name="connsiteY10" fmla="*/ 142722 h 442678"/>
                <a:gd name="connsiteX11" fmla="*/ 147738 w 737797"/>
                <a:gd name="connsiteY11" fmla="*/ 24674 h 442678"/>
                <a:gd name="connsiteX12" fmla="*/ 173736 w 737797"/>
                <a:gd name="connsiteY12" fmla="*/ 81 h 442678"/>
                <a:gd name="connsiteX13" fmla="*/ 288973 w 737797"/>
                <a:gd name="connsiteY13" fmla="*/ 81 h 442678"/>
                <a:gd name="connsiteX14" fmla="*/ 325511 w 737797"/>
                <a:gd name="connsiteY14" fmla="*/ 14134 h 442678"/>
                <a:gd name="connsiteX15" fmla="*/ 323404 w 737797"/>
                <a:gd name="connsiteY15" fmla="*/ 60510 h 442678"/>
                <a:gd name="connsiteX16" fmla="*/ 300918 w 737797"/>
                <a:gd name="connsiteY16" fmla="*/ 100562 h 442678"/>
                <a:gd name="connsiteX17" fmla="*/ 342376 w 737797"/>
                <a:gd name="connsiteY17" fmla="*/ 144127 h 442678"/>
                <a:gd name="connsiteX18" fmla="*/ 425290 w 737797"/>
                <a:gd name="connsiteY18" fmla="*/ 125155 h 442678"/>
                <a:gd name="connsiteX19" fmla="*/ 421074 w 737797"/>
                <a:gd name="connsiteY19" fmla="*/ 64726 h 442678"/>
                <a:gd name="connsiteX20" fmla="*/ 401399 w 737797"/>
                <a:gd name="connsiteY20" fmla="*/ 33106 h 442678"/>
                <a:gd name="connsiteX21" fmla="*/ 441451 w 737797"/>
                <a:gd name="connsiteY21" fmla="*/ 783 h 442678"/>
                <a:gd name="connsiteX22" fmla="*/ 578470 w 737797"/>
                <a:gd name="connsiteY22" fmla="*/ 81 h 442678"/>
                <a:gd name="connsiteX23" fmla="*/ 591821 w 737797"/>
                <a:gd name="connsiteY23" fmla="*/ 17648 h 442678"/>
                <a:gd name="connsiteX24" fmla="*/ 591821 w 737797"/>
                <a:gd name="connsiteY24" fmla="*/ 135695 h 442678"/>
                <a:gd name="connsiteX25" fmla="*/ 602361 w 737797"/>
                <a:gd name="connsiteY25" fmla="*/ 168018 h 442678"/>
                <a:gd name="connsiteX26" fmla="*/ 631170 w 737797"/>
                <a:gd name="connsiteY26" fmla="*/ 166612 h 442678"/>
                <a:gd name="connsiteX27" fmla="*/ 683168 w 737797"/>
                <a:gd name="connsiteY27" fmla="*/ 139208 h 442678"/>
                <a:gd name="connsiteX28" fmla="*/ 737975 w 737797"/>
                <a:gd name="connsiteY28" fmla="*/ 194719 h 442678"/>
                <a:gd name="connsiteX29" fmla="*/ 711977 w 737797"/>
                <a:gd name="connsiteY29" fmla="*/ 286768 h 442678"/>
                <a:gd name="connsiteX30" fmla="*/ 636089 w 737797"/>
                <a:gd name="connsiteY30" fmla="*/ 281849 h 442678"/>
                <a:gd name="connsiteX31" fmla="*/ 614306 w 737797"/>
                <a:gd name="connsiteY31" fmla="*/ 266391 h 442678"/>
                <a:gd name="connsiteX32" fmla="*/ 592524 w 737797"/>
                <a:gd name="connsiteY32" fmla="*/ 298011 h 442678"/>
                <a:gd name="connsiteX33" fmla="*/ 593226 w 737797"/>
                <a:gd name="connsiteY33" fmla="*/ 418166 h 442678"/>
                <a:gd name="connsiteX34" fmla="*/ 571444 w 737797"/>
                <a:gd name="connsiteY34" fmla="*/ 441354 h 442678"/>
                <a:gd name="connsiteX35" fmla="*/ 453396 w 737797"/>
                <a:gd name="connsiteY35" fmla="*/ 441354 h 442678"/>
                <a:gd name="connsiteX36" fmla="*/ 411939 w 737797"/>
                <a:gd name="connsiteY36" fmla="*/ 424490 h 442678"/>
                <a:gd name="connsiteX37" fmla="*/ 415452 w 737797"/>
                <a:gd name="connsiteY37" fmla="*/ 380925 h 442678"/>
                <a:gd name="connsiteX38" fmla="*/ 439343 w 737797"/>
                <a:gd name="connsiteY38" fmla="*/ 338765 h 442678"/>
                <a:gd name="connsiteX39" fmla="*/ 394372 w 737797"/>
                <a:gd name="connsiteY39" fmla="*/ 295902 h 442678"/>
                <a:gd name="connsiteX40" fmla="*/ 318485 w 737797"/>
                <a:gd name="connsiteY40" fmla="*/ 312766 h 442678"/>
                <a:gd name="connsiteX41" fmla="*/ 320593 w 737797"/>
                <a:gd name="connsiteY41" fmla="*/ 377412 h 442678"/>
                <a:gd name="connsiteX42" fmla="*/ 338862 w 737797"/>
                <a:gd name="connsiteY42" fmla="*/ 409032 h 442678"/>
                <a:gd name="connsiteX43" fmla="*/ 298107 w 737797"/>
                <a:gd name="connsiteY43" fmla="*/ 440651 h 442678"/>
                <a:gd name="connsiteX44" fmla="*/ 220814 w 737797"/>
                <a:gd name="connsiteY44" fmla="*/ 44275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37797" h="442678">
                  <a:moveTo>
                    <a:pt x="220814" y="442759"/>
                  </a:moveTo>
                  <a:cubicBezTo>
                    <a:pt x="201140" y="440651"/>
                    <a:pt x="167412" y="454002"/>
                    <a:pt x="153359" y="437841"/>
                  </a:cubicBezTo>
                  <a:cubicBezTo>
                    <a:pt x="140711" y="423787"/>
                    <a:pt x="149845" y="390762"/>
                    <a:pt x="149143" y="366169"/>
                  </a:cubicBezTo>
                  <a:cubicBezTo>
                    <a:pt x="149143" y="345089"/>
                    <a:pt x="148440" y="324009"/>
                    <a:pt x="149143" y="302929"/>
                  </a:cubicBezTo>
                  <a:cubicBezTo>
                    <a:pt x="149845" y="286065"/>
                    <a:pt x="141413" y="274120"/>
                    <a:pt x="127360" y="267796"/>
                  </a:cubicBezTo>
                  <a:cubicBezTo>
                    <a:pt x="112604" y="260769"/>
                    <a:pt x="109794" y="276931"/>
                    <a:pt x="103470" y="283957"/>
                  </a:cubicBezTo>
                  <a:cubicBezTo>
                    <a:pt x="79579" y="309253"/>
                    <a:pt x="59905" y="309956"/>
                    <a:pt x="31095" y="290984"/>
                  </a:cubicBezTo>
                  <a:cubicBezTo>
                    <a:pt x="-10362" y="263580"/>
                    <a:pt x="-9659" y="181368"/>
                    <a:pt x="28987" y="153965"/>
                  </a:cubicBezTo>
                  <a:cubicBezTo>
                    <a:pt x="58499" y="133587"/>
                    <a:pt x="78174" y="133587"/>
                    <a:pt x="102767" y="160288"/>
                  </a:cubicBezTo>
                  <a:cubicBezTo>
                    <a:pt x="109091" y="167315"/>
                    <a:pt x="112604" y="183476"/>
                    <a:pt x="127360" y="175747"/>
                  </a:cubicBezTo>
                  <a:cubicBezTo>
                    <a:pt x="140008" y="169423"/>
                    <a:pt x="148440" y="158883"/>
                    <a:pt x="148440" y="142722"/>
                  </a:cubicBezTo>
                  <a:cubicBezTo>
                    <a:pt x="148440" y="103373"/>
                    <a:pt x="149845" y="64023"/>
                    <a:pt x="147738" y="24674"/>
                  </a:cubicBezTo>
                  <a:cubicBezTo>
                    <a:pt x="146332" y="2892"/>
                    <a:pt x="154061" y="-621"/>
                    <a:pt x="173736" y="81"/>
                  </a:cubicBezTo>
                  <a:cubicBezTo>
                    <a:pt x="211680" y="1486"/>
                    <a:pt x="250326" y="783"/>
                    <a:pt x="288973" y="81"/>
                  </a:cubicBezTo>
                  <a:cubicBezTo>
                    <a:pt x="303729" y="81"/>
                    <a:pt x="315674" y="3594"/>
                    <a:pt x="325511" y="14134"/>
                  </a:cubicBezTo>
                  <a:cubicBezTo>
                    <a:pt x="343781" y="33106"/>
                    <a:pt x="343781" y="42943"/>
                    <a:pt x="323404" y="60510"/>
                  </a:cubicBezTo>
                  <a:cubicBezTo>
                    <a:pt x="310756" y="71050"/>
                    <a:pt x="295999" y="80887"/>
                    <a:pt x="300918" y="100562"/>
                  </a:cubicBezTo>
                  <a:cubicBezTo>
                    <a:pt x="306539" y="122345"/>
                    <a:pt x="320593" y="137803"/>
                    <a:pt x="342376" y="144127"/>
                  </a:cubicBezTo>
                  <a:cubicBezTo>
                    <a:pt x="373292" y="152559"/>
                    <a:pt x="402102" y="151154"/>
                    <a:pt x="425290" y="125155"/>
                  </a:cubicBezTo>
                  <a:cubicBezTo>
                    <a:pt x="446370" y="101967"/>
                    <a:pt x="444964" y="85103"/>
                    <a:pt x="421074" y="64726"/>
                  </a:cubicBezTo>
                  <a:cubicBezTo>
                    <a:pt x="411237" y="56294"/>
                    <a:pt x="395075" y="49970"/>
                    <a:pt x="401399" y="33106"/>
                  </a:cubicBezTo>
                  <a:cubicBezTo>
                    <a:pt x="408426" y="14837"/>
                    <a:pt x="421074" y="783"/>
                    <a:pt x="441451" y="783"/>
                  </a:cubicBezTo>
                  <a:cubicBezTo>
                    <a:pt x="487124" y="81"/>
                    <a:pt x="532797" y="783"/>
                    <a:pt x="578470" y="81"/>
                  </a:cubicBezTo>
                  <a:cubicBezTo>
                    <a:pt x="592524" y="81"/>
                    <a:pt x="591821" y="8513"/>
                    <a:pt x="591821" y="17648"/>
                  </a:cubicBezTo>
                  <a:cubicBezTo>
                    <a:pt x="591821" y="56997"/>
                    <a:pt x="591821" y="96346"/>
                    <a:pt x="591821" y="135695"/>
                  </a:cubicBezTo>
                  <a:cubicBezTo>
                    <a:pt x="591821" y="147640"/>
                    <a:pt x="592524" y="158883"/>
                    <a:pt x="602361" y="168018"/>
                  </a:cubicBezTo>
                  <a:cubicBezTo>
                    <a:pt x="612901" y="177855"/>
                    <a:pt x="621333" y="180666"/>
                    <a:pt x="631170" y="166612"/>
                  </a:cubicBezTo>
                  <a:cubicBezTo>
                    <a:pt x="643818" y="149046"/>
                    <a:pt x="659277" y="132182"/>
                    <a:pt x="683168" y="139208"/>
                  </a:cubicBezTo>
                  <a:cubicBezTo>
                    <a:pt x="710571" y="146938"/>
                    <a:pt x="731651" y="165207"/>
                    <a:pt x="737975" y="194719"/>
                  </a:cubicBezTo>
                  <a:cubicBezTo>
                    <a:pt x="745002" y="229149"/>
                    <a:pt x="742191" y="261472"/>
                    <a:pt x="711977" y="286768"/>
                  </a:cubicBezTo>
                  <a:cubicBezTo>
                    <a:pt x="683168" y="309956"/>
                    <a:pt x="660682" y="308551"/>
                    <a:pt x="636089" y="281849"/>
                  </a:cubicBezTo>
                  <a:cubicBezTo>
                    <a:pt x="629765" y="275525"/>
                    <a:pt x="626954" y="260769"/>
                    <a:pt x="614306" y="266391"/>
                  </a:cubicBezTo>
                  <a:cubicBezTo>
                    <a:pt x="601658" y="272012"/>
                    <a:pt x="592524" y="282552"/>
                    <a:pt x="592524" y="298011"/>
                  </a:cubicBezTo>
                  <a:cubicBezTo>
                    <a:pt x="592524" y="338062"/>
                    <a:pt x="591821" y="378114"/>
                    <a:pt x="593226" y="418166"/>
                  </a:cubicBezTo>
                  <a:cubicBezTo>
                    <a:pt x="593929" y="435030"/>
                    <a:pt x="590416" y="442057"/>
                    <a:pt x="571444" y="441354"/>
                  </a:cubicBezTo>
                  <a:cubicBezTo>
                    <a:pt x="532095" y="439948"/>
                    <a:pt x="492745" y="440651"/>
                    <a:pt x="453396" y="441354"/>
                  </a:cubicBezTo>
                  <a:cubicBezTo>
                    <a:pt x="436532" y="441354"/>
                    <a:pt x="423182" y="437138"/>
                    <a:pt x="411939" y="424490"/>
                  </a:cubicBezTo>
                  <a:cubicBezTo>
                    <a:pt x="397886" y="408329"/>
                    <a:pt x="396480" y="394275"/>
                    <a:pt x="415452" y="380925"/>
                  </a:cubicBezTo>
                  <a:cubicBezTo>
                    <a:pt x="429506" y="371087"/>
                    <a:pt x="445667" y="359142"/>
                    <a:pt x="439343" y="338765"/>
                  </a:cubicBezTo>
                  <a:cubicBezTo>
                    <a:pt x="432316" y="316982"/>
                    <a:pt x="417560" y="301524"/>
                    <a:pt x="394372" y="295902"/>
                  </a:cubicBezTo>
                  <a:cubicBezTo>
                    <a:pt x="366266" y="289579"/>
                    <a:pt x="340267" y="290984"/>
                    <a:pt x="318485" y="312766"/>
                  </a:cubicBezTo>
                  <a:cubicBezTo>
                    <a:pt x="294594" y="336657"/>
                    <a:pt x="295999" y="354224"/>
                    <a:pt x="320593" y="377412"/>
                  </a:cubicBezTo>
                  <a:cubicBezTo>
                    <a:pt x="329727" y="385844"/>
                    <a:pt x="347294" y="390060"/>
                    <a:pt x="338862" y="409032"/>
                  </a:cubicBezTo>
                  <a:cubicBezTo>
                    <a:pt x="330430" y="426598"/>
                    <a:pt x="319187" y="439948"/>
                    <a:pt x="298107" y="440651"/>
                  </a:cubicBezTo>
                  <a:cubicBezTo>
                    <a:pt x="274217" y="443462"/>
                    <a:pt x="250326" y="442759"/>
                    <a:pt x="220814" y="44275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2E6EA7B8-C8D4-43DF-ABA0-C345433E4947}"/>
                </a:ext>
              </a:extLst>
            </p:cNvPr>
            <p:cNvSpPr/>
            <p:nvPr/>
          </p:nvSpPr>
          <p:spPr>
            <a:xfrm>
              <a:off x="-8381" y="-8368"/>
              <a:ext cx="1026185" cy="769640"/>
            </a:xfrm>
            <a:custGeom>
              <a:avLst/>
              <a:gdLst>
                <a:gd name="connsiteX0" fmla="*/ 793 w 590237"/>
                <a:gd name="connsiteY0" fmla="*/ 221339 h 442678"/>
                <a:gd name="connsiteX1" fmla="*/ 90 w 590237"/>
                <a:gd name="connsiteY1" fmla="*/ 21080 h 442678"/>
                <a:gd name="connsiteX2" fmla="*/ 21873 w 590237"/>
                <a:gd name="connsiteY2" fmla="*/ 0 h 442678"/>
                <a:gd name="connsiteX3" fmla="*/ 424499 w 590237"/>
                <a:gd name="connsiteY3" fmla="*/ 0 h 442678"/>
                <a:gd name="connsiteX4" fmla="*/ 444174 w 590237"/>
                <a:gd name="connsiteY4" fmla="*/ 19675 h 442678"/>
                <a:gd name="connsiteX5" fmla="*/ 443471 w 590237"/>
                <a:gd name="connsiteY5" fmla="*/ 137722 h 442678"/>
                <a:gd name="connsiteX6" fmla="*/ 455416 w 590237"/>
                <a:gd name="connsiteY6" fmla="*/ 169342 h 442678"/>
                <a:gd name="connsiteX7" fmla="*/ 482118 w 590237"/>
                <a:gd name="connsiteY7" fmla="*/ 168639 h 442678"/>
                <a:gd name="connsiteX8" fmla="*/ 541142 w 590237"/>
                <a:gd name="connsiteY8" fmla="*/ 142641 h 442678"/>
                <a:gd name="connsiteX9" fmla="*/ 591030 w 590237"/>
                <a:gd name="connsiteY9" fmla="*/ 214313 h 442678"/>
                <a:gd name="connsiteX10" fmla="*/ 555195 w 590237"/>
                <a:gd name="connsiteY10" fmla="*/ 294416 h 442678"/>
                <a:gd name="connsiteX11" fmla="*/ 487739 w 590237"/>
                <a:gd name="connsiteY11" fmla="*/ 283876 h 442678"/>
                <a:gd name="connsiteX12" fmla="*/ 463848 w 590237"/>
                <a:gd name="connsiteY12" fmla="*/ 268418 h 442678"/>
                <a:gd name="connsiteX13" fmla="*/ 442769 w 590237"/>
                <a:gd name="connsiteY13" fmla="*/ 303551 h 442678"/>
                <a:gd name="connsiteX14" fmla="*/ 443471 w 590237"/>
                <a:gd name="connsiteY14" fmla="*/ 421598 h 442678"/>
                <a:gd name="connsiteX15" fmla="*/ 421689 w 590237"/>
                <a:gd name="connsiteY15" fmla="*/ 444786 h 442678"/>
                <a:gd name="connsiteX16" fmla="*/ 306452 w 590237"/>
                <a:gd name="connsiteY16" fmla="*/ 444786 h 442678"/>
                <a:gd name="connsiteX17" fmla="*/ 270616 w 590237"/>
                <a:gd name="connsiteY17" fmla="*/ 433544 h 442678"/>
                <a:gd name="connsiteX18" fmla="*/ 269210 w 590237"/>
                <a:gd name="connsiteY18" fmla="*/ 381547 h 442678"/>
                <a:gd name="connsiteX19" fmla="*/ 267103 w 590237"/>
                <a:gd name="connsiteY19" fmla="*/ 307767 h 442678"/>
                <a:gd name="connsiteX20" fmla="*/ 157487 w 590237"/>
                <a:gd name="connsiteY20" fmla="*/ 330252 h 442678"/>
                <a:gd name="connsiteX21" fmla="*/ 170135 w 590237"/>
                <a:gd name="connsiteY21" fmla="*/ 377331 h 442678"/>
                <a:gd name="connsiteX22" fmla="*/ 189810 w 590237"/>
                <a:gd name="connsiteY22" fmla="*/ 411761 h 442678"/>
                <a:gd name="connsiteX23" fmla="*/ 145542 w 590237"/>
                <a:gd name="connsiteY23" fmla="*/ 444084 h 442678"/>
                <a:gd name="connsiteX24" fmla="*/ 14144 w 590237"/>
                <a:gd name="connsiteY24" fmla="*/ 444786 h 442678"/>
                <a:gd name="connsiteX25" fmla="*/ 90 w 590237"/>
                <a:gd name="connsiteY25" fmla="*/ 425112 h 442678"/>
                <a:gd name="connsiteX26" fmla="*/ 793 w 590237"/>
                <a:gd name="connsiteY26" fmla="*/ 22133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0237" h="442678">
                  <a:moveTo>
                    <a:pt x="793" y="221339"/>
                  </a:moveTo>
                  <a:cubicBezTo>
                    <a:pt x="793" y="154586"/>
                    <a:pt x="1495" y="87833"/>
                    <a:pt x="90" y="21080"/>
                  </a:cubicBezTo>
                  <a:cubicBezTo>
                    <a:pt x="90" y="4216"/>
                    <a:pt x="5009" y="0"/>
                    <a:pt x="21873" y="0"/>
                  </a:cubicBezTo>
                  <a:cubicBezTo>
                    <a:pt x="156082" y="703"/>
                    <a:pt x="290290" y="703"/>
                    <a:pt x="424499" y="0"/>
                  </a:cubicBezTo>
                  <a:cubicBezTo>
                    <a:pt x="439958" y="0"/>
                    <a:pt x="444876" y="4216"/>
                    <a:pt x="444174" y="19675"/>
                  </a:cubicBezTo>
                  <a:cubicBezTo>
                    <a:pt x="442769" y="59024"/>
                    <a:pt x="444174" y="98373"/>
                    <a:pt x="443471" y="137722"/>
                  </a:cubicBezTo>
                  <a:cubicBezTo>
                    <a:pt x="443471" y="150370"/>
                    <a:pt x="446282" y="160910"/>
                    <a:pt x="455416" y="169342"/>
                  </a:cubicBezTo>
                  <a:cubicBezTo>
                    <a:pt x="465254" y="178477"/>
                    <a:pt x="472983" y="180585"/>
                    <a:pt x="482118" y="168639"/>
                  </a:cubicBezTo>
                  <a:cubicBezTo>
                    <a:pt x="496874" y="149667"/>
                    <a:pt x="513035" y="131398"/>
                    <a:pt x="541142" y="142641"/>
                  </a:cubicBezTo>
                  <a:cubicBezTo>
                    <a:pt x="571356" y="154586"/>
                    <a:pt x="588923" y="181287"/>
                    <a:pt x="591030" y="214313"/>
                  </a:cubicBezTo>
                  <a:cubicBezTo>
                    <a:pt x="593139" y="248040"/>
                    <a:pt x="584707" y="275444"/>
                    <a:pt x="555195" y="294416"/>
                  </a:cubicBezTo>
                  <a:cubicBezTo>
                    <a:pt x="529899" y="311280"/>
                    <a:pt x="510224" y="307767"/>
                    <a:pt x="487739" y="283876"/>
                  </a:cubicBezTo>
                  <a:cubicBezTo>
                    <a:pt x="481415" y="276850"/>
                    <a:pt x="478604" y="260688"/>
                    <a:pt x="463848" y="268418"/>
                  </a:cubicBezTo>
                  <a:cubicBezTo>
                    <a:pt x="449795" y="275444"/>
                    <a:pt x="442066" y="286687"/>
                    <a:pt x="442769" y="303551"/>
                  </a:cubicBezTo>
                  <a:cubicBezTo>
                    <a:pt x="443471" y="342900"/>
                    <a:pt x="442066" y="382249"/>
                    <a:pt x="443471" y="421598"/>
                  </a:cubicBezTo>
                  <a:cubicBezTo>
                    <a:pt x="444174" y="438462"/>
                    <a:pt x="440660" y="445489"/>
                    <a:pt x="421689" y="444786"/>
                  </a:cubicBezTo>
                  <a:cubicBezTo>
                    <a:pt x="383745" y="443381"/>
                    <a:pt x="345098" y="444084"/>
                    <a:pt x="306452" y="444786"/>
                  </a:cubicBezTo>
                  <a:cubicBezTo>
                    <a:pt x="293101" y="444786"/>
                    <a:pt x="281156" y="441976"/>
                    <a:pt x="270616" y="433544"/>
                  </a:cubicBezTo>
                  <a:cubicBezTo>
                    <a:pt x="248131" y="415274"/>
                    <a:pt x="247428" y="400518"/>
                    <a:pt x="269210" y="381547"/>
                  </a:cubicBezTo>
                  <a:cubicBezTo>
                    <a:pt x="298722" y="355548"/>
                    <a:pt x="298020" y="332360"/>
                    <a:pt x="267103" y="307767"/>
                  </a:cubicBezTo>
                  <a:cubicBezTo>
                    <a:pt x="234077" y="281768"/>
                    <a:pt x="177864" y="293714"/>
                    <a:pt x="157487" y="330252"/>
                  </a:cubicBezTo>
                  <a:cubicBezTo>
                    <a:pt x="146244" y="350629"/>
                    <a:pt x="155379" y="363980"/>
                    <a:pt x="170135" y="377331"/>
                  </a:cubicBezTo>
                  <a:cubicBezTo>
                    <a:pt x="180675" y="386465"/>
                    <a:pt x="198241" y="392789"/>
                    <a:pt x="189810" y="411761"/>
                  </a:cubicBezTo>
                  <a:cubicBezTo>
                    <a:pt x="181377" y="430030"/>
                    <a:pt x="167324" y="443381"/>
                    <a:pt x="145542" y="444084"/>
                  </a:cubicBezTo>
                  <a:cubicBezTo>
                    <a:pt x="101977" y="444786"/>
                    <a:pt x="57709" y="444084"/>
                    <a:pt x="14144" y="444786"/>
                  </a:cubicBezTo>
                  <a:cubicBezTo>
                    <a:pt x="-2018" y="444786"/>
                    <a:pt x="90" y="434949"/>
                    <a:pt x="90" y="425112"/>
                  </a:cubicBezTo>
                  <a:cubicBezTo>
                    <a:pt x="793" y="356251"/>
                    <a:pt x="793" y="288795"/>
                    <a:pt x="793" y="22133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D82B0CA8-6843-4C66-82A9-7443E6B655FF}"/>
                </a:ext>
              </a:extLst>
            </p:cNvPr>
            <p:cNvSpPr/>
            <p:nvPr/>
          </p:nvSpPr>
          <p:spPr>
            <a:xfrm>
              <a:off x="11446318" y="-19638"/>
              <a:ext cx="769640" cy="1026186"/>
            </a:xfrm>
            <a:custGeom>
              <a:avLst/>
              <a:gdLst>
                <a:gd name="connsiteX0" fmla="*/ 220672 w 442678"/>
                <a:gd name="connsiteY0" fmla="*/ 1219 h 590237"/>
                <a:gd name="connsiteX1" fmla="*/ 420228 w 442678"/>
                <a:gd name="connsiteY1" fmla="*/ 516 h 590237"/>
                <a:gd name="connsiteX2" fmla="*/ 443416 w 442678"/>
                <a:gd name="connsiteY2" fmla="*/ 23002 h 590237"/>
                <a:gd name="connsiteX3" fmla="*/ 443416 w 442678"/>
                <a:gd name="connsiteY3" fmla="*/ 420007 h 590237"/>
                <a:gd name="connsiteX4" fmla="*/ 419526 w 442678"/>
                <a:gd name="connsiteY4" fmla="*/ 443897 h 590237"/>
                <a:gd name="connsiteX5" fmla="*/ 304289 w 442678"/>
                <a:gd name="connsiteY5" fmla="*/ 443194 h 590237"/>
                <a:gd name="connsiteX6" fmla="*/ 274777 w 442678"/>
                <a:gd name="connsiteY6" fmla="*/ 453734 h 590237"/>
                <a:gd name="connsiteX7" fmla="*/ 275480 w 442678"/>
                <a:gd name="connsiteY7" fmla="*/ 481841 h 590237"/>
                <a:gd name="connsiteX8" fmla="*/ 302181 w 442678"/>
                <a:gd name="connsiteY8" fmla="*/ 536649 h 590237"/>
                <a:gd name="connsiteX9" fmla="*/ 244562 w 442678"/>
                <a:gd name="connsiteY9" fmla="*/ 589349 h 590237"/>
                <a:gd name="connsiteX10" fmla="*/ 147595 w 442678"/>
                <a:gd name="connsiteY10" fmla="*/ 552107 h 590237"/>
                <a:gd name="connsiteX11" fmla="*/ 160243 w 442678"/>
                <a:gd name="connsiteY11" fmla="*/ 487462 h 590237"/>
                <a:gd name="connsiteX12" fmla="*/ 175701 w 442678"/>
                <a:gd name="connsiteY12" fmla="*/ 464977 h 590237"/>
                <a:gd name="connsiteX13" fmla="*/ 144081 w 442678"/>
                <a:gd name="connsiteY13" fmla="*/ 443194 h 590237"/>
                <a:gd name="connsiteX14" fmla="*/ 23926 w 442678"/>
                <a:gd name="connsiteY14" fmla="*/ 443897 h 590237"/>
                <a:gd name="connsiteX15" fmla="*/ 35 w 442678"/>
                <a:gd name="connsiteY15" fmla="*/ 419304 h 590237"/>
                <a:gd name="connsiteX16" fmla="*/ 35 w 442678"/>
                <a:gd name="connsiteY16" fmla="*/ 301959 h 590237"/>
                <a:gd name="connsiteX17" fmla="*/ 25331 w 442678"/>
                <a:gd name="connsiteY17" fmla="*/ 256989 h 590237"/>
                <a:gd name="connsiteX18" fmla="*/ 54843 w 442678"/>
                <a:gd name="connsiteY18" fmla="*/ 259799 h 590237"/>
                <a:gd name="connsiteX19" fmla="*/ 129325 w 442678"/>
                <a:gd name="connsiteY19" fmla="*/ 273852 h 590237"/>
                <a:gd name="connsiteX20" fmla="*/ 132839 w 442678"/>
                <a:gd name="connsiteY20" fmla="*/ 174074 h 590237"/>
                <a:gd name="connsiteX21" fmla="*/ 63275 w 442678"/>
                <a:gd name="connsiteY21" fmla="*/ 172669 h 590237"/>
                <a:gd name="connsiteX22" fmla="*/ 36574 w 442678"/>
                <a:gd name="connsiteY22" fmla="*/ 190938 h 590237"/>
                <a:gd name="connsiteX23" fmla="*/ 2143 w 442678"/>
                <a:gd name="connsiteY23" fmla="*/ 155805 h 590237"/>
                <a:gd name="connsiteX24" fmla="*/ 738 w 442678"/>
                <a:gd name="connsiteY24" fmla="*/ 11056 h 590237"/>
                <a:gd name="connsiteX25" fmla="*/ 21115 w 442678"/>
                <a:gd name="connsiteY25" fmla="*/ 1219 h 590237"/>
                <a:gd name="connsiteX26" fmla="*/ 220672 w 442678"/>
                <a:gd name="connsiteY26" fmla="*/ 1219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42678" h="590237">
                  <a:moveTo>
                    <a:pt x="220672" y="1219"/>
                  </a:moveTo>
                  <a:cubicBezTo>
                    <a:pt x="287425" y="1219"/>
                    <a:pt x="354178" y="1922"/>
                    <a:pt x="420228" y="516"/>
                  </a:cubicBezTo>
                  <a:cubicBezTo>
                    <a:pt x="437795" y="516"/>
                    <a:pt x="443416" y="4732"/>
                    <a:pt x="443416" y="23002"/>
                  </a:cubicBezTo>
                  <a:cubicBezTo>
                    <a:pt x="442714" y="155102"/>
                    <a:pt x="442714" y="287906"/>
                    <a:pt x="443416" y="420007"/>
                  </a:cubicBezTo>
                  <a:cubicBezTo>
                    <a:pt x="443416" y="438978"/>
                    <a:pt x="438498" y="444600"/>
                    <a:pt x="419526" y="443897"/>
                  </a:cubicBezTo>
                  <a:cubicBezTo>
                    <a:pt x="381582" y="442492"/>
                    <a:pt x="342935" y="443194"/>
                    <a:pt x="304289" y="443194"/>
                  </a:cubicBezTo>
                  <a:cubicBezTo>
                    <a:pt x="293046" y="443194"/>
                    <a:pt x="283209" y="444600"/>
                    <a:pt x="274777" y="453734"/>
                  </a:cubicBezTo>
                  <a:cubicBezTo>
                    <a:pt x="264940" y="463572"/>
                    <a:pt x="261426" y="472004"/>
                    <a:pt x="275480" y="481841"/>
                  </a:cubicBezTo>
                  <a:cubicBezTo>
                    <a:pt x="294451" y="494489"/>
                    <a:pt x="310613" y="511353"/>
                    <a:pt x="302181" y="536649"/>
                  </a:cubicBezTo>
                  <a:cubicBezTo>
                    <a:pt x="293046" y="564053"/>
                    <a:pt x="274777" y="583025"/>
                    <a:pt x="244562" y="589349"/>
                  </a:cubicBezTo>
                  <a:cubicBezTo>
                    <a:pt x="200997" y="597781"/>
                    <a:pt x="167269" y="585133"/>
                    <a:pt x="147595" y="552107"/>
                  </a:cubicBezTo>
                  <a:cubicBezTo>
                    <a:pt x="132136" y="526811"/>
                    <a:pt x="136352" y="509948"/>
                    <a:pt x="160243" y="487462"/>
                  </a:cubicBezTo>
                  <a:cubicBezTo>
                    <a:pt x="167269" y="481138"/>
                    <a:pt x="181323" y="478328"/>
                    <a:pt x="175701" y="464977"/>
                  </a:cubicBezTo>
                  <a:cubicBezTo>
                    <a:pt x="170080" y="452329"/>
                    <a:pt x="159540" y="443194"/>
                    <a:pt x="144081" y="443194"/>
                  </a:cubicBezTo>
                  <a:cubicBezTo>
                    <a:pt x="104030" y="443194"/>
                    <a:pt x="63978" y="441789"/>
                    <a:pt x="23926" y="443897"/>
                  </a:cubicBezTo>
                  <a:cubicBezTo>
                    <a:pt x="4251" y="444600"/>
                    <a:pt x="35" y="438276"/>
                    <a:pt x="35" y="419304"/>
                  </a:cubicBezTo>
                  <a:cubicBezTo>
                    <a:pt x="1441" y="379955"/>
                    <a:pt x="738" y="340605"/>
                    <a:pt x="35" y="301959"/>
                  </a:cubicBezTo>
                  <a:cubicBezTo>
                    <a:pt x="-667" y="281582"/>
                    <a:pt x="9170" y="267528"/>
                    <a:pt x="25331" y="256989"/>
                  </a:cubicBezTo>
                  <a:cubicBezTo>
                    <a:pt x="35871" y="249962"/>
                    <a:pt x="45006" y="250665"/>
                    <a:pt x="54843" y="259799"/>
                  </a:cubicBezTo>
                  <a:cubicBezTo>
                    <a:pt x="94895" y="297743"/>
                    <a:pt x="103327" y="299148"/>
                    <a:pt x="129325" y="273852"/>
                  </a:cubicBezTo>
                  <a:cubicBezTo>
                    <a:pt x="153919" y="249259"/>
                    <a:pt x="156027" y="200073"/>
                    <a:pt x="132839" y="174074"/>
                  </a:cubicBezTo>
                  <a:cubicBezTo>
                    <a:pt x="107543" y="144562"/>
                    <a:pt x="87868" y="144562"/>
                    <a:pt x="63275" y="172669"/>
                  </a:cubicBezTo>
                  <a:cubicBezTo>
                    <a:pt x="56248" y="181101"/>
                    <a:pt x="50627" y="195154"/>
                    <a:pt x="36574" y="190938"/>
                  </a:cubicBezTo>
                  <a:cubicBezTo>
                    <a:pt x="19007" y="186019"/>
                    <a:pt x="2846" y="174074"/>
                    <a:pt x="2143" y="155805"/>
                  </a:cubicBezTo>
                  <a:cubicBezTo>
                    <a:pt x="-667" y="107321"/>
                    <a:pt x="738" y="58837"/>
                    <a:pt x="738" y="11056"/>
                  </a:cubicBezTo>
                  <a:cubicBezTo>
                    <a:pt x="738" y="-5105"/>
                    <a:pt x="13386" y="1219"/>
                    <a:pt x="21115" y="1219"/>
                  </a:cubicBezTo>
                  <a:cubicBezTo>
                    <a:pt x="87868" y="1219"/>
                    <a:pt x="153919" y="1219"/>
                    <a:pt x="220672" y="121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6BB3CE70-516A-4FB8-8F86-336394B4272C}"/>
                </a:ext>
              </a:extLst>
            </p:cNvPr>
            <p:cNvSpPr/>
            <p:nvPr/>
          </p:nvSpPr>
          <p:spPr>
            <a:xfrm>
              <a:off x="11189772" y="750828"/>
              <a:ext cx="1026185" cy="769640"/>
            </a:xfrm>
            <a:custGeom>
              <a:avLst/>
              <a:gdLst>
                <a:gd name="connsiteX0" fmla="*/ 591815 w 590237"/>
                <a:gd name="connsiteY0" fmla="*/ 221404 h 442678"/>
                <a:gd name="connsiteX1" fmla="*/ 591815 w 590237"/>
                <a:gd name="connsiteY1" fmla="*/ 423772 h 442678"/>
                <a:gd name="connsiteX2" fmla="*/ 572140 w 590237"/>
                <a:gd name="connsiteY2" fmla="*/ 444149 h 442678"/>
                <a:gd name="connsiteX3" fmla="*/ 451984 w 590237"/>
                <a:gd name="connsiteY3" fmla="*/ 444149 h 442678"/>
                <a:gd name="connsiteX4" fmla="*/ 409122 w 590237"/>
                <a:gd name="connsiteY4" fmla="*/ 423772 h 442678"/>
                <a:gd name="connsiteX5" fmla="*/ 412635 w 590237"/>
                <a:gd name="connsiteY5" fmla="*/ 384422 h 442678"/>
                <a:gd name="connsiteX6" fmla="*/ 436526 w 590237"/>
                <a:gd name="connsiteY6" fmla="*/ 335236 h 442678"/>
                <a:gd name="connsiteX7" fmla="*/ 376800 w 590237"/>
                <a:gd name="connsiteY7" fmla="*/ 295184 h 442678"/>
                <a:gd name="connsiteX8" fmla="*/ 312857 w 590237"/>
                <a:gd name="connsiteY8" fmla="*/ 318372 h 442678"/>
                <a:gd name="connsiteX9" fmla="*/ 317073 w 590237"/>
                <a:gd name="connsiteY9" fmla="*/ 376693 h 442678"/>
                <a:gd name="connsiteX10" fmla="*/ 336748 w 590237"/>
                <a:gd name="connsiteY10" fmla="*/ 410421 h 442678"/>
                <a:gd name="connsiteX11" fmla="*/ 293182 w 590237"/>
                <a:gd name="connsiteY11" fmla="*/ 442743 h 442678"/>
                <a:gd name="connsiteX12" fmla="*/ 161784 w 590237"/>
                <a:gd name="connsiteY12" fmla="*/ 443446 h 442678"/>
                <a:gd name="connsiteX13" fmla="*/ 147731 w 590237"/>
                <a:gd name="connsiteY13" fmla="*/ 426582 h 442678"/>
                <a:gd name="connsiteX14" fmla="*/ 147731 w 590237"/>
                <a:gd name="connsiteY14" fmla="*/ 306427 h 442678"/>
                <a:gd name="connsiteX15" fmla="*/ 136488 w 590237"/>
                <a:gd name="connsiteY15" fmla="*/ 274104 h 442678"/>
                <a:gd name="connsiteX16" fmla="*/ 109787 w 590237"/>
                <a:gd name="connsiteY16" fmla="*/ 274807 h 442678"/>
                <a:gd name="connsiteX17" fmla="*/ 50763 w 590237"/>
                <a:gd name="connsiteY17" fmla="*/ 301508 h 442678"/>
                <a:gd name="connsiteX18" fmla="*/ 171 w 590237"/>
                <a:gd name="connsiteY18" fmla="*/ 227728 h 442678"/>
                <a:gd name="connsiteX19" fmla="*/ 28981 w 590237"/>
                <a:gd name="connsiteY19" fmla="*/ 154651 h 442678"/>
                <a:gd name="connsiteX20" fmla="*/ 102761 w 590237"/>
                <a:gd name="connsiteY20" fmla="*/ 159570 h 442678"/>
                <a:gd name="connsiteX21" fmla="*/ 126651 w 590237"/>
                <a:gd name="connsiteY21" fmla="*/ 175731 h 442678"/>
                <a:gd name="connsiteX22" fmla="*/ 148434 w 590237"/>
                <a:gd name="connsiteY22" fmla="*/ 141301 h 442678"/>
                <a:gd name="connsiteX23" fmla="*/ 147731 w 590237"/>
                <a:gd name="connsiteY23" fmla="*/ 18335 h 442678"/>
                <a:gd name="connsiteX24" fmla="*/ 166000 w 590237"/>
                <a:gd name="connsiteY24" fmla="*/ 65 h 442678"/>
                <a:gd name="connsiteX25" fmla="*/ 288967 w 590237"/>
                <a:gd name="connsiteY25" fmla="*/ 65 h 442678"/>
                <a:gd name="connsiteX26" fmla="*/ 331126 w 590237"/>
                <a:gd name="connsiteY26" fmla="*/ 21848 h 442678"/>
                <a:gd name="connsiteX27" fmla="*/ 327613 w 590237"/>
                <a:gd name="connsiteY27" fmla="*/ 59089 h 442678"/>
                <a:gd name="connsiteX28" fmla="*/ 302317 w 590237"/>
                <a:gd name="connsiteY28" fmla="*/ 108275 h 442678"/>
                <a:gd name="connsiteX29" fmla="*/ 364151 w 590237"/>
                <a:gd name="connsiteY29" fmla="*/ 149030 h 442678"/>
                <a:gd name="connsiteX30" fmla="*/ 423878 w 590237"/>
                <a:gd name="connsiteY30" fmla="*/ 128653 h 442678"/>
                <a:gd name="connsiteX31" fmla="*/ 420364 w 590237"/>
                <a:gd name="connsiteY31" fmla="*/ 66116 h 442678"/>
                <a:gd name="connsiteX32" fmla="*/ 401393 w 590237"/>
                <a:gd name="connsiteY32" fmla="*/ 33793 h 442678"/>
                <a:gd name="connsiteX33" fmla="*/ 444255 w 590237"/>
                <a:gd name="connsiteY33" fmla="*/ 768 h 442678"/>
                <a:gd name="connsiteX34" fmla="*/ 578464 w 590237"/>
                <a:gd name="connsiteY34" fmla="*/ 65 h 442678"/>
                <a:gd name="connsiteX35" fmla="*/ 591112 w 590237"/>
                <a:gd name="connsiteY35" fmla="*/ 21145 h 442678"/>
                <a:gd name="connsiteX36" fmla="*/ 591815 w 590237"/>
                <a:gd name="connsiteY36" fmla="*/ 221404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591815" y="221404"/>
                  </a:moveTo>
                  <a:cubicBezTo>
                    <a:pt x="591815" y="288860"/>
                    <a:pt x="591112" y="356316"/>
                    <a:pt x="591815" y="423772"/>
                  </a:cubicBezTo>
                  <a:cubicBezTo>
                    <a:pt x="591815" y="438527"/>
                    <a:pt x="588301" y="444149"/>
                    <a:pt x="572140" y="444149"/>
                  </a:cubicBezTo>
                  <a:cubicBezTo>
                    <a:pt x="532088" y="442743"/>
                    <a:pt x="492036" y="443446"/>
                    <a:pt x="451984" y="444149"/>
                  </a:cubicBezTo>
                  <a:cubicBezTo>
                    <a:pt x="433715" y="444149"/>
                    <a:pt x="420364" y="437122"/>
                    <a:pt x="409122" y="423772"/>
                  </a:cubicBezTo>
                  <a:cubicBezTo>
                    <a:pt x="397177" y="409718"/>
                    <a:pt x="396474" y="397070"/>
                    <a:pt x="412635" y="384422"/>
                  </a:cubicBezTo>
                  <a:cubicBezTo>
                    <a:pt x="428796" y="372477"/>
                    <a:pt x="447768" y="359127"/>
                    <a:pt x="436526" y="335236"/>
                  </a:cubicBezTo>
                  <a:cubicBezTo>
                    <a:pt x="425283" y="310643"/>
                    <a:pt x="406311" y="295887"/>
                    <a:pt x="376800" y="295184"/>
                  </a:cubicBezTo>
                  <a:cubicBezTo>
                    <a:pt x="352206" y="295184"/>
                    <a:pt x="329721" y="297995"/>
                    <a:pt x="312857" y="318372"/>
                  </a:cubicBezTo>
                  <a:cubicBezTo>
                    <a:pt x="294588" y="341560"/>
                    <a:pt x="295290" y="357019"/>
                    <a:pt x="317073" y="376693"/>
                  </a:cubicBezTo>
                  <a:cubicBezTo>
                    <a:pt x="326910" y="385828"/>
                    <a:pt x="345882" y="391449"/>
                    <a:pt x="336748" y="410421"/>
                  </a:cubicBezTo>
                  <a:cubicBezTo>
                    <a:pt x="328316" y="428690"/>
                    <a:pt x="314262" y="442041"/>
                    <a:pt x="293182" y="442743"/>
                  </a:cubicBezTo>
                  <a:cubicBezTo>
                    <a:pt x="249617" y="443446"/>
                    <a:pt x="205349" y="442743"/>
                    <a:pt x="161784" y="443446"/>
                  </a:cubicBezTo>
                  <a:cubicBezTo>
                    <a:pt x="148434" y="443446"/>
                    <a:pt x="147028" y="437122"/>
                    <a:pt x="147731" y="426582"/>
                  </a:cubicBezTo>
                  <a:cubicBezTo>
                    <a:pt x="147731" y="386530"/>
                    <a:pt x="147731" y="346479"/>
                    <a:pt x="147731" y="306427"/>
                  </a:cubicBezTo>
                  <a:cubicBezTo>
                    <a:pt x="147731" y="293779"/>
                    <a:pt x="145623" y="283239"/>
                    <a:pt x="136488" y="274104"/>
                  </a:cubicBezTo>
                  <a:cubicBezTo>
                    <a:pt x="126651" y="264969"/>
                    <a:pt x="118922" y="262862"/>
                    <a:pt x="109787" y="274807"/>
                  </a:cubicBezTo>
                  <a:cubicBezTo>
                    <a:pt x="95031" y="293076"/>
                    <a:pt x="79572" y="312750"/>
                    <a:pt x="50763" y="301508"/>
                  </a:cubicBezTo>
                  <a:cubicBezTo>
                    <a:pt x="19143" y="289563"/>
                    <a:pt x="1577" y="262862"/>
                    <a:pt x="171" y="227728"/>
                  </a:cubicBezTo>
                  <a:cubicBezTo>
                    <a:pt x="-1234" y="198919"/>
                    <a:pt x="5793" y="173623"/>
                    <a:pt x="28981" y="154651"/>
                  </a:cubicBezTo>
                  <a:cubicBezTo>
                    <a:pt x="56385" y="132869"/>
                    <a:pt x="78870" y="134274"/>
                    <a:pt x="102761" y="159570"/>
                  </a:cubicBezTo>
                  <a:cubicBezTo>
                    <a:pt x="109084" y="166596"/>
                    <a:pt x="111895" y="182758"/>
                    <a:pt x="126651" y="175731"/>
                  </a:cubicBezTo>
                  <a:cubicBezTo>
                    <a:pt x="140704" y="169407"/>
                    <a:pt x="148434" y="158164"/>
                    <a:pt x="148434" y="141301"/>
                  </a:cubicBezTo>
                  <a:cubicBezTo>
                    <a:pt x="147731" y="100546"/>
                    <a:pt x="149136" y="59089"/>
                    <a:pt x="147731" y="18335"/>
                  </a:cubicBezTo>
                  <a:cubicBezTo>
                    <a:pt x="147731" y="4281"/>
                    <a:pt x="151244" y="-637"/>
                    <a:pt x="166000" y="65"/>
                  </a:cubicBezTo>
                  <a:cubicBezTo>
                    <a:pt x="206755" y="768"/>
                    <a:pt x="248212" y="768"/>
                    <a:pt x="288967" y="65"/>
                  </a:cubicBezTo>
                  <a:cubicBezTo>
                    <a:pt x="306533" y="65"/>
                    <a:pt x="319884" y="7795"/>
                    <a:pt x="331126" y="21848"/>
                  </a:cubicBezTo>
                  <a:cubicBezTo>
                    <a:pt x="341666" y="35901"/>
                    <a:pt x="342369" y="47144"/>
                    <a:pt x="327613" y="59089"/>
                  </a:cubicBezTo>
                  <a:cubicBezTo>
                    <a:pt x="312154" y="71034"/>
                    <a:pt x="293182" y="82980"/>
                    <a:pt x="302317" y="108275"/>
                  </a:cubicBezTo>
                  <a:cubicBezTo>
                    <a:pt x="310749" y="132166"/>
                    <a:pt x="335342" y="147624"/>
                    <a:pt x="364151" y="149030"/>
                  </a:cubicBezTo>
                  <a:cubicBezTo>
                    <a:pt x="386637" y="149733"/>
                    <a:pt x="407717" y="147624"/>
                    <a:pt x="423878" y="128653"/>
                  </a:cubicBezTo>
                  <a:cubicBezTo>
                    <a:pt x="445661" y="104060"/>
                    <a:pt x="444958" y="88601"/>
                    <a:pt x="420364" y="66116"/>
                  </a:cubicBezTo>
                  <a:cubicBezTo>
                    <a:pt x="411230" y="57684"/>
                    <a:pt x="394366" y="51360"/>
                    <a:pt x="401393" y="33793"/>
                  </a:cubicBezTo>
                  <a:cubicBezTo>
                    <a:pt x="409122" y="14821"/>
                    <a:pt x="423878" y="1470"/>
                    <a:pt x="444255" y="768"/>
                  </a:cubicBezTo>
                  <a:cubicBezTo>
                    <a:pt x="489226" y="-637"/>
                    <a:pt x="533494" y="768"/>
                    <a:pt x="578464" y="65"/>
                  </a:cubicBezTo>
                  <a:cubicBezTo>
                    <a:pt x="596030" y="65"/>
                    <a:pt x="591112" y="12713"/>
                    <a:pt x="591112" y="21145"/>
                  </a:cubicBezTo>
                  <a:cubicBezTo>
                    <a:pt x="591815" y="87898"/>
                    <a:pt x="591815" y="154651"/>
                    <a:pt x="591815" y="22140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17CF2F38-B056-4466-8DE3-EE0C4240CFC8}"/>
                </a:ext>
              </a:extLst>
            </p:cNvPr>
            <p:cNvSpPr/>
            <p:nvPr/>
          </p:nvSpPr>
          <p:spPr>
            <a:xfrm>
              <a:off x="2300444" y="5823022"/>
              <a:ext cx="769640" cy="1026186"/>
            </a:xfrm>
            <a:custGeom>
              <a:avLst/>
              <a:gdLst>
                <a:gd name="connsiteX0" fmla="*/ 222808 w 442678"/>
                <a:gd name="connsiteY0" fmla="*/ 592910 h 590237"/>
                <a:gd name="connsiteX1" fmla="*/ 22549 w 442678"/>
                <a:gd name="connsiteY1" fmla="*/ 593613 h 590237"/>
                <a:gd name="connsiteX2" fmla="*/ 64 w 442678"/>
                <a:gd name="connsiteY2" fmla="*/ 570425 h 590237"/>
                <a:gd name="connsiteX3" fmla="*/ 64 w 442678"/>
                <a:gd name="connsiteY3" fmla="*/ 457998 h 590237"/>
                <a:gd name="connsiteX4" fmla="*/ 15523 w 442678"/>
                <a:gd name="connsiteY4" fmla="*/ 415839 h 590237"/>
                <a:gd name="connsiteX5" fmla="*/ 62601 w 442678"/>
                <a:gd name="connsiteY5" fmla="*/ 417947 h 590237"/>
                <a:gd name="connsiteX6" fmla="*/ 104761 w 442678"/>
                <a:gd name="connsiteY6" fmla="*/ 440432 h 590237"/>
                <a:gd name="connsiteX7" fmla="*/ 147624 w 442678"/>
                <a:gd name="connsiteY7" fmla="*/ 391245 h 590237"/>
                <a:gd name="connsiteX8" fmla="*/ 127246 w 442678"/>
                <a:gd name="connsiteY8" fmla="*/ 316061 h 590237"/>
                <a:gd name="connsiteX9" fmla="*/ 66817 w 442678"/>
                <a:gd name="connsiteY9" fmla="*/ 319574 h 590237"/>
                <a:gd name="connsiteX10" fmla="*/ 35900 w 442678"/>
                <a:gd name="connsiteY10" fmla="*/ 339249 h 590237"/>
                <a:gd name="connsiteX11" fmla="*/ 1469 w 442678"/>
                <a:gd name="connsiteY11" fmla="*/ 297791 h 590237"/>
                <a:gd name="connsiteX12" fmla="*/ 767 w 442678"/>
                <a:gd name="connsiteY12" fmla="*/ 163583 h 590237"/>
                <a:gd name="connsiteX13" fmla="*/ 19036 w 442678"/>
                <a:gd name="connsiteY13" fmla="*/ 150934 h 590237"/>
                <a:gd name="connsiteX14" fmla="*/ 137084 w 442678"/>
                <a:gd name="connsiteY14" fmla="*/ 150934 h 590237"/>
                <a:gd name="connsiteX15" fmla="*/ 165190 w 442678"/>
                <a:gd name="connsiteY15" fmla="*/ 143205 h 590237"/>
                <a:gd name="connsiteX16" fmla="*/ 166595 w 442678"/>
                <a:gd name="connsiteY16" fmla="*/ 107369 h 590237"/>
                <a:gd name="connsiteX17" fmla="*/ 163785 w 442678"/>
                <a:gd name="connsiteY17" fmla="*/ 22347 h 590237"/>
                <a:gd name="connsiteX18" fmla="*/ 290967 w 442678"/>
                <a:gd name="connsiteY18" fmla="*/ 30779 h 590237"/>
                <a:gd name="connsiteX19" fmla="*/ 286048 w 442678"/>
                <a:gd name="connsiteY19" fmla="*/ 104559 h 590237"/>
                <a:gd name="connsiteX20" fmla="*/ 270590 w 442678"/>
                <a:gd name="connsiteY20" fmla="*/ 129152 h 590237"/>
                <a:gd name="connsiteX21" fmla="*/ 303615 w 442678"/>
                <a:gd name="connsiteY21" fmla="*/ 150232 h 590237"/>
                <a:gd name="connsiteX22" fmla="*/ 421662 w 442678"/>
                <a:gd name="connsiteY22" fmla="*/ 149529 h 590237"/>
                <a:gd name="connsiteX23" fmla="*/ 446256 w 442678"/>
                <a:gd name="connsiteY23" fmla="*/ 175528 h 590237"/>
                <a:gd name="connsiteX24" fmla="*/ 446256 w 442678"/>
                <a:gd name="connsiteY24" fmla="*/ 287954 h 590237"/>
                <a:gd name="connsiteX25" fmla="*/ 428689 w 442678"/>
                <a:gd name="connsiteY25" fmla="*/ 329411 h 590237"/>
                <a:gd name="connsiteX26" fmla="*/ 385827 w 442678"/>
                <a:gd name="connsiteY26" fmla="*/ 327303 h 590237"/>
                <a:gd name="connsiteX27" fmla="*/ 342261 w 442678"/>
                <a:gd name="connsiteY27" fmla="*/ 303412 h 590237"/>
                <a:gd name="connsiteX28" fmla="*/ 298696 w 442678"/>
                <a:gd name="connsiteY28" fmla="*/ 357518 h 590237"/>
                <a:gd name="connsiteX29" fmla="*/ 318371 w 442678"/>
                <a:gd name="connsiteY29" fmla="*/ 425676 h 590237"/>
                <a:gd name="connsiteX30" fmla="*/ 380908 w 442678"/>
                <a:gd name="connsiteY30" fmla="*/ 422865 h 590237"/>
                <a:gd name="connsiteX31" fmla="*/ 415338 w 442678"/>
                <a:gd name="connsiteY31" fmla="*/ 404596 h 590237"/>
                <a:gd name="connsiteX32" fmla="*/ 446256 w 442678"/>
                <a:gd name="connsiteY32" fmla="*/ 446054 h 590237"/>
                <a:gd name="connsiteX33" fmla="*/ 446958 w 442678"/>
                <a:gd name="connsiteY33" fmla="*/ 577451 h 590237"/>
                <a:gd name="connsiteX34" fmla="*/ 425878 w 442678"/>
                <a:gd name="connsiteY34" fmla="*/ 592910 h 590237"/>
                <a:gd name="connsiteX35" fmla="*/ 222808 w 442678"/>
                <a:gd name="connsiteY35" fmla="*/ 59291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222808" y="592910"/>
                  </a:moveTo>
                  <a:cubicBezTo>
                    <a:pt x="156055" y="592910"/>
                    <a:pt x="89302" y="592208"/>
                    <a:pt x="22549" y="593613"/>
                  </a:cubicBezTo>
                  <a:cubicBezTo>
                    <a:pt x="4280" y="593613"/>
                    <a:pt x="-639" y="588694"/>
                    <a:pt x="64" y="570425"/>
                  </a:cubicBezTo>
                  <a:cubicBezTo>
                    <a:pt x="1469" y="533184"/>
                    <a:pt x="767" y="495240"/>
                    <a:pt x="64" y="457998"/>
                  </a:cubicBezTo>
                  <a:cubicBezTo>
                    <a:pt x="64" y="441837"/>
                    <a:pt x="3577" y="427784"/>
                    <a:pt x="15523" y="415839"/>
                  </a:cubicBezTo>
                  <a:cubicBezTo>
                    <a:pt x="33792" y="397570"/>
                    <a:pt x="45035" y="397570"/>
                    <a:pt x="62601" y="417947"/>
                  </a:cubicBezTo>
                  <a:cubicBezTo>
                    <a:pt x="73844" y="431297"/>
                    <a:pt x="85086" y="448161"/>
                    <a:pt x="104761" y="440432"/>
                  </a:cubicBezTo>
                  <a:cubicBezTo>
                    <a:pt x="126544" y="432000"/>
                    <a:pt x="144813" y="417244"/>
                    <a:pt x="147624" y="391245"/>
                  </a:cubicBezTo>
                  <a:cubicBezTo>
                    <a:pt x="150434" y="363842"/>
                    <a:pt x="152542" y="336438"/>
                    <a:pt x="127246" y="316061"/>
                  </a:cubicBezTo>
                  <a:cubicBezTo>
                    <a:pt x="102653" y="295683"/>
                    <a:pt x="87897" y="296386"/>
                    <a:pt x="66817" y="319574"/>
                  </a:cubicBezTo>
                  <a:cubicBezTo>
                    <a:pt x="58385" y="328709"/>
                    <a:pt x="54169" y="345572"/>
                    <a:pt x="35900" y="339249"/>
                  </a:cubicBezTo>
                  <a:cubicBezTo>
                    <a:pt x="15523" y="332222"/>
                    <a:pt x="2172" y="318169"/>
                    <a:pt x="1469" y="297791"/>
                  </a:cubicBezTo>
                  <a:cubicBezTo>
                    <a:pt x="-639" y="252821"/>
                    <a:pt x="1469" y="208553"/>
                    <a:pt x="767" y="163583"/>
                  </a:cubicBezTo>
                  <a:cubicBezTo>
                    <a:pt x="767" y="148827"/>
                    <a:pt x="9901" y="150934"/>
                    <a:pt x="19036" y="150934"/>
                  </a:cubicBezTo>
                  <a:cubicBezTo>
                    <a:pt x="58385" y="150934"/>
                    <a:pt x="97734" y="150934"/>
                    <a:pt x="137084" y="150934"/>
                  </a:cubicBezTo>
                  <a:cubicBezTo>
                    <a:pt x="147624" y="150934"/>
                    <a:pt x="157461" y="150232"/>
                    <a:pt x="165190" y="143205"/>
                  </a:cubicBezTo>
                  <a:cubicBezTo>
                    <a:pt x="178541" y="131963"/>
                    <a:pt x="185567" y="122828"/>
                    <a:pt x="166595" y="107369"/>
                  </a:cubicBezTo>
                  <a:cubicBezTo>
                    <a:pt x="132165" y="80668"/>
                    <a:pt x="132165" y="53264"/>
                    <a:pt x="163785" y="22347"/>
                  </a:cubicBezTo>
                  <a:cubicBezTo>
                    <a:pt x="197513" y="-10678"/>
                    <a:pt x="260752" y="-6462"/>
                    <a:pt x="290967" y="30779"/>
                  </a:cubicBezTo>
                  <a:cubicBezTo>
                    <a:pt x="314155" y="58885"/>
                    <a:pt x="312047" y="79263"/>
                    <a:pt x="286048" y="104559"/>
                  </a:cubicBezTo>
                  <a:cubicBezTo>
                    <a:pt x="279022" y="111585"/>
                    <a:pt x="263563" y="115099"/>
                    <a:pt x="270590" y="129152"/>
                  </a:cubicBezTo>
                  <a:cubicBezTo>
                    <a:pt x="276914" y="141800"/>
                    <a:pt x="288156" y="150232"/>
                    <a:pt x="303615" y="150232"/>
                  </a:cubicBezTo>
                  <a:cubicBezTo>
                    <a:pt x="342964" y="150232"/>
                    <a:pt x="382313" y="151637"/>
                    <a:pt x="421662" y="149529"/>
                  </a:cubicBezTo>
                  <a:cubicBezTo>
                    <a:pt x="443445" y="148124"/>
                    <a:pt x="446958" y="155853"/>
                    <a:pt x="446256" y="175528"/>
                  </a:cubicBezTo>
                  <a:cubicBezTo>
                    <a:pt x="444850" y="212769"/>
                    <a:pt x="445553" y="250713"/>
                    <a:pt x="446256" y="287954"/>
                  </a:cubicBezTo>
                  <a:cubicBezTo>
                    <a:pt x="446256" y="304818"/>
                    <a:pt x="441337" y="318169"/>
                    <a:pt x="428689" y="329411"/>
                  </a:cubicBezTo>
                  <a:cubicBezTo>
                    <a:pt x="413933" y="342059"/>
                    <a:pt x="399880" y="346275"/>
                    <a:pt x="385827" y="327303"/>
                  </a:cubicBezTo>
                  <a:cubicBezTo>
                    <a:pt x="375287" y="313250"/>
                    <a:pt x="364044" y="295683"/>
                    <a:pt x="342261" y="303412"/>
                  </a:cubicBezTo>
                  <a:cubicBezTo>
                    <a:pt x="316965" y="312547"/>
                    <a:pt x="300804" y="330114"/>
                    <a:pt x="298696" y="357518"/>
                  </a:cubicBezTo>
                  <a:cubicBezTo>
                    <a:pt x="296588" y="382814"/>
                    <a:pt x="297994" y="406704"/>
                    <a:pt x="318371" y="425676"/>
                  </a:cubicBezTo>
                  <a:cubicBezTo>
                    <a:pt x="342964" y="448161"/>
                    <a:pt x="358423" y="447459"/>
                    <a:pt x="380908" y="422865"/>
                  </a:cubicBezTo>
                  <a:cubicBezTo>
                    <a:pt x="390043" y="412325"/>
                    <a:pt x="397069" y="395462"/>
                    <a:pt x="415338" y="404596"/>
                  </a:cubicBezTo>
                  <a:cubicBezTo>
                    <a:pt x="432202" y="413028"/>
                    <a:pt x="445553" y="425676"/>
                    <a:pt x="446256" y="446054"/>
                  </a:cubicBezTo>
                  <a:cubicBezTo>
                    <a:pt x="446958" y="489618"/>
                    <a:pt x="445553" y="533887"/>
                    <a:pt x="446958" y="577451"/>
                  </a:cubicBezTo>
                  <a:cubicBezTo>
                    <a:pt x="447661" y="595721"/>
                    <a:pt x="436418" y="592910"/>
                    <a:pt x="425878" y="592910"/>
                  </a:cubicBezTo>
                  <a:cubicBezTo>
                    <a:pt x="355612" y="592910"/>
                    <a:pt x="288859" y="592910"/>
                    <a:pt x="222808" y="59291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60DC94E0-56F0-4561-9590-8E7723A30ECC}"/>
                </a:ext>
              </a:extLst>
            </p:cNvPr>
            <p:cNvSpPr/>
            <p:nvPr/>
          </p:nvSpPr>
          <p:spPr>
            <a:xfrm>
              <a:off x="3049369" y="-8368"/>
              <a:ext cx="1026185" cy="769640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199CD8F9-C89D-4C85-A10D-7E9ACA13FE1B}"/>
                </a:ext>
              </a:extLst>
            </p:cNvPr>
            <p:cNvSpPr/>
            <p:nvPr/>
          </p:nvSpPr>
          <p:spPr>
            <a:xfrm>
              <a:off x="2809672" y="6091784"/>
              <a:ext cx="1026185" cy="757423"/>
            </a:xfrm>
            <a:custGeom>
              <a:avLst/>
              <a:gdLst>
                <a:gd name="connsiteX0" fmla="*/ 368817 w 590237"/>
                <a:gd name="connsiteY0" fmla="*/ 441448 h 435651"/>
                <a:gd name="connsiteX1" fmla="*/ 166450 w 590237"/>
                <a:gd name="connsiteY1" fmla="*/ 441448 h 435651"/>
                <a:gd name="connsiteX2" fmla="*/ 148180 w 590237"/>
                <a:gd name="connsiteY2" fmla="*/ 423882 h 435651"/>
                <a:gd name="connsiteX3" fmla="*/ 148883 w 590237"/>
                <a:gd name="connsiteY3" fmla="*/ 308645 h 435651"/>
                <a:gd name="connsiteX4" fmla="*/ 140451 w 590237"/>
                <a:gd name="connsiteY4" fmla="*/ 277728 h 435651"/>
                <a:gd name="connsiteX5" fmla="*/ 106723 w 590237"/>
                <a:gd name="connsiteY5" fmla="*/ 276322 h 435651"/>
                <a:gd name="connsiteX6" fmla="*/ 16782 w 590237"/>
                <a:gd name="connsiteY6" fmla="*/ 274917 h 435651"/>
                <a:gd name="connsiteX7" fmla="*/ 26619 w 590237"/>
                <a:gd name="connsiteY7" fmla="*/ 155465 h 435651"/>
                <a:gd name="connsiteX8" fmla="*/ 102507 w 590237"/>
                <a:gd name="connsiteY8" fmla="*/ 157572 h 435651"/>
                <a:gd name="connsiteX9" fmla="*/ 126398 w 590237"/>
                <a:gd name="connsiteY9" fmla="*/ 175139 h 435651"/>
                <a:gd name="connsiteX10" fmla="*/ 148883 w 590237"/>
                <a:gd name="connsiteY10" fmla="*/ 137898 h 435651"/>
                <a:gd name="connsiteX11" fmla="*/ 148180 w 590237"/>
                <a:gd name="connsiteY11" fmla="*/ 25472 h 435651"/>
                <a:gd name="connsiteX12" fmla="*/ 172773 w 590237"/>
                <a:gd name="connsiteY12" fmla="*/ 176 h 435651"/>
                <a:gd name="connsiteX13" fmla="*/ 290821 w 590237"/>
                <a:gd name="connsiteY13" fmla="*/ 176 h 435651"/>
                <a:gd name="connsiteX14" fmla="*/ 332278 w 590237"/>
                <a:gd name="connsiteY14" fmla="*/ 22661 h 435651"/>
                <a:gd name="connsiteX15" fmla="*/ 328062 w 590237"/>
                <a:gd name="connsiteY15" fmla="*/ 57794 h 435651"/>
                <a:gd name="connsiteX16" fmla="*/ 303469 w 590237"/>
                <a:gd name="connsiteY16" fmla="*/ 111196 h 435651"/>
                <a:gd name="connsiteX17" fmla="*/ 381465 w 590237"/>
                <a:gd name="connsiteY17" fmla="*/ 148438 h 435651"/>
                <a:gd name="connsiteX18" fmla="*/ 439083 w 590237"/>
                <a:gd name="connsiteY18" fmla="*/ 100656 h 435651"/>
                <a:gd name="connsiteX19" fmla="*/ 418706 w 590237"/>
                <a:gd name="connsiteY19" fmla="*/ 64118 h 435651"/>
                <a:gd name="connsiteX20" fmla="*/ 401842 w 590237"/>
                <a:gd name="connsiteY20" fmla="*/ 31093 h 435651"/>
                <a:gd name="connsiteX21" fmla="*/ 437678 w 590237"/>
                <a:gd name="connsiteY21" fmla="*/ 878 h 435651"/>
                <a:gd name="connsiteX22" fmla="*/ 580319 w 590237"/>
                <a:gd name="connsiteY22" fmla="*/ 176 h 435651"/>
                <a:gd name="connsiteX23" fmla="*/ 590859 w 590237"/>
                <a:gd name="connsiteY23" fmla="*/ 14229 h 435651"/>
                <a:gd name="connsiteX24" fmla="*/ 590859 w 590237"/>
                <a:gd name="connsiteY24" fmla="*/ 142816 h 435651"/>
                <a:gd name="connsiteX25" fmla="*/ 569779 w 590237"/>
                <a:gd name="connsiteY25" fmla="*/ 182166 h 435651"/>
                <a:gd name="connsiteX26" fmla="*/ 532537 w 590237"/>
                <a:gd name="connsiteY26" fmla="*/ 178652 h 435651"/>
                <a:gd name="connsiteX27" fmla="*/ 486864 w 590237"/>
                <a:gd name="connsiteY27" fmla="*/ 152654 h 435651"/>
                <a:gd name="connsiteX28" fmla="*/ 442596 w 590237"/>
                <a:gd name="connsiteY28" fmla="*/ 209569 h 435651"/>
                <a:gd name="connsiteX29" fmla="*/ 462271 w 590237"/>
                <a:gd name="connsiteY29" fmla="*/ 274917 h 435651"/>
                <a:gd name="connsiteX30" fmla="*/ 526213 w 590237"/>
                <a:gd name="connsiteY30" fmla="*/ 270701 h 435651"/>
                <a:gd name="connsiteX31" fmla="*/ 556428 w 590237"/>
                <a:gd name="connsiteY31" fmla="*/ 253135 h 435651"/>
                <a:gd name="connsiteX32" fmla="*/ 588048 w 590237"/>
                <a:gd name="connsiteY32" fmla="*/ 287565 h 435651"/>
                <a:gd name="connsiteX33" fmla="*/ 590156 w 590237"/>
                <a:gd name="connsiteY33" fmla="*/ 432314 h 435651"/>
                <a:gd name="connsiteX34" fmla="*/ 569076 w 590237"/>
                <a:gd name="connsiteY34" fmla="*/ 441448 h 435651"/>
                <a:gd name="connsiteX35" fmla="*/ 368817 w 590237"/>
                <a:gd name="connsiteY35" fmla="*/ 441448 h 43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90237" h="435651">
                  <a:moveTo>
                    <a:pt x="368817" y="441448"/>
                  </a:moveTo>
                  <a:cubicBezTo>
                    <a:pt x="301361" y="441448"/>
                    <a:pt x="233905" y="440746"/>
                    <a:pt x="166450" y="441448"/>
                  </a:cubicBezTo>
                  <a:cubicBezTo>
                    <a:pt x="152396" y="441448"/>
                    <a:pt x="147478" y="438638"/>
                    <a:pt x="148180" y="423882"/>
                  </a:cubicBezTo>
                  <a:cubicBezTo>
                    <a:pt x="149586" y="385235"/>
                    <a:pt x="148180" y="347292"/>
                    <a:pt x="148883" y="308645"/>
                  </a:cubicBezTo>
                  <a:cubicBezTo>
                    <a:pt x="148883" y="297402"/>
                    <a:pt x="148180" y="286862"/>
                    <a:pt x="140451" y="277728"/>
                  </a:cubicBezTo>
                  <a:cubicBezTo>
                    <a:pt x="129208" y="264377"/>
                    <a:pt x="120776" y="258756"/>
                    <a:pt x="106723" y="276322"/>
                  </a:cubicBezTo>
                  <a:cubicBezTo>
                    <a:pt x="77211" y="312159"/>
                    <a:pt x="46294" y="310753"/>
                    <a:pt x="16782" y="274917"/>
                  </a:cubicBezTo>
                  <a:cubicBezTo>
                    <a:pt x="-9216" y="243298"/>
                    <a:pt x="-4298" y="182868"/>
                    <a:pt x="26619" y="155465"/>
                  </a:cubicBezTo>
                  <a:cubicBezTo>
                    <a:pt x="54726" y="130871"/>
                    <a:pt x="77914" y="131574"/>
                    <a:pt x="102507" y="157572"/>
                  </a:cubicBezTo>
                  <a:cubicBezTo>
                    <a:pt x="109534" y="164599"/>
                    <a:pt x="112344" y="180760"/>
                    <a:pt x="126398" y="175139"/>
                  </a:cubicBezTo>
                  <a:cubicBezTo>
                    <a:pt x="141154" y="168815"/>
                    <a:pt x="148883" y="155465"/>
                    <a:pt x="148883" y="137898"/>
                  </a:cubicBezTo>
                  <a:cubicBezTo>
                    <a:pt x="148883" y="100656"/>
                    <a:pt x="150288" y="62713"/>
                    <a:pt x="148180" y="25472"/>
                  </a:cubicBezTo>
                  <a:cubicBezTo>
                    <a:pt x="147478" y="5797"/>
                    <a:pt x="151694" y="-1230"/>
                    <a:pt x="172773" y="176"/>
                  </a:cubicBezTo>
                  <a:cubicBezTo>
                    <a:pt x="212123" y="2283"/>
                    <a:pt x="251472" y="1581"/>
                    <a:pt x="290821" y="176"/>
                  </a:cubicBezTo>
                  <a:cubicBezTo>
                    <a:pt x="309793" y="-527"/>
                    <a:pt x="321738" y="8608"/>
                    <a:pt x="332278" y="22661"/>
                  </a:cubicBezTo>
                  <a:cubicBezTo>
                    <a:pt x="341413" y="35309"/>
                    <a:pt x="342116" y="46552"/>
                    <a:pt x="328062" y="57794"/>
                  </a:cubicBezTo>
                  <a:cubicBezTo>
                    <a:pt x="311901" y="71145"/>
                    <a:pt x="289416" y="83090"/>
                    <a:pt x="303469" y="111196"/>
                  </a:cubicBezTo>
                  <a:cubicBezTo>
                    <a:pt x="317522" y="139303"/>
                    <a:pt x="346332" y="152654"/>
                    <a:pt x="381465" y="148438"/>
                  </a:cubicBezTo>
                  <a:cubicBezTo>
                    <a:pt x="408166" y="144925"/>
                    <a:pt x="435570" y="123142"/>
                    <a:pt x="439083" y="100656"/>
                  </a:cubicBezTo>
                  <a:cubicBezTo>
                    <a:pt x="441894" y="83793"/>
                    <a:pt x="429949" y="73955"/>
                    <a:pt x="418706" y="64118"/>
                  </a:cubicBezTo>
                  <a:cubicBezTo>
                    <a:pt x="408869" y="55686"/>
                    <a:pt x="394113" y="48660"/>
                    <a:pt x="401842" y="31093"/>
                  </a:cubicBezTo>
                  <a:cubicBezTo>
                    <a:pt x="408869" y="15634"/>
                    <a:pt x="419409" y="1581"/>
                    <a:pt x="437678" y="878"/>
                  </a:cubicBezTo>
                  <a:cubicBezTo>
                    <a:pt x="485459" y="-527"/>
                    <a:pt x="532537" y="176"/>
                    <a:pt x="580319" y="176"/>
                  </a:cubicBezTo>
                  <a:cubicBezTo>
                    <a:pt x="591561" y="176"/>
                    <a:pt x="590859" y="6500"/>
                    <a:pt x="590859" y="14229"/>
                  </a:cubicBezTo>
                  <a:cubicBezTo>
                    <a:pt x="590859" y="57092"/>
                    <a:pt x="590859" y="99954"/>
                    <a:pt x="590859" y="142816"/>
                  </a:cubicBezTo>
                  <a:cubicBezTo>
                    <a:pt x="590859" y="159680"/>
                    <a:pt x="582427" y="172328"/>
                    <a:pt x="569779" y="182166"/>
                  </a:cubicBezTo>
                  <a:cubicBezTo>
                    <a:pt x="556428" y="192706"/>
                    <a:pt x="544483" y="193408"/>
                    <a:pt x="532537" y="178652"/>
                  </a:cubicBezTo>
                  <a:cubicBezTo>
                    <a:pt x="521295" y="163896"/>
                    <a:pt x="510052" y="144222"/>
                    <a:pt x="486864" y="152654"/>
                  </a:cubicBezTo>
                  <a:cubicBezTo>
                    <a:pt x="460866" y="161788"/>
                    <a:pt x="444704" y="180760"/>
                    <a:pt x="442596" y="209569"/>
                  </a:cubicBezTo>
                  <a:cubicBezTo>
                    <a:pt x="441191" y="234163"/>
                    <a:pt x="442596" y="256648"/>
                    <a:pt x="462271" y="274917"/>
                  </a:cubicBezTo>
                  <a:cubicBezTo>
                    <a:pt x="488270" y="298105"/>
                    <a:pt x="503026" y="297402"/>
                    <a:pt x="526213" y="270701"/>
                  </a:cubicBezTo>
                  <a:cubicBezTo>
                    <a:pt x="533943" y="261567"/>
                    <a:pt x="539564" y="247513"/>
                    <a:pt x="556428" y="253135"/>
                  </a:cubicBezTo>
                  <a:cubicBezTo>
                    <a:pt x="572589" y="258756"/>
                    <a:pt x="587345" y="269999"/>
                    <a:pt x="588048" y="287565"/>
                  </a:cubicBezTo>
                  <a:cubicBezTo>
                    <a:pt x="590156" y="336049"/>
                    <a:pt x="590156" y="384533"/>
                    <a:pt x="590156" y="432314"/>
                  </a:cubicBezTo>
                  <a:cubicBezTo>
                    <a:pt x="590156" y="447773"/>
                    <a:pt x="576805" y="440746"/>
                    <a:pt x="569076" y="441448"/>
                  </a:cubicBezTo>
                  <a:cubicBezTo>
                    <a:pt x="502323" y="441448"/>
                    <a:pt x="435570" y="441448"/>
                    <a:pt x="368817" y="44144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38ED5B64-8591-492F-9F4C-B95488ECADB6}"/>
                </a:ext>
              </a:extLst>
            </p:cNvPr>
            <p:cNvSpPr/>
            <p:nvPr/>
          </p:nvSpPr>
          <p:spPr>
            <a:xfrm>
              <a:off x="1510742" y="757826"/>
              <a:ext cx="769640" cy="1026186"/>
            </a:xfrm>
            <a:custGeom>
              <a:avLst/>
              <a:gdLst>
                <a:gd name="connsiteX0" fmla="*/ 1580 w 442678"/>
                <a:gd name="connsiteY0" fmla="*/ 362575 h 590237"/>
                <a:gd name="connsiteX1" fmla="*/ 1580 w 442678"/>
                <a:gd name="connsiteY1" fmla="*/ 299335 h 590237"/>
                <a:gd name="connsiteX2" fmla="*/ 27579 w 442678"/>
                <a:gd name="connsiteY2" fmla="*/ 257175 h 590237"/>
                <a:gd name="connsiteX3" fmla="*/ 56388 w 442678"/>
                <a:gd name="connsiteY3" fmla="*/ 259986 h 590237"/>
                <a:gd name="connsiteX4" fmla="*/ 130871 w 442678"/>
                <a:gd name="connsiteY4" fmla="*/ 274039 h 590237"/>
                <a:gd name="connsiteX5" fmla="*/ 132979 w 442678"/>
                <a:gd name="connsiteY5" fmla="*/ 171450 h 590237"/>
                <a:gd name="connsiteX6" fmla="*/ 64820 w 442678"/>
                <a:gd name="connsiteY6" fmla="*/ 172855 h 590237"/>
                <a:gd name="connsiteX7" fmla="*/ 34606 w 442678"/>
                <a:gd name="connsiteY7" fmla="*/ 189719 h 590237"/>
                <a:gd name="connsiteX8" fmla="*/ 2986 w 442678"/>
                <a:gd name="connsiteY8" fmla="*/ 152478 h 590237"/>
                <a:gd name="connsiteX9" fmla="*/ 2283 w 442678"/>
                <a:gd name="connsiteY9" fmla="*/ 12648 h 590237"/>
                <a:gd name="connsiteX10" fmla="*/ 17742 w 442678"/>
                <a:gd name="connsiteY10" fmla="*/ 0 h 590237"/>
                <a:gd name="connsiteX11" fmla="*/ 146329 w 442678"/>
                <a:gd name="connsiteY11" fmla="*/ 0 h 590237"/>
                <a:gd name="connsiteX12" fmla="*/ 184976 w 442678"/>
                <a:gd name="connsiteY12" fmla="*/ 22485 h 590237"/>
                <a:gd name="connsiteX13" fmla="*/ 180760 w 442678"/>
                <a:gd name="connsiteY13" fmla="*/ 59726 h 590237"/>
                <a:gd name="connsiteX14" fmla="*/ 155464 w 442678"/>
                <a:gd name="connsiteY14" fmla="*/ 105400 h 590237"/>
                <a:gd name="connsiteX15" fmla="*/ 212380 w 442678"/>
                <a:gd name="connsiteY15" fmla="*/ 148262 h 590237"/>
                <a:gd name="connsiteX16" fmla="*/ 281241 w 442678"/>
                <a:gd name="connsiteY16" fmla="*/ 123669 h 590237"/>
                <a:gd name="connsiteX17" fmla="*/ 276322 w 442678"/>
                <a:gd name="connsiteY17" fmla="*/ 67456 h 590237"/>
                <a:gd name="connsiteX18" fmla="*/ 256648 w 442678"/>
                <a:gd name="connsiteY18" fmla="*/ 30917 h 590237"/>
                <a:gd name="connsiteX19" fmla="*/ 300915 w 442678"/>
                <a:gd name="connsiteY19" fmla="*/ 0 h 590237"/>
                <a:gd name="connsiteX20" fmla="*/ 429503 w 442678"/>
                <a:gd name="connsiteY20" fmla="*/ 0 h 590237"/>
                <a:gd name="connsiteX21" fmla="*/ 445664 w 442678"/>
                <a:gd name="connsiteY21" fmla="*/ 15459 h 590237"/>
                <a:gd name="connsiteX22" fmla="*/ 444961 w 442678"/>
                <a:gd name="connsiteY22" fmla="*/ 144046 h 590237"/>
                <a:gd name="connsiteX23" fmla="*/ 425287 w 442678"/>
                <a:gd name="connsiteY23" fmla="*/ 181990 h 590237"/>
                <a:gd name="connsiteX24" fmla="*/ 383830 w 442678"/>
                <a:gd name="connsiteY24" fmla="*/ 177774 h 590237"/>
                <a:gd name="connsiteX25" fmla="*/ 339562 w 442678"/>
                <a:gd name="connsiteY25" fmla="*/ 153884 h 590237"/>
                <a:gd name="connsiteX26" fmla="*/ 296699 w 442678"/>
                <a:gd name="connsiteY26" fmla="*/ 205881 h 590237"/>
                <a:gd name="connsiteX27" fmla="*/ 319887 w 442678"/>
                <a:gd name="connsiteY27" fmla="*/ 279660 h 590237"/>
                <a:gd name="connsiteX28" fmla="*/ 376100 w 442678"/>
                <a:gd name="connsiteY28" fmla="*/ 276147 h 590237"/>
                <a:gd name="connsiteX29" fmla="*/ 409126 w 442678"/>
                <a:gd name="connsiteY29" fmla="*/ 254364 h 590237"/>
                <a:gd name="connsiteX30" fmla="*/ 443556 w 442678"/>
                <a:gd name="connsiteY30" fmla="*/ 298632 h 590237"/>
                <a:gd name="connsiteX31" fmla="*/ 444259 w 442678"/>
                <a:gd name="connsiteY31" fmla="*/ 430030 h 590237"/>
                <a:gd name="connsiteX32" fmla="*/ 425989 w 442678"/>
                <a:gd name="connsiteY32" fmla="*/ 442678 h 590237"/>
                <a:gd name="connsiteX33" fmla="*/ 307942 w 442678"/>
                <a:gd name="connsiteY33" fmla="*/ 442678 h 590237"/>
                <a:gd name="connsiteX34" fmla="*/ 279835 w 442678"/>
                <a:gd name="connsiteY34" fmla="*/ 450408 h 590237"/>
                <a:gd name="connsiteX35" fmla="*/ 278430 w 442678"/>
                <a:gd name="connsiteY35" fmla="*/ 486244 h 590237"/>
                <a:gd name="connsiteX36" fmla="*/ 281241 w 442678"/>
                <a:gd name="connsiteY36" fmla="*/ 571266 h 590237"/>
                <a:gd name="connsiteX37" fmla="*/ 150545 w 442678"/>
                <a:gd name="connsiteY37" fmla="*/ 558618 h 590237"/>
                <a:gd name="connsiteX38" fmla="*/ 157572 w 442678"/>
                <a:gd name="connsiteY38" fmla="*/ 491162 h 590237"/>
                <a:gd name="connsiteX39" fmla="*/ 175139 w 442678"/>
                <a:gd name="connsiteY39" fmla="*/ 464461 h 590237"/>
                <a:gd name="connsiteX40" fmla="*/ 137195 w 442678"/>
                <a:gd name="connsiteY40" fmla="*/ 443381 h 590237"/>
                <a:gd name="connsiteX41" fmla="*/ 21958 w 442678"/>
                <a:gd name="connsiteY41" fmla="*/ 444084 h 590237"/>
                <a:gd name="connsiteX42" fmla="*/ 175 w 442678"/>
                <a:gd name="connsiteY42" fmla="*/ 423706 h 590237"/>
                <a:gd name="connsiteX43" fmla="*/ 1580 w 442678"/>
                <a:gd name="connsiteY43" fmla="*/ 36257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2678" h="590237">
                  <a:moveTo>
                    <a:pt x="1580" y="362575"/>
                  </a:moveTo>
                  <a:cubicBezTo>
                    <a:pt x="1580" y="341495"/>
                    <a:pt x="2283" y="320415"/>
                    <a:pt x="1580" y="299335"/>
                  </a:cubicBezTo>
                  <a:cubicBezTo>
                    <a:pt x="878" y="279660"/>
                    <a:pt x="12823" y="267012"/>
                    <a:pt x="27579" y="257175"/>
                  </a:cubicBezTo>
                  <a:cubicBezTo>
                    <a:pt x="37416" y="250851"/>
                    <a:pt x="46551" y="250851"/>
                    <a:pt x="56388" y="259986"/>
                  </a:cubicBezTo>
                  <a:cubicBezTo>
                    <a:pt x="94332" y="297227"/>
                    <a:pt x="105575" y="298632"/>
                    <a:pt x="130871" y="274039"/>
                  </a:cubicBezTo>
                  <a:cubicBezTo>
                    <a:pt x="156869" y="248041"/>
                    <a:pt x="157572" y="198854"/>
                    <a:pt x="132979" y="171450"/>
                  </a:cubicBezTo>
                  <a:cubicBezTo>
                    <a:pt x="108385" y="144749"/>
                    <a:pt x="88711" y="144749"/>
                    <a:pt x="64820" y="172855"/>
                  </a:cubicBezTo>
                  <a:cubicBezTo>
                    <a:pt x="57091" y="181990"/>
                    <a:pt x="50767" y="196043"/>
                    <a:pt x="34606" y="189719"/>
                  </a:cubicBezTo>
                  <a:cubicBezTo>
                    <a:pt x="17742" y="183395"/>
                    <a:pt x="3689" y="170747"/>
                    <a:pt x="2986" y="152478"/>
                  </a:cubicBezTo>
                  <a:cubicBezTo>
                    <a:pt x="1580" y="106102"/>
                    <a:pt x="2283" y="59726"/>
                    <a:pt x="2283" y="12648"/>
                  </a:cubicBezTo>
                  <a:cubicBezTo>
                    <a:pt x="2283" y="703"/>
                    <a:pt x="8607" y="0"/>
                    <a:pt x="17742" y="0"/>
                  </a:cubicBezTo>
                  <a:cubicBezTo>
                    <a:pt x="60604" y="0"/>
                    <a:pt x="103467" y="0"/>
                    <a:pt x="146329" y="0"/>
                  </a:cubicBezTo>
                  <a:cubicBezTo>
                    <a:pt x="163193" y="0"/>
                    <a:pt x="175139" y="9135"/>
                    <a:pt x="184976" y="22485"/>
                  </a:cubicBezTo>
                  <a:cubicBezTo>
                    <a:pt x="195516" y="36539"/>
                    <a:pt x="195516" y="47781"/>
                    <a:pt x="180760" y="59726"/>
                  </a:cubicBezTo>
                  <a:cubicBezTo>
                    <a:pt x="166004" y="70969"/>
                    <a:pt x="147032" y="82212"/>
                    <a:pt x="155464" y="105400"/>
                  </a:cubicBezTo>
                  <a:cubicBezTo>
                    <a:pt x="165301" y="131398"/>
                    <a:pt x="183570" y="146857"/>
                    <a:pt x="212380" y="148262"/>
                  </a:cubicBezTo>
                  <a:cubicBezTo>
                    <a:pt x="239081" y="149668"/>
                    <a:pt x="262972" y="146857"/>
                    <a:pt x="281241" y="123669"/>
                  </a:cubicBezTo>
                  <a:cubicBezTo>
                    <a:pt x="298807" y="100481"/>
                    <a:pt x="298105" y="87131"/>
                    <a:pt x="276322" y="67456"/>
                  </a:cubicBezTo>
                  <a:cubicBezTo>
                    <a:pt x="265079" y="57619"/>
                    <a:pt x="246810" y="50592"/>
                    <a:pt x="256648" y="30917"/>
                  </a:cubicBezTo>
                  <a:cubicBezTo>
                    <a:pt x="265079" y="12648"/>
                    <a:pt x="279835" y="0"/>
                    <a:pt x="300915" y="0"/>
                  </a:cubicBezTo>
                  <a:cubicBezTo>
                    <a:pt x="343778" y="0"/>
                    <a:pt x="386640" y="0"/>
                    <a:pt x="429503" y="0"/>
                  </a:cubicBezTo>
                  <a:cubicBezTo>
                    <a:pt x="441448" y="0"/>
                    <a:pt x="445664" y="2811"/>
                    <a:pt x="445664" y="15459"/>
                  </a:cubicBezTo>
                  <a:cubicBezTo>
                    <a:pt x="444961" y="58321"/>
                    <a:pt x="445664" y="101184"/>
                    <a:pt x="444961" y="144046"/>
                  </a:cubicBezTo>
                  <a:cubicBezTo>
                    <a:pt x="444961" y="159505"/>
                    <a:pt x="437232" y="171450"/>
                    <a:pt x="425287" y="181990"/>
                  </a:cubicBezTo>
                  <a:cubicBezTo>
                    <a:pt x="409828" y="194638"/>
                    <a:pt x="397180" y="196043"/>
                    <a:pt x="383830" y="177774"/>
                  </a:cubicBezTo>
                  <a:cubicBezTo>
                    <a:pt x="373290" y="163018"/>
                    <a:pt x="361345" y="145452"/>
                    <a:pt x="339562" y="153884"/>
                  </a:cubicBezTo>
                  <a:cubicBezTo>
                    <a:pt x="316374" y="162315"/>
                    <a:pt x="299510" y="178477"/>
                    <a:pt x="296699" y="205881"/>
                  </a:cubicBezTo>
                  <a:cubicBezTo>
                    <a:pt x="293186" y="233987"/>
                    <a:pt x="295294" y="260688"/>
                    <a:pt x="319887" y="279660"/>
                  </a:cubicBezTo>
                  <a:cubicBezTo>
                    <a:pt x="343075" y="297930"/>
                    <a:pt x="355723" y="296524"/>
                    <a:pt x="376100" y="276147"/>
                  </a:cubicBezTo>
                  <a:cubicBezTo>
                    <a:pt x="385235" y="267012"/>
                    <a:pt x="390154" y="248041"/>
                    <a:pt x="409126" y="254364"/>
                  </a:cubicBezTo>
                  <a:cubicBezTo>
                    <a:pt x="429503" y="261391"/>
                    <a:pt x="442854" y="276850"/>
                    <a:pt x="443556" y="298632"/>
                  </a:cubicBezTo>
                  <a:cubicBezTo>
                    <a:pt x="444961" y="342197"/>
                    <a:pt x="443556" y="386465"/>
                    <a:pt x="444259" y="430030"/>
                  </a:cubicBezTo>
                  <a:cubicBezTo>
                    <a:pt x="444259" y="444786"/>
                    <a:pt x="435124" y="442678"/>
                    <a:pt x="425989" y="442678"/>
                  </a:cubicBezTo>
                  <a:cubicBezTo>
                    <a:pt x="386640" y="442678"/>
                    <a:pt x="347291" y="442678"/>
                    <a:pt x="307942" y="442678"/>
                  </a:cubicBezTo>
                  <a:cubicBezTo>
                    <a:pt x="297402" y="442678"/>
                    <a:pt x="288268" y="443381"/>
                    <a:pt x="279835" y="450408"/>
                  </a:cubicBezTo>
                  <a:cubicBezTo>
                    <a:pt x="265782" y="461650"/>
                    <a:pt x="259458" y="470785"/>
                    <a:pt x="278430" y="486244"/>
                  </a:cubicBezTo>
                  <a:cubicBezTo>
                    <a:pt x="312158" y="512945"/>
                    <a:pt x="312158" y="541051"/>
                    <a:pt x="281241" y="571266"/>
                  </a:cubicBezTo>
                  <a:cubicBezTo>
                    <a:pt x="245405" y="606399"/>
                    <a:pt x="180057" y="600075"/>
                    <a:pt x="150545" y="558618"/>
                  </a:cubicBezTo>
                  <a:cubicBezTo>
                    <a:pt x="132276" y="532619"/>
                    <a:pt x="134384" y="513647"/>
                    <a:pt x="157572" y="491162"/>
                  </a:cubicBezTo>
                  <a:cubicBezTo>
                    <a:pt x="165301" y="483433"/>
                    <a:pt x="182868" y="479920"/>
                    <a:pt x="175139" y="464461"/>
                  </a:cubicBezTo>
                  <a:cubicBezTo>
                    <a:pt x="168112" y="449705"/>
                    <a:pt x="154761" y="442678"/>
                    <a:pt x="137195" y="443381"/>
                  </a:cubicBezTo>
                  <a:cubicBezTo>
                    <a:pt x="98548" y="444084"/>
                    <a:pt x="60604" y="442678"/>
                    <a:pt x="21958" y="444084"/>
                  </a:cubicBezTo>
                  <a:cubicBezTo>
                    <a:pt x="5797" y="444786"/>
                    <a:pt x="-1230" y="441976"/>
                    <a:pt x="175" y="423706"/>
                  </a:cubicBezTo>
                  <a:cubicBezTo>
                    <a:pt x="2986" y="402627"/>
                    <a:pt x="1580" y="382249"/>
                    <a:pt x="1580" y="36257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7EED9BAF-51A1-4051-8AF6-10B5A3F95145}"/>
                </a:ext>
              </a:extLst>
            </p:cNvPr>
            <p:cNvSpPr/>
            <p:nvPr/>
          </p:nvSpPr>
          <p:spPr>
            <a:xfrm>
              <a:off x="3046366" y="488299"/>
              <a:ext cx="769640" cy="1026186"/>
            </a:xfrm>
            <a:custGeom>
              <a:avLst/>
              <a:gdLst>
                <a:gd name="connsiteX0" fmla="*/ 363277 w 442678"/>
                <a:gd name="connsiteY0" fmla="*/ 590663 h 590237"/>
                <a:gd name="connsiteX1" fmla="*/ 300037 w 442678"/>
                <a:gd name="connsiteY1" fmla="*/ 590663 h 590237"/>
                <a:gd name="connsiteX2" fmla="*/ 262094 w 442678"/>
                <a:gd name="connsiteY2" fmla="*/ 572393 h 590237"/>
                <a:gd name="connsiteX3" fmla="*/ 266310 w 442678"/>
                <a:gd name="connsiteY3" fmla="*/ 530937 h 590237"/>
                <a:gd name="connsiteX4" fmla="*/ 290200 w 442678"/>
                <a:gd name="connsiteY4" fmla="*/ 486669 h 590237"/>
                <a:gd name="connsiteX5" fmla="*/ 241014 w 442678"/>
                <a:gd name="connsiteY5" fmla="*/ 444509 h 590237"/>
                <a:gd name="connsiteX6" fmla="*/ 167937 w 442678"/>
                <a:gd name="connsiteY6" fmla="*/ 464183 h 590237"/>
                <a:gd name="connsiteX7" fmla="*/ 170747 w 442678"/>
                <a:gd name="connsiteY7" fmla="*/ 526720 h 590237"/>
                <a:gd name="connsiteX8" fmla="*/ 189719 w 442678"/>
                <a:gd name="connsiteY8" fmla="*/ 558340 h 590237"/>
                <a:gd name="connsiteX9" fmla="*/ 146857 w 442678"/>
                <a:gd name="connsiteY9" fmla="*/ 591365 h 590237"/>
                <a:gd name="connsiteX10" fmla="*/ 15458 w 442678"/>
                <a:gd name="connsiteY10" fmla="*/ 592068 h 590237"/>
                <a:gd name="connsiteX11" fmla="*/ 702 w 442678"/>
                <a:gd name="connsiteY11" fmla="*/ 576610 h 590237"/>
                <a:gd name="connsiteX12" fmla="*/ 702 w 442678"/>
                <a:gd name="connsiteY12" fmla="*/ 448022 h 590237"/>
                <a:gd name="connsiteX13" fmla="*/ 26701 w 442678"/>
                <a:gd name="connsiteY13" fmla="*/ 405862 h 590237"/>
                <a:gd name="connsiteX14" fmla="*/ 55510 w 442678"/>
                <a:gd name="connsiteY14" fmla="*/ 410078 h 590237"/>
                <a:gd name="connsiteX15" fmla="*/ 127885 w 442678"/>
                <a:gd name="connsiteY15" fmla="*/ 424834 h 590237"/>
                <a:gd name="connsiteX16" fmla="*/ 132803 w 442678"/>
                <a:gd name="connsiteY16" fmla="*/ 322948 h 590237"/>
                <a:gd name="connsiteX17" fmla="*/ 63240 w 442678"/>
                <a:gd name="connsiteY17" fmla="*/ 322245 h 590237"/>
                <a:gd name="connsiteX18" fmla="*/ 33025 w 442678"/>
                <a:gd name="connsiteY18" fmla="*/ 338406 h 590237"/>
                <a:gd name="connsiteX19" fmla="*/ 1405 w 442678"/>
                <a:gd name="connsiteY19" fmla="*/ 301165 h 590237"/>
                <a:gd name="connsiteX20" fmla="*/ 0 w 442678"/>
                <a:gd name="connsiteY20" fmla="*/ 161335 h 590237"/>
                <a:gd name="connsiteX21" fmla="*/ 16161 w 442678"/>
                <a:gd name="connsiteY21" fmla="*/ 150093 h 590237"/>
                <a:gd name="connsiteX22" fmla="*/ 131398 w 442678"/>
                <a:gd name="connsiteY22" fmla="*/ 150093 h 590237"/>
                <a:gd name="connsiteX23" fmla="*/ 158099 w 442678"/>
                <a:gd name="connsiteY23" fmla="*/ 145877 h 590237"/>
                <a:gd name="connsiteX24" fmla="*/ 163018 w 442678"/>
                <a:gd name="connsiteY24" fmla="*/ 107230 h 590237"/>
                <a:gd name="connsiteX25" fmla="*/ 160910 w 442678"/>
                <a:gd name="connsiteY25" fmla="*/ 22208 h 590237"/>
                <a:gd name="connsiteX26" fmla="*/ 289497 w 442678"/>
                <a:gd name="connsiteY26" fmla="*/ 32748 h 590237"/>
                <a:gd name="connsiteX27" fmla="*/ 283876 w 442678"/>
                <a:gd name="connsiteY27" fmla="*/ 103014 h 590237"/>
                <a:gd name="connsiteX28" fmla="*/ 267012 w 442678"/>
                <a:gd name="connsiteY28" fmla="*/ 129013 h 590237"/>
                <a:gd name="connsiteX29" fmla="*/ 304956 w 442678"/>
                <a:gd name="connsiteY29" fmla="*/ 150795 h 590237"/>
                <a:gd name="connsiteX30" fmla="*/ 420193 w 442678"/>
                <a:gd name="connsiteY30" fmla="*/ 150093 h 590237"/>
                <a:gd name="connsiteX31" fmla="*/ 443381 w 442678"/>
                <a:gd name="connsiteY31" fmla="*/ 172578 h 590237"/>
                <a:gd name="connsiteX32" fmla="*/ 442678 w 442678"/>
                <a:gd name="connsiteY32" fmla="*/ 285004 h 590237"/>
                <a:gd name="connsiteX33" fmla="*/ 427220 w 442678"/>
                <a:gd name="connsiteY33" fmla="*/ 327164 h 590237"/>
                <a:gd name="connsiteX34" fmla="*/ 380844 w 442678"/>
                <a:gd name="connsiteY34" fmla="*/ 325056 h 590237"/>
                <a:gd name="connsiteX35" fmla="*/ 338684 w 442678"/>
                <a:gd name="connsiteY35" fmla="*/ 302571 h 590237"/>
                <a:gd name="connsiteX36" fmla="*/ 295821 w 442678"/>
                <a:gd name="connsiteY36" fmla="*/ 351054 h 590237"/>
                <a:gd name="connsiteX37" fmla="*/ 320415 w 442678"/>
                <a:gd name="connsiteY37" fmla="*/ 429753 h 590237"/>
                <a:gd name="connsiteX38" fmla="*/ 374520 w 442678"/>
                <a:gd name="connsiteY38" fmla="*/ 424834 h 590237"/>
                <a:gd name="connsiteX39" fmla="*/ 410356 w 442678"/>
                <a:gd name="connsiteY39" fmla="*/ 403754 h 590237"/>
                <a:gd name="connsiteX40" fmla="*/ 442678 w 442678"/>
                <a:gd name="connsiteY40" fmla="*/ 450130 h 590237"/>
                <a:gd name="connsiteX41" fmla="*/ 443381 w 442678"/>
                <a:gd name="connsiteY41" fmla="*/ 575907 h 590237"/>
                <a:gd name="connsiteX42" fmla="*/ 427922 w 442678"/>
                <a:gd name="connsiteY42" fmla="*/ 591365 h 590237"/>
                <a:gd name="connsiteX43" fmla="*/ 363277 w 442678"/>
                <a:gd name="connsiteY43" fmla="*/ 590663 h 590237"/>
                <a:gd name="connsiteX44" fmla="*/ 363277 w 442678"/>
                <a:gd name="connsiteY44" fmla="*/ 59066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42678" h="590237">
                  <a:moveTo>
                    <a:pt x="363277" y="590663"/>
                  </a:moveTo>
                  <a:cubicBezTo>
                    <a:pt x="342197" y="590663"/>
                    <a:pt x="321117" y="590663"/>
                    <a:pt x="300037" y="590663"/>
                  </a:cubicBezTo>
                  <a:cubicBezTo>
                    <a:pt x="283876" y="590663"/>
                    <a:pt x="271931" y="583636"/>
                    <a:pt x="262094" y="572393"/>
                  </a:cubicBezTo>
                  <a:cubicBezTo>
                    <a:pt x="249446" y="556935"/>
                    <a:pt x="248743" y="543584"/>
                    <a:pt x="266310" y="530937"/>
                  </a:cubicBezTo>
                  <a:cubicBezTo>
                    <a:pt x="281066" y="520397"/>
                    <a:pt x="298632" y="508451"/>
                    <a:pt x="290200" y="486669"/>
                  </a:cubicBezTo>
                  <a:cubicBezTo>
                    <a:pt x="281768" y="464886"/>
                    <a:pt x="266310" y="448022"/>
                    <a:pt x="241014" y="444509"/>
                  </a:cubicBezTo>
                  <a:cubicBezTo>
                    <a:pt x="214313" y="440996"/>
                    <a:pt x="188314" y="440996"/>
                    <a:pt x="167937" y="464183"/>
                  </a:cubicBezTo>
                  <a:cubicBezTo>
                    <a:pt x="146154" y="488777"/>
                    <a:pt x="146857" y="504235"/>
                    <a:pt x="170747" y="526720"/>
                  </a:cubicBezTo>
                  <a:cubicBezTo>
                    <a:pt x="179882" y="535152"/>
                    <a:pt x="197448" y="540071"/>
                    <a:pt x="189719" y="558340"/>
                  </a:cubicBezTo>
                  <a:cubicBezTo>
                    <a:pt x="181990" y="577312"/>
                    <a:pt x="169342" y="591365"/>
                    <a:pt x="146857" y="591365"/>
                  </a:cubicBezTo>
                  <a:cubicBezTo>
                    <a:pt x="103291" y="592068"/>
                    <a:pt x="59024" y="591365"/>
                    <a:pt x="15458" y="592068"/>
                  </a:cubicBezTo>
                  <a:cubicBezTo>
                    <a:pt x="2811" y="592068"/>
                    <a:pt x="0" y="587852"/>
                    <a:pt x="702" y="576610"/>
                  </a:cubicBezTo>
                  <a:cubicBezTo>
                    <a:pt x="1405" y="533747"/>
                    <a:pt x="1405" y="490885"/>
                    <a:pt x="702" y="448022"/>
                  </a:cubicBezTo>
                  <a:cubicBezTo>
                    <a:pt x="702" y="428347"/>
                    <a:pt x="11945" y="415699"/>
                    <a:pt x="26701" y="405862"/>
                  </a:cubicBezTo>
                  <a:cubicBezTo>
                    <a:pt x="36538" y="399538"/>
                    <a:pt x="45673" y="400241"/>
                    <a:pt x="55510" y="410078"/>
                  </a:cubicBezTo>
                  <a:cubicBezTo>
                    <a:pt x="93454" y="448022"/>
                    <a:pt x="101886" y="449427"/>
                    <a:pt x="127885" y="424834"/>
                  </a:cubicBezTo>
                  <a:cubicBezTo>
                    <a:pt x="154586" y="399538"/>
                    <a:pt x="157397" y="350352"/>
                    <a:pt x="132803" y="322948"/>
                  </a:cubicBezTo>
                  <a:cubicBezTo>
                    <a:pt x="106805" y="293436"/>
                    <a:pt x="89238" y="293436"/>
                    <a:pt x="63240" y="322245"/>
                  </a:cubicBezTo>
                  <a:cubicBezTo>
                    <a:pt x="55510" y="330677"/>
                    <a:pt x="50592" y="345433"/>
                    <a:pt x="33025" y="338406"/>
                  </a:cubicBezTo>
                  <a:cubicBezTo>
                    <a:pt x="15458" y="331380"/>
                    <a:pt x="2108" y="320137"/>
                    <a:pt x="1405" y="301165"/>
                  </a:cubicBezTo>
                  <a:cubicBezTo>
                    <a:pt x="0" y="254790"/>
                    <a:pt x="702" y="208414"/>
                    <a:pt x="0" y="161335"/>
                  </a:cubicBezTo>
                  <a:cubicBezTo>
                    <a:pt x="0" y="147985"/>
                    <a:pt x="8432" y="150093"/>
                    <a:pt x="16161" y="150093"/>
                  </a:cubicBezTo>
                  <a:cubicBezTo>
                    <a:pt x="54808" y="150093"/>
                    <a:pt x="92752" y="150093"/>
                    <a:pt x="131398" y="150093"/>
                  </a:cubicBezTo>
                  <a:cubicBezTo>
                    <a:pt x="140533" y="150093"/>
                    <a:pt x="149667" y="150795"/>
                    <a:pt x="158099" y="145877"/>
                  </a:cubicBezTo>
                  <a:cubicBezTo>
                    <a:pt x="179179" y="133931"/>
                    <a:pt x="180585" y="122689"/>
                    <a:pt x="163018" y="107230"/>
                  </a:cubicBezTo>
                  <a:cubicBezTo>
                    <a:pt x="129993" y="77718"/>
                    <a:pt x="129290" y="52422"/>
                    <a:pt x="160910" y="22208"/>
                  </a:cubicBezTo>
                  <a:cubicBezTo>
                    <a:pt x="196043" y="-11520"/>
                    <a:pt x="260688" y="-5899"/>
                    <a:pt x="289497" y="32748"/>
                  </a:cubicBezTo>
                  <a:cubicBezTo>
                    <a:pt x="309172" y="58746"/>
                    <a:pt x="306361" y="80529"/>
                    <a:pt x="283876" y="103014"/>
                  </a:cubicBezTo>
                  <a:cubicBezTo>
                    <a:pt x="276850" y="110041"/>
                    <a:pt x="257878" y="112149"/>
                    <a:pt x="267012" y="129013"/>
                  </a:cubicBezTo>
                  <a:cubicBezTo>
                    <a:pt x="274741" y="143769"/>
                    <a:pt x="287390" y="150795"/>
                    <a:pt x="304956" y="150795"/>
                  </a:cubicBezTo>
                  <a:cubicBezTo>
                    <a:pt x="343603" y="150093"/>
                    <a:pt x="381546" y="151498"/>
                    <a:pt x="420193" y="150093"/>
                  </a:cubicBezTo>
                  <a:cubicBezTo>
                    <a:pt x="437760" y="149390"/>
                    <a:pt x="444083" y="153606"/>
                    <a:pt x="443381" y="172578"/>
                  </a:cubicBezTo>
                  <a:cubicBezTo>
                    <a:pt x="441976" y="209819"/>
                    <a:pt x="442678" y="247763"/>
                    <a:pt x="442678" y="285004"/>
                  </a:cubicBezTo>
                  <a:cubicBezTo>
                    <a:pt x="442678" y="301165"/>
                    <a:pt x="439165" y="315219"/>
                    <a:pt x="427220" y="327164"/>
                  </a:cubicBezTo>
                  <a:cubicBezTo>
                    <a:pt x="408950" y="345433"/>
                    <a:pt x="397708" y="344731"/>
                    <a:pt x="380844" y="325056"/>
                  </a:cubicBezTo>
                  <a:cubicBezTo>
                    <a:pt x="369601" y="312408"/>
                    <a:pt x="359061" y="294841"/>
                    <a:pt x="338684" y="302571"/>
                  </a:cubicBezTo>
                  <a:cubicBezTo>
                    <a:pt x="316199" y="311003"/>
                    <a:pt x="299335" y="325759"/>
                    <a:pt x="295821" y="351054"/>
                  </a:cubicBezTo>
                  <a:cubicBezTo>
                    <a:pt x="291606" y="381269"/>
                    <a:pt x="293011" y="409376"/>
                    <a:pt x="320415" y="429753"/>
                  </a:cubicBezTo>
                  <a:cubicBezTo>
                    <a:pt x="342900" y="446617"/>
                    <a:pt x="355548" y="445211"/>
                    <a:pt x="374520" y="424834"/>
                  </a:cubicBezTo>
                  <a:cubicBezTo>
                    <a:pt x="384357" y="414294"/>
                    <a:pt x="389978" y="394620"/>
                    <a:pt x="410356" y="403754"/>
                  </a:cubicBezTo>
                  <a:cubicBezTo>
                    <a:pt x="430030" y="412186"/>
                    <a:pt x="441976" y="428347"/>
                    <a:pt x="442678" y="450130"/>
                  </a:cubicBezTo>
                  <a:cubicBezTo>
                    <a:pt x="443381" y="492290"/>
                    <a:pt x="442678" y="534450"/>
                    <a:pt x="443381" y="575907"/>
                  </a:cubicBezTo>
                  <a:cubicBezTo>
                    <a:pt x="443381" y="587852"/>
                    <a:pt x="439867" y="592068"/>
                    <a:pt x="427922" y="591365"/>
                  </a:cubicBezTo>
                  <a:cubicBezTo>
                    <a:pt x="406842" y="589960"/>
                    <a:pt x="385060" y="590663"/>
                    <a:pt x="363277" y="590663"/>
                  </a:cubicBezTo>
                  <a:cubicBezTo>
                    <a:pt x="363277" y="590663"/>
                    <a:pt x="363277" y="590663"/>
                    <a:pt x="363277" y="59066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EDBDBB83-5A19-4A63-B846-BCBE812ACE37}"/>
                </a:ext>
              </a:extLst>
            </p:cNvPr>
            <p:cNvSpPr/>
            <p:nvPr/>
          </p:nvSpPr>
          <p:spPr>
            <a:xfrm>
              <a:off x="-8381" y="6079568"/>
              <a:ext cx="769640" cy="769640"/>
            </a:xfrm>
            <a:custGeom>
              <a:avLst/>
              <a:gdLst>
                <a:gd name="connsiteX0" fmla="*/ 220637 w 442678"/>
                <a:gd name="connsiteY0" fmla="*/ 443137 h 442678"/>
                <a:gd name="connsiteX1" fmla="*/ 21080 w 442678"/>
                <a:gd name="connsiteY1" fmla="*/ 443840 h 442678"/>
                <a:gd name="connsiteX2" fmla="*/ 0 w 442678"/>
                <a:gd name="connsiteY2" fmla="*/ 422760 h 442678"/>
                <a:gd name="connsiteX3" fmla="*/ 0 w 442678"/>
                <a:gd name="connsiteY3" fmla="*/ 22944 h 442678"/>
                <a:gd name="connsiteX4" fmla="*/ 23188 w 442678"/>
                <a:gd name="connsiteY4" fmla="*/ 459 h 442678"/>
                <a:gd name="connsiteX5" fmla="*/ 141236 w 442678"/>
                <a:gd name="connsiteY5" fmla="*/ 459 h 442678"/>
                <a:gd name="connsiteX6" fmla="*/ 183396 w 442678"/>
                <a:gd name="connsiteY6" fmla="*/ 20836 h 442678"/>
                <a:gd name="connsiteX7" fmla="*/ 179882 w 442678"/>
                <a:gd name="connsiteY7" fmla="*/ 60185 h 442678"/>
                <a:gd name="connsiteX8" fmla="*/ 155289 w 442678"/>
                <a:gd name="connsiteY8" fmla="*/ 106561 h 442678"/>
                <a:gd name="connsiteX9" fmla="*/ 213610 w 442678"/>
                <a:gd name="connsiteY9" fmla="*/ 148721 h 442678"/>
                <a:gd name="connsiteX10" fmla="*/ 276147 w 442678"/>
                <a:gd name="connsiteY10" fmla="*/ 129046 h 442678"/>
                <a:gd name="connsiteX11" fmla="*/ 272634 w 442678"/>
                <a:gd name="connsiteY11" fmla="*/ 65104 h 442678"/>
                <a:gd name="connsiteX12" fmla="*/ 254364 w 442678"/>
                <a:gd name="connsiteY12" fmla="*/ 35592 h 442678"/>
                <a:gd name="connsiteX13" fmla="*/ 293011 w 442678"/>
                <a:gd name="connsiteY13" fmla="*/ 1162 h 442678"/>
                <a:gd name="connsiteX14" fmla="*/ 432841 w 442678"/>
                <a:gd name="connsiteY14" fmla="*/ 459 h 442678"/>
                <a:gd name="connsiteX15" fmla="*/ 444084 w 442678"/>
                <a:gd name="connsiteY15" fmla="*/ 14512 h 442678"/>
                <a:gd name="connsiteX16" fmla="*/ 444084 w 442678"/>
                <a:gd name="connsiteY16" fmla="*/ 148721 h 442678"/>
                <a:gd name="connsiteX17" fmla="*/ 412464 w 442678"/>
                <a:gd name="connsiteY17" fmla="*/ 189475 h 442678"/>
                <a:gd name="connsiteX18" fmla="*/ 380141 w 442678"/>
                <a:gd name="connsiteY18" fmla="*/ 171909 h 442678"/>
                <a:gd name="connsiteX19" fmla="*/ 316199 w 442678"/>
                <a:gd name="connsiteY19" fmla="*/ 169098 h 442678"/>
                <a:gd name="connsiteX20" fmla="*/ 319712 w 442678"/>
                <a:gd name="connsiteY20" fmla="*/ 278714 h 442678"/>
                <a:gd name="connsiteX21" fmla="*/ 378033 w 442678"/>
                <a:gd name="connsiteY21" fmla="*/ 273795 h 442678"/>
                <a:gd name="connsiteX22" fmla="*/ 412464 w 442678"/>
                <a:gd name="connsiteY22" fmla="*/ 254121 h 442678"/>
                <a:gd name="connsiteX23" fmla="*/ 444084 w 442678"/>
                <a:gd name="connsiteY23" fmla="*/ 300496 h 442678"/>
                <a:gd name="connsiteX24" fmla="*/ 444084 w 442678"/>
                <a:gd name="connsiteY24" fmla="*/ 423463 h 442678"/>
                <a:gd name="connsiteX25" fmla="*/ 424409 w 442678"/>
                <a:gd name="connsiteY25" fmla="*/ 443137 h 442678"/>
                <a:gd name="connsiteX26" fmla="*/ 220637 w 442678"/>
                <a:gd name="connsiteY26" fmla="*/ 443137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42678" h="442678">
                  <a:moveTo>
                    <a:pt x="220637" y="443137"/>
                  </a:moveTo>
                  <a:cubicBezTo>
                    <a:pt x="153884" y="443137"/>
                    <a:pt x="87131" y="442435"/>
                    <a:pt x="21080" y="443840"/>
                  </a:cubicBezTo>
                  <a:cubicBezTo>
                    <a:pt x="4216" y="443840"/>
                    <a:pt x="0" y="439624"/>
                    <a:pt x="0" y="422760"/>
                  </a:cubicBezTo>
                  <a:cubicBezTo>
                    <a:pt x="703" y="289254"/>
                    <a:pt x="703" y="156450"/>
                    <a:pt x="0" y="22944"/>
                  </a:cubicBezTo>
                  <a:cubicBezTo>
                    <a:pt x="0" y="4675"/>
                    <a:pt x="4919" y="-244"/>
                    <a:pt x="23188" y="459"/>
                  </a:cubicBezTo>
                  <a:cubicBezTo>
                    <a:pt x="62537" y="1864"/>
                    <a:pt x="101886" y="1162"/>
                    <a:pt x="141236" y="459"/>
                  </a:cubicBezTo>
                  <a:cubicBezTo>
                    <a:pt x="159505" y="-244"/>
                    <a:pt x="172856" y="7486"/>
                    <a:pt x="183396" y="20836"/>
                  </a:cubicBezTo>
                  <a:cubicBezTo>
                    <a:pt x="195340" y="35592"/>
                    <a:pt x="195340" y="47537"/>
                    <a:pt x="179882" y="60185"/>
                  </a:cubicBezTo>
                  <a:cubicBezTo>
                    <a:pt x="165126" y="71428"/>
                    <a:pt x="145452" y="83373"/>
                    <a:pt x="155289" y="106561"/>
                  </a:cubicBezTo>
                  <a:cubicBezTo>
                    <a:pt x="165829" y="131154"/>
                    <a:pt x="184098" y="148018"/>
                    <a:pt x="213610" y="148721"/>
                  </a:cubicBezTo>
                  <a:cubicBezTo>
                    <a:pt x="236798" y="149424"/>
                    <a:pt x="258580" y="148018"/>
                    <a:pt x="276147" y="129046"/>
                  </a:cubicBezTo>
                  <a:cubicBezTo>
                    <a:pt x="299335" y="103750"/>
                    <a:pt x="298632" y="88292"/>
                    <a:pt x="272634" y="65104"/>
                  </a:cubicBezTo>
                  <a:cubicBezTo>
                    <a:pt x="264202" y="57375"/>
                    <a:pt x="248040" y="52456"/>
                    <a:pt x="254364" y="35592"/>
                  </a:cubicBezTo>
                  <a:cubicBezTo>
                    <a:pt x="260689" y="17323"/>
                    <a:pt x="273336" y="1864"/>
                    <a:pt x="293011" y="1162"/>
                  </a:cubicBezTo>
                  <a:cubicBezTo>
                    <a:pt x="339387" y="-946"/>
                    <a:pt x="385763" y="459"/>
                    <a:pt x="432841" y="459"/>
                  </a:cubicBezTo>
                  <a:cubicBezTo>
                    <a:pt x="444084" y="459"/>
                    <a:pt x="444084" y="6783"/>
                    <a:pt x="444084" y="14512"/>
                  </a:cubicBezTo>
                  <a:cubicBezTo>
                    <a:pt x="444084" y="59483"/>
                    <a:pt x="444084" y="103750"/>
                    <a:pt x="444084" y="148721"/>
                  </a:cubicBezTo>
                  <a:cubicBezTo>
                    <a:pt x="444084" y="169801"/>
                    <a:pt x="429328" y="181746"/>
                    <a:pt x="412464" y="189475"/>
                  </a:cubicBezTo>
                  <a:cubicBezTo>
                    <a:pt x="394897" y="197907"/>
                    <a:pt x="388573" y="181746"/>
                    <a:pt x="380141" y="171909"/>
                  </a:cubicBezTo>
                  <a:cubicBezTo>
                    <a:pt x="357656" y="146613"/>
                    <a:pt x="340792" y="145208"/>
                    <a:pt x="316199" y="169098"/>
                  </a:cubicBezTo>
                  <a:cubicBezTo>
                    <a:pt x="285984" y="197907"/>
                    <a:pt x="288092" y="252013"/>
                    <a:pt x="319712" y="278714"/>
                  </a:cubicBezTo>
                  <a:cubicBezTo>
                    <a:pt x="342197" y="297686"/>
                    <a:pt x="358359" y="296280"/>
                    <a:pt x="378033" y="273795"/>
                  </a:cubicBezTo>
                  <a:cubicBezTo>
                    <a:pt x="387168" y="263958"/>
                    <a:pt x="393492" y="245689"/>
                    <a:pt x="412464" y="254121"/>
                  </a:cubicBezTo>
                  <a:cubicBezTo>
                    <a:pt x="431436" y="263255"/>
                    <a:pt x="444084" y="277308"/>
                    <a:pt x="444084" y="300496"/>
                  </a:cubicBezTo>
                  <a:cubicBezTo>
                    <a:pt x="443381" y="341251"/>
                    <a:pt x="443381" y="382708"/>
                    <a:pt x="444084" y="423463"/>
                  </a:cubicBezTo>
                  <a:cubicBezTo>
                    <a:pt x="444786" y="439624"/>
                    <a:pt x="439165" y="443137"/>
                    <a:pt x="424409" y="443137"/>
                  </a:cubicBezTo>
                  <a:cubicBezTo>
                    <a:pt x="355548" y="443137"/>
                    <a:pt x="288092" y="443137"/>
                    <a:pt x="220637" y="44313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86B91478-DBB2-49FA-9F79-BDE0E152F25B}"/>
                </a:ext>
              </a:extLst>
            </p:cNvPr>
            <p:cNvSpPr/>
            <p:nvPr/>
          </p:nvSpPr>
          <p:spPr>
            <a:xfrm>
              <a:off x="11446318" y="3825733"/>
              <a:ext cx="769640" cy="769640"/>
            </a:xfrm>
            <a:custGeom>
              <a:avLst/>
              <a:gdLst>
                <a:gd name="connsiteX0" fmla="*/ 443557 w 442678"/>
                <a:gd name="connsiteY0" fmla="*/ 221372 h 442678"/>
                <a:gd name="connsiteX1" fmla="*/ 444259 w 442678"/>
                <a:gd name="connsiteY1" fmla="*/ 421632 h 442678"/>
                <a:gd name="connsiteX2" fmla="*/ 421774 w 442678"/>
                <a:gd name="connsiteY2" fmla="*/ 444117 h 442678"/>
                <a:gd name="connsiteX3" fmla="*/ 309348 w 442678"/>
                <a:gd name="connsiteY3" fmla="*/ 444117 h 442678"/>
                <a:gd name="connsiteX4" fmla="*/ 267188 w 442678"/>
                <a:gd name="connsiteY4" fmla="*/ 428658 h 442678"/>
                <a:gd name="connsiteX5" fmla="*/ 268593 w 442678"/>
                <a:gd name="connsiteY5" fmla="*/ 381580 h 442678"/>
                <a:gd name="connsiteX6" fmla="*/ 289673 w 442678"/>
                <a:gd name="connsiteY6" fmla="*/ 335907 h 442678"/>
                <a:gd name="connsiteX7" fmla="*/ 241892 w 442678"/>
                <a:gd name="connsiteY7" fmla="*/ 295855 h 442678"/>
                <a:gd name="connsiteX8" fmla="*/ 164599 w 442678"/>
                <a:gd name="connsiteY8" fmla="*/ 318340 h 442678"/>
                <a:gd name="connsiteX9" fmla="*/ 168815 w 442678"/>
                <a:gd name="connsiteY9" fmla="*/ 375256 h 442678"/>
                <a:gd name="connsiteX10" fmla="*/ 190598 w 442678"/>
                <a:gd name="connsiteY10" fmla="*/ 408984 h 442678"/>
                <a:gd name="connsiteX11" fmla="*/ 144924 w 442678"/>
                <a:gd name="connsiteY11" fmla="*/ 442712 h 442678"/>
                <a:gd name="connsiteX12" fmla="*/ 13526 w 442678"/>
                <a:gd name="connsiteY12" fmla="*/ 443414 h 442678"/>
                <a:gd name="connsiteX13" fmla="*/ 176 w 442678"/>
                <a:gd name="connsiteY13" fmla="*/ 427956 h 442678"/>
                <a:gd name="connsiteX14" fmla="*/ 878 w 442678"/>
                <a:gd name="connsiteY14" fmla="*/ 296558 h 442678"/>
                <a:gd name="connsiteX15" fmla="*/ 33904 w 442678"/>
                <a:gd name="connsiteY15" fmla="*/ 253695 h 442678"/>
                <a:gd name="connsiteX16" fmla="*/ 66226 w 442678"/>
                <a:gd name="connsiteY16" fmla="*/ 271964 h 442678"/>
                <a:gd name="connsiteX17" fmla="*/ 130871 w 442678"/>
                <a:gd name="connsiteY17" fmla="*/ 273370 h 442678"/>
                <a:gd name="connsiteX18" fmla="*/ 129466 w 442678"/>
                <a:gd name="connsiteY18" fmla="*/ 167267 h 442678"/>
                <a:gd name="connsiteX19" fmla="*/ 66929 w 442678"/>
                <a:gd name="connsiteY19" fmla="*/ 170078 h 442678"/>
                <a:gd name="connsiteX20" fmla="*/ 36011 w 442678"/>
                <a:gd name="connsiteY20" fmla="*/ 189050 h 442678"/>
                <a:gd name="connsiteX21" fmla="*/ 2284 w 442678"/>
                <a:gd name="connsiteY21" fmla="*/ 146890 h 442678"/>
                <a:gd name="connsiteX22" fmla="*/ 1581 w 442678"/>
                <a:gd name="connsiteY22" fmla="*/ 12681 h 442678"/>
                <a:gd name="connsiteX23" fmla="*/ 16337 w 442678"/>
                <a:gd name="connsiteY23" fmla="*/ 33 h 442678"/>
                <a:gd name="connsiteX24" fmla="*/ 144924 w 442678"/>
                <a:gd name="connsiteY24" fmla="*/ 33 h 442678"/>
                <a:gd name="connsiteX25" fmla="*/ 191300 w 442678"/>
                <a:gd name="connsiteY25" fmla="*/ 32356 h 442678"/>
                <a:gd name="connsiteX26" fmla="*/ 170923 w 442678"/>
                <a:gd name="connsiteY26" fmla="*/ 66084 h 442678"/>
                <a:gd name="connsiteX27" fmla="*/ 167410 w 442678"/>
                <a:gd name="connsiteY27" fmla="*/ 124405 h 442678"/>
                <a:gd name="connsiteX28" fmla="*/ 279133 w 442678"/>
                <a:gd name="connsiteY28" fmla="*/ 125810 h 442678"/>
                <a:gd name="connsiteX29" fmla="*/ 274917 w 442678"/>
                <a:gd name="connsiteY29" fmla="*/ 65381 h 442678"/>
                <a:gd name="connsiteX30" fmla="*/ 255243 w 442678"/>
                <a:gd name="connsiteY30" fmla="*/ 33761 h 442678"/>
                <a:gd name="connsiteX31" fmla="*/ 298105 w 442678"/>
                <a:gd name="connsiteY31" fmla="*/ 736 h 442678"/>
                <a:gd name="connsiteX32" fmla="*/ 429503 w 442678"/>
                <a:gd name="connsiteY32" fmla="*/ 33 h 442678"/>
                <a:gd name="connsiteX33" fmla="*/ 444962 w 442678"/>
                <a:gd name="connsiteY33" fmla="*/ 21113 h 442678"/>
                <a:gd name="connsiteX34" fmla="*/ 443557 w 442678"/>
                <a:gd name="connsiteY34" fmla="*/ 221372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42678" h="442678">
                  <a:moveTo>
                    <a:pt x="443557" y="221372"/>
                  </a:moveTo>
                  <a:cubicBezTo>
                    <a:pt x="443557" y="288125"/>
                    <a:pt x="442854" y="354879"/>
                    <a:pt x="444259" y="421632"/>
                  </a:cubicBezTo>
                  <a:cubicBezTo>
                    <a:pt x="444259" y="439901"/>
                    <a:pt x="439341" y="444820"/>
                    <a:pt x="421774" y="444117"/>
                  </a:cubicBezTo>
                  <a:cubicBezTo>
                    <a:pt x="384533" y="442712"/>
                    <a:pt x="346589" y="443414"/>
                    <a:pt x="309348" y="444117"/>
                  </a:cubicBezTo>
                  <a:cubicBezTo>
                    <a:pt x="293186" y="444117"/>
                    <a:pt x="278431" y="440604"/>
                    <a:pt x="267188" y="428658"/>
                  </a:cubicBezTo>
                  <a:cubicBezTo>
                    <a:pt x="248216" y="409686"/>
                    <a:pt x="248216" y="399147"/>
                    <a:pt x="268593" y="381580"/>
                  </a:cubicBezTo>
                  <a:cubicBezTo>
                    <a:pt x="282646" y="369635"/>
                    <a:pt x="298808" y="356987"/>
                    <a:pt x="289673" y="335907"/>
                  </a:cubicBezTo>
                  <a:cubicBezTo>
                    <a:pt x="280538" y="315529"/>
                    <a:pt x="266485" y="298665"/>
                    <a:pt x="241892" y="295855"/>
                  </a:cubicBezTo>
                  <a:cubicBezTo>
                    <a:pt x="213083" y="292342"/>
                    <a:pt x="185679" y="292342"/>
                    <a:pt x="164599" y="318340"/>
                  </a:cubicBezTo>
                  <a:cubicBezTo>
                    <a:pt x="147032" y="340825"/>
                    <a:pt x="148438" y="355581"/>
                    <a:pt x="168815" y="375256"/>
                  </a:cubicBezTo>
                  <a:cubicBezTo>
                    <a:pt x="178652" y="384391"/>
                    <a:pt x="197624" y="389309"/>
                    <a:pt x="190598" y="408984"/>
                  </a:cubicBezTo>
                  <a:cubicBezTo>
                    <a:pt x="182868" y="429361"/>
                    <a:pt x="167410" y="442009"/>
                    <a:pt x="144924" y="442712"/>
                  </a:cubicBezTo>
                  <a:cubicBezTo>
                    <a:pt x="101359" y="444117"/>
                    <a:pt x="57091" y="442712"/>
                    <a:pt x="13526" y="443414"/>
                  </a:cubicBezTo>
                  <a:cubicBezTo>
                    <a:pt x="1581" y="443414"/>
                    <a:pt x="176" y="437793"/>
                    <a:pt x="176" y="427956"/>
                  </a:cubicBezTo>
                  <a:cubicBezTo>
                    <a:pt x="176" y="384391"/>
                    <a:pt x="-527" y="340123"/>
                    <a:pt x="878" y="296558"/>
                  </a:cubicBezTo>
                  <a:cubicBezTo>
                    <a:pt x="1581" y="274775"/>
                    <a:pt x="14932" y="261424"/>
                    <a:pt x="33904" y="253695"/>
                  </a:cubicBezTo>
                  <a:cubicBezTo>
                    <a:pt x="51470" y="246668"/>
                    <a:pt x="57794" y="262830"/>
                    <a:pt x="66226" y="271964"/>
                  </a:cubicBezTo>
                  <a:cubicBezTo>
                    <a:pt x="88711" y="297260"/>
                    <a:pt x="106278" y="297963"/>
                    <a:pt x="130871" y="273370"/>
                  </a:cubicBezTo>
                  <a:cubicBezTo>
                    <a:pt x="158275" y="246668"/>
                    <a:pt x="157572" y="193266"/>
                    <a:pt x="129466" y="167267"/>
                  </a:cubicBezTo>
                  <a:cubicBezTo>
                    <a:pt x="105575" y="144782"/>
                    <a:pt x="88711" y="146187"/>
                    <a:pt x="66929" y="170078"/>
                  </a:cubicBezTo>
                  <a:cubicBezTo>
                    <a:pt x="58497" y="179213"/>
                    <a:pt x="54281" y="196779"/>
                    <a:pt x="36011" y="189050"/>
                  </a:cubicBezTo>
                  <a:cubicBezTo>
                    <a:pt x="17039" y="181321"/>
                    <a:pt x="2986" y="167970"/>
                    <a:pt x="2284" y="146890"/>
                  </a:cubicBezTo>
                  <a:cubicBezTo>
                    <a:pt x="878" y="101920"/>
                    <a:pt x="2284" y="57652"/>
                    <a:pt x="1581" y="12681"/>
                  </a:cubicBezTo>
                  <a:cubicBezTo>
                    <a:pt x="1581" y="736"/>
                    <a:pt x="7202" y="33"/>
                    <a:pt x="16337" y="33"/>
                  </a:cubicBezTo>
                  <a:cubicBezTo>
                    <a:pt x="59199" y="33"/>
                    <a:pt x="102062" y="736"/>
                    <a:pt x="144924" y="33"/>
                  </a:cubicBezTo>
                  <a:cubicBezTo>
                    <a:pt x="168112" y="33"/>
                    <a:pt x="182868" y="13384"/>
                    <a:pt x="191300" y="32356"/>
                  </a:cubicBezTo>
                  <a:cubicBezTo>
                    <a:pt x="199732" y="51328"/>
                    <a:pt x="180760" y="56949"/>
                    <a:pt x="170923" y="66084"/>
                  </a:cubicBezTo>
                  <a:cubicBezTo>
                    <a:pt x="149140" y="86461"/>
                    <a:pt x="147735" y="101920"/>
                    <a:pt x="167410" y="124405"/>
                  </a:cubicBezTo>
                  <a:cubicBezTo>
                    <a:pt x="195516" y="157430"/>
                    <a:pt x="251026" y="158133"/>
                    <a:pt x="279133" y="125810"/>
                  </a:cubicBezTo>
                  <a:cubicBezTo>
                    <a:pt x="299510" y="102622"/>
                    <a:pt x="298105" y="85758"/>
                    <a:pt x="274917" y="65381"/>
                  </a:cubicBezTo>
                  <a:cubicBezTo>
                    <a:pt x="265080" y="56949"/>
                    <a:pt x="248216" y="50625"/>
                    <a:pt x="255243" y="33761"/>
                  </a:cubicBezTo>
                  <a:cubicBezTo>
                    <a:pt x="262972" y="15492"/>
                    <a:pt x="275620" y="736"/>
                    <a:pt x="298105" y="736"/>
                  </a:cubicBezTo>
                  <a:cubicBezTo>
                    <a:pt x="341670" y="33"/>
                    <a:pt x="385938" y="1439"/>
                    <a:pt x="429503" y="33"/>
                  </a:cubicBezTo>
                  <a:cubicBezTo>
                    <a:pt x="447772" y="-669"/>
                    <a:pt x="444962" y="9871"/>
                    <a:pt x="444962" y="21113"/>
                  </a:cubicBezTo>
                  <a:cubicBezTo>
                    <a:pt x="443557" y="87866"/>
                    <a:pt x="443557" y="154619"/>
                    <a:pt x="443557" y="22137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B40136C8-5D80-4426-9C1F-097187C666BD}"/>
                </a:ext>
              </a:extLst>
            </p:cNvPr>
            <p:cNvSpPr/>
            <p:nvPr/>
          </p:nvSpPr>
          <p:spPr>
            <a:xfrm>
              <a:off x="744277" y="-8368"/>
              <a:ext cx="757423" cy="769640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FE8FF84D-70BC-4B9E-A67D-7C962B2ECFAB}"/>
                </a:ext>
              </a:extLst>
            </p:cNvPr>
            <p:cNvSpPr/>
            <p:nvPr/>
          </p:nvSpPr>
          <p:spPr>
            <a:xfrm>
              <a:off x="-19663" y="5311403"/>
              <a:ext cx="1026185" cy="1026185"/>
            </a:xfrm>
            <a:custGeom>
              <a:avLst/>
              <a:gdLst>
                <a:gd name="connsiteX0" fmla="*/ 2191 w 590237"/>
                <a:gd name="connsiteY0" fmla="*/ 222106 h 590237"/>
                <a:gd name="connsiteX1" fmla="*/ 1488 w 590237"/>
                <a:gd name="connsiteY1" fmla="*/ 22549 h 590237"/>
                <a:gd name="connsiteX2" fmla="*/ 23973 w 590237"/>
                <a:gd name="connsiteY2" fmla="*/ 64 h 590237"/>
                <a:gd name="connsiteX3" fmla="*/ 136400 w 590237"/>
                <a:gd name="connsiteY3" fmla="*/ 767 h 590237"/>
                <a:gd name="connsiteX4" fmla="*/ 176451 w 590237"/>
                <a:gd name="connsiteY4" fmla="*/ 14820 h 590237"/>
                <a:gd name="connsiteX5" fmla="*/ 175749 w 590237"/>
                <a:gd name="connsiteY5" fmla="*/ 63304 h 590237"/>
                <a:gd name="connsiteX6" fmla="*/ 182775 w 590237"/>
                <a:gd name="connsiteY6" fmla="*/ 141300 h 590237"/>
                <a:gd name="connsiteX7" fmla="*/ 277635 w 590237"/>
                <a:gd name="connsiteY7" fmla="*/ 127949 h 590237"/>
                <a:gd name="connsiteX8" fmla="*/ 274122 w 590237"/>
                <a:gd name="connsiteY8" fmla="*/ 67520 h 590237"/>
                <a:gd name="connsiteX9" fmla="*/ 254447 w 590237"/>
                <a:gd name="connsiteY9" fmla="*/ 35900 h 590237"/>
                <a:gd name="connsiteX10" fmla="*/ 290986 w 590237"/>
                <a:gd name="connsiteY10" fmla="*/ 3577 h 590237"/>
                <a:gd name="connsiteX11" fmla="*/ 432924 w 590237"/>
                <a:gd name="connsiteY11" fmla="*/ 1469 h 590237"/>
                <a:gd name="connsiteX12" fmla="*/ 442761 w 590237"/>
                <a:gd name="connsiteY12" fmla="*/ 19739 h 590237"/>
                <a:gd name="connsiteX13" fmla="*/ 442761 w 590237"/>
                <a:gd name="connsiteY13" fmla="*/ 134976 h 590237"/>
                <a:gd name="connsiteX14" fmla="*/ 446977 w 590237"/>
                <a:gd name="connsiteY14" fmla="*/ 161677 h 590237"/>
                <a:gd name="connsiteX15" fmla="*/ 484921 w 590237"/>
                <a:gd name="connsiteY15" fmla="*/ 166595 h 590237"/>
                <a:gd name="connsiteX16" fmla="*/ 568538 w 590237"/>
                <a:gd name="connsiteY16" fmla="*/ 163082 h 590237"/>
                <a:gd name="connsiteX17" fmla="*/ 543242 w 590237"/>
                <a:gd name="connsiteY17" fmla="*/ 302912 h 590237"/>
                <a:gd name="connsiteX18" fmla="*/ 489840 w 590237"/>
                <a:gd name="connsiteY18" fmla="*/ 288156 h 590237"/>
                <a:gd name="connsiteX19" fmla="*/ 463138 w 590237"/>
                <a:gd name="connsiteY19" fmla="*/ 270590 h 590237"/>
                <a:gd name="connsiteX20" fmla="*/ 442058 w 590237"/>
                <a:gd name="connsiteY20" fmla="*/ 309236 h 590237"/>
                <a:gd name="connsiteX21" fmla="*/ 442761 w 590237"/>
                <a:gd name="connsiteY21" fmla="*/ 418852 h 590237"/>
                <a:gd name="connsiteX22" fmla="*/ 416762 w 590237"/>
                <a:gd name="connsiteY22" fmla="*/ 446256 h 590237"/>
                <a:gd name="connsiteX23" fmla="*/ 307147 w 590237"/>
                <a:gd name="connsiteY23" fmla="*/ 445553 h 590237"/>
                <a:gd name="connsiteX24" fmla="*/ 274824 w 590237"/>
                <a:gd name="connsiteY24" fmla="*/ 456796 h 590237"/>
                <a:gd name="connsiteX25" fmla="*/ 274824 w 590237"/>
                <a:gd name="connsiteY25" fmla="*/ 484902 h 590237"/>
                <a:gd name="connsiteX26" fmla="*/ 300120 w 590237"/>
                <a:gd name="connsiteY26" fmla="*/ 544629 h 590237"/>
                <a:gd name="connsiteX27" fmla="*/ 233367 w 590237"/>
                <a:gd name="connsiteY27" fmla="*/ 593113 h 590237"/>
                <a:gd name="connsiteX28" fmla="*/ 151156 w 590237"/>
                <a:gd name="connsiteY28" fmla="*/ 562195 h 590237"/>
                <a:gd name="connsiteX29" fmla="*/ 157480 w 590237"/>
                <a:gd name="connsiteY29" fmla="*/ 492632 h 590237"/>
                <a:gd name="connsiteX30" fmla="*/ 174343 w 590237"/>
                <a:gd name="connsiteY30" fmla="*/ 465930 h 590237"/>
                <a:gd name="connsiteX31" fmla="*/ 138508 w 590237"/>
                <a:gd name="connsiteY31" fmla="*/ 445553 h 590237"/>
                <a:gd name="connsiteX32" fmla="*/ 20460 w 590237"/>
                <a:gd name="connsiteY32" fmla="*/ 446256 h 590237"/>
                <a:gd name="connsiteX33" fmla="*/ 83 w 590237"/>
                <a:gd name="connsiteY33" fmla="*/ 425176 h 590237"/>
                <a:gd name="connsiteX34" fmla="*/ 2191 w 590237"/>
                <a:gd name="connsiteY34" fmla="*/ 222106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90237" h="590237">
                  <a:moveTo>
                    <a:pt x="2191" y="222106"/>
                  </a:moveTo>
                  <a:cubicBezTo>
                    <a:pt x="2191" y="155353"/>
                    <a:pt x="2893" y="88600"/>
                    <a:pt x="1488" y="22549"/>
                  </a:cubicBezTo>
                  <a:cubicBezTo>
                    <a:pt x="1488" y="4280"/>
                    <a:pt x="6407" y="-639"/>
                    <a:pt x="23973" y="64"/>
                  </a:cubicBezTo>
                  <a:cubicBezTo>
                    <a:pt x="61215" y="1469"/>
                    <a:pt x="98456" y="767"/>
                    <a:pt x="136400" y="767"/>
                  </a:cubicBezTo>
                  <a:cubicBezTo>
                    <a:pt x="151156" y="767"/>
                    <a:pt x="165209" y="3577"/>
                    <a:pt x="176451" y="14820"/>
                  </a:cubicBezTo>
                  <a:cubicBezTo>
                    <a:pt x="196126" y="33792"/>
                    <a:pt x="197531" y="47143"/>
                    <a:pt x="175749" y="63304"/>
                  </a:cubicBezTo>
                  <a:cubicBezTo>
                    <a:pt x="134994" y="92816"/>
                    <a:pt x="153264" y="120220"/>
                    <a:pt x="182775" y="141300"/>
                  </a:cubicBezTo>
                  <a:cubicBezTo>
                    <a:pt x="208774" y="160271"/>
                    <a:pt x="256555" y="151840"/>
                    <a:pt x="277635" y="127949"/>
                  </a:cubicBezTo>
                  <a:cubicBezTo>
                    <a:pt x="299418" y="103356"/>
                    <a:pt x="298012" y="89302"/>
                    <a:pt x="274122" y="67520"/>
                  </a:cubicBezTo>
                  <a:cubicBezTo>
                    <a:pt x="264987" y="59088"/>
                    <a:pt x="248123" y="54169"/>
                    <a:pt x="254447" y="35900"/>
                  </a:cubicBezTo>
                  <a:cubicBezTo>
                    <a:pt x="260069" y="18333"/>
                    <a:pt x="272716" y="4280"/>
                    <a:pt x="290986" y="3577"/>
                  </a:cubicBezTo>
                  <a:cubicBezTo>
                    <a:pt x="338064" y="1469"/>
                    <a:pt x="385845" y="1469"/>
                    <a:pt x="432924" y="1469"/>
                  </a:cubicBezTo>
                  <a:cubicBezTo>
                    <a:pt x="446274" y="1469"/>
                    <a:pt x="442761" y="12009"/>
                    <a:pt x="442761" y="19739"/>
                  </a:cubicBezTo>
                  <a:cubicBezTo>
                    <a:pt x="442761" y="58385"/>
                    <a:pt x="442761" y="96329"/>
                    <a:pt x="442761" y="134976"/>
                  </a:cubicBezTo>
                  <a:cubicBezTo>
                    <a:pt x="442761" y="144110"/>
                    <a:pt x="442761" y="153245"/>
                    <a:pt x="446977" y="161677"/>
                  </a:cubicBezTo>
                  <a:cubicBezTo>
                    <a:pt x="457517" y="181351"/>
                    <a:pt x="470165" y="182757"/>
                    <a:pt x="484921" y="166595"/>
                  </a:cubicBezTo>
                  <a:cubicBezTo>
                    <a:pt x="513028" y="134273"/>
                    <a:pt x="537621" y="133570"/>
                    <a:pt x="568538" y="163082"/>
                  </a:cubicBezTo>
                  <a:cubicBezTo>
                    <a:pt x="609995" y="203134"/>
                    <a:pt x="595942" y="279724"/>
                    <a:pt x="543242" y="302912"/>
                  </a:cubicBezTo>
                  <a:cubicBezTo>
                    <a:pt x="520757" y="312750"/>
                    <a:pt x="505298" y="302912"/>
                    <a:pt x="489840" y="288156"/>
                  </a:cubicBezTo>
                  <a:cubicBezTo>
                    <a:pt x="482110" y="281130"/>
                    <a:pt x="479300" y="262860"/>
                    <a:pt x="463138" y="270590"/>
                  </a:cubicBezTo>
                  <a:cubicBezTo>
                    <a:pt x="447680" y="277616"/>
                    <a:pt x="442058" y="291670"/>
                    <a:pt x="442058" y="309236"/>
                  </a:cubicBezTo>
                  <a:cubicBezTo>
                    <a:pt x="442761" y="345775"/>
                    <a:pt x="441356" y="382313"/>
                    <a:pt x="442761" y="418852"/>
                  </a:cubicBezTo>
                  <a:cubicBezTo>
                    <a:pt x="443464" y="439229"/>
                    <a:pt x="439950" y="447661"/>
                    <a:pt x="416762" y="446256"/>
                  </a:cubicBezTo>
                  <a:cubicBezTo>
                    <a:pt x="380224" y="444148"/>
                    <a:pt x="343685" y="446256"/>
                    <a:pt x="307147" y="445553"/>
                  </a:cubicBezTo>
                  <a:cubicBezTo>
                    <a:pt x="294499" y="445553"/>
                    <a:pt x="283959" y="448364"/>
                    <a:pt x="274824" y="456796"/>
                  </a:cubicBezTo>
                  <a:cubicBezTo>
                    <a:pt x="264987" y="465930"/>
                    <a:pt x="260069" y="474362"/>
                    <a:pt x="274824" y="484902"/>
                  </a:cubicBezTo>
                  <a:cubicBezTo>
                    <a:pt x="295202" y="498955"/>
                    <a:pt x="312066" y="517225"/>
                    <a:pt x="300120" y="544629"/>
                  </a:cubicBezTo>
                  <a:cubicBezTo>
                    <a:pt x="287472" y="572735"/>
                    <a:pt x="267095" y="591707"/>
                    <a:pt x="233367" y="593113"/>
                  </a:cubicBezTo>
                  <a:cubicBezTo>
                    <a:pt x="201045" y="595221"/>
                    <a:pt x="171533" y="591004"/>
                    <a:pt x="151156" y="562195"/>
                  </a:cubicBezTo>
                  <a:cubicBezTo>
                    <a:pt x="132184" y="535494"/>
                    <a:pt x="133589" y="515819"/>
                    <a:pt x="157480" y="492632"/>
                  </a:cubicBezTo>
                  <a:cubicBezTo>
                    <a:pt x="164506" y="485605"/>
                    <a:pt x="182775" y="482092"/>
                    <a:pt x="174343" y="465930"/>
                  </a:cubicBezTo>
                  <a:cubicBezTo>
                    <a:pt x="167317" y="452580"/>
                    <a:pt x="154669" y="445553"/>
                    <a:pt x="138508" y="445553"/>
                  </a:cubicBezTo>
                  <a:cubicBezTo>
                    <a:pt x="99158" y="446256"/>
                    <a:pt x="59809" y="444850"/>
                    <a:pt x="20460" y="446256"/>
                  </a:cubicBezTo>
                  <a:cubicBezTo>
                    <a:pt x="2893" y="446958"/>
                    <a:pt x="-620" y="441337"/>
                    <a:pt x="83" y="425176"/>
                  </a:cubicBezTo>
                  <a:cubicBezTo>
                    <a:pt x="2893" y="355612"/>
                    <a:pt x="2191" y="288859"/>
                    <a:pt x="2191" y="22210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D500231D-8C2A-4C3F-A1E2-EF070F9DC856}"/>
                </a:ext>
              </a:extLst>
            </p:cNvPr>
            <p:cNvSpPr/>
            <p:nvPr/>
          </p:nvSpPr>
          <p:spPr>
            <a:xfrm>
              <a:off x="-8382" y="4547575"/>
              <a:ext cx="769640" cy="1013968"/>
            </a:xfrm>
            <a:custGeom>
              <a:avLst/>
              <a:gdLst>
                <a:gd name="connsiteX0" fmla="*/ 1486 w 442678"/>
                <a:gd name="connsiteY0" fmla="*/ 223447 h 583211"/>
                <a:gd name="connsiteX1" fmla="*/ 783 w 442678"/>
                <a:gd name="connsiteY1" fmla="*/ 23188 h 583211"/>
                <a:gd name="connsiteX2" fmla="*/ 23268 w 442678"/>
                <a:gd name="connsiteY2" fmla="*/ 703 h 583211"/>
                <a:gd name="connsiteX3" fmla="*/ 138505 w 442678"/>
                <a:gd name="connsiteY3" fmla="*/ 703 h 583211"/>
                <a:gd name="connsiteX4" fmla="*/ 179962 w 442678"/>
                <a:gd name="connsiteY4" fmla="*/ 17567 h 583211"/>
                <a:gd name="connsiteX5" fmla="*/ 177854 w 442678"/>
                <a:gd name="connsiteY5" fmla="*/ 61132 h 583211"/>
                <a:gd name="connsiteX6" fmla="*/ 154667 w 442678"/>
                <a:gd name="connsiteY6" fmla="*/ 107508 h 583211"/>
                <a:gd name="connsiteX7" fmla="*/ 210880 w 442678"/>
                <a:gd name="connsiteY7" fmla="*/ 148965 h 583211"/>
                <a:gd name="connsiteX8" fmla="*/ 277633 w 442678"/>
                <a:gd name="connsiteY8" fmla="*/ 126480 h 583211"/>
                <a:gd name="connsiteX9" fmla="*/ 273417 w 442678"/>
                <a:gd name="connsiteY9" fmla="*/ 66050 h 583211"/>
                <a:gd name="connsiteX10" fmla="*/ 254445 w 442678"/>
                <a:gd name="connsiteY10" fmla="*/ 32323 h 583211"/>
                <a:gd name="connsiteX11" fmla="*/ 298010 w 442678"/>
                <a:gd name="connsiteY11" fmla="*/ 703 h 583211"/>
                <a:gd name="connsiteX12" fmla="*/ 426598 w 442678"/>
                <a:gd name="connsiteY12" fmla="*/ 0 h 583211"/>
                <a:gd name="connsiteX13" fmla="*/ 442056 w 442678"/>
                <a:gd name="connsiteY13" fmla="*/ 14756 h 583211"/>
                <a:gd name="connsiteX14" fmla="*/ 442056 w 442678"/>
                <a:gd name="connsiteY14" fmla="*/ 146154 h 583211"/>
                <a:gd name="connsiteX15" fmla="*/ 409734 w 442678"/>
                <a:gd name="connsiteY15" fmla="*/ 189017 h 583211"/>
                <a:gd name="connsiteX16" fmla="*/ 378114 w 442678"/>
                <a:gd name="connsiteY16" fmla="*/ 170045 h 583211"/>
                <a:gd name="connsiteX17" fmla="*/ 315576 w 442678"/>
                <a:gd name="connsiteY17" fmla="*/ 166531 h 583211"/>
                <a:gd name="connsiteX18" fmla="*/ 317685 w 442678"/>
                <a:gd name="connsiteY18" fmla="*/ 276850 h 583211"/>
                <a:gd name="connsiteX19" fmla="*/ 378114 w 442678"/>
                <a:gd name="connsiteY19" fmla="*/ 271931 h 583211"/>
                <a:gd name="connsiteX20" fmla="*/ 410436 w 442678"/>
                <a:gd name="connsiteY20" fmla="*/ 252959 h 583211"/>
                <a:gd name="connsiteX21" fmla="*/ 442759 w 442678"/>
                <a:gd name="connsiteY21" fmla="*/ 295822 h 583211"/>
                <a:gd name="connsiteX22" fmla="*/ 442759 w 442678"/>
                <a:gd name="connsiteY22" fmla="*/ 424409 h 583211"/>
                <a:gd name="connsiteX23" fmla="*/ 424489 w 442678"/>
                <a:gd name="connsiteY23" fmla="*/ 442678 h 583211"/>
                <a:gd name="connsiteX24" fmla="*/ 306442 w 442678"/>
                <a:gd name="connsiteY24" fmla="*/ 441976 h 583211"/>
                <a:gd name="connsiteX25" fmla="*/ 276227 w 442678"/>
                <a:gd name="connsiteY25" fmla="*/ 451110 h 583211"/>
                <a:gd name="connsiteX26" fmla="*/ 276227 w 442678"/>
                <a:gd name="connsiteY26" fmla="*/ 481325 h 583211"/>
                <a:gd name="connsiteX27" fmla="*/ 303631 w 442678"/>
                <a:gd name="connsiteY27" fmla="*/ 533322 h 583211"/>
                <a:gd name="connsiteX28" fmla="*/ 249526 w 442678"/>
                <a:gd name="connsiteY28" fmla="*/ 586022 h 583211"/>
                <a:gd name="connsiteX29" fmla="*/ 155369 w 442678"/>
                <a:gd name="connsiteY29" fmla="*/ 560726 h 583211"/>
                <a:gd name="connsiteX30" fmla="*/ 160990 w 442678"/>
                <a:gd name="connsiteY30" fmla="*/ 484838 h 583211"/>
                <a:gd name="connsiteX31" fmla="*/ 176449 w 442678"/>
                <a:gd name="connsiteY31" fmla="*/ 463056 h 583211"/>
                <a:gd name="connsiteX32" fmla="*/ 144127 w 442678"/>
                <a:gd name="connsiteY32" fmla="*/ 441976 h 583211"/>
                <a:gd name="connsiteX33" fmla="*/ 26079 w 442678"/>
                <a:gd name="connsiteY33" fmla="*/ 442678 h 583211"/>
                <a:gd name="connsiteX34" fmla="*/ 81 w 442678"/>
                <a:gd name="connsiteY34" fmla="*/ 415274 h 583211"/>
                <a:gd name="connsiteX35" fmla="*/ 1486 w 442678"/>
                <a:gd name="connsiteY35" fmla="*/ 223447 h 58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83211">
                  <a:moveTo>
                    <a:pt x="1486" y="223447"/>
                  </a:moveTo>
                  <a:cubicBezTo>
                    <a:pt x="1486" y="156694"/>
                    <a:pt x="2188" y="89941"/>
                    <a:pt x="783" y="23188"/>
                  </a:cubicBezTo>
                  <a:cubicBezTo>
                    <a:pt x="783" y="4919"/>
                    <a:pt x="6404" y="703"/>
                    <a:pt x="23268" y="703"/>
                  </a:cubicBezTo>
                  <a:cubicBezTo>
                    <a:pt x="61915" y="2108"/>
                    <a:pt x="99859" y="1405"/>
                    <a:pt x="138505" y="703"/>
                  </a:cubicBezTo>
                  <a:cubicBezTo>
                    <a:pt x="155369" y="703"/>
                    <a:pt x="168720" y="5621"/>
                    <a:pt x="179962" y="17567"/>
                  </a:cubicBezTo>
                  <a:cubicBezTo>
                    <a:pt x="193313" y="33025"/>
                    <a:pt x="196826" y="46376"/>
                    <a:pt x="177854" y="61132"/>
                  </a:cubicBezTo>
                  <a:cubicBezTo>
                    <a:pt x="163099" y="72374"/>
                    <a:pt x="144127" y="83617"/>
                    <a:pt x="154667" y="107508"/>
                  </a:cubicBezTo>
                  <a:cubicBezTo>
                    <a:pt x="165207" y="131398"/>
                    <a:pt x="182773" y="147559"/>
                    <a:pt x="210880" y="148965"/>
                  </a:cubicBezTo>
                  <a:cubicBezTo>
                    <a:pt x="236175" y="150370"/>
                    <a:pt x="260066" y="148262"/>
                    <a:pt x="277633" y="126480"/>
                  </a:cubicBezTo>
                  <a:cubicBezTo>
                    <a:pt x="298010" y="102589"/>
                    <a:pt x="296605" y="87833"/>
                    <a:pt x="273417" y="66050"/>
                  </a:cubicBezTo>
                  <a:cubicBezTo>
                    <a:pt x="263580" y="56916"/>
                    <a:pt x="245310" y="52700"/>
                    <a:pt x="254445" y="32323"/>
                  </a:cubicBezTo>
                  <a:cubicBezTo>
                    <a:pt x="263580" y="13351"/>
                    <a:pt x="276930" y="703"/>
                    <a:pt x="298010" y="703"/>
                  </a:cubicBezTo>
                  <a:cubicBezTo>
                    <a:pt x="340873" y="0"/>
                    <a:pt x="383735" y="703"/>
                    <a:pt x="426598" y="0"/>
                  </a:cubicBezTo>
                  <a:cubicBezTo>
                    <a:pt x="437840" y="0"/>
                    <a:pt x="442759" y="2811"/>
                    <a:pt x="442056" y="14756"/>
                  </a:cubicBezTo>
                  <a:cubicBezTo>
                    <a:pt x="441353" y="58321"/>
                    <a:pt x="442056" y="102589"/>
                    <a:pt x="442056" y="146154"/>
                  </a:cubicBezTo>
                  <a:cubicBezTo>
                    <a:pt x="442056" y="168639"/>
                    <a:pt x="428003" y="181287"/>
                    <a:pt x="409734" y="189017"/>
                  </a:cubicBezTo>
                  <a:cubicBezTo>
                    <a:pt x="392167" y="196746"/>
                    <a:pt x="386546" y="179882"/>
                    <a:pt x="378114" y="170045"/>
                  </a:cubicBezTo>
                  <a:cubicBezTo>
                    <a:pt x="356331" y="146154"/>
                    <a:pt x="338765" y="144749"/>
                    <a:pt x="315576" y="166531"/>
                  </a:cubicBezTo>
                  <a:cubicBezTo>
                    <a:pt x="285362" y="193935"/>
                    <a:pt x="286767" y="250148"/>
                    <a:pt x="317685" y="276850"/>
                  </a:cubicBezTo>
                  <a:cubicBezTo>
                    <a:pt x="341575" y="297227"/>
                    <a:pt x="357034" y="295822"/>
                    <a:pt x="378114" y="271931"/>
                  </a:cubicBezTo>
                  <a:cubicBezTo>
                    <a:pt x="386546" y="262094"/>
                    <a:pt x="392869" y="245932"/>
                    <a:pt x="410436" y="252959"/>
                  </a:cubicBezTo>
                  <a:cubicBezTo>
                    <a:pt x="428706" y="260688"/>
                    <a:pt x="442759" y="273336"/>
                    <a:pt x="442759" y="295822"/>
                  </a:cubicBezTo>
                  <a:cubicBezTo>
                    <a:pt x="442759" y="338684"/>
                    <a:pt x="442056" y="381547"/>
                    <a:pt x="442759" y="424409"/>
                  </a:cubicBezTo>
                  <a:cubicBezTo>
                    <a:pt x="442759" y="438462"/>
                    <a:pt x="439245" y="443381"/>
                    <a:pt x="424489" y="442678"/>
                  </a:cubicBezTo>
                  <a:cubicBezTo>
                    <a:pt x="385140" y="441976"/>
                    <a:pt x="345791" y="442678"/>
                    <a:pt x="306442" y="441976"/>
                  </a:cubicBezTo>
                  <a:cubicBezTo>
                    <a:pt x="295199" y="441976"/>
                    <a:pt x="284659" y="441976"/>
                    <a:pt x="276227" y="451110"/>
                  </a:cubicBezTo>
                  <a:cubicBezTo>
                    <a:pt x="265687" y="461650"/>
                    <a:pt x="260066" y="470785"/>
                    <a:pt x="276227" y="481325"/>
                  </a:cubicBezTo>
                  <a:cubicBezTo>
                    <a:pt x="294496" y="493973"/>
                    <a:pt x="310658" y="509431"/>
                    <a:pt x="303631" y="533322"/>
                  </a:cubicBezTo>
                  <a:cubicBezTo>
                    <a:pt x="295902" y="559321"/>
                    <a:pt x="278335" y="579698"/>
                    <a:pt x="249526" y="586022"/>
                  </a:cubicBezTo>
                  <a:cubicBezTo>
                    <a:pt x="213690" y="594454"/>
                    <a:pt x="180665" y="591643"/>
                    <a:pt x="155369" y="560726"/>
                  </a:cubicBezTo>
                  <a:cubicBezTo>
                    <a:pt x="132181" y="532619"/>
                    <a:pt x="134289" y="510134"/>
                    <a:pt x="160990" y="484838"/>
                  </a:cubicBezTo>
                  <a:cubicBezTo>
                    <a:pt x="167314" y="478514"/>
                    <a:pt x="182773" y="475703"/>
                    <a:pt x="176449" y="463056"/>
                  </a:cubicBezTo>
                  <a:cubicBezTo>
                    <a:pt x="170828" y="450408"/>
                    <a:pt x="160288" y="441273"/>
                    <a:pt x="144127" y="441976"/>
                  </a:cubicBezTo>
                  <a:cubicBezTo>
                    <a:pt x="104777" y="442678"/>
                    <a:pt x="65428" y="440570"/>
                    <a:pt x="26079" y="442678"/>
                  </a:cubicBezTo>
                  <a:cubicBezTo>
                    <a:pt x="2891" y="444084"/>
                    <a:pt x="-622" y="435652"/>
                    <a:pt x="81" y="415274"/>
                  </a:cubicBezTo>
                  <a:cubicBezTo>
                    <a:pt x="2891" y="353440"/>
                    <a:pt x="1486" y="288795"/>
                    <a:pt x="1486" y="22344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A806510A-C21E-4A67-9A9F-B33BA8BC73B4}"/>
                </a:ext>
              </a:extLst>
            </p:cNvPr>
            <p:cNvSpPr/>
            <p:nvPr/>
          </p:nvSpPr>
          <p:spPr>
            <a:xfrm>
              <a:off x="742566" y="5065747"/>
              <a:ext cx="1026185" cy="1013970"/>
            </a:xfrm>
            <a:custGeom>
              <a:avLst/>
              <a:gdLst>
                <a:gd name="connsiteX0" fmla="*/ 710 w 590237"/>
                <a:gd name="connsiteY0" fmla="*/ 508487 h 583211"/>
                <a:gd name="connsiteX1" fmla="*/ 710 w 590237"/>
                <a:gd name="connsiteY1" fmla="*/ 448058 h 583211"/>
                <a:gd name="connsiteX2" fmla="*/ 16168 w 590237"/>
                <a:gd name="connsiteY2" fmla="*/ 411520 h 583211"/>
                <a:gd name="connsiteX3" fmla="*/ 61841 w 590237"/>
                <a:gd name="connsiteY3" fmla="*/ 413628 h 583211"/>
                <a:gd name="connsiteX4" fmla="*/ 103298 w 590237"/>
                <a:gd name="connsiteY4" fmla="*/ 437518 h 583211"/>
                <a:gd name="connsiteX5" fmla="*/ 146864 w 590237"/>
                <a:gd name="connsiteY5" fmla="*/ 389737 h 583211"/>
                <a:gd name="connsiteX6" fmla="*/ 125081 w 590237"/>
                <a:gd name="connsiteY6" fmla="*/ 312444 h 583211"/>
                <a:gd name="connsiteX7" fmla="*/ 66760 w 590237"/>
                <a:gd name="connsiteY7" fmla="*/ 316660 h 583211"/>
                <a:gd name="connsiteX8" fmla="*/ 33032 w 590237"/>
                <a:gd name="connsiteY8" fmla="*/ 336335 h 583211"/>
                <a:gd name="connsiteX9" fmla="*/ 710 w 590237"/>
                <a:gd name="connsiteY9" fmla="*/ 290661 h 583211"/>
                <a:gd name="connsiteX10" fmla="*/ 710 w 590237"/>
                <a:gd name="connsiteY10" fmla="*/ 164884 h 583211"/>
                <a:gd name="connsiteX11" fmla="*/ 17574 w 590237"/>
                <a:gd name="connsiteY11" fmla="*/ 148021 h 583211"/>
                <a:gd name="connsiteX12" fmla="*/ 135621 w 590237"/>
                <a:gd name="connsiteY12" fmla="*/ 148723 h 583211"/>
                <a:gd name="connsiteX13" fmla="*/ 165836 w 590237"/>
                <a:gd name="connsiteY13" fmla="*/ 139589 h 583211"/>
                <a:gd name="connsiteX14" fmla="*/ 167241 w 590237"/>
                <a:gd name="connsiteY14" fmla="*/ 107969 h 583211"/>
                <a:gd name="connsiteX15" fmla="*/ 141242 w 590237"/>
                <a:gd name="connsiteY15" fmla="*/ 52458 h 583211"/>
                <a:gd name="connsiteX16" fmla="*/ 203077 w 590237"/>
                <a:gd name="connsiteY16" fmla="*/ 1164 h 583211"/>
                <a:gd name="connsiteX17" fmla="*/ 293018 w 590237"/>
                <a:gd name="connsiteY17" fmla="*/ 32784 h 583211"/>
                <a:gd name="connsiteX18" fmla="*/ 286694 w 590237"/>
                <a:gd name="connsiteY18" fmla="*/ 100239 h 583211"/>
                <a:gd name="connsiteX19" fmla="*/ 268424 w 590237"/>
                <a:gd name="connsiteY19" fmla="*/ 126238 h 583211"/>
                <a:gd name="connsiteX20" fmla="*/ 306368 w 590237"/>
                <a:gd name="connsiteY20" fmla="*/ 148021 h 583211"/>
                <a:gd name="connsiteX21" fmla="*/ 421605 w 590237"/>
                <a:gd name="connsiteY21" fmla="*/ 147318 h 583211"/>
                <a:gd name="connsiteX22" fmla="*/ 443388 w 590237"/>
                <a:gd name="connsiteY22" fmla="*/ 169803 h 583211"/>
                <a:gd name="connsiteX23" fmla="*/ 442685 w 590237"/>
                <a:gd name="connsiteY23" fmla="*/ 282229 h 583211"/>
                <a:gd name="connsiteX24" fmla="*/ 453928 w 590237"/>
                <a:gd name="connsiteY24" fmla="*/ 314552 h 583211"/>
                <a:gd name="connsiteX25" fmla="*/ 482737 w 590237"/>
                <a:gd name="connsiteY25" fmla="*/ 314552 h 583211"/>
                <a:gd name="connsiteX26" fmla="*/ 539653 w 590237"/>
                <a:gd name="connsiteY26" fmla="*/ 288554 h 583211"/>
                <a:gd name="connsiteX27" fmla="*/ 590947 w 590237"/>
                <a:gd name="connsiteY27" fmla="*/ 353198 h 583211"/>
                <a:gd name="connsiteX28" fmla="*/ 560030 w 590237"/>
                <a:gd name="connsiteY28" fmla="*/ 438221 h 583211"/>
                <a:gd name="connsiteX29" fmla="*/ 489763 w 590237"/>
                <a:gd name="connsiteY29" fmla="*/ 431897 h 583211"/>
                <a:gd name="connsiteX30" fmla="*/ 465873 w 590237"/>
                <a:gd name="connsiteY30" fmla="*/ 414330 h 583211"/>
                <a:gd name="connsiteX31" fmla="*/ 441982 w 590237"/>
                <a:gd name="connsiteY31" fmla="*/ 450869 h 583211"/>
                <a:gd name="connsiteX32" fmla="*/ 442685 w 590237"/>
                <a:gd name="connsiteY32" fmla="*/ 568214 h 583211"/>
                <a:gd name="connsiteX33" fmla="*/ 419497 w 590237"/>
                <a:gd name="connsiteY33" fmla="*/ 589996 h 583211"/>
                <a:gd name="connsiteX34" fmla="*/ 307071 w 590237"/>
                <a:gd name="connsiteY34" fmla="*/ 589996 h 583211"/>
                <a:gd name="connsiteX35" fmla="*/ 263506 w 590237"/>
                <a:gd name="connsiteY35" fmla="*/ 572430 h 583211"/>
                <a:gd name="connsiteX36" fmla="*/ 266316 w 590237"/>
                <a:gd name="connsiteY36" fmla="*/ 528864 h 583211"/>
                <a:gd name="connsiteX37" fmla="*/ 289504 w 590237"/>
                <a:gd name="connsiteY37" fmla="*/ 485299 h 583211"/>
                <a:gd name="connsiteX38" fmla="*/ 237507 w 590237"/>
                <a:gd name="connsiteY38" fmla="*/ 442437 h 583211"/>
                <a:gd name="connsiteX39" fmla="*/ 167241 w 590237"/>
                <a:gd name="connsiteY39" fmla="*/ 462111 h 583211"/>
                <a:gd name="connsiteX40" fmla="*/ 170051 w 590237"/>
                <a:gd name="connsiteY40" fmla="*/ 523946 h 583211"/>
                <a:gd name="connsiteX41" fmla="*/ 189023 w 590237"/>
                <a:gd name="connsiteY41" fmla="*/ 555566 h 583211"/>
                <a:gd name="connsiteX42" fmla="*/ 148971 w 590237"/>
                <a:gd name="connsiteY42" fmla="*/ 587888 h 583211"/>
                <a:gd name="connsiteX43" fmla="*/ 11952 w 590237"/>
                <a:gd name="connsiteY43" fmla="*/ 589294 h 583211"/>
                <a:gd name="connsiteX44" fmla="*/ 7 w 590237"/>
                <a:gd name="connsiteY44" fmla="*/ 573132 h 583211"/>
                <a:gd name="connsiteX45" fmla="*/ 710 w 590237"/>
                <a:gd name="connsiteY45" fmla="*/ 508487 h 58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83211">
                  <a:moveTo>
                    <a:pt x="710" y="508487"/>
                  </a:moveTo>
                  <a:cubicBezTo>
                    <a:pt x="710" y="488110"/>
                    <a:pt x="1412" y="468435"/>
                    <a:pt x="710" y="448058"/>
                  </a:cubicBezTo>
                  <a:cubicBezTo>
                    <a:pt x="7" y="433302"/>
                    <a:pt x="5628" y="421357"/>
                    <a:pt x="16168" y="411520"/>
                  </a:cubicBezTo>
                  <a:cubicBezTo>
                    <a:pt x="32329" y="396764"/>
                    <a:pt x="47085" y="393250"/>
                    <a:pt x="61841" y="413628"/>
                  </a:cubicBezTo>
                  <a:cubicBezTo>
                    <a:pt x="71678" y="427681"/>
                    <a:pt x="83624" y="444545"/>
                    <a:pt x="103298" y="437518"/>
                  </a:cubicBezTo>
                  <a:cubicBezTo>
                    <a:pt x="125081" y="429789"/>
                    <a:pt x="142648" y="415033"/>
                    <a:pt x="146864" y="389737"/>
                  </a:cubicBezTo>
                  <a:cubicBezTo>
                    <a:pt x="151782" y="360928"/>
                    <a:pt x="150377" y="333524"/>
                    <a:pt x="125081" y="312444"/>
                  </a:cubicBezTo>
                  <a:cubicBezTo>
                    <a:pt x="101893" y="293472"/>
                    <a:pt x="87840" y="294877"/>
                    <a:pt x="66760" y="316660"/>
                  </a:cubicBezTo>
                  <a:cubicBezTo>
                    <a:pt x="57625" y="325795"/>
                    <a:pt x="53409" y="345469"/>
                    <a:pt x="33032" y="336335"/>
                  </a:cubicBezTo>
                  <a:cubicBezTo>
                    <a:pt x="13357" y="327903"/>
                    <a:pt x="710" y="313849"/>
                    <a:pt x="710" y="290661"/>
                  </a:cubicBezTo>
                  <a:cubicBezTo>
                    <a:pt x="710" y="248502"/>
                    <a:pt x="1412" y="207044"/>
                    <a:pt x="710" y="164884"/>
                  </a:cubicBezTo>
                  <a:cubicBezTo>
                    <a:pt x="710" y="151534"/>
                    <a:pt x="4223" y="148021"/>
                    <a:pt x="17574" y="148021"/>
                  </a:cubicBezTo>
                  <a:cubicBezTo>
                    <a:pt x="56923" y="148723"/>
                    <a:pt x="96272" y="148021"/>
                    <a:pt x="135621" y="148723"/>
                  </a:cubicBezTo>
                  <a:cubicBezTo>
                    <a:pt x="146864" y="148723"/>
                    <a:pt x="157404" y="147318"/>
                    <a:pt x="165836" y="139589"/>
                  </a:cubicBezTo>
                  <a:cubicBezTo>
                    <a:pt x="177781" y="129049"/>
                    <a:pt x="184808" y="119914"/>
                    <a:pt x="167241" y="107969"/>
                  </a:cubicBezTo>
                  <a:cubicBezTo>
                    <a:pt x="148269" y="95321"/>
                    <a:pt x="134216" y="77754"/>
                    <a:pt x="141242" y="52458"/>
                  </a:cubicBezTo>
                  <a:cubicBezTo>
                    <a:pt x="147566" y="27865"/>
                    <a:pt x="177078" y="3974"/>
                    <a:pt x="203077" y="1164"/>
                  </a:cubicBezTo>
                  <a:cubicBezTo>
                    <a:pt x="238210" y="-2349"/>
                    <a:pt x="270533" y="461"/>
                    <a:pt x="293018" y="32784"/>
                  </a:cubicBezTo>
                  <a:cubicBezTo>
                    <a:pt x="311287" y="58782"/>
                    <a:pt x="308476" y="78457"/>
                    <a:pt x="286694" y="100239"/>
                  </a:cubicBezTo>
                  <a:cubicBezTo>
                    <a:pt x="279667" y="107969"/>
                    <a:pt x="261398" y="110779"/>
                    <a:pt x="268424" y="126238"/>
                  </a:cubicBezTo>
                  <a:cubicBezTo>
                    <a:pt x="275451" y="140994"/>
                    <a:pt x="288802" y="148021"/>
                    <a:pt x="306368" y="148021"/>
                  </a:cubicBezTo>
                  <a:cubicBezTo>
                    <a:pt x="345015" y="147318"/>
                    <a:pt x="382959" y="148723"/>
                    <a:pt x="421605" y="147318"/>
                  </a:cubicBezTo>
                  <a:cubicBezTo>
                    <a:pt x="440577" y="146615"/>
                    <a:pt x="444090" y="152939"/>
                    <a:pt x="443388" y="169803"/>
                  </a:cubicBezTo>
                  <a:cubicBezTo>
                    <a:pt x="441982" y="207044"/>
                    <a:pt x="443388" y="244285"/>
                    <a:pt x="442685" y="282229"/>
                  </a:cubicBezTo>
                  <a:cubicBezTo>
                    <a:pt x="442685" y="294877"/>
                    <a:pt x="445496" y="305417"/>
                    <a:pt x="453928" y="314552"/>
                  </a:cubicBezTo>
                  <a:cubicBezTo>
                    <a:pt x="463765" y="324389"/>
                    <a:pt x="472197" y="328605"/>
                    <a:pt x="482737" y="314552"/>
                  </a:cubicBezTo>
                  <a:cubicBezTo>
                    <a:pt x="496790" y="295580"/>
                    <a:pt x="512952" y="278014"/>
                    <a:pt x="539653" y="288554"/>
                  </a:cubicBezTo>
                  <a:cubicBezTo>
                    <a:pt x="568462" y="299796"/>
                    <a:pt x="588136" y="320173"/>
                    <a:pt x="590947" y="353198"/>
                  </a:cubicBezTo>
                  <a:cubicBezTo>
                    <a:pt x="593758" y="386927"/>
                    <a:pt x="589542" y="416438"/>
                    <a:pt x="560030" y="438221"/>
                  </a:cubicBezTo>
                  <a:cubicBezTo>
                    <a:pt x="534032" y="457193"/>
                    <a:pt x="512952" y="455085"/>
                    <a:pt x="489763" y="431897"/>
                  </a:cubicBezTo>
                  <a:cubicBezTo>
                    <a:pt x="482737" y="424870"/>
                    <a:pt x="479224" y="408709"/>
                    <a:pt x="465873" y="414330"/>
                  </a:cubicBezTo>
                  <a:cubicBezTo>
                    <a:pt x="451117" y="420654"/>
                    <a:pt x="441982" y="433302"/>
                    <a:pt x="441982" y="450869"/>
                  </a:cubicBezTo>
                  <a:cubicBezTo>
                    <a:pt x="441982" y="490218"/>
                    <a:pt x="440577" y="529567"/>
                    <a:pt x="442685" y="568214"/>
                  </a:cubicBezTo>
                  <a:cubicBezTo>
                    <a:pt x="443388" y="587186"/>
                    <a:pt x="437064" y="590699"/>
                    <a:pt x="419497" y="589996"/>
                  </a:cubicBezTo>
                  <a:cubicBezTo>
                    <a:pt x="382256" y="588591"/>
                    <a:pt x="345015" y="589294"/>
                    <a:pt x="307071" y="589996"/>
                  </a:cubicBezTo>
                  <a:cubicBezTo>
                    <a:pt x="289504" y="589996"/>
                    <a:pt x="274748" y="586483"/>
                    <a:pt x="263506" y="572430"/>
                  </a:cubicBezTo>
                  <a:cubicBezTo>
                    <a:pt x="250155" y="556971"/>
                    <a:pt x="247344" y="543621"/>
                    <a:pt x="266316" y="528864"/>
                  </a:cubicBezTo>
                  <a:cubicBezTo>
                    <a:pt x="280370" y="518324"/>
                    <a:pt x="297936" y="507082"/>
                    <a:pt x="289504" y="485299"/>
                  </a:cubicBezTo>
                  <a:cubicBezTo>
                    <a:pt x="280370" y="462111"/>
                    <a:pt x="264911" y="445248"/>
                    <a:pt x="237507" y="442437"/>
                  </a:cubicBezTo>
                  <a:cubicBezTo>
                    <a:pt x="211509" y="439626"/>
                    <a:pt x="186915" y="440329"/>
                    <a:pt x="167241" y="462111"/>
                  </a:cubicBezTo>
                  <a:cubicBezTo>
                    <a:pt x="144756" y="487407"/>
                    <a:pt x="145458" y="502163"/>
                    <a:pt x="170051" y="523946"/>
                  </a:cubicBezTo>
                  <a:cubicBezTo>
                    <a:pt x="179186" y="532378"/>
                    <a:pt x="196050" y="537296"/>
                    <a:pt x="189023" y="555566"/>
                  </a:cubicBezTo>
                  <a:cubicBezTo>
                    <a:pt x="181997" y="573835"/>
                    <a:pt x="168646" y="587186"/>
                    <a:pt x="148971" y="587888"/>
                  </a:cubicBezTo>
                  <a:cubicBezTo>
                    <a:pt x="103298" y="589294"/>
                    <a:pt x="57625" y="588591"/>
                    <a:pt x="11952" y="589294"/>
                  </a:cubicBezTo>
                  <a:cubicBezTo>
                    <a:pt x="-696" y="589294"/>
                    <a:pt x="7" y="581564"/>
                    <a:pt x="7" y="573132"/>
                  </a:cubicBezTo>
                  <a:cubicBezTo>
                    <a:pt x="1412" y="552053"/>
                    <a:pt x="1412" y="530270"/>
                    <a:pt x="710" y="50848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37CBED15-A3A2-40ED-8BE6-52BE20E06FFE}"/>
                </a:ext>
              </a:extLst>
            </p:cNvPr>
            <p:cNvSpPr/>
            <p:nvPr/>
          </p:nvSpPr>
          <p:spPr>
            <a:xfrm>
              <a:off x="2027474" y="5324888"/>
              <a:ext cx="1026185" cy="757423"/>
            </a:xfrm>
            <a:custGeom>
              <a:avLst/>
              <a:gdLst>
                <a:gd name="connsiteX0" fmla="*/ 593135 w 590237"/>
                <a:gd name="connsiteY0" fmla="*/ 360467 h 435651"/>
                <a:gd name="connsiteX1" fmla="*/ 593135 w 590237"/>
                <a:gd name="connsiteY1" fmla="*/ 426517 h 435651"/>
                <a:gd name="connsiteX2" fmla="*/ 577676 w 590237"/>
                <a:gd name="connsiteY2" fmla="*/ 441976 h 435651"/>
                <a:gd name="connsiteX3" fmla="*/ 446278 w 590237"/>
                <a:gd name="connsiteY3" fmla="*/ 441273 h 435651"/>
                <a:gd name="connsiteX4" fmla="*/ 403415 w 590237"/>
                <a:gd name="connsiteY4" fmla="*/ 408248 h 435651"/>
                <a:gd name="connsiteX5" fmla="*/ 422387 w 590237"/>
                <a:gd name="connsiteY5" fmla="*/ 376628 h 435651"/>
                <a:gd name="connsiteX6" fmla="*/ 425198 w 590237"/>
                <a:gd name="connsiteY6" fmla="*/ 314091 h 435651"/>
                <a:gd name="connsiteX7" fmla="*/ 316988 w 590237"/>
                <a:gd name="connsiteY7" fmla="*/ 314091 h 435651"/>
                <a:gd name="connsiteX8" fmla="*/ 320501 w 590237"/>
                <a:gd name="connsiteY8" fmla="*/ 376628 h 435651"/>
                <a:gd name="connsiteX9" fmla="*/ 339473 w 590237"/>
                <a:gd name="connsiteY9" fmla="*/ 408951 h 435651"/>
                <a:gd name="connsiteX10" fmla="*/ 301529 w 590237"/>
                <a:gd name="connsiteY10" fmla="*/ 440570 h 435651"/>
                <a:gd name="connsiteX11" fmla="*/ 161699 w 590237"/>
                <a:gd name="connsiteY11" fmla="*/ 441273 h 435651"/>
                <a:gd name="connsiteX12" fmla="*/ 149754 w 590237"/>
                <a:gd name="connsiteY12" fmla="*/ 423004 h 435651"/>
                <a:gd name="connsiteX13" fmla="*/ 149754 w 590237"/>
                <a:gd name="connsiteY13" fmla="*/ 304956 h 435651"/>
                <a:gd name="connsiteX14" fmla="*/ 140619 w 590237"/>
                <a:gd name="connsiteY14" fmla="*/ 274742 h 435651"/>
                <a:gd name="connsiteX15" fmla="*/ 109702 w 590237"/>
                <a:gd name="connsiteY15" fmla="*/ 274742 h 435651"/>
                <a:gd name="connsiteX16" fmla="*/ 5708 w 590237"/>
                <a:gd name="connsiteY16" fmla="*/ 252959 h 435651"/>
                <a:gd name="connsiteX17" fmla="*/ 32409 w 590237"/>
                <a:gd name="connsiteY17" fmla="*/ 151776 h 435651"/>
                <a:gd name="connsiteX18" fmla="*/ 104081 w 590237"/>
                <a:gd name="connsiteY18" fmla="*/ 158099 h 435651"/>
                <a:gd name="connsiteX19" fmla="*/ 127971 w 590237"/>
                <a:gd name="connsiteY19" fmla="*/ 174963 h 435651"/>
                <a:gd name="connsiteX20" fmla="*/ 149051 w 590237"/>
                <a:gd name="connsiteY20" fmla="*/ 139830 h 435651"/>
                <a:gd name="connsiteX21" fmla="*/ 148348 w 590237"/>
                <a:gd name="connsiteY21" fmla="*/ 19675 h 435651"/>
                <a:gd name="connsiteX22" fmla="*/ 168023 w 590237"/>
                <a:gd name="connsiteY22" fmla="*/ 0 h 435651"/>
                <a:gd name="connsiteX23" fmla="*/ 290989 w 590237"/>
                <a:gd name="connsiteY23" fmla="*/ 0 h 435651"/>
                <a:gd name="connsiteX24" fmla="*/ 328933 w 590237"/>
                <a:gd name="connsiteY24" fmla="*/ 17567 h 435651"/>
                <a:gd name="connsiteX25" fmla="*/ 326122 w 590237"/>
                <a:gd name="connsiteY25" fmla="*/ 59024 h 435651"/>
                <a:gd name="connsiteX26" fmla="*/ 301529 w 590237"/>
                <a:gd name="connsiteY26" fmla="*/ 103292 h 435651"/>
                <a:gd name="connsiteX27" fmla="*/ 352824 w 590237"/>
                <a:gd name="connsiteY27" fmla="*/ 146857 h 435651"/>
                <a:gd name="connsiteX28" fmla="*/ 421685 w 590237"/>
                <a:gd name="connsiteY28" fmla="*/ 129993 h 435651"/>
                <a:gd name="connsiteX29" fmla="*/ 419577 w 590237"/>
                <a:gd name="connsiteY29" fmla="*/ 63943 h 435651"/>
                <a:gd name="connsiteX30" fmla="*/ 402010 w 590237"/>
                <a:gd name="connsiteY30" fmla="*/ 34431 h 435651"/>
                <a:gd name="connsiteX31" fmla="*/ 436441 w 590237"/>
                <a:gd name="connsiteY31" fmla="*/ 2811 h 435651"/>
                <a:gd name="connsiteX32" fmla="*/ 581190 w 590237"/>
                <a:gd name="connsiteY32" fmla="*/ 703 h 435651"/>
                <a:gd name="connsiteX33" fmla="*/ 591027 w 590237"/>
                <a:gd name="connsiteY33" fmla="*/ 15459 h 435651"/>
                <a:gd name="connsiteX34" fmla="*/ 591027 w 590237"/>
                <a:gd name="connsiteY34" fmla="*/ 146857 h 435651"/>
                <a:gd name="connsiteX35" fmla="*/ 560110 w 590237"/>
                <a:gd name="connsiteY35" fmla="*/ 188314 h 435651"/>
                <a:gd name="connsiteX36" fmla="*/ 525679 w 590237"/>
                <a:gd name="connsiteY36" fmla="*/ 170045 h 435651"/>
                <a:gd name="connsiteX37" fmla="*/ 465953 w 590237"/>
                <a:gd name="connsiteY37" fmla="*/ 165126 h 435651"/>
                <a:gd name="connsiteX38" fmla="*/ 463845 w 590237"/>
                <a:gd name="connsiteY38" fmla="*/ 274742 h 435651"/>
                <a:gd name="connsiteX39" fmla="*/ 526382 w 590237"/>
                <a:gd name="connsiteY39" fmla="*/ 271931 h 435651"/>
                <a:gd name="connsiteX40" fmla="*/ 560812 w 590237"/>
                <a:gd name="connsiteY40" fmla="*/ 253662 h 435651"/>
                <a:gd name="connsiteX41" fmla="*/ 591729 w 590237"/>
                <a:gd name="connsiteY41" fmla="*/ 297930 h 435651"/>
                <a:gd name="connsiteX42" fmla="*/ 593135 w 590237"/>
                <a:gd name="connsiteY42" fmla="*/ 360467 h 43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90237" h="435651">
                  <a:moveTo>
                    <a:pt x="593135" y="360467"/>
                  </a:moveTo>
                  <a:cubicBezTo>
                    <a:pt x="593135" y="382249"/>
                    <a:pt x="592432" y="404032"/>
                    <a:pt x="593135" y="426517"/>
                  </a:cubicBezTo>
                  <a:cubicBezTo>
                    <a:pt x="593837" y="438462"/>
                    <a:pt x="589621" y="441976"/>
                    <a:pt x="577676" y="441976"/>
                  </a:cubicBezTo>
                  <a:cubicBezTo>
                    <a:pt x="534111" y="441273"/>
                    <a:pt x="489843" y="441976"/>
                    <a:pt x="446278" y="441273"/>
                  </a:cubicBezTo>
                  <a:cubicBezTo>
                    <a:pt x="424495" y="441273"/>
                    <a:pt x="411145" y="427220"/>
                    <a:pt x="403415" y="408248"/>
                  </a:cubicBezTo>
                  <a:cubicBezTo>
                    <a:pt x="395686" y="389978"/>
                    <a:pt x="413253" y="385060"/>
                    <a:pt x="422387" y="376628"/>
                  </a:cubicBezTo>
                  <a:cubicBezTo>
                    <a:pt x="446278" y="354143"/>
                    <a:pt x="447683" y="337279"/>
                    <a:pt x="425198" y="314091"/>
                  </a:cubicBezTo>
                  <a:cubicBezTo>
                    <a:pt x="397794" y="285282"/>
                    <a:pt x="344392" y="285282"/>
                    <a:pt x="316988" y="314091"/>
                  </a:cubicBezTo>
                  <a:cubicBezTo>
                    <a:pt x="295205" y="337982"/>
                    <a:pt x="295908" y="355548"/>
                    <a:pt x="320501" y="376628"/>
                  </a:cubicBezTo>
                  <a:cubicBezTo>
                    <a:pt x="330338" y="385060"/>
                    <a:pt x="346500" y="391384"/>
                    <a:pt x="339473" y="408951"/>
                  </a:cubicBezTo>
                  <a:cubicBezTo>
                    <a:pt x="332447" y="425815"/>
                    <a:pt x="321204" y="439868"/>
                    <a:pt x="301529" y="440570"/>
                  </a:cubicBezTo>
                  <a:cubicBezTo>
                    <a:pt x="255153" y="441976"/>
                    <a:pt x="208778" y="441273"/>
                    <a:pt x="161699" y="441273"/>
                  </a:cubicBezTo>
                  <a:cubicBezTo>
                    <a:pt x="146241" y="441273"/>
                    <a:pt x="149754" y="431436"/>
                    <a:pt x="149754" y="423004"/>
                  </a:cubicBezTo>
                  <a:cubicBezTo>
                    <a:pt x="149754" y="383655"/>
                    <a:pt x="149754" y="344305"/>
                    <a:pt x="149754" y="304956"/>
                  </a:cubicBezTo>
                  <a:cubicBezTo>
                    <a:pt x="149754" y="293713"/>
                    <a:pt x="149051" y="283173"/>
                    <a:pt x="140619" y="274742"/>
                  </a:cubicBezTo>
                  <a:cubicBezTo>
                    <a:pt x="130079" y="264904"/>
                    <a:pt x="122350" y="259986"/>
                    <a:pt x="109702" y="274742"/>
                  </a:cubicBezTo>
                  <a:cubicBezTo>
                    <a:pt x="74569" y="316902"/>
                    <a:pt x="23977" y="305659"/>
                    <a:pt x="5708" y="252959"/>
                  </a:cubicBezTo>
                  <a:cubicBezTo>
                    <a:pt x="-7643" y="214313"/>
                    <a:pt x="2897" y="174963"/>
                    <a:pt x="32409" y="151776"/>
                  </a:cubicBezTo>
                  <a:cubicBezTo>
                    <a:pt x="59110" y="130696"/>
                    <a:pt x="81595" y="132804"/>
                    <a:pt x="104081" y="158099"/>
                  </a:cubicBezTo>
                  <a:cubicBezTo>
                    <a:pt x="111107" y="165126"/>
                    <a:pt x="113918" y="181287"/>
                    <a:pt x="127971" y="174963"/>
                  </a:cubicBezTo>
                  <a:cubicBezTo>
                    <a:pt x="142025" y="168639"/>
                    <a:pt x="149754" y="156694"/>
                    <a:pt x="149051" y="139830"/>
                  </a:cubicBezTo>
                  <a:cubicBezTo>
                    <a:pt x="148348" y="99778"/>
                    <a:pt x="149754" y="59726"/>
                    <a:pt x="148348" y="19675"/>
                  </a:cubicBezTo>
                  <a:cubicBezTo>
                    <a:pt x="147646" y="3513"/>
                    <a:pt x="152564" y="0"/>
                    <a:pt x="168023" y="0"/>
                  </a:cubicBezTo>
                  <a:cubicBezTo>
                    <a:pt x="208778" y="703"/>
                    <a:pt x="250235" y="703"/>
                    <a:pt x="290989" y="0"/>
                  </a:cubicBezTo>
                  <a:cubicBezTo>
                    <a:pt x="307151" y="0"/>
                    <a:pt x="319096" y="5621"/>
                    <a:pt x="328933" y="17567"/>
                  </a:cubicBezTo>
                  <a:cubicBezTo>
                    <a:pt x="341581" y="32323"/>
                    <a:pt x="344392" y="45673"/>
                    <a:pt x="326122" y="59024"/>
                  </a:cubicBezTo>
                  <a:cubicBezTo>
                    <a:pt x="311367" y="69564"/>
                    <a:pt x="294502" y="81509"/>
                    <a:pt x="301529" y="103292"/>
                  </a:cubicBezTo>
                  <a:cubicBezTo>
                    <a:pt x="309258" y="127182"/>
                    <a:pt x="326825" y="143344"/>
                    <a:pt x="352824" y="146857"/>
                  </a:cubicBezTo>
                  <a:cubicBezTo>
                    <a:pt x="378120" y="150370"/>
                    <a:pt x="402010" y="148965"/>
                    <a:pt x="421685" y="129993"/>
                  </a:cubicBezTo>
                  <a:cubicBezTo>
                    <a:pt x="446278" y="105400"/>
                    <a:pt x="445575" y="86428"/>
                    <a:pt x="419577" y="63943"/>
                  </a:cubicBezTo>
                  <a:cubicBezTo>
                    <a:pt x="410442" y="56213"/>
                    <a:pt x="394984" y="51294"/>
                    <a:pt x="402010" y="34431"/>
                  </a:cubicBezTo>
                  <a:cubicBezTo>
                    <a:pt x="408334" y="18972"/>
                    <a:pt x="418874" y="3513"/>
                    <a:pt x="436441" y="2811"/>
                  </a:cubicBezTo>
                  <a:cubicBezTo>
                    <a:pt x="484924" y="703"/>
                    <a:pt x="533408" y="1405"/>
                    <a:pt x="581190" y="703"/>
                  </a:cubicBezTo>
                  <a:cubicBezTo>
                    <a:pt x="593135" y="703"/>
                    <a:pt x="591027" y="8432"/>
                    <a:pt x="591027" y="15459"/>
                  </a:cubicBezTo>
                  <a:cubicBezTo>
                    <a:pt x="591027" y="59024"/>
                    <a:pt x="591729" y="103292"/>
                    <a:pt x="591027" y="146857"/>
                  </a:cubicBezTo>
                  <a:cubicBezTo>
                    <a:pt x="591027" y="167234"/>
                    <a:pt x="577676" y="179882"/>
                    <a:pt x="560110" y="188314"/>
                  </a:cubicBezTo>
                  <a:cubicBezTo>
                    <a:pt x="541138" y="197449"/>
                    <a:pt x="534814" y="179882"/>
                    <a:pt x="525679" y="170045"/>
                  </a:cubicBezTo>
                  <a:cubicBezTo>
                    <a:pt x="503896" y="145452"/>
                    <a:pt x="490546" y="144749"/>
                    <a:pt x="465953" y="165126"/>
                  </a:cubicBezTo>
                  <a:cubicBezTo>
                    <a:pt x="434333" y="191827"/>
                    <a:pt x="432927" y="246635"/>
                    <a:pt x="463845" y="274742"/>
                  </a:cubicBezTo>
                  <a:cubicBezTo>
                    <a:pt x="488438" y="297227"/>
                    <a:pt x="503896" y="296524"/>
                    <a:pt x="526382" y="271931"/>
                  </a:cubicBezTo>
                  <a:cubicBezTo>
                    <a:pt x="535516" y="262094"/>
                    <a:pt x="541840" y="244527"/>
                    <a:pt x="560812" y="253662"/>
                  </a:cubicBezTo>
                  <a:cubicBezTo>
                    <a:pt x="579081" y="262094"/>
                    <a:pt x="591729" y="275444"/>
                    <a:pt x="591729" y="297930"/>
                  </a:cubicBezTo>
                  <a:cubicBezTo>
                    <a:pt x="593135" y="318307"/>
                    <a:pt x="593135" y="339387"/>
                    <a:pt x="593135" y="36046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5F156D01-D1C7-4FD1-891B-C589BE5AD462}"/>
                </a:ext>
              </a:extLst>
            </p:cNvPr>
            <p:cNvSpPr/>
            <p:nvPr/>
          </p:nvSpPr>
          <p:spPr>
            <a:xfrm flipH="1">
              <a:off x="2793449" y="5078267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D8F76858-7A78-4EBE-B4B9-8B2522C44861}"/>
                </a:ext>
              </a:extLst>
            </p:cNvPr>
            <p:cNvSpPr/>
            <p:nvPr/>
          </p:nvSpPr>
          <p:spPr>
            <a:xfrm>
              <a:off x="11446318" y="4310898"/>
              <a:ext cx="769640" cy="1282731"/>
            </a:xfrm>
            <a:custGeom>
              <a:avLst/>
              <a:gdLst>
                <a:gd name="connsiteX0" fmla="*/ 1819 w 442678"/>
                <a:gd name="connsiteY0" fmla="*/ 512934 h 737797"/>
                <a:gd name="connsiteX1" fmla="*/ 1819 w 442678"/>
                <a:gd name="connsiteY1" fmla="*/ 449694 h 737797"/>
                <a:gd name="connsiteX2" fmla="*/ 26412 w 442678"/>
                <a:gd name="connsiteY2" fmla="*/ 406832 h 737797"/>
                <a:gd name="connsiteX3" fmla="*/ 57329 w 442678"/>
                <a:gd name="connsiteY3" fmla="*/ 411048 h 737797"/>
                <a:gd name="connsiteX4" fmla="*/ 127596 w 442678"/>
                <a:gd name="connsiteY4" fmla="*/ 425804 h 737797"/>
                <a:gd name="connsiteX5" fmla="*/ 136028 w 442678"/>
                <a:gd name="connsiteY5" fmla="*/ 326025 h 737797"/>
                <a:gd name="connsiteX6" fmla="*/ 62951 w 442678"/>
                <a:gd name="connsiteY6" fmla="*/ 323917 h 737797"/>
                <a:gd name="connsiteX7" fmla="*/ 35547 w 442678"/>
                <a:gd name="connsiteY7" fmla="*/ 340079 h 737797"/>
                <a:gd name="connsiteX8" fmla="*/ 2521 w 442678"/>
                <a:gd name="connsiteY8" fmla="*/ 304243 h 737797"/>
                <a:gd name="connsiteX9" fmla="*/ 1116 w 442678"/>
                <a:gd name="connsiteY9" fmla="*/ 161602 h 737797"/>
                <a:gd name="connsiteX10" fmla="*/ 17980 w 442678"/>
                <a:gd name="connsiteY10" fmla="*/ 151062 h 737797"/>
                <a:gd name="connsiteX11" fmla="*/ 133217 w 442678"/>
                <a:gd name="connsiteY11" fmla="*/ 151062 h 737797"/>
                <a:gd name="connsiteX12" fmla="*/ 162026 w 442678"/>
                <a:gd name="connsiteY12" fmla="*/ 144738 h 737797"/>
                <a:gd name="connsiteX13" fmla="*/ 166242 w 442678"/>
                <a:gd name="connsiteY13" fmla="*/ 108902 h 737797"/>
                <a:gd name="connsiteX14" fmla="*/ 185214 w 442678"/>
                <a:gd name="connsiteY14" fmla="*/ 7016 h 737797"/>
                <a:gd name="connsiteX15" fmla="*/ 292722 w 442678"/>
                <a:gd name="connsiteY15" fmla="*/ 35825 h 737797"/>
                <a:gd name="connsiteX16" fmla="*/ 284992 w 442678"/>
                <a:gd name="connsiteY16" fmla="*/ 103281 h 737797"/>
                <a:gd name="connsiteX17" fmla="*/ 267426 w 442678"/>
                <a:gd name="connsiteY17" fmla="*/ 127171 h 737797"/>
                <a:gd name="connsiteX18" fmla="*/ 303964 w 442678"/>
                <a:gd name="connsiteY18" fmla="*/ 150359 h 737797"/>
                <a:gd name="connsiteX19" fmla="*/ 419201 w 442678"/>
                <a:gd name="connsiteY19" fmla="*/ 149657 h 737797"/>
                <a:gd name="connsiteX20" fmla="*/ 443794 w 442678"/>
                <a:gd name="connsiteY20" fmla="*/ 172845 h 737797"/>
                <a:gd name="connsiteX21" fmla="*/ 443794 w 442678"/>
                <a:gd name="connsiteY21" fmla="*/ 569850 h 737797"/>
                <a:gd name="connsiteX22" fmla="*/ 420606 w 442678"/>
                <a:gd name="connsiteY22" fmla="*/ 592335 h 737797"/>
                <a:gd name="connsiteX23" fmla="*/ 308180 w 442678"/>
                <a:gd name="connsiteY23" fmla="*/ 591632 h 737797"/>
                <a:gd name="connsiteX24" fmla="*/ 277263 w 442678"/>
                <a:gd name="connsiteY24" fmla="*/ 600064 h 737797"/>
                <a:gd name="connsiteX25" fmla="*/ 276560 w 442678"/>
                <a:gd name="connsiteY25" fmla="*/ 631684 h 737797"/>
                <a:gd name="connsiteX26" fmla="*/ 301856 w 442678"/>
                <a:gd name="connsiteY26" fmla="*/ 686492 h 737797"/>
                <a:gd name="connsiteX27" fmla="*/ 245643 w 442678"/>
                <a:gd name="connsiteY27" fmla="*/ 737084 h 737797"/>
                <a:gd name="connsiteX28" fmla="*/ 147973 w 442678"/>
                <a:gd name="connsiteY28" fmla="*/ 701248 h 737797"/>
                <a:gd name="connsiteX29" fmla="*/ 159215 w 442678"/>
                <a:gd name="connsiteY29" fmla="*/ 636603 h 737797"/>
                <a:gd name="connsiteX30" fmla="*/ 175377 w 442678"/>
                <a:gd name="connsiteY30" fmla="*/ 612010 h 737797"/>
                <a:gd name="connsiteX31" fmla="*/ 140244 w 442678"/>
                <a:gd name="connsiteY31" fmla="*/ 590930 h 737797"/>
                <a:gd name="connsiteX32" fmla="*/ 25007 w 442678"/>
                <a:gd name="connsiteY32" fmla="*/ 591632 h 737797"/>
                <a:gd name="connsiteX33" fmla="*/ 413 w 442678"/>
                <a:gd name="connsiteY33" fmla="*/ 566336 h 737797"/>
                <a:gd name="connsiteX34" fmla="*/ 1819 w 442678"/>
                <a:gd name="connsiteY34" fmla="*/ 512934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42678" h="737797">
                  <a:moveTo>
                    <a:pt x="1819" y="512934"/>
                  </a:moveTo>
                  <a:cubicBezTo>
                    <a:pt x="1819" y="491854"/>
                    <a:pt x="2521" y="470774"/>
                    <a:pt x="1819" y="449694"/>
                  </a:cubicBezTo>
                  <a:cubicBezTo>
                    <a:pt x="1116" y="430019"/>
                    <a:pt x="11656" y="417372"/>
                    <a:pt x="26412" y="406832"/>
                  </a:cubicBezTo>
                  <a:cubicBezTo>
                    <a:pt x="37655" y="399102"/>
                    <a:pt x="47492" y="400508"/>
                    <a:pt x="57329" y="411048"/>
                  </a:cubicBezTo>
                  <a:cubicBezTo>
                    <a:pt x="93165" y="447586"/>
                    <a:pt x="101597" y="448991"/>
                    <a:pt x="127596" y="425804"/>
                  </a:cubicBezTo>
                  <a:cubicBezTo>
                    <a:pt x="153594" y="402616"/>
                    <a:pt x="157810" y="353429"/>
                    <a:pt x="136028" y="326025"/>
                  </a:cubicBezTo>
                  <a:cubicBezTo>
                    <a:pt x="110732" y="294405"/>
                    <a:pt x="89652" y="293703"/>
                    <a:pt x="62951" y="323917"/>
                  </a:cubicBezTo>
                  <a:cubicBezTo>
                    <a:pt x="55924" y="331646"/>
                    <a:pt x="51708" y="346403"/>
                    <a:pt x="35547" y="340079"/>
                  </a:cubicBezTo>
                  <a:cubicBezTo>
                    <a:pt x="17980" y="333755"/>
                    <a:pt x="3224" y="322512"/>
                    <a:pt x="2521" y="304243"/>
                  </a:cubicBezTo>
                  <a:cubicBezTo>
                    <a:pt x="413" y="257164"/>
                    <a:pt x="1819" y="209383"/>
                    <a:pt x="1116" y="161602"/>
                  </a:cubicBezTo>
                  <a:cubicBezTo>
                    <a:pt x="1116" y="147549"/>
                    <a:pt x="10953" y="151062"/>
                    <a:pt x="17980" y="151062"/>
                  </a:cubicBezTo>
                  <a:cubicBezTo>
                    <a:pt x="56626" y="151062"/>
                    <a:pt x="94570" y="151062"/>
                    <a:pt x="133217" y="151062"/>
                  </a:cubicBezTo>
                  <a:cubicBezTo>
                    <a:pt x="143054" y="151062"/>
                    <a:pt x="153594" y="151765"/>
                    <a:pt x="162026" y="144738"/>
                  </a:cubicBezTo>
                  <a:cubicBezTo>
                    <a:pt x="175377" y="134198"/>
                    <a:pt x="185917" y="125766"/>
                    <a:pt x="166242" y="108902"/>
                  </a:cubicBezTo>
                  <a:cubicBezTo>
                    <a:pt x="126893" y="75174"/>
                    <a:pt x="136028" y="27393"/>
                    <a:pt x="185214" y="7016"/>
                  </a:cubicBezTo>
                  <a:cubicBezTo>
                    <a:pt x="224563" y="-9145"/>
                    <a:pt x="270236" y="3503"/>
                    <a:pt x="292722" y="35825"/>
                  </a:cubicBezTo>
                  <a:cubicBezTo>
                    <a:pt x="310288" y="61824"/>
                    <a:pt x="307477" y="80796"/>
                    <a:pt x="284992" y="103281"/>
                  </a:cubicBezTo>
                  <a:cubicBezTo>
                    <a:pt x="277966" y="110308"/>
                    <a:pt x="261804" y="113118"/>
                    <a:pt x="267426" y="127171"/>
                  </a:cubicBezTo>
                  <a:cubicBezTo>
                    <a:pt x="273750" y="141927"/>
                    <a:pt x="286398" y="151062"/>
                    <a:pt x="303964" y="150359"/>
                  </a:cubicBezTo>
                  <a:cubicBezTo>
                    <a:pt x="342611" y="149657"/>
                    <a:pt x="380555" y="151062"/>
                    <a:pt x="419201" y="149657"/>
                  </a:cubicBezTo>
                  <a:cubicBezTo>
                    <a:pt x="437470" y="148954"/>
                    <a:pt x="444497" y="152467"/>
                    <a:pt x="443794" y="172845"/>
                  </a:cubicBezTo>
                  <a:cubicBezTo>
                    <a:pt x="443092" y="304945"/>
                    <a:pt x="443092" y="437749"/>
                    <a:pt x="443794" y="569850"/>
                  </a:cubicBezTo>
                  <a:cubicBezTo>
                    <a:pt x="443794" y="588822"/>
                    <a:pt x="438173" y="592335"/>
                    <a:pt x="420606" y="592335"/>
                  </a:cubicBezTo>
                  <a:cubicBezTo>
                    <a:pt x="383365" y="590930"/>
                    <a:pt x="346124" y="591632"/>
                    <a:pt x="308180" y="591632"/>
                  </a:cubicBezTo>
                  <a:cubicBezTo>
                    <a:pt x="296938" y="591632"/>
                    <a:pt x="286398" y="592335"/>
                    <a:pt x="277263" y="600064"/>
                  </a:cubicBezTo>
                  <a:cubicBezTo>
                    <a:pt x="266020" y="610604"/>
                    <a:pt x="258994" y="619739"/>
                    <a:pt x="276560" y="631684"/>
                  </a:cubicBezTo>
                  <a:cubicBezTo>
                    <a:pt x="295532" y="645035"/>
                    <a:pt x="310991" y="662601"/>
                    <a:pt x="301856" y="686492"/>
                  </a:cubicBezTo>
                  <a:cubicBezTo>
                    <a:pt x="292722" y="711788"/>
                    <a:pt x="275155" y="731462"/>
                    <a:pt x="245643" y="737084"/>
                  </a:cubicBezTo>
                  <a:cubicBezTo>
                    <a:pt x="200673" y="746218"/>
                    <a:pt x="168350" y="734273"/>
                    <a:pt x="147973" y="701248"/>
                  </a:cubicBezTo>
                  <a:cubicBezTo>
                    <a:pt x="132514" y="675952"/>
                    <a:pt x="136028" y="659088"/>
                    <a:pt x="159215" y="636603"/>
                  </a:cubicBezTo>
                  <a:cubicBezTo>
                    <a:pt x="166242" y="630279"/>
                    <a:pt x="182403" y="627468"/>
                    <a:pt x="175377" y="612010"/>
                  </a:cubicBezTo>
                  <a:cubicBezTo>
                    <a:pt x="168350" y="597956"/>
                    <a:pt x="156405" y="590930"/>
                    <a:pt x="140244" y="590930"/>
                  </a:cubicBezTo>
                  <a:cubicBezTo>
                    <a:pt x="101597" y="590930"/>
                    <a:pt x="63653" y="589524"/>
                    <a:pt x="25007" y="591632"/>
                  </a:cubicBezTo>
                  <a:cubicBezTo>
                    <a:pt x="3927" y="593038"/>
                    <a:pt x="-1695" y="586011"/>
                    <a:pt x="413" y="566336"/>
                  </a:cubicBezTo>
                  <a:cubicBezTo>
                    <a:pt x="3224" y="549472"/>
                    <a:pt x="1819" y="531203"/>
                    <a:pt x="1819" y="51293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60FA6176-F01D-4083-B09C-948C090C5F40}"/>
                </a:ext>
              </a:extLst>
            </p:cNvPr>
            <p:cNvSpPr/>
            <p:nvPr/>
          </p:nvSpPr>
          <p:spPr>
            <a:xfrm>
              <a:off x="11195050" y="5331558"/>
              <a:ext cx="1026185" cy="769640"/>
            </a:xfrm>
            <a:custGeom>
              <a:avLst/>
              <a:gdLst>
                <a:gd name="connsiteX0" fmla="*/ 591815 w 590237"/>
                <a:gd name="connsiteY0" fmla="*/ 221404 h 442678"/>
                <a:gd name="connsiteX1" fmla="*/ 591815 w 590237"/>
                <a:gd name="connsiteY1" fmla="*/ 423772 h 442678"/>
                <a:gd name="connsiteX2" fmla="*/ 572140 w 590237"/>
                <a:gd name="connsiteY2" fmla="*/ 444149 h 442678"/>
                <a:gd name="connsiteX3" fmla="*/ 451984 w 590237"/>
                <a:gd name="connsiteY3" fmla="*/ 444149 h 442678"/>
                <a:gd name="connsiteX4" fmla="*/ 409122 w 590237"/>
                <a:gd name="connsiteY4" fmla="*/ 423772 h 442678"/>
                <a:gd name="connsiteX5" fmla="*/ 412635 w 590237"/>
                <a:gd name="connsiteY5" fmla="*/ 384422 h 442678"/>
                <a:gd name="connsiteX6" fmla="*/ 436526 w 590237"/>
                <a:gd name="connsiteY6" fmla="*/ 335236 h 442678"/>
                <a:gd name="connsiteX7" fmla="*/ 376800 w 590237"/>
                <a:gd name="connsiteY7" fmla="*/ 295184 h 442678"/>
                <a:gd name="connsiteX8" fmla="*/ 312857 w 590237"/>
                <a:gd name="connsiteY8" fmla="*/ 318372 h 442678"/>
                <a:gd name="connsiteX9" fmla="*/ 317073 w 590237"/>
                <a:gd name="connsiteY9" fmla="*/ 376693 h 442678"/>
                <a:gd name="connsiteX10" fmla="*/ 336748 w 590237"/>
                <a:gd name="connsiteY10" fmla="*/ 410421 h 442678"/>
                <a:gd name="connsiteX11" fmla="*/ 293182 w 590237"/>
                <a:gd name="connsiteY11" fmla="*/ 442743 h 442678"/>
                <a:gd name="connsiteX12" fmla="*/ 161784 w 590237"/>
                <a:gd name="connsiteY12" fmla="*/ 443446 h 442678"/>
                <a:gd name="connsiteX13" fmla="*/ 147731 w 590237"/>
                <a:gd name="connsiteY13" fmla="*/ 426582 h 442678"/>
                <a:gd name="connsiteX14" fmla="*/ 147731 w 590237"/>
                <a:gd name="connsiteY14" fmla="*/ 306427 h 442678"/>
                <a:gd name="connsiteX15" fmla="*/ 136488 w 590237"/>
                <a:gd name="connsiteY15" fmla="*/ 274104 h 442678"/>
                <a:gd name="connsiteX16" fmla="*/ 109787 w 590237"/>
                <a:gd name="connsiteY16" fmla="*/ 274807 h 442678"/>
                <a:gd name="connsiteX17" fmla="*/ 50763 w 590237"/>
                <a:gd name="connsiteY17" fmla="*/ 301508 h 442678"/>
                <a:gd name="connsiteX18" fmla="*/ 171 w 590237"/>
                <a:gd name="connsiteY18" fmla="*/ 227728 h 442678"/>
                <a:gd name="connsiteX19" fmla="*/ 28981 w 590237"/>
                <a:gd name="connsiteY19" fmla="*/ 154651 h 442678"/>
                <a:gd name="connsiteX20" fmla="*/ 102761 w 590237"/>
                <a:gd name="connsiteY20" fmla="*/ 159570 h 442678"/>
                <a:gd name="connsiteX21" fmla="*/ 126651 w 590237"/>
                <a:gd name="connsiteY21" fmla="*/ 175731 h 442678"/>
                <a:gd name="connsiteX22" fmla="*/ 148434 w 590237"/>
                <a:gd name="connsiteY22" fmla="*/ 141301 h 442678"/>
                <a:gd name="connsiteX23" fmla="*/ 147731 w 590237"/>
                <a:gd name="connsiteY23" fmla="*/ 18335 h 442678"/>
                <a:gd name="connsiteX24" fmla="*/ 166000 w 590237"/>
                <a:gd name="connsiteY24" fmla="*/ 65 h 442678"/>
                <a:gd name="connsiteX25" fmla="*/ 288967 w 590237"/>
                <a:gd name="connsiteY25" fmla="*/ 65 h 442678"/>
                <a:gd name="connsiteX26" fmla="*/ 331126 w 590237"/>
                <a:gd name="connsiteY26" fmla="*/ 21848 h 442678"/>
                <a:gd name="connsiteX27" fmla="*/ 327613 w 590237"/>
                <a:gd name="connsiteY27" fmla="*/ 59089 h 442678"/>
                <a:gd name="connsiteX28" fmla="*/ 302317 w 590237"/>
                <a:gd name="connsiteY28" fmla="*/ 108275 h 442678"/>
                <a:gd name="connsiteX29" fmla="*/ 364151 w 590237"/>
                <a:gd name="connsiteY29" fmla="*/ 149030 h 442678"/>
                <a:gd name="connsiteX30" fmla="*/ 423878 w 590237"/>
                <a:gd name="connsiteY30" fmla="*/ 128653 h 442678"/>
                <a:gd name="connsiteX31" fmla="*/ 420364 w 590237"/>
                <a:gd name="connsiteY31" fmla="*/ 66116 h 442678"/>
                <a:gd name="connsiteX32" fmla="*/ 401393 w 590237"/>
                <a:gd name="connsiteY32" fmla="*/ 33793 h 442678"/>
                <a:gd name="connsiteX33" fmla="*/ 444255 w 590237"/>
                <a:gd name="connsiteY33" fmla="*/ 768 h 442678"/>
                <a:gd name="connsiteX34" fmla="*/ 578464 w 590237"/>
                <a:gd name="connsiteY34" fmla="*/ 65 h 442678"/>
                <a:gd name="connsiteX35" fmla="*/ 591112 w 590237"/>
                <a:gd name="connsiteY35" fmla="*/ 21145 h 442678"/>
                <a:gd name="connsiteX36" fmla="*/ 591815 w 590237"/>
                <a:gd name="connsiteY36" fmla="*/ 221404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591815" y="221404"/>
                  </a:moveTo>
                  <a:cubicBezTo>
                    <a:pt x="591815" y="288860"/>
                    <a:pt x="591112" y="356316"/>
                    <a:pt x="591815" y="423772"/>
                  </a:cubicBezTo>
                  <a:cubicBezTo>
                    <a:pt x="591815" y="438527"/>
                    <a:pt x="588301" y="444149"/>
                    <a:pt x="572140" y="444149"/>
                  </a:cubicBezTo>
                  <a:cubicBezTo>
                    <a:pt x="532088" y="442743"/>
                    <a:pt x="492036" y="443446"/>
                    <a:pt x="451984" y="444149"/>
                  </a:cubicBezTo>
                  <a:cubicBezTo>
                    <a:pt x="433715" y="444149"/>
                    <a:pt x="420364" y="437122"/>
                    <a:pt x="409122" y="423772"/>
                  </a:cubicBezTo>
                  <a:cubicBezTo>
                    <a:pt x="397177" y="409718"/>
                    <a:pt x="396474" y="397070"/>
                    <a:pt x="412635" y="384422"/>
                  </a:cubicBezTo>
                  <a:cubicBezTo>
                    <a:pt x="428796" y="372477"/>
                    <a:pt x="447768" y="359127"/>
                    <a:pt x="436526" y="335236"/>
                  </a:cubicBezTo>
                  <a:cubicBezTo>
                    <a:pt x="425283" y="310643"/>
                    <a:pt x="406311" y="295887"/>
                    <a:pt x="376800" y="295184"/>
                  </a:cubicBezTo>
                  <a:cubicBezTo>
                    <a:pt x="352206" y="295184"/>
                    <a:pt x="329721" y="297995"/>
                    <a:pt x="312857" y="318372"/>
                  </a:cubicBezTo>
                  <a:cubicBezTo>
                    <a:pt x="294588" y="341560"/>
                    <a:pt x="295290" y="357019"/>
                    <a:pt x="317073" y="376693"/>
                  </a:cubicBezTo>
                  <a:cubicBezTo>
                    <a:pt x="326910" y="385828"/>
                    <a:pt x="345882" y="391449"/>
                    <a:pt x="336748" y="410421"/>
                  </a:cubicBezTo>
                  <a:cubicBezTo>
                    <a:pt x="328316" y="428690"/>
                    <a:pt x="314262" y="442041"/>
                    <a:pt x="293182" y="442743"/>
                  </a:cubicBezTo>
                  <a:cubicBezTo>
                    <a:pt x="249617" y="443446"/>
                    <a:pt x="205349" y="442743"/>
                    <a:pt x="161784" y="443446"/>
                  </a:cubicBezTo>
                  <a:cubicBezTo>
                    <a:pt x="148434" y="443446"/>
                    <a:pt x="147028" y="437122"/>
                    <a:pt x="147731" y="426582"/>
                  </a:cubicBezTo>
                  <a:cubicBezTo>
                    <a:pt x="147731" y="386530"/>
                    <a:pt x="147731" y="346479"/>
                    <a:pt x="147731" y="306427"/>
                  </a:cubicBezTo>
                  <a:cubicBezTo>
                    <a:pt x="147731" y="293779"/>
                    <a:pt x="145623" y="283239"/>
                    <a:pt x="136488" y="274104"/>
                  </a:cubicBezTo>
                  <a:cubicBezTo>
                    <a:pt x="126651" y="264969"/>
                    <a:pt x="118922" y="262862"/>
                    <a:pt x="109787" y="274807"/>
                  </a:cubicBezTo>
                  <a:cubicBezTo>
                    <a:pt x="95031" y="293076"/>
                    <a:pt x="79572" y="312750"/>
                    <a:pt x="50763" y="301508"/>
                  </a:cubicBezTo>
                  <a:cubicBezTo>
                    <a:pt x="19143" y="289563"/>
                    <a:pt x="1577" y="262862"/>
                    <a:pt x="171" y="227728"/>
                  </a:cubicBezTo>
                  <a:cubicBezTo>
                    <a:pt x="-1234" y="198919"/>
                    <a:pt x="5793" y="173623"/>
                    <a:pt x="28981" y="154651"/>
                  </a:cubicBezTo>
                  <a:cubicBezTo>
                    <a:pt x="56385" y="132869"/>
                    <a:pt x="78870" y="134274"/>
                    <a:pt x="102761" y="159570"/>
                  </a:cubicBezTo>
                  <a:cubicBezTo>
                    <a:pt x="109084" y="166596"/>
                    <a:pt x="111895" y="182758"/>
                    <a:pt x="126651" y="175731"/>
                  </a:cubicBezTo>
                  <a:cubicBezTo>
                    <a:pt x="140704" y="169407"/>
                    <a:pt x="148434" y="158164"/>
                    <a:pt x="148434" y="141301"/>
                  </a:cubicBezTo>
                  <a:cubicBezTo>
                    <a:pt x="147731" y="100546"/>
                    <a:pt x="149136" y="59089"/>
                    <a:pt x="147731" y="18335"/>
                  </a:cubicBezTo>
                  <a:cubicBezTo>
                    <a:pt x="147731" y="4281"/>
                    <a:pt x="151244" y="-637"/>
                    <a:pt x="166000" y="65"/>
                  </a:cubicBezTo>
                  <a:cubicBezTo>
                    <a:pt x="206755" y="768"/>
                    <a:pt x="248212" y="768"/>
                    <a:pt x="288967" y="65"/>
                  </a:cubicBezTo>
                  <a:cubicBezTo>
                    <a:pt x="306533" y="65"/>
                    <a:pt x="319884" y="7795"/>
                    <a:pt x="331126" y="21848"/>
                  </a:cubicBezTo>
                  <a:cubicBezTo>
                    <a:pt x="341666" y="35901"/>
                    <a:pt x="342369" y="47144"/>
                    <a:pt x="327613" y="59089"/>
                  </a:cubicBezTo>
                  <a:cubicBezTo>
                    <a:pt x="312154" y="71034"/>
                    <a:pt x="293182" y="82980"/>
                    <a:pt x="302317" y="108275"/>
                  </a:cubicBezTo>
                  <a:cubicBezTo>
                    <a:pt x="310749" y="132166"/>
                    <a:pt x="335342" y="147624"/>
                    <a:pt x="364151" y="149030"/>
                  </a:cubicBezTo>
                  <a:cubicBezTo>
                    <a:pt x="386637" y="149733"/>
                    <a:pt x="407717" y="147624"/>
                    <a:pt x="423878" y="128653"/>
                  </a:cubicBezTo>
                  <a:cubicBezTo>
                    <a:pt x="445661" y="104060"/>
                    <a:pt x="444958" y="88601"/>
                    <a:pt x="420364" y="66116"/>
                  </a:cubicBezTo>
                  <a:cubicBezTo>
                    <a:pt x="411230" y="57684"/>
                    <a:pt x="394366" y="51360"/>
                    <a:pt x="401393" y="33793"/>
                  </a:cubicBezTo>
                  <a:cubicBezTo>
                    <a:pt x="409122" y="14821"/>
                    <a:pt x="423878" y="1470"/>
                    <a:pt x="444255" y="768"/>
                  </a:cubicBezTo>
                  <a:cubicBezTo>
                    <a:pt x="489226" y="-637"/>
                    <a:pt x="533494" y="768"/>
                    <a:pt x="578464" y="65"/>
                  </a:cubicBezTo>
                  <a:cubicBezTo>
                    <a:pt x="596030" y="65"/>
                    <a:pt x="591112" y="12713"/>
                    <a:pt x="591112" y="21145"/>
                  </a:cubicBezTo>
                  <a:cubicBezTo>
                    <a:pt x="591815" y="87898"/>
                    <a:pt x="591815" y="154651"/>
                    <a:pt x="591815" y="22140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E7B1C0F6-7C25-4479-8ED9-5CD3F7D2629B}"/>
                </a:ext>
              </a:extLst>
            </p:cNvPr>
            <p:cNvSpPr/>
            <p:nvPr/>
          </p:nvSpPr>
          <p:spPr>
            <a:xfrm>
              <a:off x="4304614" y="-14380"/>
              <a:ext cx="1282731" cy="1026186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084C3173-399D-4A43-8D93-AD2510053980}"/>
                </a:ext>
              </a:extLst>
            </p:cNvPr>
            <p:cNvSpPr/>
            <p:nvPr/>
          </p:nvSpPr>
          <p:spPr>
            <a:xfrm>
              <a:off x="3552533" y="475333"/>
              <a:ext cx="1282731" cy="1026186"/>
            </a:xfrm>
            <a:custGeom>
              <a:avLst/>
              <a:gdLst>
                <a:gd name="connsiteX0" fmla="*/ 510179 w 737797"/>
                <a:gd name="connsiteY0" fmla="*/ 592182 h 590237"/>
                <a:gd name="connsiteX1" fmla="*/ 449750 w 737797"/>
                <a:gd name="connsiteY1" fmla="*/ 592182 h 590237"/>
                <a:gd name="connsiteX2" fmla="*/ 408293 w 737797"/>
                <a:gd name="connsiteY2" fmla="*/ 569697 h 590237"/>
                <a:gd name="connsiteX3" fmla="*/ 412509 w 737797"/>
                <a:gd name="connsiteY3" fmla="*/ 532456 h 590237"/>
                <a:gd name="connsiteX4" fmla="*/ 438507 w 737797"/>
                <a:gd name="connsiteY4" fmla="*/ 486783 h 590237"/>
                <a:gd name="connsiteX5" fmla="*/ 378781 w 737797"/>
                <a:gd name="connsiteY5" fmla="*/ 443218 h 590237"/>
                <a:gd name="connsiteX6" fmla="*/ 314838 w 737797"/>
                <a:gd name="connsiteY6" fmla="*/ 465703 h 590237"/>
                <a:gd name="connsiteX7" fmla="*/ 319757 w 737797"/>
                <a:gd name="connsiteY7" fmla="*/ 526132 h 590237"/>
                <a:gd name="connsiteX8" fmla="*/ 338729 w 737797"/>
                <a:gd name="connsiteY8" fmla="*/ 558455 h 590237"/>
                <a:gd name="connsiteX9" fmla="*/ 298677 w 737797"/>
                <a:gd name="connsiteY9" fmla="*/ 591480 h 590237"/>
                <a:gd name="connsiteX10" fmla="*/ 161658 w 737797"/>
                <a:gd name="connsiteY10" fmla="*/ 592182 h 590237"/>
                <a:gd name="connsiteX11" fmla="*/ 149712 w 737797"/>
                <a:gd name="connsiteY11" fmla="*/ 573913 h 590237"/>
                <a:gd name="connsiteX12" fmla="*/ 149712 w 737797"/>
                <a:gd name="connsiteY12" fmla="*/ 458676 h 590237"/>
                <a:gd name="connsiteX13" fmla="*/ 141983 w 737797"/>
                <a:gd name="connsiteY13" fmla="*/ 427759 h 590237"/>
                <a:gd name="connsiteX14" fmla="*/ 108255 w 737797"/>
                <a:gd name="connsiteY14" fmla="*/ 426354 h 590237"/>
                <a:gd name="connsiteX15" fmla="*/ 55555 w 737797"/>
                <a:gd name="connsiteY15" fmla="*/ 450947 h 590237"/>
                <a:gd name="connsiteX16" fmla="*/ 4261 w 737797"/>
                <a:gd name="connsiteY16" fmla="*/ 398950 h 590237"/>
                <a:gd name="connsiteX17" fmla="*/ 35178 w 737797"/>
                <a:gd name="connsiteY17" fmla="*/ 299172 h 590237"/>
                <a:gd name="connsiteX18" fmla="*/ 102634 w 737797"/>
                <a:gd name="connsiteY18" fmla="*/ 306901 h 590237"/>
                <a:gd name="connsiteX19" fmla="*/ 128632 w 737797"/>
                <a:gd name="connsiteY19" fmla="*/ 324468 h 590237"/>
                <a:gd name="connsiteX20" fmla="*/ 149712 w 737797"/>
                <a:gd name="connsiteY20" fmla="*/ 289334 h 590237"/>
                <a:gd name="connsiteX21" fmla="*/ 149010 w 737797"/>
                <a:gd name="connsiteY21" fmla="*/ 174097 h 590237"/>
                <a:gd name="connsiteX22" fmla="*/ 174305 w 737797"/>
                <a:gd name="connsiteY22" fmla="*/ 148802 h 590237"/>
                <a:gd name="connsiteX23" fmla="*/ 286732 w 737797"/>
                <a:gd name="connsiteY23" fmla="*/ 149504 h 590237"/>
                <a:gd name="connsiteX24" fmla="*/ 310622 w 737797"/>
                <a:gd name="connsiteY24" fmla="*/ 144586 h 590237"/>
                <a:gd name="connsiteX25" fmla="*/ 314136 w 737797"/>
                <a:gd name="connsiteY25" fmla="*/ 108047 h 590237"/>
                <a:gd name="connsiteX26" fmla="*/ 311325 w 737797"/>
                <a:gd name="connsiteY26" fmla="*/ 23025 h 590237"/>
                <a:gd name="connsiteX27" fmla="*/ 439913 w 737797"/>
                <a:gd name="connsiteY27" fmla="*/ 32862 h 590237"/>
                <a:gd name="connsiteX28" fmla="*/ 433589 w 737797"/>
                <a:gd name="connsiteY28" fmla="*/ 104534 h 590237"/>
                <a:gd name="connsiteX29" fmla="*/ 416724 w 737797"/>
                <a:gd name="connsiteY29" fmla="*/ 128424 h 590237"/>
                <a:gd name="connsiteX30" fmla="*/ 451858 w 737797"/>
                <a:gd name="connsiteY30" fmla="*/ 149504 h 590237"/>
                <a:gd name="connsiteX31" fmla="*/ 572013 w 737797"/>
                <a:gd name="connsiteY31" fmla="*/ 148802 h 590237"/>
                <a:gd name="connsiteX32" fmla="*/ 590985 w 737797"/>
                <a:gd name="connsiteY32" fmla="*/ 168476 h 590237"/>
                <a:gd name="connsiteX33" fmla="*/ 590283 w 737797"/>
                <a:gd name="connsiteY33" fmla="*/ 283713 h 590237"/>
                <a:gd name="connsiteX34" fmla="*/ 597309 w 737797"/>
                <a:gd name="connsiteY34" fmla="*/ 312522 h 590237"/>
                <a:gd name="connsiteX35" fmla="*/ 633145 w 737797"/>
                <a:gd name="connsiteY35" fmla="*/ 314630 h 590237"/>
                <a:gd name="connsiteX36" fmla="*/ 719573 w 737797"/>
                <a:gd name="connsiteY36" fmla="*/ 312522 h 590237"/>
                <a:gd name="connsiteX37" fmla="*/ 694980 w 737797"/>
                <a:gd name="connsiteY37" fmla="*/ 448136 h 590237"/>
                <a:gd name="connsiteX38" fmla="*/ 636659 w 737797"/>
                <a:gd name="connsiteY38" fmla="*/ 433380 h 590237"/>
                <a:gd name="connsiteX39" fmla="*/ 612768 w 737797"/>
                <a:gd name="connsiteY39" fmla="*/ 417219 h 590237"/>
                <a:gd name="connsiteX40" fmla="*/ 590283 w 737797"/>
                <a:gd name="connsiteY40" fmla="*/ 451650 h 590237"/>
                <a:gd name="connsiteX41" fmla="*/ 590985 w 737797"/>
                <a:gd name="connsiteY41" fmla="*/ 569697 h 590237"/>
                <a:gd name="connsiteX42" fmla="*/ 567797 w 737797"/>
                <a:gd name="connsiteY42" fmla="*/ 593588 h 590237"/>
                <a:gd name="connsiteX43" fmla="*/ 510179 w 737797"/>
                <a:gd name="connsiteY43" fmla="*/ 592182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737797" h="590237">
                  <a:moveTo>
                    <a:pt x="510179" y="592182"/>
                  </a:moveTo>
                  <a:cubicBezTo>
                    <a:pt x="489802" y="592182"/>
                    <a:pt x="470127" y="592182"/>
                    <a:pt x="449750" y="592182"/>
                  </a:cubicBezTo>
                  <a:cubicBezTo>
                    <a:pt x="431481" y="592182"/>
                    <a:pt x="418833" y="583751"/>
                    <a:pt x="408293" y="569697"/>
                  </a:cubicBezTo>
                  <a:cubicBezTo>
                    <a:pt x="397753" y="555644"/>
                    <a:pt x="397753" y="543699"/>
                    <a:pt x="412509" y="532456"/>
                  </a:cubicBezTo>
                  <a:cubicBezTo>
                    <a:pt x="427264" y="521213"/>
                    <a:pt x="445534" y="509971"/>
                    <a:pt x="438507" y="486783"/>
                  </a:cubicBezTo>
                  <a:cubicBezTo>
                    <a:pt x="430778" y="460785"/>
                    <a:pt x="407590" y="445326"/>
                    <a:pt x="378781" y="443218"/>
                  </a:cubicBezTo>
                  <a:cubicBezTo>
                    <a:pt x="354188" y="441813"/>
                    <a:pt x="331702" y="444623"/>
                    <a:pt x="314838" y="465703"/>
                  </a:cubicBezTo>
                  <a:cubicBezTo>
                    <a:pt x="294461" y="490296"/>
                    <a:pt x="295164" y="504349"/>
                    <a:pt x="319757" y="526132"/>
                  </a:cubicBezTo>
                  <a:cubicBezTo>
                    <a:pt x="329594" y="534564"/>
                    <a:pt x="345053" y="540186"/>
                    <a:pt x="338729" y="558455"/>
                  </a:cubicBezTo>
                  <a:cubicBezTo>
                    <a:pt x="331702" y="576724"/>
                    <a:pt x="317649" y="590777"/>
                    <a:pt x="298677" y="591480"/>
                  </a:cubicBezTo>
                  <a:cubicBezTo>
                    <a:pt x="253004" y="593588"/>
                    <a:pt x="207331" y="591480"/>
                    <a:pt x="161658" y="592182"/>
                  </a:cubicBezTo>
                  <a:cubicBezTo>
                    <a:pt x="146199" y="592182"/>
                    <a:pt x="149712" y="581642"/>
                    <a:pt x="149712" y="573913"/>
                  </a:cubicBezTo>
                  <a:cubicBezTo>
                    <a:pt x="149712" y="535267"/>
                    <a:pt x="149712" y="497323"/>
                    <a:pt x="149712" y="458676"/>
                  </a:cubicBezTo>
                  <a:cubicBezTo>
                    <a:pt x="149712" y="447434"/>
                    <a:pt x="149712" y="436894"/>
                    <a:pt x="141983" y="427759"/>
                  </a:cubicBezTo>
                  <a:cubicBezTo>
                    <a:pt x="131443" y="415111"/>
                    <a:pt x="121606" y="407382"/>
                    <a:pt x="108255" y="426354"/>
                  </a:cubicBezTo>
                  <a:cubicBezTo>
                    <a:pt x="95607" y="443920"/>
                    <a:pt x="80149" y="459379"/>
                    <a:pt x="55555" y="450947"/>
                  </a:cubicBezTo>
                  <a:cubicBezTo>
                    <a:pt x="30259" y="442515"/>
                    <a:pt x="11288" y="426354"/>
                    <a:pt x="4261" y="398950"/>
                  </a:cubicBezTo>
                  <a:cubicBezTo>
                    <a:pt x="-6982" y="356087"/>
                    <a:pt x="4261" y="320954"/>
                    <a:pt x="35178" y="299172"/>
                  </a:cubicBezTo>
                  <a:cubicBezTo>
                    <a:pt x="61177" y="280902"/>
                    <a:pt x="80149" y="283713"/>
                    <a:pt x="102634" y="306901"/>
                  </a:cubicBezTo>
                  <a:cubicBezTo>
                    <a:pt x="109661" y="313928"/>
                    <a:pt x="111769" y="331494"/>
                    <a:pt x="128632" y="324468"/>
                  </a:cubicBezTo>
                  <a:cubicBezTo>
                    <a:pt x="143388" y="317441"/>
                    <a:pt x="149712" y="304793"/>
                    <a:pt x="149712" y="289334"/>
                  </a:cubicBezTo>
                  <a:cubicBezTo>
                    <a:pt x="149712" y="250688"/>
                    <a:pt x="151118" y="212744"/>
                    <a:pt x="149010" y="174097"/>
                  </a:cubicBezTo>
                  <a:cubicBezTo>
                    <a:pt x="148307" y="153720"/>
                    <a:pt x="153225" y="147396"/>
                    <a:pt x="174305" y="148802"/>
                  </a:cubicBezTo>
                  <a:cubicBezTo>
                    <a:pt x="211547" y="150910"/>
                    <a:pt x="249491" y="149504"/>
                    <a:pt x="286732" y="149504"/>
                  </a:cubicBezTo>
                  <a:cubicBezTo>
                    <a:pt x="295164" y="149504"/>
                    <a:pt x="302893" y="149504"/>
                    <a:pt x="310622" y="144586"/>
                  </a:cubicBezTo>
                  <a:cubicBezTo>
                    <a:pt x="330297" y="132640"/>
                    <a:pt x="331000" y="122803"/>
                    <a:pt x="314136" y="108047"/>
                  </a:cubicBezTo>
                  <a:cubicBezTo>
                    <a:pt x="281110" y="79941"/>
                    <a:pt x="280408" y="52537"/>
                    <a:pt x="311325" y="23025"/>
                  </a:cubicBezTo>
                  <a:cubicBezTo>
                    <a:pt x="346458" y="-11406"/>
                    <a:pt x="409698" y="-6487"/>
                    <a:pt x="439913" y="32862"/>
                  </a:cubicBezTo>
                  <a:cubicBezTo>
                    <a:pt x="460993" y="59563"/>
                    <a:pt x="458884" y="81346"/>
                    <a:pt x="433589" y="104534"/>
                  </a:cubicBezTo>
                  <a:cubicBezTo>
                    <a:pt x="426562" y="111560"/>
                    <a:pt x="410401" y="114371"/>
                    <a:pt x="416724" y="128424"/>
                  </a:cubicBezTo>
                  <a:cubicBezTo>
                    <a:pt x="423049" y="141775"/>
                    <a:pt x="434994" y="149504"/>
                    <a:pt x="451858" y="149504"/>
                  </a:cubicBezTo>
                  <a:cubicBezTo>
                    <a:pt x="491910" y="148802"/>
                    <a:pt x="531962" y="150207"/>
                    <a:pt x="572013" y="148802"/>
                  </a:cubicBezTo>
                  <a:cubicBezTo>
                    <a:pt x="588175" y="148099"/>
                    <a:pt x="591688" y="153720"/>
                    <a:pt x="590985" y="168476"/>
                  </a:cubicBezTo>
                  <a:cubicBezTo>
                    <a:pt x="589580" y="207123"/>
                    <a:pt x="590985" y="245067"/>
                    <a:pt x="590283" y="283713"/>
                  </a:cubicBezTo>
                  <a:cubicBezTo>
                    <a:pt x="590283" y="294253"/>
                    <a:pt x="590985" y="304090"/>
                    <a:pt x="597309" y="312522"/>
                  </a:cubicBezTo>
                  <a:cubicBezTo>
                    <a:pt x="607849" y="325873"/>
                    <a:pt x="617687" y="333602"/>
                    <a:pt x="633145" y="314630"/>
                  </a:cubicBezTo>
                  <a:cubicBezTo>
                    <a:pt x="661954" y="278794"/>
                    <a:pt x="687953" y="279497"/>
                    <a:pt x="719573" y="312522"/>
                  </a:cubicBezTo>
                  <a:cubicBezTo>
                    <a:pt x="756112" y="351872"/>
                    <a:pt x="742761" y="424948"/>
                    <a:pt x="694980" y="448136"/>
                  </a:cubicBezTo>
                  <a:cubicBezTo>
                    <a:pt x="671089" y="459379"/>
                    <a:pt x="653522" y="450947"/>
                    <a:pt x="636659" y="433380"/>
                  </a:cubicBezTo>
                  <a:cubicBezTo>
                    <a:pt x="630334" y="426354"/>
                    <a:pt x="627524" y="410895"/>
                    <a:pt x="612768" y="417219"/>
                  </a:cubicBezTo>
                  <a:cubicBezTo>
                    <a:pt x="598012" y="423543"/>
                    <a:pt x="590283" y="435488"/>
                    <a:pt x="590283" y="451650"/>
                  </a:cubicBezTo>
                  <a:cubicBezTo>
                    <a:pt x="590283" y="490999"/>
                    <a:pt x="588877" y="530348"/>
                    <a:pt x="590985" y="569697"/>
                  </a:cubicBezTo>
                  <a:cubicBezTo>
                    <a:pt x="591688" y="587967"/>
                    <a:pt x="587472" y="595696"/>
                    <a:pt x="567797" y="593588"/>
                  </a:cubicBezTo>
                  <a:cubicBezTo>
                    <a:pt x="548826" y="590777"/>
                    <a:pt x="529151" y="592182"/>
                    <a:pt x="510179" y="59218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95C9B257-AB60-4443-AB51-5A1B3A1058C6}"/>
                </a:ext>
              </a:extLst>
            </p:cNvPr>
            <p:cNvSpPr/>
            <p:nvPr/>
          </p:nvSpPr>
          <p:spPr>
            <a:xfrm>
              <a:off x="3563865" y="5825801"/>
              <a:ext cx="1026185" cy="1026186"/>
            </a:xfrm>
            <a:custGeom>
              <a:avLst/>
              <a:gdLst>
                <a:gd name="connsiteX0" fmla="*/ 370196 w 590237"/>
                <a:gd name="connsiteY0" fmla="*/ 591917 h 590237"/>
                <a:gd name="connsiteX1" fmla="*/ 167829 w 590237"/>
                <a:gd name="connsiteY1" fmla="*/ 591917 h 590237"/>
                <a:gd name="connsiteX2" fmla="*/ 147452 w 590237"/>
                <a:gd name="connsiteY2" fmla="*/ 572242 h 590237"/>
                <a:gd name="connsiteX3" fmla="*/ 148154 w 590237"/>
                <a:gd name="connsiteY3" fmla="*/ 454897 h 590237"/>
                <a:gd name="connsiteX4" fmla="*/ 139020 w 590237"/>
                <a:gd name="connsiteY4" fmla="*/ 424683 h 590237"/>
                <a:gd name="connsiteX5" fmla="*/ 108805 w 590237"/>
                <a:gd name="connsiteY5" fmla="*/ 425385 h 590237"/>
                <a:gd name="connsiteX6" fmla="*/ 56808 w 590237"/>
                <a:gd name="connsiteY6" fmla="*/ 451384 h 590237"/>
                <a:gd name="connsiteX7" fmla="*/ 4811 w 590237"/>
                <a:gd name="connsiteY7" fmla="*/ 400089 h 590237"/>
                <a:gd name="connsiteX8" fmla="*/ 38539 w 590237"/>
                <a:gd name="connsiteY8" fmla="*/ 296798 h 590237"/>
                <a:gd name="connsiteX9" fmla="*/ 105292 w 590237"/>
                <a:gd name="connsiteY9" fmla="*/ 309446 h 590237"/>
                <a:gd name="connsiteX10" fmla="*/ 127074 w 590237"/>
                <a:gd name="connsiteY10" fmla="*/ 324904 h 590237"/>
                <a:gd name="connsiteX11" fmla="*/ 148857 w 590237"/>
                <a:gd name="connsiteY11" fmla="*/ 293284 h 590237"/>
                <a:gd name="connsiteX12" fmla="*/ 148154 w 590237"/>
                <a:gd name="connsiteY12" fmla="*/ 175940 h 590237"/>
                <a:gd name="connsiteX13" fmla="*/ 174153 w 590237"/>
                <a:gd name="connsiteY13" fmla="*/ 148536 h 590237"/>
                <a:gd name="connsiteX14" fmla="*/ 286579 w 590237"/>
                <a:gd name="connsiteY14" fmla="*/ 149238 h 590237"/>
                <a:gd name="connsiteX15" fmla="*/ 310470 w 590237"/>
                <a:gd name="connsiteY15" fmla="*/ 145022 h 590237"/>
                <a:gd name="connsiteX16" fmla="*/ 313983 w 590237"/>
                <a:gd name="connsiteY16" fmla="*/ 108484 h 590237"/>
                <a:gd name="connsiteX17" fmla="*/ 312578 w 590237"/>
                <a:gd name="connsiteY17" fmla="*/ 21354 h 590237"/>
                <a:gd name="connsiteX18" fmla="*/ 449597 w 590237"/>
                <a:gd name="connsiteY18" fmla="*/ 48757 h 590237"/>
                <a:gd name="connsiteX19" fmla="*/ 433436 w 590237"/>
                <a:gd name="connsiteY19" fmla="*/ 104268 h 590237"/>
                <a:gd name="connsiteX20" fmla="*/ 417275 w 590237"/>
                <a:gd name="connsiteY20" fmla="*/ 128861 h 590237"/>
                <a:gd name="connsiteX21" fmla="*/ 452408 w 590237"/>
                <a:gd name="connsiteY21" fmla="*/ 149941 h 590237"/>
                <a:gd name="connsiteX22" fmla="*/ 572564 w 590237"/>
                <a:gd name="connsiteY22" fmla="*/ 149238 h 590237"/>
                <a:gd name="connsiteX23" fmla="*/ 592941 w 590237"/>
                <a:gd name="connsiteY23" fmla="*/ 168210 h 590237"/>
                <a:gd name="connsiteX24" fmla="*/ 592941 w 590237"/>
                <a:gd name="connsiteY24" fmla="*/ 291176 h 590237"/>
                <a:gd name="connsiteX25" fmla="*/ 566942 w 590237"/>
                <a:gd name="connsiteY25" fmla="*/ 336147 h 590237"/>
                <a:gd name="connsiteX26" fmla="*/ 538133 w 590237"/>
                <a:gd name="connsiteY26" fmla="*/ 333336 h 590237"/>
                <a:gd name="connsiteX27" fmla="*/ 472082 w 590237"/>
                <a:gd name="connsiteY27" fmla="*/ 312256 h 590237"/>
                <a:gd name="connsiteX28" fmla="*/ 452408 w 590237"/>
                <a:gd name="connsiteY28" fmla="*/ 408521 h 590237"/>
                <a:gd name="connsiteX29" fmla="*/ 530404 w 590237"/>
                <a:gd name="connsiteY29" fmla="*/ 419764 h 590237"/>
                <a:gd name="connsiteX30" fmla="*/ 560618 w 590237"/>
                <a:gd name="connsiteY30" fmla="*/ 403603 h 590237"/>
                <a:gd name="connsiteX31" fmla="*/ 592238 w 590237"/>
                <a:gd name="connsiteY31" fmla="*/ 441547 h 590237"/>
                <a:gd name="connsiteX32" fmla="*/ 592941 w 590237"/>
                <a:gd name="connsiteY32" fmla="*/ 581377 h 590237"/>
                <a:gd name="connsiteX33" fmla="*/ 574671 w 590237"/>
                <a:gd name="connsiteY33" fmla="*/ 593322 h 590237"/>
                <a:gd name="connsiteX34" fmla="*/ 370196 w 590237"/>
                <a:gd name="connsiteY34" fmla="*/ 591917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90237" h="590237">
                  <a:moveTo>
                    <a:pt x="370196" y="591917"/>
                  </a:moveTo>
                  <a:cubicBezTo>
                    <a:pt x="302740" y="591917"/>
                    <a:pt x="235285" y="591214"/>
                    <a:pt x="167829" y="591917"/>
                  </a:cubicBezTo>
                  <a:cubicBezTo>
                    <a:pt x="152370" y="591917"/>
                    <a:pt x="147452" y="588403"/>
                    <a:pt x="147452" y="572242"/>
                  </a:cubicBezTo>
                  <a:cubicBezTo>
                    <a:pt x="148857" y="532893"/>
                    <a:pt x="147452" y="493544"/>
                    <a:pt x="148154" y="454897"/>
                  </a:cubicBezTo>
                  <a:cubicBezTo>
                    <a:pt x="148154" y="443655"/>
                    <a:pt x="147452" y="433115"/>
                    <a:pt x="139020" y="424683"/>
                  </a:cubicBezTo>
                  <a:cubicBezTo>
                    <a:pt x="128480" y="414143"/>
                    <a:pt x="119345" y="410629"/>
                    <a:pt x="108805" y="425385"/>
                  </a:cubicBezTo>
                  <a:cubicBezTo>
                    <a:pt x="96157" y="442249"/>
                    <a:pt x="81401" y="459113"/>
                    <a:pt x="56808" y="451384"/>
                  </a:cubicBezTo>
                  <a:cubicBezTo>
                    <a:pt x="30810" y="443655"/>
                    <a:pt x="12540" y="426790"/>
                    <a:pt x="4811" y="400089"/>
                  </a:cubicBezTo>
                  <a:cubicBezTo>
                    <a:pt x="-7837" y="357929"/>
                    <a:pt x="4811" y="317878"/>
                    <a:pt x="38539" y="296798"/>
                  </a:cubicBezTo>
                  <a:cubicBezTo>
                    <a:pt x="64537" y="279934"/>
                    <a:pt x="81401" y="284150"/>
                    <a:pt x="105292" y="309446"/>
                  </a:cubicBezTo>
                  <a:cubicBezTo>
                    <a:pt x="110913" y="315770"/>
                    <a:pt x="113724" y="330526"/>
                    <a:pt x="127074" y="324904"/>
                  </a:cubicBezTo>
                  <a:cubicBezTo>
                    <a:pt x="140425" y="319283"/>
                    <a:pt x="148857" y="308743"/>
                    <a:pt x="148857" y="293284"/>
                  </a:cubicBezTo>
                  <a:cubicBezTo>
                    <a:pt x="148857" y="253935"/>
                    <a:pt x="150262" y="214586"/>
                    <a:pt x="148154" y="175940"/>
                  </a:cubicBezTo>
                  <a:cubicBezTo>
                    <a:pt x="147452" y="155562"/>
                    <a:pt x="150965" y="147130"/>
                    <a:pt x="174153" y="148536"/>
                  </a:cubicBezTo>
                  <a:cubicBezTo>
                    <a:pt x="211394" y="150644"/>
                    <a:pt x="248635" y="149238"/>
                    <a:pt x="286579" y="149238"/>
                  </a:cubicBezTo>
                  <a:cubicBezTo>
                    <a:pt x="294309" y="149238"/>
                    <a:pt x="302740" y="149941"/>
                    <a:pt x="310470" y="145022"/>
                  </a:cubicBezTo>
                  <a:cubicBezTo>
                    <a:pt x="328739" y="133077"/>
                    <a:pt x="330145" y="122537"/>
                    <a:pt x="313983" y="108484"/>
                  </a:cubicBezTo>
                  <a:cubicBezTo>
                    <a:pt x="280255" y="78972"/>
                    <a:pt x="280255" y="52271"/>
                    <a:pt x="312578" y="21354"/>
                  </a:cubicBezTo>
                  <a:cubicBezTo>
                    <a:pt x="353332" y="-16590"/>
                    <a:pt x="426409" y="-1835"/>
                    <a:pt x="449597" y="48757"/>
                  </a:cubicBezTo>
                  <a:cubicBezTo>
                    <a:pt x="460137" y="72648"/>
                    <a:pt x="449597" y="88107"/>
                    <a:pt x="433436" y="104268"/>
                  </a:cubicBezTo>
                  <a:cubicBezTo>
                    <a:pt x="426409" y="111295"/>
                    <a:pt x="410951" y="114808"/>
                    <a:pt x="417275" y="128861"/>
                  </a:cubicBezTo>
                  <a:cubicBezTo>
                    <a:pt x="423599" y="142914"/>
                    <a:pt x="435544" y="149941"/>
                    <a:pt x="452408" y="149941"/>
                  </a:cubicBezTo>
                  <a:cubicBezTo>
                    <a:pt x="492460" y="149238"/>
                    <a:pt x="532512" y="150644"/>
                    <a:pt x="572564" y="149238"/>
                  </a:cubicBezTo>
                  <a:cubicBezTo>
                    <a:pt x="587319" y="149238"/>
                    <a:pt x="592941" y="152049"/>
                    <a:pt x="592941" y="168210"/>
                  </a:cubicBezTo>
                  <a:cubicBezTo>
                    <a:pt x="591535" y="208965"/>
                    <a:pt x="592238" y="250422"/>
                    <a:pt x="592941" y="291176"/>
                  </a:cubicBezTo>
                  <a:cubicBezTo>
                    <a:pt x="592941" y="312256"/>
                    <a:pt x="582401" y="324904"/>
                    <a:pt x="566942" y="336147"/>
                  </a:cubicBezTo>
                  <a:cubicBezTo>
                    <a:pt x="556402" y="343174"/>
                    <a:pt x="547268" y="342471"/>
                    <a:pt x="538133" y="333336"/>
                  </a:cubicBezTo>
                  <a:cubicBezTo>
                    <a:pt x="500892" y="297501"/>
                    <a:pt x="494568" y="295393"/>
                    <a:pt x="472082" y="312256"/>
                  </a:cubicBezTo>
                  <a:cubicBezTo>
                    <a:pt x="444679" y="332634"/>
                    <a:pt x="435544" y="378307"/>
                    <a:pt x="452408" y="408521"/>
                  </a:cubicBezTo>
                  <a:cubicBezTo>
                    <a:pt x="472785" y="445762"/>
                    <a:pt x="503702" y="449979"/>
                    <a:pt x="530404" y="419764"/>
                  </a:cubicBezTo>
                  <a:cubicBezTo>
                    <a:pt x="538133" y="410629"/>
                    <a:pt x="544457" y="395874"/>
                    <a:pt x="560618" y="403603"/>
                  </a:cubicBezTo>
                  <a:cubicBezTo>
                    <a:pt x="576779" y="410629"/>
                    <a:pt x="592238" y="422575"/>
                    <a:pt x="592238" y="441547"/>
                  </a:cubicBezTo>
                  <a:cubicBezTo>
                    <a:pt x="593643" y="487922"/>
                    <a:pt x="592238" y="534298"/>
                    <a:pt x="592941" y="581377"/>
                  </a:cubicBezTo>
                  <a:cubicBezTo>
                    <a:pt x="592941" y="596835"/>
                    <a:pt x="582401" y="593322"/>
                    <a:pt x="574671" y="593322"/>
                  </a:cubicBezTo>
                  <a:cubicBezTo>
                    <a:pt x="505108" y="592619"/>
                    <a:pt x="437652" y="591917"/>
                    <a:pt x="370196" y="59191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4658EC89-4DD0-4947-886D-1F0F5E3AD40A}"/>
                </a:ext>
              </a:extLst>
            </p:cNvPr>
            <p:cNvSpPr/>
            <p:nvPr/>
          </p:nvSpPr>
          <p:spPr>
            <a:xfrm>
              <a:off x="5331439" y="-14380"/>
              <a:ext cx="1026185" cy="1026186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3A454C32-E856-4E32-BF0A-25299651776F}"/>
                </a:ext>
              </a:extLst>
            </p:cNvPr>
            <p:cNvSpPr/>
            <p:nvPr/>
          </p:nvSpPr>
          <p:spPr>
            <a:xfrm>
              <a:off x="4329806" y="6082347"/>
              <a:ext cx="1282731" cy="769640"/>
            </a:xfrm>
            <a:custGeom>
              <a:avLst/>
              <a:gdLst>
                <a:gd name="connsiteX0" fmla="*/ 370725 w 737797"/>
                <a:gd name="connsiteY0" fmla="*/ 441321 h 442678"/>
                <a:gd name="connsiteX1" fmla="*/ 178898 w 737797"/>
                <a:gd name="connsiteY1" fmla="*/ 442023 h 442678"/>
                <a:gd name="connsiteX2" fmla="*/ 148684 w 737797"/>
                <a:gd name="connsiteY2" fmla="*/ 413214 h 442678"/>
                <a:gd name="connsiteX3" fmla="*/ 149386 w 737797"/>
                <a:gd name="connsiteY3" fmla="*/ 303599 h 442678"/>
                <a:gd name="connsiteX4" fmla="*/ 138846 w 737797"/>
                <a:gd name="connsiteY4" fmla="*/ 274087 h 442678"/>
                <a:gd name="connsiteX5" fmla="*/ 110037 w 737797"/>
                <a:gd name="connsiteY5" fmla="*/ 274790 h 442678"/>
                <a:gd name="connsiteX6" fmla="*/ 55230 w 737797"/>
                <a:gd name="connsiteY6" fmla="*/ 301491 h 442678"/>
                <a:gd name="connsiteX7" fmla="*/ 2530 w 737797"/>
                <a:gd name="connsiteY7" fmla="*/ 243872 h 442678"/>
                <a:gd name="connsiteX8" fmla="*/ 40473 w 737797"/>
                <a:gd name="connsiteY8" fmla="*/ 146905 h 442678"/>
                <a:gd name="connsiteX9" fmla="*/ 105119 w 737797"/>
                <a:gd name="connsiteY9" fmla="*/ 160255 h 442678"/>
                <a:gd name="connsiteX10" fmla="*/ 127604 w 737797"/>
                <a:gd name="connsiteY10" fmla="*/ 175714 h 442678"/>
                <a:gd name="connsiteX11" fmla="*/ 149386 w 737797"/>
                <a:gd name="connsiteY11" fmla="*/ 143391 h 442678"/>
                <a:gd name="connsiteX12" fmla="*/ 148684 w 737797"/>
                <a:gd name="connsiteY12" fmla="*/ 23236 h 442678"/>
                <a:gd name="connsiteX13" fmla="*/ 170466 w 737797"/>
                <a:gd name="connsiteY13" fmla="*/ 48 h 442678"/>
                <a:gd name="connsiteX14" fmla="*/ 290622 w 737797"/>
                <a:gd name="connsiteY14" fmla="*/ 751 h 442678"/>
                <a:gd name="connsiteX15" fmla="*/ 330673 w 737797"/>
                <a:gd name="connsiteY15" fmla="*/ 19722 h 442678"/>
                <a:gd name="connsiteX16" fmla="*/ 327160 w 737797"/>
                <a:gd name="connsiteY16" fmla="*/ 59072 h 442678"/>
                <a:gd name="connsiteX17" fmla="*/ 301864 w 737797"/>
                <a:gd name="connsiteY17" fmla="*/ 105447 h 442678"/>
                <a:gd name="connsiteX18" fmla="*/ 357375 w 737797"/>
                <a:gd name="connsiteY18" fmla="*/ 148310 h 442678"/>
                <a:gd name="connsiteX19" fmla="*/ 419209 w 737797"/>
                <a:gd name="connsiteY19" fmla="*/ 132851 h 442678"/>
                <a:gd name="connsiteX20" fmla="*/ 419209 w 737797"/>
                <a:gd name="connsiteY20" fmla="*/ 63287 h 442678"/>
                <a:gd name="connsiteX21" fmla="*/ 401643 w 737797"/>
                <a:gd name="connsiteY21" fmla="*/ 35884 h 442678"/>
                <a:gd name="connsiteX22" fmla="*/ 437478 w 737797"/>
                <a:gd name="connsiteY22" fmla="*/ 2156 h 442678"/>
                <a:gd name="connsiteX23" fmla="*/ 582228 w 737797"/>
                <a:gd name="connsiteY23" fmla="*/ 751 h 442678"/>
                <a:gd name="connsiteX24" fmla="*/ 591362 w 737797"/>
                <a:gd name="connsiteY24" fmla="*/ 19020 h 442678"/>
                <a:gd name="connsiteX25" fmla="*/ 591362 w 737797"/>
                <a:gd name="connsiteY25" fmla="*/ 134257 h 442678"/>
                <a:gd name="connsiteX26" fmla="*/ 596983 w 737797"/>
                <a:gd name="connsiteY26" fmla="*/ 160255 h 442678"/>
                <a:gd name="connsiteX27" fmla="*/ 634224 w 737797"/>
                <a:gd name="connsiteY27" fmla="*/ 164471 h 442678"/>
                <a:gd name="connsiteX28" fmla="*/ 722760 w 737797"/>
                <a:gd name="connsiteY28" fmla="*/ 165174 h 442678"/>
                <a:gd name="connsiteX29" fmla="*/ 695356 w 737797"/>
                <a:gd name="connsiteY29" fmla="*/ 298680 h 442678"/>
                <a:gd name="connsiteX30" fmla="*/ 637035 w 737797"/>
                <a:gd name="connsiteY30" fmla="*/ 283221 h 442678"/>
                <a:gd name="connsiteX31" fmla="*/ 613144 w 737797"/>
                <a:gd name="connsiteY31" fmla="*/ 267060 h 442678"/>
                <a:gd name="connsiteX32" fmla="*/ 591362 w 737797"/>
                <a:gd name="connsiteY32" fmla="*/ 302193 h 442678"/>
                <a:gd name="connsiteX33" fmla="*/ 592065 w 737797"/>
                <a:gd name="connsiteY33" fmla="*/ 420241 h 442678"/>
                <a:gd name="connsiteX34" fmla="*/ 570282 w 737797"/>
                <a:gd name="connsiteY34" fmla="*/ 442726 h 442678"/>
                <a:gd name="connsiteX35" fmla="*/ 370725 w 737797"/>
                <a:gd name="connsiteY35" fmla="*/ 441321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37797" h="442678">
                  <a:moveTo>
                    <a:pt x="370725" y="441321"/>
                  </a:moveTo>
                  <a:cubicBezTo>
                    <a:pt x="306783" y="441321"/>
                    <a:pt x="242840" y="440618"/>
                    <a:pt x="178898" y="442023"/>
                  </a:cubicBezTo>
                  <a:cubicBezTo>
                    <a:pt x="155710" y="442726"/>
                    <a:pt x="146576" y="438510"/>
                    <a:pt x="148684" y="413214"/>
                  </a:cubicBezTo>
                  <a:cubicBezTo>
                    <a:pt x="151494" y="376676"/>
                    <a:pt x="149386" y="340137"/>
                    <a:pt x="149386" y="303599"/>
                  </a:cubicBezTo>
                  <a:cubicBezTo>
                    <a:pt x="149386" y="292356"/>
                    <a:pt x="147981" y="282519"/>
                    <a:pt x="138846" y="274087"/>
                  </a:cubicBezTo>
                  <a:cubicBezTo>
                    <a:pt x="128306" y="264250"/>
                    <a:pt x="119874" y="260736"/>
                    <a:pt x="110037" y="274790"/>
                  </a:cubicBezTo>
                  <a:cubicBezTo>
                    <a:pt x="96686" y="293761"/>
                    <a:pt x="79823" y="309923"/>
                    <a:pt x="55230" y="301491"/>
                  </a:cubicBezTo>
                  <a:cubicBezTo>
                    <a:pt x="28528" y="292356"/>
                    <a:pt x="8853" y="274087"/>
                    <a:pt x="2530" y="243872"/>
                  </a:cubicBezTo>
                  <a:cubicBezTo>
                    <a:pt x="-5902" y="201010"/>
                    <a:pt x="6746" y="166579"/>
                    <a:pt x="40473" y="146905"/>
                  </a:cubicBezTo>
                  <a:cubicBezTo>
                    <a:pt x="65067" y="132148"/>
                    <a:pt x="82633" y="136365"/>
                    <a:pt x="105119" y="160255"/>
                  </a:cubicBezTo>
                  <a:cubicBezTo>
                    <a:pt x="111443" y="167282"/>
                    <a:pt x="114956" y="181335"/>
                    <a:pt x="127604" y="175714"/>
                  </a:cubicBezTo>
                  <a:cubicBezTo>
                    <a:pt x="140252" y="170092"/>
                    <a:pt x="149386" y="159552"/>
                    <a:pt x="149386" y="143391"/>
                  </a:cubicBezTo>
                  <a:cubicBezTo>
                    <a:pt x="149386" y="103339"/>
                    <a:pt x="150089" y="63287"/>
                    <a:pt x="148684" y="23236"/>
                  </a:cubicBezTo>
                  <a:cubicBezTo>
                    <a:pt x="147981" y="6372"/>
                    <a:pt x="150792" y="-655"/>
                    <a:pt x="170466" y="48"/>
                  </a:cubicBezTo>
                  <a:cubicBezTo>
                    <a:pt x="210518" y="2156"/>
                    <a:pt x="250570" y="751"/>
                    <a:pt x="290622" y="751"/>
                  </a:cubicBezTo>
                  <a:cubicBezTo>
                    <a:pt x="307486" y="751"/>
                    <a:pt x="320836" y="7074"/>
                    <a:pt x="330673" y="19722"/>
                  </a:cubicBezTo>
                  <a:cubicBezTo>
                    <a:pt x="341916" y="33775"/>
                    <a:pt x="344024" y="46424"/>
                    <a:pt x="327160" y="59072"/>
                  </a:cubicBezTo>
                  <a:cubicBezTo>
                    <a:pt x="312404" y="70314"/>
                    <a:pt x="292730" y="82259"/>
                    <a:pt x="301864" y="105447"/>
                  </a:cubicBezTo>
                  <a:cubicBezTo>
                    <a:pt x="311702" y="129338"/>
                    <a:pt x="329268" y="146202"/>
                    <a:pt x="357375" y="148310"/>
                  </a:cubicBezTo>
                  <a:cubicBezTo>
                    <a:pt x="379860" y="150418"/>
                    <a:pt x="400940" y="149013"/>
                    <a:pt x="419209" y="132851"/>
                  </a:cubicBezTo>
                  <a:cubicBezTo>
                    <a:pt x="448018" y="106150"/>
                    <a:pt x="448018" y="89286"/>
                    <a:pt x="419209" y="63287"/>
                  </a:cubicBezTo>
                  <a:cubicBezTo>
                    <a:pt x="410777" y="56261"/>
                    <a:pt x="396724" y="50640"/>
                    <a:pt x="401643" y="35884"/>
                  </a:cubicBezTo>
                  <a:cubicBezTo>
                    <a:pt x="407264" y="19020"/>
                    <a:pt x="418506" y="2859"/>
                    <a:pt x="437478" y="2156"/>
                  </a:cubicBezTo>
                  <a:cubicBezTo>
                    <a:pt x="485962" y="48"/>
                    <a:pt x="534446" y="751"/>
                    <a:pt x="582228" y="751"/>
                  </a:cubicBezTo>
                  <a:cubicBezTo>
                    <a:pt x="596983" y="751"/>
                    <a:pt x="591362" y="11993"/>
                    <a:pt x="591362" y="19020"/>
                  </a:cubicBezTo>
                  <a:cubicBezTo>
                    <a:pt x="592065" y="57666"/>
                    <a:pt x="591362" y="95610"/>
                    <a:pt x="591362" y="134257"/>
                  </a:cubicBezTo>
                  <a:cubicBezTo>
                    <a:pt x="591362" y="143391"/>
                    <a:pt x="592065" y="152526"/>
                    <a:pt x="596983" y="160255"/>
                  </a:cubicBezTo>
                  <a:cubicBezTo>
                    <a:pt x="608929" y="179930"/>
                    <a:pt x="618766" y="180632"/>
                    <a:pt x="634224" y="164471"/>
                  </a:cubicBezTo>
                  <a:cubicBezTo>
                    <a:pt x="665142" y="130041"/>
                    <a:pt x="692545" y="130743"/>
                    <a:pt x="722760" y="165174"/>
                  </a:cubicBezTo>
                  <a:cubicBezTo>
                    <a:pt x="758596" y="205928"/>
                    <a:pt x="743840" y="274790"/>
                    <a:pt x="695356" y="298680"/>
                  </a:cubicBezTo>
                  <a:cubicBezTo>
                    <a:pt x="671465" y="310625"/>
                    <a:pt x="653899" y="300788"/>
                    <a:pt x="637035" y="283221"/>
                  </a:cubicBezTo>
                  <a:cubicBezTo>
                    <a:pt x="630711" y="276195"/>
                    <a:pt x="627901" y="260033"/>
                    <a:pt x="613144" y="267060"/>
                  </a:cubicBezTo>
                  <a:cubicBezTo>
                    <a:pt x="599794" y="273384"/>
                    <a:pt x="591362" y="285330"/>
                    <a:pt x="591362" y="302193"/>
                  </a:cubicBezTo>
                  <a:cubicBezTo>
                    <a:pt x="591362" y="341543"/>
                    <a:pt x="590659" y="380892"/>
                    <a:pt x="592065" y="420241"/>
                  </a:cubicBezTo>
                  <a:cubicBezTo>
                    <a:pt x="592767" y="437807"/>
                    <a:pt x="588551" y="443429"/>
                    <a:pt x="570282" y="442726"/>
                  </a:cubicBezTo>
                  <a:cubicBezTo>
                    <a:pt x="504232" y="440618"/>
                    <a:pt x="437478" y="441321"/>
                    <a:pt x="370725" y="44132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54AA3291-A6CC-427C-99C4-82E658D92CE5}"/>
                </a:ext>
              </a:extLst>
            </p:cNvPr>
            <p:cNvSpPr/>
            <p:nvPr/>
          </p:nvSpPr>
          <p:spPr>
            <a:xfrm>
              <a:off x="5070904" y="740838"/>
              <a:ext cx="1282731" cy="769640"/>
            </a:xfrm>
            <a:custGeom>
              <a:avLst/>
              <a:gdLst>
                <a:gd name="connsiteX0" fmla="*/ 220814 w 737797"/>
                <a:gd name="connsiteY0" fmla="*/ 442759 h 442678"/>
                <a:gd name="connsiteX1" fmla="*/ 153359 w 737797"/>
                <a:gd name="connsiteY1" fmla="*/ 437841 h 442678"/>
                <a:gd name="connsiteX2" fmla="*/ 149143 w 737797"/>
                <a:gd name="connsiteY2" fmla="*/ 366169 h 442678"/>
                <a:gd name="connsiteX3" fmla="*/ 149143 w 737797"/>
                <a:gd name="connsiteY3" fmla="*/ 302929 h 442678"/>
                <a:gd name="connsiteX4" fmla="*/ 127360 w 737797"/>
                <a:gd name="connsiteY4" fmla="*/ 267796 h 442678"/>
                <a:gd name="connsiteX5" fmla="*/ 103470 w 737797"/>
                <a:gd name="connsiteY5" fmla="*/ 283957 h 442678"/>
                <a:gd name="connsiteX6" fmla="*/ 31095 w 737797"/>
                <a:gd name="connsiteY6" fmla="*/ 290984 h 442678"/>
                <a:gd name="connsiteX7" fmla="*/ 28987 w 737797"/>
                <a:gd name="connsiteY7" fmla="*/ 153965 h 442678"/>
                <a:gd name="connsiteX8" fmla="*/ 102767 w 737797"/>
                <a:gd name="connsiteY8" fmla="*/ 160288 h 442678"/>
                <a:gd name="connsiteX9" fmla="*/ 127360 w 737797"/>
                <a:gd name="connsiteY9" fmla="*/ 175747 h 442678"/>
                <a:gd name="connsiteX10" fmla="*/ 148440 w 737797"/>
                <a:gd name="connsiteY10" fmla="*/ 142722 h 442678"/>
                <a:gd name="connsiteX11" fmla="*/ 147738 w 737797"/>
                <a:gd name="connsiteY11" fmla="*/ 24674 h 442678"/>
                <a:gd name="connsiteX12" fmla="*/ 173736 w 737797"/>
                <a:gd name="connsiteY12" fmla="*/ 81 h 442678"/>
                <a:gd name="connsiteX13" fmla="*/ 288973 w 737797"/>
                <a:gd name="connsiteY13" fmla="*/ 81 h 442678"/>
                <a:gd name="connsiteX14" fmla="*/ 325511 w 737797"/>
                <a:gd name="connsiteY14" fmla="*/ 14134 h 442678"/>
                <a:gd name="connsiteX15" fmla="*/ 323404 w 737797"/>
                <a:gd name="connsiteY15" fmla="*/ 60510 h 442678"/>
                <a:gd name="connsiteX16" fmla="*/ 300918 w 737797"/>
                <a:gd name="connsiteY16" fmla="*/ 100562 h 442678"/>
                <a:gd name="connsiteX17" fmla="*/ 342376 w 737797"/>
                <a:gd name="connsiteY17" fmla="*/ 144127 h 442678"/>
                <a:gd name="connsiteX18" fmla="*/ 425290 w 737797"/>
                <a:gd name="connsiteY18" fmla="*/ 125155 h 442678"/>
                <a:gd name="connsiteX19" fmla="*/ 421074 w 737797"/>
                <a:gd name="connsiteY19" fmla="*/ 64726 h 442678"/>
                <a:gd name="connsiteX20" fmla="*/ 401399 w 737797"/>
                <a:gd name="connsiteY20" fmla="*/ 33106 h 442678"/>
                <a:gd name="connsiteX21" fmla="*/ 441451 w 737797"/>
                <a:gd name="connsiteY21" fmla="*/ 783 h 442678"/>
                <a:gd name="connsiteX22" fmla="*/ 578470 w 737797"/>
                <a:gd name="connsiteY22" fmla="*/ 81 h 442678"/>
                <a:gd name="connsiteX23" fmla="*/ 591821 w 737797"/>
                <a:gd name="connsiteY23" fmla="*/ 17648 h 442678"/>
                <a:gd name="connsiteX24" fmla="*/ 591821 w 737797"/>
                <a:gd name="connsiteY24" fmla="*/ 135695 h 442678"/>
                <a:gd name="connsiteX25" fmla="*/ 602361 w 737797"/>
                <a:gd name="connsiteY25" fmla="*/ 168018 h 442678"/>
                <a:gd name="connsiteX26" fmla="*/ 631170 w 737797"/>
                <a:gd name="connsiteY26" fmla="*/ 166612 h 442678"/>
                <a:gd name="connsiteX27" fmla="*/ 683168 w 737797"/>
                <a:gd name="connsiteY27" fmla="*/ 139208 h 442678"/>
                <a:gd name="connsiteX28" fmla="*/ 737975 w 737797"/>
                <a:gd name="connsiteY28" fmla="*/ 194719 h 442678"/>
                <a:gd name="connsiteX29" fmla="*/ 711977 w 737797"/>
                <a:gd name="connsiteY29" fmla="*/ 286768 h 442678"/>
                <a:gd name="connsiteX30" fmla="*/ 636089 w 737797"/>
                <a:gd name="connsiteY30" fmla="*/ 281849 h 442678"/>
                <a:gd name="connsiteX31" fmla="*/ 614306 w 737797"/>
                <a:gd name="connsiteY31" fmla="*/ 266391 h 442678"/>
                <a:gd name="connsiteX32" fmla="*/ 592524 w 737797"/>
                <a:gd name="connsiteY32" fmla="*/ 298011 h 442678"/>
                <a:gd name="connsiteX33" fmla="*/ 593226 w 737797"/>
                <a:gd name="connsiteY33" fmla="*/ 418166 h 442678"/>
                <a:gd name="connsiteX34" fmla="*/ 571444 w 737797"/>
                <a:gd name="connsiteY34" fmla="*/ 441354 h 442678"/>
                <a:gd name="connsiteX35" fmla="*/ 453396 w 737797"/>
                <a:gd name="connsiteY35" fmla="*/ 441354 h 442678"/>
                <a:gd name="connsiteX36" fmla="*/ 411939 w 737797"/>
                <a:gd name="connsiteY36" fmla="*/ 424490 h 442678"/>
                <a:gd name="connsiteX37" fmla="*/ 415452 w 737797"/>
                <a:gd name="connsiteY37" fmla="*/ 380925 h 442678"/>
                <a:gd name="connsiteX38" fmla="*/ 439343 w 737797"/>
                <a:gd name="connsiteY38" fmla="*/ 338765 h 442678"/>
                <a:gd name="connsiteX39" fmla="*/ 394372 w 737797"/>
                <a:gd name="connsiteY39" fmla="*/ 295902 h 442678"/>
                <a:gd name="connsiteX40" fmla="*/ 318485 w 737797"/>
                <a:gd name="connsiteY40" fmla="*/ 312766 h 442678"/>
                <a:gd name="connsiteX41" fmla="*/ 320593 w 737797"/>
                <a:gd name="connsiteY41" fmla="*/ 377412 h 442678"/>
                <a:gd name="connsiteX42" fmla="*/ 338862 w 737797"/>
                <a:gd name="connsiteY42" fmla="*/ 409032 h 442678"/>
                <a:gd name="connsiteX43" fmla="*/ 298107 w 737797"/>
                <a:gd name="connsiteY43" fmla="*/ 440651 h 442678"/>
                <a:gd name="connsiteX44" fmla="*/ 220814 w 737797"/>
                <a:gd name="connsiteY44" fmla="*/ 44275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37797" h="442678">
                  <a:moveTo>
                    <a:pt x="220814" y="442759"/>
                  </a:moveTo>
                  <a:cubicBezTo>
                    <a:pt x="201140" y="440651"/>
                    <a:pt x="167412" y="454002"/>
                    <a:pt x="153359" y="437841"/>
                  </a:cubicBezTo>
                  <a:cubicBezTo>
                    <a:pt x="140711" y="423787"/>
                    <a:pt x="149845" y="390762"/>
                    <a:pt x="149143" y="366169"/>
                  </a:cubicBezTo>
                  <a:cubicBezTo>
                    <a:pt x="149143" y="345089"/>
                    <a:pt x="148440" y="324009"/>
                    <a:pt x="149143" y="302929"/>
                  </a:cubicBezTo>
                  <a:cubicBezTo>
                    <a:pt x="149845" y="286065"/>
                    <a:pt x="141413" y="274120"/>
                    <a:pt x="127360" y="267796"/>
                  </a:cubicBezTo>
                  <a:cubicBezTo>
                    <a:pt x="112604" y="260769"/>
                    <a:pt x="109794" y="276931"/>
                    <a:pt x="103470" y="283957"/>
                  </a:cubicBezTo>
                  <a:cubicBezTo>
                    <a:pt x="79579" y="309253"/>
                    <a:pt x="59905" y="309956"/>
                    <a:pt x="31095" y="290984"/>
                  </a:cubicBezTo>
                  <a:cubicBezTo>
                    <a:pt x="-10362" y="263580"/>
                    <a:pt x="-9659" y="181368"/>
                    <a:pt x="28987" y="153965"/>
                  </a:cubicBezTo>
                  <a:cubicBezTo>
                    <a:pt x="58499" y="133587"/>
                    <a:pt x="78174" y="133587"/>
                    <a:pt x="102767" y="160288"/>
                  </a:cubicBezTo>
                  <a:cubicBezTo>
                    <a:pt x="109091" y="167315"/>
                    <a:pt x="112604" y="183476"/>
                    <a:pt x="127360" y="175747"/>
                  </a:cubicBezTo>
                  <a:cubicBezTo>
                    <a:pt x="140008" y="169423"/>
                    <a:pt x="148440" y="158883"/>
                    <a:pt x="148440" y="142722"/>
                  </a:cubicBezTo>
                  <a:cubicBezTo>
                    <a:pt x="148440" y="103373"/>
                    <a:pt x="149845" y="64023"/>
                    <a:pt x="147738" y="24674"/>
                  </a:cubicBezTo>
                  <a:cubicBezTo>
                    <a:pt x="146332" y="2892"/>
                    <a:pt x="154061" y="-621"/>
                    <a:pt x="173736" y="81"/>
                  </a:cubicBezTo>
                  <a:cubicBezTo>
                    <a:pt x="211680" y="1486"/>
                    <a:pt x="250326" y="783"/>
                    <a:pt x="288973" y="81"/>
                  </a:cubicBezTo>
                  <a:cubicBezTo>
                    <a:pt x="303729" y="81"/>
                    <a:pt x="315674" y="3594"/>
                    <a:pt x="325511" y="14134"/>
                  </a:cubicBezTo>
                  <a:cubicBezTo>
                    <a:pt x="343781" y="33106"/>
                    <a:pt x="343781" y="42943"/>
                    <a:pt x="323404" y="60510"/>
                  </a:cubicBezTo>
                  <a:cubicBezTo>
                    <a:pt x="310756" y="71050"/>
                    <a:pt x="295999" y="80887"/>
                    <a:pt x="300918" y="100562"/>
                  </a:cubicBezTo>
                  <a:cubicBezTo>
                    <a:pt x="306539" y="122345"/>
                    <a:pt x="320593" y="137803"/>
                    <a:pt x="342376" y="144127"/>
                  </a:cubicBezTo>
                  <a:cubicBezTo>
                    <a:pt x="373292" y="152559"/>
                    <a:pt x="402102" y="151154"/>
                    <a:pt x="425290" y="125155"/>
                  </a:cubicBezTo>
                  <a:cubicBezTo>
                    <a:pt x="446370" y="101967"/>
                    <a:pt x="444964" y="85103"/>
                    <a:pt x="421074" y="64726"/>
                  </a:cubicBezTo>
                  <a:cubicBezTo>
                    <a:pt x="411237" y="56294"/>
                    <a:pt x="395075" y="49970"/>
                    <a:pt x="401399" y="33106"/>
                  </a:cubicBezTo>
                  <a:cubicBezTo>
                    <a:pt x="408426" y="14837"/>
                    <a:pt x="421074" y="783"/>
                    <a:pt x="441451" y="783"/>
                  </a:cubicBezTo>
                  <a:cubicBezTo>
                    <a:pt x="487124" y="81"/>
                    <a:pt x="532797" y="783"/>
                    <a:pt x="578470" y="81"/>
                  </a:cubicBezTo>
                  <a:cubicBezTo>
                    <a:pt x="592524" y="81"/>
                    <a:pt x="591821" y="8513"/>
                    <a:pt x="591821" y="17648"/>
                  </a:cubicBezTo>
                  <a:cubicBezTo>
                    <a:pt x="591821" y="56997"/>
                    <a:pt x="591821" y="96346"/>
                    <a:pt x="591821" y="135695"/>
                  </a:cubicBezTo>
                  <a:cubicBezTo>
                    <a:pt x="591821" y="147640"/>
                    <a:pt x="592524" y="158883"/>
                    <a:pt x="602361" y="168018"/>
                  </a:cubicBezTo>
                  <a:cubicBezTo>
                    <a:pt x="612901" y="177855"/>
                    <a:pt x="621333" y="180666"/>
                    <a:pt x="631170" y="166612"/>
                  </a:cubicBezTo>
                  <a:cubicBezTo>
                    <a:pt x="643818" y="149046"/>
                    <a:pt x="659277" y="132182"/>
                    <a:pt x="683168" y="139208"/>
                  </a:cubicBezTo>
                  <a:cubicBezTo>
                    <a:pt x="710571" y="146938"/>
                    <a:pt x="731651" y="165207"/>
                    <a:pt x="737975" y="194719"/>
                  </a:cubicBezTo>
                  <a:cubicBezTo>
                    <a:pt x="745002" y="229149"/>
                    <a:pt x="742191" y="261472"/>
                    <a:pt x="711977" y="286768"/>
                  </a:cubicBezTo>
                  <a:cubicBezTo>
                    <a:pt x="683168" y="309956"/>
                    <a:pt x="660682" y="308551"/>
                    <a:pt x="636089" y="281849"/>
                  </a:cubicBezTo>
                  <a:cubicBezTo>
                    <a:pt x="629765" y="275525"/>
                    <a:pt x="626954" y="260769"/>
                    <a:pt x="614306" y="266391"/>
                  </a:cubicBezTo>
                  <a:cubicBezTo>
                    <a:pt x="601658" y="272012"/>
                    <a:pt x="592524" y="282552"/>
                    <a:pt x="592524" y="298011"/>
                  </a:cubicBezTo>
                  <a:cubicBezTo>
                    <a:pt x="592524" y="338062"/>
                    <a:pt x="591821" y="378114"/>
                    <a:pt x="593226" y="418166"/>
                  </a:cubicBezTo>
                  <a:cubicBezTo>
                    <a:pt x="593929" y="435030"/>
                    <a:pt x="590416" y="442057"/>
                    <a:pt x="571444" y="441354"/>
                  </a:cubicBezTo>
                  <a:cubicBezTo>
                    <a:pt x="532095" y="439948"/>
                    <a:pt x="492745" y="440651"/>
                    <a:pt x="453396" y="441354"/>
                  </a:cubicBezTo>
                  <a:cubicBezTo>
                    <a:pt x="436532" y="441354"/>
                    <a:pt x="423182" y="437138"/>
                    <a:pt x="411939" y="424490"/>
                  </a:cubicBezTo>
                  <a:cubicBezTo>
                    <a:pt x="397886" y="408329"/>
                    <a:pt x="396480" y="394275"/>
                    <a:pt x="415452" y="380925"/>
                  </a:cubicBezTo>
                  <a:cubicBezTo>
                    <a:pt x="429506" y="371087"/>
                    <a:pt x="445667" y="359142"/>
                    <a:pt x="439343" y="338765"/>
                  </a:cubicBezTo>
                  <a:cubicBezTo>
                    <a:pt x="432316" y="316982"/>
                    <a:pt x="417560" y="301524"/>
                    <a:pt x="394372" y="295902"/>
                  </a:cubicBezTo>
                  <a:cubicBezTo>
                    <a:pt x="366266" y="289579"/>
                    <a:pt x="340267" y="290984"/>
                    <a:pt x="318485" y="312766"/>
                  </a:cubicBezTo>
                  <a:cubicBezTo>
                    <a:pt x="294594" y="336657"/>
                    <a:pt x="295999" y="354224"/>
                    <a:pt x="320593" y="377412"/>
                  </a:cubicBezTo>
                  <a:cubicBezTo>
                    <a:pt x="329727" y="385844"/>
                    <a:pt x="347294" y="390060"/>
                    <a:pt x="338862" y="409032"/>
                  </a:cubicBezTo>
                  <a:cubicBezTo>
                    <a:pt x="330430" y="426598"/>
                    <a:pt x="319187" y="439948"/>
                    <a:pt x="298107" y="440651"/>
                  </a:cubicBezTo>
                  <a:cubicBezTo>
                    <a:pt x="274217" y="443462"/>
                    <a:pt x="250326" y="442759"/>
                    <a:pt x="220814" y="44275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47F96B6F-BF1E-4EA4-8EF8-4B125D923801}"/>
                </a:ext>
              </a:extLst>
            </p:cNvPr>
            <p:cNvSpPr/>
            <p:nvPr/>
          </p:nvSpPr>
          <p:spPr>
            <a:xfrm>
              <a:off x="5352125" y="5817009"/>
              <a:ext cx="769640" cy="1026186"/>
            </a:xfrm>
            <a:custGeom>
              <a:avLst/>
              <a:gdLst>
                <a:gd name="connsiteX0" fmla="*/ 222808 w 442678"/>
                <a:gd name="connsiteY0" fmla="*/ 592910 h 590237"/>
                <a:gd name="connsiteX1" fmla="*/ 22549 w 442678"/>
                <a:gd name="connsiteY1" fmla="*/ 593613 h 590237"/>
                <a:gd name="connsiteX2" fmla="*/ 64 w 442678"/>
                <a:gd name="connsiteY2" fmla="*/ 570425 h 590237"/>
                <a:gd name="connsiteX3" fmla="*/ 64 w 442678"/>
                <a:gd name="connsiteY3" fmla="*/ 457998 h 590237"/>
                <a:gd name="connsiteX4" fmla="*/ 15523 w 442678"/>
                <a:gd name="connsiteY4" fmla="*/ 415839 h 590237"/>
                <a:gd name="connsiteX5" fmla="*/ 62601 w 442678"/>
                <a:gd name="connsiteY5" fmla="*/ 417947 h 590237"/>
                <a:gd name="connsiteX6" fmla="*/ 104761 w 442678"/>
                <a:gd name="connsiteY6" fmla="*/ 440432 h 590237"/>
                <a:gd name="connsiteX7" fmla="*/ 147624 w 442678"/>
                <a:gd name="connsiteY7" fmla="*/ 391245 h 590237"/>
                <a:gd name="connsiteX8" fmla="*/ 127246 w 442678"/>
                <a:gd name="connsiteY8" fmla="*/ 316061 h 590237"/>
                <a:gd name="connsiteX9" fmla="*/ 66817 w 442678"/>
                <a:gd name="connsiteY9" fmla="*/ 319574 h 590237"/>
                <a:gd name="connsiteX10" fmla="*/ 35900 w 442678"/>
                <a:gd name="connsiteY10" fmla="*/ 339249 h 590237"/>
                <a:gd name="connsiteX11" fmla="*/ 1469 w 442678"/>
                <a:gd name="connsiteY11" fmla="*/ 297791 h 590237"/>
                <a:gd name="connsiteX12" fmla="*/ 767 w 442678"/>
                <a:gd name="connsiteY12" fmla="*/ 163583 h 590237"/>
                <a:gd name="connsiteX13" fmla="*/ 19036 w 442678"/>
                <a:gd name="connsiteY13" fmla="*/ 150934 h 590237"/>
                <a:gd name="connsiteX14" fmla="*/ 137084 w 442678"/>
                <a:gd name="connsiteY14" fmla="*/ 150934 h 590237"/>
                <a:gd name="connsiteX15" fmla="*/ 165190 w 442678"/>
                <a:gd name="connsiteY15" fmla="*/ 143205 h 590237"/>
                <a:gd name="connsiteX16" fmla="*/ 166595 w 442678"/>
                <a:gd name="connsiteY16" fmla="*/ 107369 h 590237"/>
                <a:gd name="connsiteX17" fmla="*/ 163785 w 442678"/>
                <a:gd name="connsiteY17" fmla="*/ 22347 h 590237"/>
                <a:gd name="connsiteX18" fmla="*/ 290967 w 442678"/>
                <a:gd name="connsiteY18" fmla="*/ 30779 h 590237"/>
                <a:gd name="connsiteX19" fmla="*/ 286048 w 442678"/>
                <a:gd name="connsiteY19" fmla="*/ 104559 h 590237"/>
                <a:gd name="connsiteX20" fmla="*/ 270590 w 442678"/>
                <a:gd name="connsiteY20" fmla="*/ 129152 h 590237"/>
                <a:gd name="connsiteX21" fmla="*/ 303615 w 442678"/>
                <a:gd name="connsiteY21" fmla="*/ 150232 h 590237"/>
                <a:gd name="connsiteX22" fmla="*/ 421662 w 442678"/>
                <a:gd name="connsiteY22" fmla="*/ 149529 h 590237"/>
                <a:gd name="connsiteX23" fmla="*/ 446256 w 442678"/>
                <a:gd name="connsiteY23" fmla="*/ 175528 h 590237"/>
                <a:gd name="connsiteX24" fmla="*/ 446256 w 442678"/>
                <a:gd name="connsiteY24" fmla="*/ 287954 h 590237"/>
                <a:gd name="connsiteX25" fmla="*/ 428689 w 442678"/>
                <a:gd name="connsiteY25" fmla="*/ 329411 h 590237"/>
                <a:gd name="connsiteX26" fmla="*/ 385827 w 442678"/>
                <a:gd name="connsiteY26" fmla="*/ 327303 h 590237"/>
                <a:gd name="connsiteX27" fmla="*/ 342261 w 442678"/>
                <a:gd name="connsiteY27" fmla="*/ 303412 h 590237"/>
                <a:gd name="connsiteX28" fmla="*/ 298696 w 442678"/>
                <a:gd name="connsiteY28" fmla="*/ 357518 h 590237"/>
                <a:gd name="connsiteX29" fmla="*/ 318371 w 442678"/>
                <a:gd name="connsiteY29" fmla="*/ 425676 h 590237"/>
                <a:gd name="connsiteX30" fmla="*/ 380908 w 442678"/>
                <a:gd name="connsiteY30" fmla="*/ 422865 h 590237"/>
                <a:gd name="connsiteX31" fmla="*/ 415338 w 442678"/>
                <a:gd name="connsiteY31" fmla="*/ 404596 h 590237"/>
                <a:gd name="connsiteX32" fmla="*/ 446256 w 442678"/>
                <a:gd name="connsiteY32" fmla="*/ 446054 h 590237"/>
                <a:gd name="connsiteX33" fmla="*/ 446958 w 442678"/>
                <a:gd name="connsiteY33" fmla="*/ 577451 h 590237"/>
                <a:gd name="connsiteX34" fmla="*/ 425878 w 442678"/>
                <a:gd name="connsiteY34" fmla="*/ 592910 h 590237"/>
                <a:gd name="connsiteX35" fmla="*/ 222808 w 442678"/>
                <a:gd name="connsiteY35" fmla="*/ 59291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222808" y="592910"/>
                  </a:moveTo>
                  <a:cubicBezTo>
                    <a:pt x="156055" y="592910"/>
                    <a:pt x="89302" y="592208"/>
                    <a:pt x="22549" y="593613"/>
                  </a:cubicBezTo>
                  <a:cubicBezTo>
                    <a:pt x="4280" y="593613"/>
                    <a:pt x="-639" y="588694"/>
                    <a:pt x="64" y="570425"/>
                  </a:cubicBezTo>
                  <a:cubicBezTo>
                    <a:pt x="1469" y="533184"/>
                    <a:pt x="767" y="495240"/>
                    <a:pt x="64" y="457998"/>
                  </a:cubicBezTo>
                  <a:cubicBezTo>
                    <a:pt x="64" y="441837"/>
                    <a:pt x="3577" y="427784"/>
                    <a:pt x="15523" y="415839"/>
                  </a:cubicBezTo>
                  <a:cubicBezTo>
                    <a:pt x="33792" y="397570"/>
                    <a:pt x="45035" y="397570"/>
                    <a:pt x="62601" y="417947"/>
                  </a:cubicBezTo>
                  <a:cubicBezTo>
                    <a:pt x="73844" y="431297"/>
                    <a:pt x="85086" y="448161"/>
                    <a:pt x="104761" y="440432"/>
                  </a:cubicBezTo>
                  <a:cubicBezTo>
                    <a:pt x="126544" y="432000"/>
                    <a:pt x="144813" y="417244"/>
                    <a:pt x="147624" y="391245"/>
                  </a:cubicBezTo>
                  <a:cubicBezTo>
                    <a:pt x="150434" y="363842"/>
                    <a:pt x="152542" y="336438"/>
                    <a:pt x="127246" y="316061"/>
                  </a:cubicBezTo>
                  <a:cubicBezTo>
                    <a:pt x="102653" y="295683"/>
                    <a:pt x="87897" y="296386"/>
                    <a:pt x="66817" y="319574"/>
                  </a:cubicBezTo>
                  <a:cubicBezTo>
                    <a:pt x="58385" y="328709"/>
                    <a:pt x="54169" y="345572"/>
                    <a:pt x="35900" y="339249"/>
                  </a:cubicBezTo>
                  <a:cubicBezTo>
                    <a:pt x="15523" y="332222"/>
                    <a:pt x="2172" y="318169"/>
                    <a:pt x="1469" y="297791"/>
                  </a:cubicBezTo>
                  <a:cubicBezTo>
                    <a:pt x="-639" y="252821"/>
                    <a:pt x="1469" y="208553"/>
                    <a:pt x="767" y="163583"/>
                  </a:cubicBezTo>
                  <a:cubicBezTo>
                    <a:pt x="767" y="148827"/>
                    <a:pt x="9901" y="150934"/>
                    <a:pt x="19036" y="150934"/>
                  </a:cubicBezTo>
                  <a:cubicBezTo>
                    <a:pt x="58385" y="150934"/>
                    <a:pt x="97734" y="150934"/>
                    <a:pt x="137084" y="150934"/>
                  </a:cubicBezTo>
                  <a:cubicBezTo>
                    <a:pt x="147624" y="150934"/>
                    <a:pt x="157461" y="150232"/>
                    <a:pt x="165190" y="143205"/>
                  </a:cubicBezTo>
                  <a:cubicBezTo>
                    <a:pt x="178541" y="131963"/>
                    <a:pt x="185567" y="122828"/>
                    <a:pt x="166595" y="107369"/>
                  </a:cubicBezTo>
                  <a:cubicBezTo>
                    <a:pt x="132165" y="80668"/>
                    <a:pt x="132165" y="53264"/>
                    <a:pt x="163785" y="22347"/>
                  </a:cubicBezTo>
                  <a:cubicBezTo>
                    <a:pt x="197513" y="-10678"/>
                    <a:pt x="260752" y="-6462"/>
                    <a:pt x="290967" y="30779"/>
                  </a:cubicBezTo>
                  <a:cubicBezTo>
                    <a:pt x="314155" y="58885"/>
                    <a:pt x="312047" y="79263"/>
                    <a:pt x="286048" y="104559"/>
                  </a:cubicBezTo>
                  <a:cubicBezTo>
                    <a:pt x="279022" y="111585"/>
                    <a:pt x="263563" y="115099"/>
                    <a:pt x="270590" y="129152"/>
                  </a:cubicBezTo>
                  <a:cubicBezTo>
                    <a:pt x="276914" y="141800"/>
                    <a:pt x="288156" y="150232"/>
                    <a:pt x="303615" y="150232"/>
                  </a:cubicBezTo>
                  <a:cubicBezTo>
                    <a:pt x="342964" y="150232"/>
                    <a:pt x="382313" y="151637"/>
                    <a:pt x="421662" y="149529"/>
                  </a:cubicBezTo>
                  <a:cubicBezTo>
                    <a:pt x="443445" y="148124"/>
                    <a:pt x="446958" y="155853"/>
                    <a:pt x="446256" y="175528"/>
                  </a:cubicBezTo>
                  <a:cubicBezTo>
                    <a:pt x="444850" y="212769"/>
                    <a:pt x="445553" y="250713"/>
                    <a:pt x="446256" y="287954"/>
                  </a:cubicBezTo>
                  <a:cubicBezTo>
                    <a:pt x="446256" y="304818"/>
                    <a:pt x="441337" y="318169"/>
                    <a:pt x="428689" y="329411"/>
                  </a:cubicBezTo>
                  <a:cubicBezTo>
                    <a:pt x="413933" y="342059"/>
                    <a:pt x="399880" y="346275"/>
                    <a:pt x="385827" y="327303"/>
                  </a:cubicBezTo>
                  <a:cubicBezTo>
                    <a:pt x="375287" y="313250"/>
                    <a:pt x="364044" y="295683"/>
                    <a:pt x="342261" y="303412"/>
                  </a:cubicBezTo>
                  <a:cubicBezTo>
                    <a:pt x="316965" y="312547"/>
                    <a:pt x="300804" y="330114"/>
                    <a:pt x="298696" y="357518"/>
                  </a:cubicBezTo>
                  <a:cubicBezTo>
                    <a:pt x="296588" y="382814"/>
                    <a:pt x="297994" y="406704"/>
                    <a:pt x="318371" y="425676"/>
                  </a:cubicBezTo>
                  <a:cubicBezTo>
                    <a:pt x="342964" y="448161"/>
                    <a:pt x="358423" y="447459"/>
                    <a:pt x="380908" y="422865"/>
                  </a:cubicBezTo>
                  <a:cubicBezTo>
                    <a:pt x="390043" y="412325"/>
                    <a:pt x="397069" y="395462"/>
                    <a:pt x="415338" y="404596"/>
                  </a:cubicBezTo>
                  <a:cubicBezTo>
                    <a:pt x="432202" y="413028"/>
                    <a:pt x="445553" y="425676"/>
                    <a:pt x="446256" y="446054"/>
                  </a:cubicBezTo>
                  <a:cubicBezTo>
                    <a:pt x="446958" y="489618"/>
                    <a:pt x="445553" y="533887"/>
                    <a:pt x="446958" y="577451"/>
                  </a:cubicBezTo>
                  <a:cubicBezTo>
                    <a:pt x="447661" y="595721"/>
                    <a:pt x="436418" y="592910"/>
                    <a:pt x="425878" y="592910"/>
                  </a:cubicBezTo>
                  <a:cubicBezTo>
                    <a:pt x="355612" y="592910"/>
                    <a:pt x="288859" y="592910"/>
                    <a:pt x="222808" y="59291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AF2E1594-7663-4310-B033-24FE80B9E309}"/>
                </a:ext>
              </a:extLst>
            </p:cNvPr>
            <p:cNvSpPr/>
            <p:nvPr/>
          </p:nvSpPr>
          <p:spPr>
            <a:xfrm>
              <a:off x="6101050" y="-14380"/>
              <a:ext cx="1026185" cy="769640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AE0E2DDB-C3EC-424A-AE94-966B75292CB8}"/>
                </a:ext>
              </a:extLst>
            </p:cNvPr>
            <p:cNvSpPr/>
            <p:nvPr/>
          </p:nvSpPr>
          <p:spPr>
            <a:xfrm>
              <a:off x="5861352" y="6085772"/>
              <a:ext cx="1026185" cy="757423"/>
            </a:xfrm>
            <a:custGeom>
              <a:avLst/>
              <a:gdLst>
                <a:gd name="connsiteX0" fmla="*/ 368817 w 590237"/>
                <a:gd name="connsiteY0" fmla="*/ 441448 h 435651"/>
                <a:gd name="connsiteX1" fmla="*/ 166450 w 590237"/>
                <a:gd name="connsiteY1" fmla="*/ 441448 h 435651"/>
                <a:gd name="connsiteX2" fmla="*/ 148180 w 590237"/>
                <a:gd name="connsiteY2" fmla="*/ 423882 h 435651"/>
                <a:gd name="connsiteX3" fmla="*/ 148883 w 590237"/>
                <a:gd name="connsiteY3" fmla="*/ 308645 h 435651"/>
                <a:gd name="connsiteX4" fmla="*/ 140451 w 590237"/>
                <a:gd name="connsiteY4" fmla="*/ 277728 h 435651"/>
                <a:gd name="connsiteX5" fmla="*/ 106723 w 590237"/>
                <a:gd name="connsiteY5" fmla="*/ 276322 h 435651"/>
                <a:gd name="connsiteX6" fmla="*/ 16782 w 590237"/>
                <a:gd name="connsiteY6" fmla="*/ 274917 h 435651"/>
                <a:gd name="connsiteX7" fmla="*/ 26619 w 590237"/>
                <a:gd name="connsiteY7" fmla="*/ 155465 h 435651"/>
                <a:gd name="connsiteX8" fmla="*/ 102507 w 590237"/>
                <a:gd name="connsiteY8" fmla="*/ 157572 h 435651"/>
                <a:gd name="connsiteX9" fmla="*/ 126398 w 590237"/>
                <a:gd name="connsiteY9" fmla="*/ 175139 h 435651"/>
                <a:gd name="connsiteX10" fmla="*/ 148883 w 590237"/>
                <a:gd name="connsiteY10" fmla="*/ 137898 h 435651"/>
                <a:gd name="connsiteX11" fmla="*/ 148180 w 590237"/>
                <a:gd name="connsiteY11" fmla="*/ 25472 h 435651"/>
                <a:gd name="connsiteX12" fmla="*/ 172773 w 590237"/>
                <a:gd name="connsiteY12" fmla="*/ 176 h 435651"/>
                <a:gd name="connsiteX13" fmla="*/ 290821 w 590237"/>
                <a:gd name="connsiteY13" fmla="*/ 176 h 435651"/>
                <a:gd name="connsiteX14" fmla="*/ 332278 w 590237"/>
                <a:gd name="connsiteY14" fmla="*/ 22661 h 435651"/>
                <a:gd name="connsiteX15" fmla="*/ 328062 w 590237"/>
                <a:gd name="connsiteY15" fmla="*/ 57794 h 435651"/>
                <a:gd name="connsiteX16" fmla="*/ 303469 w 590237"/>
                <a:gd name="connsiteY16" fmla="*/ 111196 h 435651"/>
                <a:gd name="connsiteX17" fmla="*/ 381465 w 590237"/>
                <a:gd name="connsiteY17" fmla="*/ 148438 h 435651"/>
                <a:gd name="connsiteX18" fmla="*/ 439083 w 590237"/>
                <a:gd name="connsiteY18" fmla="*/ 100656 h 435651"/>
                <a:gd name="connsiteX19" fmla="*/ 418706 w 590237"/>
                <a:gd name="connsiteY19" fmla="*/ 64118 h 435651"/>
                <a:gd name="connsiteX20" fmla="*/ 401842 w 590237"/>
                <a:gd name="connsiteY20" fmla="*/ 31093 h 435651"/>
                <a:gd name="connsiteX21" fmla="*/ 437678 w 590237"/>
                <a:gd name="connsiteY21" fmla="*/ 878 h 435651"/>
                <a:gd name="connsiteX22" fmla="*/ 580319 w 590237"/>
                <a:gd name="connsiteY22" fmla="*/ 176 h 435651"/>
                <a:gd name="connsiteX23" fmla="*/ 590859 w 590237"/>
                <a:gd name="connsiteY23" fmla="*/ 14229 h 435651"/>
                <a:gd name="connsiteX24" fmla="*/ 590859 w 590237"/>
                <a:gd name="connsiteY24" fmla="*/ 142816 h 435651"/>
                <a:gd name="connsiteX25" fmla="*/ 569779 w 590237"/>
                <a:gd name="connsiteY25" fmla="*/ 182166 h 435651"/>
                <a:gd name="connsiteX26" fmla="*/ 532537 w 590237"/>
                <a:gd name="connsiteY26" fmla="*/ 178652 h 435651"/>
                <a:gd name="connsiteX27" fmla="*/ 486864 w 590237"/>
                <a:gd name="connsiteY27" fmla="*/ 152654 h 435651"/>
                <a:gd name="connsiteX28" fmla="*/ 442596 w 590237"/>
                <a:gd name="connsiteY28" fmla="*/ 209569 h 435651"/>
                <a:gd name="connsiteX29" fmla="*/ 462271 w 590237"/>
                <a:gd name="connsiteY29" fmla="*/ 274917 h 435651"/>
                <a:gd name="connsiteX30" fmla="*/ 526213 w 590237"/>
                <a:gd name="connsiteY30" fmla="*/ 270701 h 435651"/>
                <a:gd name="connsiteX31" fmla="*/ 556428 w 590237"/>
                <a:gd name="connsiteY31" fmla="*/ 253135 h 435651"/>
                <a:gd name="connsiteX32" fmla="*/ 588048 w 590237"/>
                <a:gd name="connsiteY32" fmla="*/ 287565 h 435651"/>
                <a:gd name="connsiteX33" fmla="*/ 590156 w 590237"/>
                <a:gd name="connsiteY33" fmla="*/ 432314 h 435651"/>
                <a:gd name="connsiteX34" fmla="*/ 569076 w 590237"/>
                <a:gd name="connsiteY34" fmla="*/ 441448 h 435651"/>
                <a:gd name="connsiteX35" fmla="*/ 368817 w 590237"/>
                <a:gd name="connsiteY35" fmla="*/ 441448 h 43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90237" h="435651">
                  <a:moveTo>
                    <a:pt x="368817" y="441448"/>
                  </a:moveTo>
                  <a:cubicBezTo>
                    <a:pt x="301361" y="441448"/>
                    <a:pt x="233905" y="440746"/>
                    <a:pt x="166450" y="441448"/>
                  </a:cubicBezTo>
                  <a:cubicBezTo>
                    <a:pt x="152396" y="441448"/>
                    <a:pt x="147478" y="438638"/>
                    <a:pt x="148180" y="423882"/>
                  </a:cubicBezTo>
                  <a:cubicBezTo>
                    <a:pt x="149586" y="385235"/>
                    <a:pt x="148180" y="347292"/>
                    <a:pt x="148883" y="308645"/>
                  </a:cubicBezTo>
                  <a:cubicBezTo>
                    <a:pt x="148883" y="297402"/>
                    <a:pt x="148180" y="286862"/>
                    <a:pt x="140451" y="277728"/>
                  </a:cubicBezTo>
                  <a:cubicBezTo>
                    <a:pt x="129208" y="264377"/>
                    <a:pt x="120776" y="258756"/>
                    <a:pt x="106723" y="276322"/>
                  </a:cubicBezTo>
                  <a:cubicBezTo>
                    <a:pt x="77211" y="312159"/>
                    <a:pt x="46294" y="310753"/>
                    <a:pt x="16782" y="274917"/>
                  </a:cubicBezTo>
                  <a:cubicBezTo>
                    <a:pt x="-9216" y="243298"/>
                    <a:pt x="-4298" y="182868"/>
                    <a:pt x="26619" y="155465"/>
                  </a:cubicBezTo>
                  <a:cubicBezTo>
                    <a:pt x="54726" y="130871"/>
                    <a:pt x="77914" y="131574"/>
                    <a:pt x="102507" y="157572"/>
                  </a:cubicBezTo>
                  <a:cubicBezTo>
                    <a:pt x="109534" y="164599"/>
                    <a:pt x="112344" y="180760"/>
                    <a:pt x="126398" y="175139"/>
                  </a:cubicBezTo>
                  <a:cubicBezTo>
                    <a:pt x="141154" y="168815"/>
                    <a:pt x="148883" y="155465"/>
                    <a:pt x="148883" y="137898"/>
                  </a:cubicBezTo>
                  <a:cubicBezTo>
                    <a:pt x="148883" y="100656"/>
                    <a:pt x="150288" y="62713"/>
                    <a:pt x="148180" y="25472"/>
                  </a:cubicBezTo>
                  <a:cubicBezTo>
                    <a:pt x="147478" y="5797"/>
                    <a:pt x="151694" y="-1230"/>
                    <a:pt x="172773" y="176"/>
                  </a:cubicBezTo>
                  <a:cubicBezTo>
                    <a:pt x="212123" y="2283"/>
                    <a:pt x="251472" y="1581"/>
                    <a:pt x="290821" y="176"/>
                  </a:cubicBezTo>
                  <a:cubicBezTo>
                    <a:pt x="309793" y="-527"/>
                    <a:pt x="321738" y="8608"/>
                    <a:pt x="332278" y="22661"/>
                  </a:cubicBezTo>
                  <a:cubicBezTo>
                    <a:pt x="341413" y="35309"/>
                    <a:pt x="342116" y="46552"/>
                    <a:pt x="328062" y="57794"/>
                  </a:cubicBezTo>
                  <a:cubicBezTo>
                    <a:pt x="311901" y="71145"/>
                    <a:pt x="289416" y="83090"/>
                    <a:pt x="303469" y="111196"/>
                  </a:cubicBezTo>
                  <a:cubicBezTo>
                    <a:pt x="317522" y="139303"/>
                    <a:pt x="346332" y="152654"/>
                    <a:pt x="381465" y="148438"/>
                  </a:cubicBezTo>
                  <a:cubicBezTo>
                    <a:pt x="408166" y="144925"/>
                    <a:pt x="435570" y="123142"/>
                    <a:pt x="439083" y="100656"/>
                  </a:cubicBezTo>
                  <a:cubicBezTo>
                    <a:pt x="441894" y="83793"/>
                    <a:pt x="429949" y="73955"/>
                    <a:pt x="418706" y="64118"/>
                  </a:cubicBezTo>
                  <a:cubicBezTo>
                    <a:pt x="408869" y="55686"/>
                    <a:pt x="394113" y="48660"/>
                    <a:pt x="401842" y="31093"/>
                  </a:cubicBezTo>
                  <a:cubicBezTo>
                    <a:pt x="408869" y="15634"/>
                    <a:pt x="419409" y="1581"/>
                    <a:pt x="437678" y="878"/>
                  </a:cubicBezTo>
                  <a:cubicBezTo>
                    <a:pt x="485459" y="-527"/>
                    <a:pt x="532537" y="176"/>
                    <a:pt x="580319" y="176"/>
                  </a:cubicBezTo>
                  <a:cubicBezTo>
                    <a:pt x="591561" y="176"/>
                    <a:pt x="590859" y="6500"/>
                    <a:pt x="590859" y="14229"/>
                  </a:cubicBezTo>
                  <a:cubicBezTo>
                    <a:pt x="590859" y="57092"/>
                    <a:pt x="590859" y="99954"/>
                    <a:pt x="590859" y="142816"/>
                  </a:cubicBezTo>
                  <a:cubicBezTo>
                    <a:pt x="590859" y="159680"/>
                    <a:pt x="582427" y="172328"/>
                    <a:pt x="569779" y="182166"/>
                  </a:cubicBezTo>
                  <a:cubicBezTo>
                    <a:pt x="556428" y="192706"/>
                    <a:pt x="544483" y="193408"/>
                    <a:pt x="532537" y="178652"/>
                  </a:cubicBezTo>
                  <a:cubicBezTo>
                    <a:pt x="521295" y="163896"/>
                    <a:pt x="510052" y="144222"/>
                    <a:pt x="486864" y="152654"/>
                  </a:cubicBezTo>
                  <a:cubicBezTo>
                    <a:pt x="460866" y="161788"/>
                    <a:pt x="444704" y="180760"/>
                    <a:pt x="442596" y="209569"/>
                  </a:cubicBezTo>
                  <a:cubicBezTo>
                    <a:pt x="441191" y="234163"/>
                    <a:pt x="442596" y="256648"/>
                    <a:pt x="462271" y="274917"/>
                  </a:cubicBezTo>
                  <a:cubicBezTo>
                    <a:pt x="488270" y="298105"/>
                    <a:pt x="503026" y="297402"/>
                    <a:pt x="526213" y="270701"/>
                  </a:cubicBezTo>
                  <a:cubicBezTo>
                    <a:pt x="533943" y="261567"/>
                    <a:pt x="539564" y="247513"/>
                    <a:pt x="556428" y="253135"/>
                  </a:cubicBezTo>
                  <a:cubicBezTo>
                    <a:pt x="572589" y="258756"/>
                    <a:pt x="587345" y="269999"/>
                    <a:pt x="588048" y="287565"/>
                  </a:cubicBezTo>
                  <a:cubicBezTo>
                    <a:pt x="590156" y="336049"/>
                    <a:pt x="590156" y="384533"/>
                    <a:pt x="590156" y="432314"/>
                  </a:cubicBezTo>
                  <a:cubicBezTo>
                    <a:pt x="590156" y="447773"/>
                    <a:pt x="576805" y="440746"/>
                    <a:pt x="569076" y="441448"/>
                  </a:cubicBezTo>
                  <a:cubicBezTo>
                    <a:pt x="502323" y="441448"/>
                    <a:pt x="435570" y="441448"/>
                    <a:pt x="368817" y="44144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B53A9946-80BC-42D3-A2AA-AE5F1FDBFB02}"/>
                </a:ext>
              </a:extLst>
            </p:cNvPr>
            <p:cNvSpPr/>
            <p:nvPr/>
          </p:nvSpPr>
          <p:spPr>
            <a:xfrm>
              <a:off x="4562422" y="743022"/>
              <a:ext cx="769640" cy="1026186"/>
            </a:xfrm>
            <a:custGeom>
              <a:avLst/>
              <a:gdLst>
                <a:gd name="connsiteX0" fmla="*/ 1580 w 442678"/>
                <a:gd name="connsiteY0" fmla="*/ 362575 h 590237"/>
                <a:gd name="connsiteX1" fmla="*/ 1580 w 442678"/>
                <a:gd name="connsiteY1" fmla="*/ 299335 h 590237"/>
                <a:gd name="connsiteX2" fmla="*/ 27579 w 442678"/>
                <a:gd name="connsiteY2" fmla="*/ 257175 h 590237"/>
                <a:gd name="connsiteX3" fmla="*/ 56388 w 442678"/>
                <a:gd name="connsiteY3" fmla="*/ 259986 h 590237"/>
                <a:gd name="connsiteX4" fmla="*/ 130871 w 442678"/>
                <a:gd name="connsiteY4" fmla="*/ 274039 h 590237"/>
                <a:gd name="connsiteX5" fmla="*/ 132979 w 442678"/>
                <a:gd name="connsiteY5" fmla="*/ 171450 h 590237"/>
                <a:gd name="connsiteX6" fmla="*/ 64820 w 442678"/>
                <a:gd name="connsiteY6" fmla="*/ 172855 h 590237"/>
                <a:gd name="connsiteX7" fmla="*/ 34606 w 442678"/>
                <a:gd name="connsiteY7" fmla="*/ 189719 h 590237"/>
                <a:gd name="connsiteX8" fmla="*/ 2986 w 442678"/>
                <a:gd name="connsiteY8" fmla="*/ 152478 h 590237"/>
                <a:gd name="connsiteX9" fmla="*/ 2283 w 442678"/>
                <a:gd name="connsiteY9" fmla="*/ 12648 h 590237"/>
                <a:gd name="connsiteX10" fmla="*/ 17742 w 442678"/>
                <a:gd name="connsiteY10" fmla="*/ 0 h 590237"/>
                <a:gd name="connsiteX11" fmla="*/ 146329 w 442678"/>
                <a:gd name="connsiteY11" fmla="*/ 0 h 590237"/>
                <a:gd name="connsiteX12" fmla="*/ 184976 w 442678"/>
                <a:gd name="connsiteY12" fmla="*/ 22485 h 590237"/>
                <a:gd name="connsiteX13" fmla="*/ 180760 w 442678"/>
                <a:gd name="connsiteY13" fmla="*/ 59726 h 590237"/>
                <a:gd name="connsiteX14" fmla="*/ 155464 w 442678"/>
                <a:gd name="connsiteY14" fmla="*/ 105400 h 590237"/>
                <a:gd name="connsiteX15" fmla="*/ 212380 w 442678"/>
                <a:gd name="connsiteY15" fmla="*/ 148262 h 590237"/>
                <a:gd name="connsiteX16" fmla="*/ 281241 w 442678"/>
                <a:gd name="connsiteY16" fmla="*/ 123669 h 590237"/>
                <a:gd name="connsiteX17" fmla="*/ 276322 w 442678"/>
                <a:gd name="connsiteY17" fmla="*/ 67456 h 590237"/>
                <a:gd name="connsiteX18" fmla="*/ 256648 w 442678"/>
                <a:gd name="connsiteY18" fmla="*/ 30917 h 590237"/>
                <a:gd name="connsiteX19" fmla="*/ 300915 w 442678"/>
                <a:gd name="connsiteY19" fmla="*/ 0 h 590237"/>
                <a:gd name="connsiteX20" fmla="*/ 429503 w 442678"/>
                <a:gd name="connsiteY20" fmla="*/ 0 h 590237"/>
                <a:gd name="connsiteX21" fmla="*/ 445664 w 442678"/>
                <a:gd name="connsiteY21" fmla="*/ 15459 h 590237"/>
                <a:gd name="connsiteX22" fmla="*/ 444961 w 442678"/>
                <a:gd name="connsiteY22" fmla="*/ 144046 h 590237"/>
                <a:gd name="connsiteX23" fmla="*/ 425287 w 442678"/>
                <a:gd name="connsiteY23" fmla="*/ 181990 h 590237"/>
                <a:gd name="connsiteX24" fmla="*/ 383830 w 442678"/>
                <a:gd name="connsiteY24" fmla="*/ 177774 h 590237"/>
                <a:gd name="connsiteX25" fmla="*/ 339562 w 442678"/>
                <a:gd name="connsiteY25" fmla="*/ 153884 h 590237"/>
                <a:gd name="connsiteX26" fmla="*/ 296699 w 442678"/>
                <a:gd name="connsiteY26" fmla="*/ 205881 h 590237"/>
                <a:gd name="connsiteX27" fmla="*/ 319887 w 442678"/>
                <a:gd name="connsiteY27" fmla="*/ 279660 h 590237"/>
                <a:gd name="connsiteX28" fmla="*/ 376100 w 442678"/>
                <a:gd name="connsiteY28" fmla="*/ 276147 h 590237"/>
                <a:gd name="connsiteX29" fmla="*/ 409126 w 442678"/>
                <a:gd name="connsiteY29" fmla="*/ 254364 h 590237"/>
                <a:gd name="connsiteX30" fmla="*/ 443556 w 442678"/>
                <a:gd name="connsiteY30" fmla="*/ 298632 h 590237"/>
                <a:gd name="connsiteX31" fmla="*/ 444259 w 442678"/>
                <a:gd name="connsiteY31" fmla="*/ 430030 h 590237"/>
                <a:gd name="connsiteX32" fmla="*/ 425989 w 442678"/>
                <a:gd name="connsiteY32" fmla="*/ 442678 h 590237"/>
                <a:gd name="connsiteX33" fmla="*/ 307942 w 442678"/>
                <a:gd name="connsiteY33" fmla="*/ 442678 h 590237"/>
                <a:gd name="connsiteX34" fmla="*/ 279835 w 442678"/>
                <a:gd name="connsiteY34" fmla="*/ 450408 h 590237"/>
                <a:gd name="connsiteX35" fmla="*/ 278430 w 442678"/>
                <a:gd name="connsiteY35" fmla="*/ 486244 h 590237"/>
                <a:gd name="connsiteX36" fmla="*/ 281241 w 442678"/>
                <a:gd name="connsiteY36" fmla="*/ 571266 h 590237"/>
                <a:gd name="connsiteX37" fmla="*/ 150545 w 442678"/>
                <a:gd name="connsiteY37" fmla="*/ 558618 h 590237"/>
                <a:gd name="connsiteX38" fmla="*/ 157572 w 442678"/>
                <a:gd name="connsiteY38" fmla="*/ 491162 h 590237"/>
                <a:gd name="connsiteX39" fmla="*/ 175139 w 442678"/>
                <a:gd name="connsiteY39" fmla="*/ 464461 h 590237"/>
                <a:gd name="connsiteX40" fmla="*/ 137195 w 442678"/>
                <a:gd name="connsiteY40" fmla="*/ 443381 h 590237"/>
                <a:gd name="connsiteX41" fmla="*/ 21958 w 442678"/>
                <a:gd name="connsiteY41" fmla="*/ 444084 h 590237"/>
                <a:gd name="connsiteX42" fmla="*/ 175 w 442678"/>
                <a:gd name="connsiteY42" fmla="*/ 423706 h 590237"/>
                <a:gd name="connsiteX43" fmla="*/ 1580 w 442678"/>
                <a:gd name="connsiteY43" fmla="*/ 36257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2678" h="590237">
                  <a:moveTo>
                    <a:pt x="1580" y="362575"/>
                  </a:moveTo>
                  <a:cubicBezTo>
                    <a:pt x="1580" y="341495"/>
                    <a:pt x="2283" y="320415"/>
                    <a:pt x="1580" y="299335"/>
                  </a:cubicBezTo>
                  <a:cubicBezTo>
                    <a:pt x="878" y="279660"/>
                    <a:pt x="12823" y="267012"/>
                    <a:pt x="27579" y="257175"/>
                  </a:cubicBezTo>
                  <a:cubicBezTo>
                    <a:pt x="37416" y="250851"/>
                    <a:pt x="46551" y="250851"/>
                    <a:pt x="56388" y="259986"/>
                  </a:cubicBezTo>
                  <a:cubicBezTo>
                    <a:pt x="94332" y="297227"/>
                    <a:pt x="105575" y="298632"/>
                    <a:pt x="130871" y="274039"/>
                  </a:cubicBezTo>
                  <a:cubicBezTo>
                    <a:pt x="156869" y="248041"/>
                    <a:pt x="157572" y="198854"/>
                    <a:pt x="132979" y="171450"/>
                  </a:cubicBezTo>
                  <a:cubicBezTo>
                    <a:pt x="108385" y="144749"/>
                    <a:pt x="88711" y="144749"/>
                    <a:pt x="64820" y="172855"/>
                  </a:cubicBezTo>
                  <a:cubicBezTo>
                    <a:pt x="57091" y="181990"/>
                    <a:pt x="50767" y="196043"/>
                    <a:pt x="34606" y="189719"/>
                  </a:cubicBezTo>
                  <a:cubicBezTo>
                    <a:pt x="17742" y="183395"/>
                    <a:pt x="3689" y="170747"/>
                    <a:pt x="2986" y="152478"/>
                  </a:cubicBezTo>
                  <a:cubicBezTo>
                    <a:pt x="1580" y="106102"/>
                    <a:pt x="2283" y="59726"/>
                    <a:pt x="2283" y="12648"/>
                  </a:cubicBezTo>
                  <a:cubicBezTo>
                    <a:pt x="2283" y="703"/>
                    <a:pt x="8607" y="0"/>
                    <a:pt x="17742" y="0"/>
                  </a:cubicBezTo>
                  <a:cubicBezTo>
                    <a:pt x="60604" y="0"/>
                    <a:pt x="103467" y="0"/>
                    <a:pt x="146329" y="0"/>
                  </a:cubicBezTo>
                  <a:cubicBezTo>
                    <a:pt x="163193" y="0"/>
                    <a:pt x="175139" y="9135"/>
                    <a:pt x="184976" y="22485"/>
                  </a:cubicBezTo>
                  <a:cubicBezTo>
                    <a:pt x="195516" y="36539"/>
                    <a:pt x="195516" y="47781"/>
                    <a:pt x="180760" y="59726"/>
                  </a:cubicBezTo>
                  <a:cubicBezTo>
                    <a:pt x="166004" y="70969"/>
                    <a:pt x="147032" y="82212"/>
                    <a:pt x="155464" y="105400"/>
                  </a:cubicBezTo>
                  <a:cubicBezTo>
                    <a:pt x="165301" y="131398"/>
                    <a:pt x="183570" y="146857"/>
                    <a:pt x="212380" y="148262"/>
                  </a:cubicBezTo>
                  <a:cubicBezTo>
                    <a:pt x="239081" y="149668"/>
                    <a:pt x="262972" y="146857"/>
                    <a:pt x="281241" y="123669"/>
                  </a:cubicBezTo>
                  <a:cubicBezTo>
                    <a:pt x="298807" y="100481"/>
                    <a:pt x="298105" y="87131"/>
                    <a:pt x="276322" y="67456"/>
                  </a:cubicBezTo>
                  <a:cubicBezTo>
                    <a:pt x="265079" y="57619"/>
                    <a:pt x="246810" y="50592"/>
                    <a:pt x="256648" y="30917"/>
                  </a:cubicBezTo>
                  <a:cubicBezTo>
                    <a:pt x="265079" y="12648"/>
                    <a:pt x="279835" y="0"/>
                    <a:pt x="300915" y="0"/>
                  </a:cubicBezTo>
                  <a:cubicBezTo>
                    <a:pt x="343778" y="0"/>
                    <a:pt x="386640" y="0"/>
                    <a:pt x="429503" y="0"/>
                  </a:cubicBezTo>
                  <a:cubicBezTo>
                    <a:pt x="441448" y="0"/>
                    <a:pt x="445664" y="2811"/>
                    <a:pt x="445664" y="15459"/>
                  </a:cubicBezTo>
                  <a:cubicBezTo>
                    <a:pt x="444961" y="58321"/>
                    <a:pt x="445664" y="101184"/>
                    <a:pt x="444961" y="144046"/>
                  </a:cubicBezTo>
                  <a:cubicBezTo>
                    <a:pt x="444961" y="159505"/>
                    <a:pt x="437232" y="171450"/>
                    <a:pt x="425287" y="181990"/>
                  </a:cubicBezTo>
                  <a:cubicBezTo>
                    <a:pt x="409828" y="194638"/>
                    <a:pt x="397180" y="196043"/>
                    <a:pt x="383830" y="177774"/>
                  </a:cubicBezTo>
                  <a:cubicBezTo>
                    <a:pt x="373290" y="163018"/>
                    <a:pt x="361345" y="145452"/>
                    <a:pt x="339562" y="153884"/>
                  </a:cubicBezTo>
                  <a:cubicBezTo>
                    <a:pt x="316374" y="162315"/>
                    <a:pt x="299510" y="178477"/>
                    <a:pt x="296699" y="205881"/>
                  </a:cubicBezTo>
                  <a:cubicBezTo>
                    <a:pt x="293186" y="233987"/>
                    <a:pt x="295294" y="260688"/>
                    <a:pt x="319887" y="279660"/>
                  </a:cubicBezTo>
                  <a:cubicBezTo>
                    <a:pt x="343075" y="297930"/>
                    <a:pt x="355723" y="296524"/>
                    <a:pt x="376100" y="276147"/>
                  </a:cubicBezTo>
                  <a:cubicBezTo>
                    <a:pt x="385235" y="267012"/>
                    <a:pt x="390154" y="248041"/>
                    <a:pt x="409126" y="254364"/>
                  </a:cubicBezTo>
                  <a:cubicBezTo>
                    <a:pt x="429503" y="261391"/>
                    <a:pt x="442854" y="276850"/>
                    <a:pt x="443556" y="298632"/>
                  </a:cubicBezTo>
                  <a:cubicBezTo>
                    <a:pt x="444961" y="342197"/>
                    <a:pt x="443556" y="386465"/>
                    <a:pt x="444259" y="430030"/>
                  </a:cubicBezTo>
                  <a:cubicBezTo>
                    <a:pt x="444259" y="444786"/>
                    <a:pt x="435124" y="442678"/>
                    <a:pt x="425989" y="442678"/>
                  </a:cubicBezTo>
                  <a:cubicBezTo>
                    <a:pt x="386640" y="442678"/>
                    <a:pt x="347291" y="442678"/>
                    <a:pt x="307942" y="442678"/>
                  </a:cubicBezTo>
                  <a:cubicBezTo>
                    <a:pt x="297402" y="442678"/>
                    <a:pt x="288268" y="443381"/>
                    <a:pt x="279835" y="450408"/>
                  </a:cubicBezTo>
                  <a:cubicBezTo>
                    <a:pt x="265782" y="461650"/>
                    <a:pt x="259458" y="470785"/>
                    <a:pt x="278430" y="486244"/>
                  </a:cubicBezTo>
                  <a:cubicBezTo>
                    <a:pt x="312158" y="512945"/>
                    <a:pt x="312158" y="541051"/>
                    <a:pt x="281241" y="571266"/>
                  </a:cubicBezTo>
                  <a:cubicBezTo>
                    <a:pt x="245405" y="606399"/>
                    <a:pt x="180057" y="600075"/>
                    <a:pt x="150545" y="558618"/>
                  </a:cubicBezTo>
                  <a:cubicBezTo>
                    <a:pt x="132276" y="532619"/>
                    <a:pt x="134384" y="513647"/>
                    <a:pt x="157572" y="491162"/>
                  </a:cubicBezTo>
                  <a:cubicBezTo>
                    <a:pt x="165301" y="483433"/>
                    <a:pt x="182868" y="479920"/>
                    <a:pt x="175139" y="464461"/>
                  </a:cubicBezTo>
                  <a:cubicBezTo>
                    <a:pt x="168112" y="449705"/>
                    <a:pt x="154761" y="442678"/>
                    <a:pt x="137195" y="443381"/>
                  </a:cubicBezTo>
                  <a:cubicBezTo>
                    <a:pt x="98548" y="444084"/>
                    <a:pt x="60604" y="442678"/>
                    <a:pt x="21958" y="444084"/>
                  </a:cubicBezTo>
                  <a:cubicBezTo>
                    <a:pt x="5797" y="444786"/>
                    <a:pt x="-1230" y="441976"/>
                    <a:pt x="175" y="423706"/>
                  </a:cubicBezTo>
                  <a:cubicBezTo>
                    <a:pt x="2986" y="402627"/>
                    <a:pt x="1580" y="382249"/>
                    <a:pt x="1580" y="36257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5385A566-71DD-4F84-A04D-B993546209C5}"/>
                </a:ext>
              </a:extLst>
            </p:cNvPr>
            <p:cNvSpPr/>
            <p:nvPr/>
          </p:nvSpPr>
          <p:spPr>
            <a:xfrm>
              <a:off x="6098046" y="482287"/>
              <a:ext cx="769640" cy="1026186"/>
            </a:xfrm>
            <a:custGeom>
              <a:avLst/>
              <a:gdLst>
                <a:gd name="connsiteX0" fmla="*/ 363277 w 442678"/>
                <a:gd name="connsiteY0" fmla="*/ 590663 h 590237"/>
                <a:gd name="connsiteX1" fmla="*/ 300037 w 442678"/>
                <a:gd name="connsiteY1" fmla="*/ 590663 h 590237"/>
                <a:gd name="connsiteX2" fmla="*/ 262094 w 442678"/>
                <a:gd name="connsiteY2" fmla="*/ 572393 h 590237"/>
                <a:gd name="connsiteX3" fmla="*/ 266310 w 442678"/>
                <a:gd name="connsiteY3" fmla="*/ 530937 h 590237"/>
                <a:gd name="connsiteX4" fmla="*/ 290200 w 442678"/>
                <a:gd name="connsiteY4" fmla="*/ 486669 h 590237"/>
                <a:gd name="connsiteX5" fmla="*/ 241014 w 442678"/>
                <a:gd name="connsiteY5" fmla="*/ 444509 h 590237"/>
                <a:gd name="connsiteX6" fmla="*/ 167937 w 442678"/>
                <a:gd name="connsiteY6" fmla="*/ 464183 h 590237"/>
                <a:gd name="connsiteX7" fmla="*/ 170747 w 442678"/>
                <a:gd name="connsiteY7" fmla="*/ 526720 h 590237"/>
                <a:gd name="connsiteX8" fmla="*/ 189719 w 442678"/>
                <a:gd name="connsiteY8" fmla="*/ 558340 h 590237"/>
                <a:gd name="connsiteX9" fmla="*/ 146857 w 442678"/>
                <a:gd name="connsiteY9" fmla="*/ 591365 h 590237"/>
                <a:gd name="connsiteX10" fmla="*/ 15458 w 442678"/>
                <a:gd name="connsiteY10" fmla="*/ 592068 h 590237"/>
                <a:gd name="connsiteX11" fmla="*/ 702 w 442678"/>
                <a:gd name="connsiteY11" fmla="*/ 576610 h 590237"/>
                <a:gd name="connsiteX12" fmla="*/ 702 w 442678"/>
                <a:gd name="connsiteY12" fmla="*/ 448022 h 590237"/>
                <a:gd name="connsiteX13" fmla="*/ 26701 w 442678"/>
                <a:gd name="connsiteY13" fmla="*/ 405862 h 590237"/>
                <a:gd name="connsiteX14" fmla="*/ 55510 w 442678"/>
                <a:gd name="connsiteY14" fmla="*/ 410078 h 590237"/>
                <a:gd name="connsiteX15" fmla="*/ 127885 w 442678"/>
                <a:gd name="connsiteY15" fmla="*/ 424834 h 590237"/>
                <a:gd name="connsiteX16" fmla="*/ 132803 w 442678"/>
                <a:gd name="connsiteY16" fmla="*/ 322948 h 590237"/>
                <a:gd name="connsiteX17" fmla="*/ 63240 w 442678"/>
                <a:gd name="connsiteY17" fmla="*/ 322245 h 590237"/>
                <a:gd name="connsiteX18" fmla="*/ 33025 w 442678"/>
                <a:gd name="connsiteY18" fmla="*/ 338406 h 590237"/>
                <a:gd name="connsiteX19" fmla="*/ 1405 w 442678"/>
                <a:gd name="connsiteY19" fmla="*/ 301165 h 590237"/>
                <a:gd name="connsiteX20" fmla="*/ 0 w 442678"/>
                <a:gd name="connsiteY20" fmla="*/ 161335 h 590237"/>
                <a:gd name="connsiteX21" fmla="*/ 16161 w 442678"/>
                <a:gd name="connsiteY21" fmla="*/ 150093 h 590237"/>
                <a:gd name="connsiteX22" fmla="*/ 131398 w 442678"/>
                <a:gd name="connsiteY22" fmla="*/ 150093 h 590237"/>
                <a:gd name="connsiteX23" fmla="*/ 158099 w 442678"/>
                <a:gd name="connsiteY23" fmla="*/ 145877 h 590237"/>
                <a:gd name="connsiteX24" fmla="*/ 163018 w 442678"/>
                <a:gd name="connsiteY24" fmla="*/ 107230 h 590237"/>
                <a:gd name="connsiteX25" fmla="*/ 160910 w 442678"/>
                <a:gd name="connsiteY25" fmla="*/ 22208 h 590237"/>
                <a:gd name="connsiteX26" fmla="*/ 289497 w 442678"/>
                <a:gd name="connsiteY26" fmla="*/ 32748 h 590237"/>
                <a:gd name="connsiteX27" fmla="*/ 283876 w 442678"/>
                <a:gd name="connsiteY27" fmla="*/ 103014 h 590237"/>
                <a:gd name="connsiteX28" fmla="*/ 267012 w 442678"/>
                <a:gd name="connsiteY28" fmla="*/ 129013 h 590237"/>
                <a:gd name="connsiteX29" fmla="*/ 304956 w 442678"/>
                <a:gd name="connsiteY29" fmla="*/ 150795 h 590237"/>
                <a:gd name="connsiteX30" fmla="*/ 420193 w 442678"/>
                <a:gd name="connsiteY30" fmla="*/ 150093 h 590237"/>
                <a:gd name="connsiteX31" fmla="*/ 443381 w 442678"/>
                <a:gd name="connsiteY31" fmla="*/ 172578 h 590237"/>
                <a:gd name="connsiteX32" fmla="*/ 442678 w 442678"/>
                <a:gd name="connsiteY32" fmla="*/ 285004 h 590237"/>
                <a:gd name="connsiteX33" fmla="*/ 427220 w 442678"/>
                <a:gd name="connsiteY33" fmla="*/ 327164 h 590237"/>
                <a:gd name="connsiteX34" fmla="*/ 380844 w 442678"/>
                <a:gd name="connsiteY34" fmla="*/ 325056 h 590237"/>
                <a:gd name="connsiteX35" fmla="*/ 338684 w 442678"/>
                <a:gd name="connsiteY35" fmla="*/ 302571 h 590237"/>
                <a:gd name="connsiteX36" fmla="*/ 295821 w 442678"/>
                <a:gd name="connsiteY36" fmla="*/ 351054 h 590237"/>
                <a:gd name="connsiteX37" fmla="*/ 320415 w 442678"/>
                <a:gd name="connsiteY37" fmla="*/ 429753 h 590237"/>
                <a:gd name="connsiteX38" fmla="*/ 374520 w 442678"/>
                <a:gd name="connsiteY38" fmla="*/ 424834 h 590237"/>
                <a:gd name="connsiteX39" fmla="*/ 410356 w 442678"/>
                <a:gd name="connsiteY39" fmla="*/ 403754 h 590237"/>
                <a:gd name="connsiteX40" fmla="*/ 442678 w 442678"/>
                <a:gd name="connsiteY40" fmla="*/ 450130 h 590237"/>
                <a:gd name="connsiteX41" fmla="*/ 443381 w 442678"/>
                <a:gd name="connsiteY41" fmla="*/ 575907 h 590237"/>
                <a:gd name="connsiteX42" fmla="*/ 427922 w 442678"/>
                <a:gd name="connsiteY42" fmla="*/ 591365 h 590237"/>
                <a:gd name="connsiteX43" fmla="*/ 363277 w 442678"/>
                <a:gd name="connsiteY43" fmla="*/ 590663 h 590237"/>
                <a:gd name="connsiteX44" fmla="*/ 363277 w 442678"/>
                <a:gd name="connsiteY44" fmla="*/ 59066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42678" h="590237">
                  <a:moveTo>
                    <a:pt x="363277" y="590663"/>
                  </a:moveTo>
                  <a:cubicBezTo>
                    <a:pt x="342197" y="590663"/>
                    <a:pt x="321117" y="590663"/>
                    <a:pt x="300037" y="590663"/>
                  </a:cubicBezTo>
                  <a:cubicBezTo>
                    <a:pt x="283876" y="590663"/>
                    <a:pt x="271931" y="583636"/>
                    <a:pt x="262094" y="572393"/>
                  </a:cubicBezTo>
                  <a:cubicBezTo>
                    <a:pt x="249446" y="556935"/>
                    <a:pt x="248743" y="543584"/>
                    <a:pt x="266310" y="530937"/>
                  </a:cubicBezTo>
                  <a:cubicBezTo>
                    <a:pt x="281066" y="520397"/>
                    <a:pt x="298632" y="508451"/>
                    <a:pt x="290200" y="486669"/>
                  </a:cubicBezTo>
                  <a:cubicBezTo>
                    <a:pt x="281768" y="464886"/>
                    <a:pt x="266310" y="448022"/>
                    <a:pt x="241014" y="444509"/>
                  </a:cubicBezTo>
                  <a:cubicBezTo>
                    <a:pt x="214313" y="440996"/>
                    <a:pt x="188314" y="440996"/>
                    <a:pt x="167937" y="464183"/>
                  </a:cubicBezTo>
                  <a:cubicBezTo>
                    <a:pt x="146154" y="488777"/>
                    <a:pt x="146857" y="504235"/>
                    <a:pt x="170747" y="526720"/>
                  </a:cubicBezTo>
                  <a:cubicBezTo>
                    <a:pt x="179882" y="535152"/>
                    <a:pt x="197448" y="540071"/>
                    <a:pt x="189719" y="558340"/>
                  </a:cubicBezTo>
                  <a:cubicBezTo>
                    <a:pt x="181990" y="577312"/>
                    <a:pt x="169342" y="591365"/>
                    <a:pt x="146857" y="591365"/>
                  </a:cubicBezTo>
                  <a:cubicBezTo>
                    <a:pt x="103291" y="592068"/>
                    <a:pt x="59024" y="591365"/>
                    <a:pt x="15458" y="592068"/>
                  </a:cubicBezTo>
                  <a:cubicBezTo>
                    <a:pt x="2811" y="592068"/>
                    <a:pt x="0" y="587852"/>
                    <a:pt x="702" y="576610"/>
                  </a:cubicBezTo>
                  <a:cubicBezTo>
                    <a:pt x="1405" y="533747"/>
                    <a:pt x="1405" y="490885"/>
                    <a:pt x="702" y="448022"/>
                  </a:cubicBezTo>
                  <a:cubicBezTo>
                    <a:pt x="702" y="428347"/>
                    <a:pt x="11945" y="415699"/>
                    <a:pt x="26701" y="405862"/>
                  </a:cubicBezTo>
                  <a:cubicBezTo>
                    <a:pt x="36538" y="399538"/>
                    <a:pt x="45673" y="400241"/>
                    <a:pt x="55510" y="410078"/>
                  </a:cubicBezTo>
                  <a:cubicBezTo>
                    <a:pt x="93454" y="448022"/>
                    <a:pt x="101886" y="449427"/>
                    <a:pt x="127885" y="424834"/>
                  </a:cubicBezTo>
                  <a:cubicBezTo>
                    <a:pt x="154586" y="399538"/>
                    <a:pt x="157397" y="350352"/>
                    <a:pt x="132803" y="322948"/>
                  </a:cubicBezTo>
                  <a:cubicBezTo>
                    <a:pt x="106805" y="293436"/>
                    <a:pt x="89238" y="293436"/>
                    <a:pt x="63240" y="322245"/>
                  </a:cubicBezTo>
                  <a:cubicBezTo>
                    <a:pt x="55510" y="330677"/>
                    <a:pt x="50592" y="345433"/>
                    <a:pt x="33025" y="338406"/>
                  </a:cubicBezTo>
                  <a:cubicBezTo>
                    <a:pt x="15458" y="331380"/>
                    <a:pt x="2108" y="320137"/>
                    <a:pt x="1405" y="301165"/>
                  </a:cubicBezTo>
                  <a:cubicBezTo>
                    <a:pt x="0" y="254790"/>
                    <a:pt x="702" y="208414"/>
                    <a:pt x="0" y="161335"/>
                  </a:cubicBezTo>
                  <a:cubicBezTo>
                    <a:pt x="0" y="147985"/>
                    <a:pt x="8432" y="150093"/>
                    <a:pt x="16161" y="150093"/>
                  </a:cubicBezTo>
                  <a:cubicBezTo>
                    <a:pt x="54808" y="150093"/>
                    <a:pt x="92752" y="150093"/>
                    <a:pt x="131398" y="150093"/>
                  </a:cubicBezTo>
                  <a:cubicBezTo>
                    <a:pt x="140533" y="150093"/>
                    <a:pt x="149667" y="150795"/>
                    <a:pt x="158099" y="145877"/>
                  </a:cubicBezTo>
                  <a:cubicBezTo>
                    <a:pt x="179179" y="133931"/>
                    <a:pt x="180585" y="122689"/>
                    <a:pt x="163018" y="107230"/>
                  </a:cubicBezTo>
                  <a:cubicBezTo>
                    <a:pt x="129993" y="77718"/>
                    <a:pt x="129290" y="52422"/>
                    <a:pt x="160910" y="22208"/>
                  </a:cubicBezTo>
                  <a:cubicBezTo>
                    <a:pt x="196043" y="-11520"/>
                    <a:pt x="260688" y="-5899"/>
                    <a:pt x="289497" y="32748"/>
                  </a:cubicBezTo>
                  <a:cubicBezTo>
                    <a:pt x="309172" y="58746"/>
                    <a:pt x="306361" y="80529"/>
                    <a:pt x="283876" y="103014"/>
                  </a:cubicBezTo>
                  <a:cubicBezTo>
                    <a:pt x="276850" y="110041"/>
                    <a:pt x="257878" y="112149"/>
                    <a:pt x="267012" y="129013"/>
                  </a:cubicBezTo>
                  <a:cubicBezTo>
                    <a:pt x="274741" y="143769"/>
                    <a:pt x="287390" y="150795"/>
                    <a:pt x="304956" y="150795"/>
                  </a:cubicBezTo>
                  <a:cubicBezTo>
                    <a:pt x="343603" y="150093"/>
                    <a:pt x="381546" y="151498"/>
                    <a:pt x="420193" y="150093"/>
                  </a:cubicBezTo>
                  <a:cubicBezTo>
                    <a:pt x="437760" y="149390"/>
                    <a:pt x="444083" y="153606"/>
                    <a:pt x="443381" y="172578"/>
                  </a:cubicBezTo>
                  <a:cubicBezTo>
                    <a:pt x="441976" y="209819"/>
                    <a:pt x="442678" y="247763"/>
                    <a:pt x="442678" y="285004"/>
                  </a:cubicBezTo>
                  <a:cubicBezTo>
                    <a:pt x="442678" y="301165"/>
                    <a:pt x="439165" y="315219"/>
                    <a:pt x="427220" y="327164"/>
                  </a:cubicBezTo>
                  <a:cubicBezTo>
                    <a:pt x="408950" y="345433"/>
                    <a:pt x="397708" y="344731"/>
                    <a:pt x="380844" y="325056"/>
                  </a:cubicBezTo>
                  <a:cubicBezTo>
                    <a:pt x="369601" y="312408"/>
                    <a:pt x="359061" y="294841"/>
                    <a:pt x="338684" y="302571"/>
                  </a:cubicBezTo>
                  <a:cubicBezTo>
                    <a:pt x="316199" y="311003"/>
                    <a:pt x="299335" y="325759"/>
                    <a:pt x="295821" y="351054"/>
                  </a:cubicBezTo>
                  <a:cubicBezTo>
                    <a:pt x="291606" y="381269"/>
                    <a:pt x="293011" y="409376"/>
                    <a:pt x="320415" y="429753"/>
                  </a:cubicBezTo>
                  <a:cubicBezTo>
                    <a:pt x="342900" y="446617"/>
                    <a:pt x="355548" y="445211"/>
                    <a:pt x="374520" y="424834"/>
                  </a:cubicBezTo>
                  <a:cubicBezTo>
                    <a:pt x="384357" y="414294"/>
                    <a:pt x="389978" y="394620"/>
                    <a:pt x="410356" y="403754"/>
                  </a:cubicBezTo>
                  <a:cubicBezTo>
                    <a:pt x="430030" y="412186"/>
                    <a:pt x="441976" y="428347"/>
                    <a:pt x="442678" y="450130"/>
                  </a:cubicBezTo>
                  <a:cubicBezTo>
                    <a:pt x="443381" y="492290"/>
                    <a:pt x="442678" y="534450"/>
                    <a:pt x="443381" y="575907"/>
                  </a:cubicBezTo>
                  <a:cubicBezTo>
                    <a:pt x="443381" y="587852"/>
                    <a:pt x="439867" y="592068"/>
                    <a:pt x="427922" y="591365"/>
                  </a:cubicBezTo>
                  <a:cubicBezTo>
                    <a:pt x="406842" y="589960"/>
                    <a:pt x="385060" y="590663"/>
                    <a:pt x="363277" y="590663"/>
                  </a:cubicBezTo>
                  <a:cubicBezTo>
                    <a:pt x="363277" y="590663"/>
                    <a:pt x="363277" y="590663"/>
                    <a:pt x="363277" y="59066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98B1E5AA-2C84-42E2-9F3E-D035659FBD58}"/>
                </a:ext>
              </a:extLst>
            </p:cNvPr>
            <p:cNvSpPr/>
            <p:nvPr/>
          </p:nvSpPr>
          <p:spPr>
            <a:xfrm>
              <a:off x="3795957" y="-14380"/>
              <a:ext cx="757423" cy="769640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3FB8EDA8-69D4-4789-96B3-BD93609395BA}"/>
                </a:ext>
              </a:extLst>
            </p:cNvPr>
            <p:cNvSpPr/>
            <p:nvPr/>
          </p:nvSpPr>
          <p:spPr>
            <a:xfrm>
              <a:off x="6098727" y="2277686"/>
              <a:ext cx="769640" cy="769640"/>
            </a:xfrm>
            <a:custGeom>
              <a:avLst/>
              <a:gdLst>
                <a:gd name="connsiteX0" fmla="*/ 441372 w 442678"/>
                <a:gd name="connsiteY0" fmla="*/ 81509 h 442678"/>
                <a:gd name="connsiteX1" fmla="*/ 441372 w 442678"/>
                <a:gd name="connsiteY1" fmla="*/ 144749 h 442678"/>
                <a:gd name="connsiteX2" fmla="*/ 422400 w 442678"/>
                <a:gd name="connsiteY2" fmla="*/ 181990 h 442678"/>
                <a:gd name="connsiteX3" fmla="*/ 380943 w 442678"/>
                <a:gd name="connsiteY3" fmla="*/ 179179 h 442678"/>
                <a:gd name="connsiteX4" fmla="*/ 334567 w 442678"/>
                <a:gd name="connsiteY4" fmla="*/ 155289 h 442678"/>
                <a:gd name="connsiteX5" fmla="*/ 293110 w 442678"/>
                <a:gd name="connsiteY5" fmla="*/ 211502 h 442678"/>
                <a:gd name="connsiteX6" fmla="*/ 315595 w 442678"/>
                <a:gd name="connsiteY6" fmla="*/ 278255 h 442678"/>
                <a:gd name="connsiteX7" fmla="*/ 376024 w 442678"/>
                <a:gd name="connsiteY7" fmla="*/ 274741 h 442678"/>
                <a:gd name="connsiteX8" fmla="*/ 409752 w 442678"/>
                <a:gd name="connsiteY8" fmla="*/ 255770 h 442678"/>
                <a:gd name="connsiteX9" fmla="*/ 441372 w 442678"/>
                <a:gd name="connsiteY9" fmla="*/ 299335 h 442678"/>
                <a:gd name="connsiteX10" fmla="*/ 442074 w 442678"/>
                <a:gd name="connsiteY10" fmla="*/ 427922 h 442678"/>
                <a:gd name="connsiteX11" fmla="*/ 424508 w 442678"/>
                <a:gd name="connsiteY11" fmla="*/ 444083 h 442678"/>
                <a:gd name="connsiteX12" fmla="*/ 298731 w 442678"/>
                <a:gd name="connsiteY12" fmla="*/ 444083 h 442678"/>
                <a:gd name="connsiteX13" fmla="*/ 261490 w 442678"/>
                <a:gd name="connsiteY13" fmla="*/ 425112 h 442678"/>
                <a:gd name="connsiteX14" fmla="*/ 265003 w 442678"/>
                <a:gd name="connsiteY14" fmla="*/ 384357 h 442678"/>
                <a:gd name="connsiteX15" fmla="*/ 288191 w 442678"/>
                <a:gd name="connsiteY15" fmla="*/ 337981 h 442678"/>
                <a:gd name="connsiteX16" fmla="*/ 235491 w 442678"/>
                <a:gd name="connsiteY16" fmla="*/ 296524 h 442678"/>
                <a:gd name="connsiteX17" fmla="*/ 165927 w 442678"/>
                <a:gd name="connsiteY17" fmla="*/ 318307 h 442678"/>
                <a:gd name="connsiteX18" fmla="*/ 170143 w 442678"/>
                <a:gd name="connsiteY18" fmla="*/ 378736 h 442678"/>
                <a:gd name="connsiteX19" fmla="*/ 189115 w 442678"/>
                <a:gd name="connsiteY19" fmla="*/ 413166 h 442678"/>
                <a:gd name="connsiteX20" fmla="*/ 144848 w 442678"/>
                <a:gd name="connsiteY20" fmla="*/ 444083 h 442678"/>
                <a:gd name="connsiteX21" fmla="*/ 16260 w 442678"/>
                <a:gd name="connsiteY21" fmla="*/ 444083 h 442678"/>
                <a:gd name="connsiteX22" fmla="*/ 99 w 442678"/>
                <a:gd name="connsiteY22" fmla="*/ 426517 h 442678"/>
                <a:gd name="connsiteX23" fmla="*/ 99 w 442678"/>
                <a:gd name="connsiteY23" fmla="*/ 303551 h 442678"/>
                <a:gd name="connsiteX24" fmla="*/ 19773 w 442678"/>
                <a:gd name="connsiteY24" fmla="*/ 263499 h 442678"/>
                <a:gd name="connsiteX25" fmla="*/ 61231 w 442678"/>
                <a:gd name="connsiteY25" fmla="*/ 267012 h 442678"/>
                <a:gd name="connsiteX26" fmla="*/ 107606 w 442678"/>
                <a:gd name="connsiteY26" fmla="*/ 290200 h 442678"/>
                <a:gd name="connsiteX27" fmla="*/ 148361 w 442678"/>
                <a:gd name="connsiteY27" fmla="*/ 234690 h 442678"/>
                <a:gd name="connsiteX28" fmla="*/ 127281 w 442678"/>
                <a:gd name="connsiteY28" fmla="*/ 167234 h 442678"/>
                <a:gd name="connsiteX29" fmla="*/ 66852 w 442678"/>
                <a:gd name="connsiteY29" fmla="*/ 171450 h 442678"/>
                <a:gd name="connsiteX30" fmla="*/ 31719 w 442678"/>
                <a:gd name="connsiteY30" fmla="*/ 189719 h 442678"/>
                <a:gd name="connsiteX31" fmla="*/ 801 w 442678"/>
                <a:gd name="connsiteY31" fmla="*/ 148262 h 442678"/>
                <a:gd name="connsiteX32" fmla="*/ 99 w 442678"/>
                <a:gd name="connsiteY32" fmla="*/ 14053 h 442678"/>
                <a:gd name="connsiteX33" fmla="*/ 14855 w 442678"/>
                <a:gd name="connsiteY33" fmla="*/ 702 h 442678"/>
                <a:gd name="connsiteX34" fmla="*/ 143442 w 442678"/>
                <a:gd name="connsiteY34" fmla="*/ 702 h 442678"/>
                <a:gd name="connsiteX35" fmla="*/ 181386 w 442678"/>
                <a:gd name="connsiteY35" fmla="*/ 19675 h 442678"/>
                <a:gd name="connsiteX36" fmla="*/ 177873 w 442678"/>
                <a:gd name="connsiteY36" fmla="*/ 61132 h 442678"/>
                <a:gd name="connsiteX37" fmla="*/ 153982 w 442678"/>
                <a:gd name="connsiteY37" fmla="*/ 107508 h 442678"/>
                <a:gd name="connsiteX38" fmla="*/ 207385 w 442678"/>
                <a:gd name="connsiteY38" fmla="*/ 148262 h 442678"/>
                <a:gd name="connsiteX39" fmla="*/ 280462 w 442678"/>
                <a:gd name="connsiteY39" fmla="*/ 122966 h 442678"/>
                <a:gd name="connsiteX40" fmla="*/ 275543 w 442678"/>
                <a:gd name="connsiteY40" fmla="*/ 68158 h 442678"/>
                <a:gd name="connsiteX41" fmla="*/ 253760 w 442678"/>
                <a:gd name="connsiteY41" fmla="*/ 35133 h 442678"/>
                <a:gd name="connsiteX42" fmla="*/ 298028 w 442678"/>
                <a:gd name="connsiteY42" fmla="*/ 702 h 442678"/>
                <a:gd name="connsiteX43" fmla="*/ 429426 w 442678"/>
                <a:gd name="connsiteY43" fmla="*/ 0 h 442678"/>
                <a:gd name="connsiteX44" fmla="*/ 442777 w 442678"/>
                <a:gd name="connsiteY44" fmla="*/ 14756 h 442678"/>
                <a:gd name="connsiteX45" fmla="*/ 441372 w 442678"/>
                <a:gd name="connsiteY45" fmla="*/ 8150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2678" h="442678">
                  <a:moveTo>
                    <a:pt x="441372" y="81509"/>
                  </a:moveTo>
                  <a:cubicBezTo>
                    <a:pt x="441372" y="102589"/>
                    <a:pt x="440669" y="123669"/>
                    <a:pt x="441372" y="144749"/>
                  </a:cubicBezTo>
                  <a:cubicBezTo>
                    <a:pt x="442074" y="160910"/>
                    <a:pt x="434345" y="172153"/>
                    <a:pt x="422400" y="181990"/>
                  </a:cubicBezTo>
                  <a:cubicBezTo>
                    <a:pt x="407644" y="194638"/>
                    <a:pt x="394293" y="196746"/>
                    <a:pt x="380943" y="179179"/>
                  </a:cubicBezTo>
                  <a:cubicBezTo>
                    <a:pt x="369700" y="164423"/>
                    <a:pt x="357755" y="145451"/>
                    <a:pt x="334567" y="155289"/>
                  </a:cubicBezTo>
                  <a:cubicBezTo>
                    <a:pt x="310676" y="165829"/>
                    <a:pt x="294515" y="183395"/>
                    <a:pt x="293110" y="211502"/>
                  </a:cubicBezTo>
                  <a:cubicBezTo>
                    <a:pt x="291704" y="236798"/>
                    <a:pt x="293812" y="260688"/>
                    <a:pt x="315595" y="278255"/>
                  </a:cubicBezTo>
                  <a:cubicBezTo>
                    <a:pt x="339485" y="298632"/>
                    <a:pt x="354944" y="297227"/>
                    <a:pt x="376024" y="274741"/>
                  </a:cubicBezTo>
                  <a:cubicBezTo>
                    <a:pt x="385158" y="264904"/>
                    <a:pt x="390077" y="245932"/>
                    <a:pt x="409752" y="255770"/>
                  </a:cubicBezTo>
                  <a:cubicBezTo>
                    <a:pt x="428021" y="264904"/>
                    <a:pt x="441372" y="277552"/>
                    <a:pt x="441372" y="299335"/>
                  </a:cubicBezTo>
                  <a:cubicBezTo>
                    <a:pt x="441372" y="342197"/>
                    <a:pt x="440669" y="385060"/>
                    <a:pt x="442074" y="427922"/>
                  </a:cubicBezTo>
                  <a:cubicBezTo>
                    <a:pt x="442074" y="441976"/>
                    <a:pt x="436453" y="444083"/>
                    <a:pt x="424508" y="444083"/>
                  </a:cubicBezTo>
                  <a:cubicBezTo>
                    <a:pt x="382348" y="443381"/>
                    <a:pt x="340891" y="443381"/>
                    <a:pt x="298731" y="444083"/>
                  </a:cubicBezTo>
                  <a:cubicBezTo>
                    <a:pt x="282570" y="444083"/>
                    <a:pt x="270624" y="437057"/>
                    <a:pt x="261490" y="425112"/>
                  </a:cubicBezTo>
                  <a:cubicBezTo>
                    <a:pt x="249544" y="410356"/>
                    <a:pt x="246734" y="397005"/>
                    <a:pt x="265003" y="384357"/>
                  </a:cubicBezTo>
                  <a:cubicBezTo>
                    <a:pt x="280462" y="373114"/>
                    <a:pt x="298028" y="361169"/>
                    <a:pt x="288191" y="337981"/>
                  </a:cubicBezTo>
                  <a:cubicBezTo>
                    <a:pt x="279056" y="314793"/>
                    <a:pt x="261490" y="299335"/>
                    <a:pt x="235491" y="296524"/>
                  </a:cubicBezTo>
                  <a:cubicBezTo>
                    <a:pt x="209493" y="294416"/>
                    <a:pt x="184197" y="295821"/>
                    <a:pt x="165927" y="318307"/>
                  </a:cubicBezTo>
                  <a:cubicBezTo>
                    <a:pt x="145550" y="342197"/>
                    <a:pt x="146955" y="357656"/>
                    <a:pt x="170143" y="378736"/>
                  </a:cubicBezTo>
                  <a:cubicBezTo>
                    <a:pt x="180683" y="387870"/>
                    <a:pt x="197547" y="394897"/>
                    <a:pt x="189115" y="413166"/>
                  </a:cubicBezTo>
                  <a:cubicBezTo>
                    <a:pt x="180683" y="430733"/>
                    <a:pt x="166630" y="444083"/>
                    <a:pt x="144848" y="444083"/>
                  </a:cubicBezTo>
                  <a:cubicBezTo>
                    <a:pt x="101985" y="444083"/>
                    <a:pt x="59122" y="443381"/>
                    <a:pt x="16260" y="444083"/>
                  </a:cubicBezTo>
                  <a:cubicBezTo>
                    <a:pt x="2207" y="444083"/>
                    <a:pt x="-604" y="439165"/>
                    <a:pt x="99" y="426517"/>
                  </a:cubicBezTo>
                  <a:cubicBezTo>
                    <a:pt x="801" y="385762"/>
                    <a:pt x="801" y="344305"/>
                    <a:pt x="99" y="303551"/>
                  </a:cubicBezTo>
                  <a:cubicBezTo>
                    <a:pt x="99" y="286687"/>
                    <a:pt x="7125" y="274039"/>
                    <a:pt x="19773" y="263499"/>
                  </a:cubicBezTo>
                  <a:cubicBezTo>
                    <a:pt x="34529" y="251554"/>
                    <a:pt x="47880" y="248743"/>
                    <a:pt x="61231" y="267012"/>
                  </a:cubicBezTo>
                  <a:cubicBezTo>
                    <a:pt x="72473" y="282471"/>
                    <a:pt x="84418" y="300740"/>
                    <a:pt x="107606" y="290200"/>
                  </a:cubicBezTo>
                  <a:cubicBezTo>
                    <a:pt x="131497" y="279660"/>
                    <a:pt x="147658" y="262796"/>
                    <a:pt x="148361" y="234690"/>
                  </a:cubicBezTo>
                  <a:cubicBezTo>
                    <a:pt x="149064" y="209394"/>
                    <a:pt x="149064" y="185503"/>
                    <a:pt x="127281" y="167234"/>
                  </a:cubicBezTo>
                  <a:cubicBezTo>
                    <a:pt x="103390" y="147559"/>
                    <a:pt x="87932" y="147559"/>
                    <a:pt x="66852" y="171450"/>
                  </a:cubicBezTo>
                  <a:cubicBezTo>
                    <a:pt x="57717" y="181990"/>
                    <a:pt x="50691" y="198854"/>
                    <a:pt x="31719" y="189719"/>
                  </a:cubicBezTo>
                  <a:cubicBezTo>
                    <a:pt x="14855" y="181990"/>
                    <a:pt x="801" y="167937"/>
                    <a:pt x="801" y="148262"/>
                  </a:cubicBezTo>
                  <a:cubicBezTo>
                    <a:pt x="99" y="103291"/>
                    <a:pt x="801" y="59024"/>
                    <a:pt x="99" y="14053"/>
                  </a:cubicBezTo>
                  <a:cubicBezTo>
                    <a:pt x="99" y="2811"/>
                    <a:pt x="5017" y="702"/>
                    <a:pt x="14855" y="702"/>
                  </a:cubicBezTo>
                  <a:cubicBezTo>
                    <a:pt x="57717" y="1405"/>
                    <a:pt x="100580" y="702"/>
                    <a:pt x="143442" y="702"/>
                  </a:cubicBezTo>
                  <a:cubicBezTo>
                    <a:pt x="158901" y="702"/>
                    <a:pt x="170846" y="7729"/>
                    <a:pt x="181386" y="19675"/>
                  </a:cubicBezTo>
                  <a:cubicBezTo>
                    <a:pt x="194034" y="34430"/>
                    <a:pt x="196142" y="47781"/>
                    <a:pt x="177873" y="61132"/>
                  </a:cubicBezTo>
                  <a:cubicBezTo>
                    <a:pt x="162414" y="72374"/>
                    <a:pt x="144145" y="85022"/>
                    <a:pt x="153982" y="107508"/>
                  </a:cubicBezTo>
                  <a:cubicBezTo>
                    <a:pt x="163819" y="129993"/>
                    <a:pt x="179981" y="146154"/>
                    <a:pt x="207385" y="148262"/>
                  </a:cubicBezTo>
                  <a:cubicBezTo>
                    <a:pt x="236194" y="150370"/>
                    <a:pt x="262192" y="148262"/>
                    <a:pt x="280462" y="122966"/>
                  </a:cubicBezTo>
                  <a:cubicBezTo>
                    <a:pt x="295218" y="102589"/>
                    <a:pt x="295218" y="85725"/>
                    <a:pt x="275543" y="68158"/>
                  </a:cubicBezTo>
                  <a:cubicBezTo>
                    <a:pt x="265706" y="59726"/>
                    <a:pt x="246734" y="54808"/>
                    <a:pt x="253760" y="35133"/>
                  </a:cubicBezTo>
                  <a:cubicBezTo>
                    <a:pt x="260787" y="14053"/>
                    <a:pt x="276246" y="1405"/>
                    <a:pt x="298028" y="702"/>
                  </a:cubicBezTo>
                  <a:cubicBezTo>
                    <a:pt x="341593" y="-703"/>
                    <a:pt x="385861" y="702"/>
                    <a:pt x="429426" y="0"/>
                  </a:cubicBezTo>
                  <a:cubicBezTo>
                    <a:pt x="441372" y="0"/>
                    <a:pt x="442777" y="5621"/>
                    <a:pt x="442777" y="14756"/>
                  </a:cubicBezTo>
                  <a:cubicBezTo>
                    <a:pt x="441372" y="37241"/>
                    <a:pt x="441372" y="59024"/>
                    <a:pt x="441372" y="8150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AAE917EB-5679-468E-9A40-564F62A930A7}"/>
                </a:ext>
              </a:extLst>
            </p:cNvPr>
            <p:cNvSpPr/>
            <p:nvPr/>
          </p:nvSpPr>
          <p:spPr>
            <a:xfrm flipH="1">
              <a:off x="3555961" y="1239717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97AAE487-64F8-43CD-8ACC-72C7E6FB0F83}"/>
                </a:ext>
              </a:extLst>
            </p:cNvPr>
            <p:cNvSpPr/>
            <p:nvPr/>
          </p:nvSpPr>
          <p:spPr>
            <a:xfrm>
              <a:off x="5079155" y="5318875"/>
              <a:ext cx="1026185" cy="757423"/>
            </a:xfrm>
            <a:custGeom>
              <a:avLst/>
              <a:gdLst>
                <a:gd name="connsiteX0" fmla="*/ 593135 w 590237"/>
                <a:gd name="connsiteY0" fmla="*/ 360467 h 435651"/>
                <a:gd name="connsiteX1" fmla="*/ 593135 w 590237"/>
                <a:gd name="connsiteY1" fmla="*/ 426517 h 435651"/>
                <a:gd name="connsiteX2" fmla="*/ 577676 w 590237"/>
                <a:gd name="connsiteY2" fmla="*/ 441976 h 435651"/>
                <a:gd name="connsiteX3" fmla="*/ 446278 w 590237"/>
                <a:gd name="connsiteY3" fmla="*/ 441273 h 435651"/>
                <a:gd name="connsiteX4" fmla="*/ 403415 w 590237"/>
                <a:gd name="connsiteY4" fmla="*/ 408248 h 435651"/>
                <a:gd name="connsiteX5" fmla="*/ 422387 w 590237"/>
                <a:gd name="connsiteY5" fmla="*/ 376628 h 435651"/>
                <a:gd name="connsiteX6" fmla="*/ 425198 w 590237"/>
                <a:gd name="connsiteY6" fmla="*/ 314091 h 435651"/>
                <a:gd name="connsiteX7" fmla="*/ 316988 w 590237"/>
                <a:gd name="connsiteY7" fmla="*/ 314091 h 435651"/>
                <a:gd name="connsiteX8" fmla="*/ 320501 w 590237"/>
                <a:gd name="connsiteY8" fmla="*/ 376628 h 435651"/>
                <a:gd name="connsiteX9" fmla="*/ 339473 w 590237"/>
                <a:gd name="connsiteY9" fmla="*/ 408951 h 435651"/>
                <a:gd name="connsiteX10" fmla="*/ 301529 w 590237"/>
                <a:gd name="connsiteY10" fmla="*/ 440570 h 435651"/>
                <a:gd name="connsiteX11" fmla="*/ 161699 w 590237"/>
                <a:gd name="connsiteY11" fmla="*/ 441273 h 435651"/>
                <a:gd name="connsiteX12" fmla="*/ 149754 w 590237"/>
                <a:gd name="connsiteY12" fmla="*/ 423004 h 435651"/>
                <a:gd name="connsiteX13" fmla="*/ 149754 w 590237"/>
                <a:gd name="connsiteY13" fmla="*/ 304956 h 435651"/>
                <a:gd name="connsiteX14" fmla="*/ 140619 w 590237"/>
                <a:gd name="connsiteY14" fmla="*/ 274742 h 435651"/>
                <a:gd name="connsiteX15" fmla="*/ 109702 w 590237"/>
                <a:gd name="connsiteY15" fmla="*/ 274742 h 435651"/>
                <a:gd name="connsiteX16" fmla="*/ 5708 w 590237"/>
                <a:gd name="connsiteY16" fmla="*/ 252959 h 435651"/>
                <a:gd name="connsiteX17" fmla="*/ 32409 w 590237"/>
                <a:gd name="connsiteY17" fmla="*/ 151776 h 435651"/>
                <a:gd name="connsiteX18" fmla="*/ 104081 w 590237"/>
                <a:gd name="connsiteY18" fmla="*/ 158099 h 435651"/>
                <a:gd name="connsiteX19" fmla="*/ 127971 w 590237"/>
                <a:gd name="connsiteY19" fmla="*/ 174963 h 435651"/>
                <a:gd name="connsiteX20" fmla="*/ 149051 w 590237"/>
                <a:gd name="connsiteY20" fmla="*/ 139830 h 435651"/>
                <a:gd name="connsiteX21" fmla="*/ 148348 w 590237"/>
                <a:gd name="connsiteY21" fmla="*/ 19675 h 435651"/>
                <a:gd name="connsiteX22" fmla="*/ 168023 w 590237"/>
                <a:gd name="connsiteY22" fmla="*/ 0 h 435651"/>
                <a:gd name="connsiteX23" fmla="*/ 290989 w 590237"/>
                <a:gd name="connsiteY23" fmla="*/ 0 h 435651"/>
                <a:gd name="connsiteX24" fmla="*/ 328933 w 590237"/>
                <a:gd name="connsiteY24" fmla="*/ 17567 h 435651"/>
                <a:gd name="connsiteX25" fmla="*/ 326122 w 590237"/>
                <a:gd name="connsiteY25" fmla="*/ 59024 h 435651"/>
                <a:gd name="connsiteX26" fmla="*/ 301529 w 590237"/>
                <a:gd name="connsiteY26" fmla="*/ 103292 h 435651"/>
                <a:gd name="connsiteX27" fmla="*/ 352824 w 590237"/>
                <a:gd name="connsiteY27" fmla="*/ 146857 h 435651"/>
                <a:gd name="connsiteX28" fmla="*/ 421685 w 590237"/>
                <a:gd name="connsiteY28" fmla="*/ 129993 h 435651"/>
                <a:gd name="connsiteX29" fmla="*/ 419577 w 590237"/>
                <a:gd name="connsiteY29" fmla="*/ 63943 h 435651"/>
                <a:gd name="connsiteX30" fmla="*/ 402010 w 590237"/>
                <a:gd name="connsiteY30" fmla="*/ 34431 h 435651"/>
                <a:gd name="connsiteX31" fmla="*/ 436441 w 590237"/>
                <a:gd name="connsiteY31" fmla="*/ 2811 h 435651"/>
                <a:gd name="connsiteX32" fmla="*/ 581190 w 590237"/>
                <a:gd name="connsiteY32" fmla="*/ 703 h 435651"/>
                <a:gd name="connsiteX33" fmla="*/ 591027 w 590237"/>
                <a:gd name="connsiteY33" fmla="*/ 15459 h 435651"/>
                <a:gd name="connsiteX34" fmla="*/ 591027 w 590237"/>
                <a:gd name="connsiteY34" fmla="*/ 146857 h 435651"/>
                <a:gd name="connsiteX35" fmla="*/ 560110 w 590237"/>
                <a:gd name="connsiteY35" fmla="*/ 188314 h 435651"/>
                <a:gd name="connsiteX36" fmla="*/ 525679 w 590237"/>
                <a:gd name="connsiteY36" fmla="*/ 170045 h 435651"/>
                <a:gd name="connsiteX37" fmla="*/ 465953 w 590237"/>
                <a:gd name="connsiteY37" fmla="*/ 165126 h 435651"/>
                <a:gd name="connsiteX38" fmla="*/ 463845 w 590237"/>
                <a:gd name="connsiteY38" fmla="*/ 274742 h 435651"/>
                <a:gd name="connsiteX39" fmla="*/ 526382 w 590237"/>
                <a:gd name="connsiteY39" fmla="*/ 271931 h 435651"/>
                <a:gd name="connsiteX40" fmla="*/ 560812 w 590237"/>
                <a:gd name="connsiteY40" fmla="*/ 253662 h 435651"/>
                <a:gd name="connsiteX41" fmla="*/ 591729 w 590237"/>
                <a:gd name="connsiteY41" fmla="*/ 297930 h 435651"/>
                <a:gd name="connsiteX42" fmla="*/ 593135 w 590237"/>
                <a:gd name="connsiteY42" fmla="*/ 360467 h 43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90237" h="435651">
                  <a:moveTo>
                    <a:pt x="593135" y="360467"/>
                  </a:moveTo>
                  <a:cubicBezTo>
                    <a:pt x="593135" y="382249"/>
                    <a:pt x="592432" y="404032"/>
                    <a:pt x="593135" y="426517"/>
                  </a:cubicBezTo>
                  <a:cubicBezTo>
                    <a:pt x="593837" y="438462"/>
                    <a:pt x="589621" y="441976"/>
                    <a:pt x="577676" y="441976"/>
                  </a:cubicBezTo>
                  <a:cubicBezTo>
                    <a:pt x="534111" y="441273"/>
                    <a:pt x="489843" y="441976"/>
                    <a:pt x="446278" y="441273"/>
                  </a:cubicBezTo>
                  <a:cubicBezTo>
                    <a:pt x="424495" y="441273"/>
                    <a:pt x="411145" y="427220"/>
                    <a:pt x="403415" y="408248"/>
                  </a:cubicBezTo>
                  <a:cubicBezTo>
                    <a:pt x="395686" y="389978"/>
                    <a:pt x="413253" y="385060"/>
                    <a:pt x="422387" y="376628"/>
                  </a:cubicBezTo>
                  <a:cubicBezTo>
                    <a:pt x="446278" y="354143"/>
                    <a:pt x="447683" y="337279"/>
                    <a:pt x="425198" y="314091"/>
                  </a:cubicBezTo>
                  <a:cubicBezTo>
                    <a:pt x="397794" y="285282"/>
                    <a:pt x="344392" y="285282"/>
                    <a:pt x="316988" y="314091"/>
                  </a:cubicBezTo>
                  <a:cubicBezTo>
                    <a:pt x="295205" y="337982"/>
                    <a:pt x="295908" y="355548"/>
                    <a:pt x="320501" y="376628"/>
                  </a:cubicBezTo>
                  <a:cubicBezTo>
                    <a:pt x="330338" y="385060"/>
                    <a:pt x="346500" y="391384"/>
                    <a:pt x="339473" y="408951"/>
                  </a:cubicBezTo>
                  <a:cubicBezTo>
                    <a:pt x="332447" y="425815"/>
                    <a:pt x="321204" y="439868"/>
                    <a:pt x="301529" y="440570"/>
                  </a:cubicBezTo>
                  <a:cubicBezTo>
                    <a:pt x="255153" y="441976"/>
                    <a:pt x="208778" y="441273"/>
                    <a:pt x="161699" y="441273"/>
                  </a:cubicBezTo>
                  <a:cubicBezTo>
                    <a:pt x="146241" y="441273"/>
                    <a:pt x="149754" y="431436"/>
                    <a:pt x="149754" y="423004"/>
                  </a:cubicBezTo>
                  <a:cubicBezTo>
                    <a:pt x="149754" y="383655"/>
                    <a:pt x="149754" y="344305"/>
                    <a:pt x="149754" y="304956"/>
                  </a:cubicBezTo>
                  <a:cubicBezTo>
                    <a:pt x="149754" y="293713"/>
                    <a:pt x="149051" y="283173"/>
                    <a:pt x="140619" y="274742"/>
                  </a:cubicBezTo>
                  <a:cubicBezTo>
                    <a:pt x="130079" y="264904"/>
                    <a:pt x="122350" y="259986"/>
                    <a:pt x="109702" y="274742"/>
                  </a:cubicBezTo>
                  <a:cubicBezTo>
                    <a:pt x="74569" y="316902"/>
                    <a:pt x="23977" y="305659"/>
                    <a:pt x="5708" y="252959"/>
                  </a:cubicBezTo>
                  <a:cubicBezTo>
                    <a:pt x="-7643" y="214313"/>
                    <a:pt x="2897" y="174963"/>
                    <a:pt x="32409" y="151776"/>
                  </a:cubicBezTo>
                  <a:cubicBezTo>
                    <a:pt x="59110" y="130696"/>
                    <a:pt x="81595" y="132804"/>
                    <a:pt x="104081" y="158099"/>
                  </a:cubicBezTo>
                  <a:cubicBezTo>
                    <a:pt x="111107" y="165126"/>
                    <a:pt x="113918" y="181287"/>
                    <a:pt x="127971" y="174963"/>
                  </a:cubicBezTo>
                  <a:cubicBezTo>
                    <a:pt x="142025" y="168639"/>
                    <a:pt x="149754" y="156694"/>
                    <a:pt x="149051" y="139830"/>
                  </a:cubicBezTo>
                  <a:cubicBezTo>
                    <a:pt x="148348" y="99778"/>
                    <a:pt x="149754" y="59726"/>
                    <a:pt x="148348" y="19675"/>
                  </a:cubicBezTo>
                  <a:cubicBezTo>
                    <a:pt x="147646" y="3513"/>
                    <a:pt x="152564" y="0"/>
                    <a:pt x="168023" y="0"/>
                  </a:cubicBezTo>
                  <a:cubicBezTo>
                    <a:pt x="208778" y="703"/>
                    <a:pt x="250235" y="703"/>
                    <a:pt x="290989" y="0"/>
                  </a:cubicBezTo>
                  <a:cubicBezTo>
                    <a:pt x="307151" y="0"/>
                    <a:pt x="319096" y="5621"/>
                    <a:pt x="328933" y="17567"/>
                  </a:cubicBezTo>
                  <a:cubicBezTo>
                    <a:pt x="341581" y="32323"/>
                    <a:pt x="344392" y="45673"/>
                    <a:pt x="326122" y="59024"/>
                  </a:cubicBezTo>
                  <a:cubicBezTo>
                    <a:pt x="311367" y="69564"/>
                    <a:pt x="294502" y="81509"/>
                    <a:pt x="301529" y="103292"/>
                  </a:cubicBezTo>
                  <a:cubicBezTo>
                    <a:pt x="309258" y="127182"/>
                    <a:pt x="326825" y="143344"/>
                    <a:pt x="352824" y="146857"/>
                  </a:cubicBezTo>
                  <a:cubicBezTo>
                    <a:pt x="378120" y="150370"/>
                    <a:pt x="402010" y="148965"/>
                    <a:pt x="421685" y="129993"/>
                  </a:cubicBezTo>
                  <a:cubicBezTo>
                    <a:pt x="446278" y="105400"/>
                    <a:pt x="445575" y="86428"/>
                    <a:pt x="419577" y="63943"/>
                  </a:cubicBezTo>
                  <a:cubicBezTo>
                    <a:pt x="410442" y="56213"/>
                    <a:pt x="394984" y="51294"/>
                    <a:pt x="402010" y="34431"/>
                  </a:cubicBezTo>
                  <a:cubicBezTo>
                    <a:pt x="408334" y="18972"/>
                    <a:pt x="418874" y="3513"/>
                    <a:pt x="436441" y="2811"/>
                  </a:cubicBezTo>
                  <a:cubicBezTo>
                    <a:pt x="484924" y="703"/>
                    <a:pt x="533408" y="1405"/>
                    <a:pt x="581190" y="703"/>
                  </a:cubicBezTo>
                  <a:cubicBezTo>
                    <a:pt x="593135" y="703"/>
                    <a:pt x="591027" y="8432"/>
                    <a:pt x="591027" y="15459"/>
                  </a:cubicBezTo>
                  <a:cubicBezTo>
                    <a:pt x="591027" y="59024"/>
                    <a:pt x="591729" y="103292"/>
                    <a:pt x="591027" y="146857"/>
                  </a:cubicBezTo>
                  <a:cubicBezTo>
                    <a:pt x="591027" y="167234"/>
                    <a:pt x="577676" y="179882"/>
                    <a:pt x="560110" y="188314"/>
                  </a:cubicBezTo>
                  <a:cubicBezTo>
                    <a:pt x="541138" y="197449"/>
                    <a:pt x="534814" y="179882"/>
                    <a:pt x="525679" y="170045"/>
                  </a:cubicBezTo>
                  <a:cubicBezTo>
                    <a:pt x="503896" y="145452"/>
                    <a:pt x="490546" y="144749"/>
                    <a:pt x="465953" y="165126"/>
                  </a:cubicBezTo>
                  <a:cubicBezTo>
                    <a:pt x="434333" y="191827"/>
                    <a:pt x="432927" y="246635"/>
                    <a:pt x="463845" y="274742"/>
                  </a:cubicBezTo>
                  <a:cubicBezTo>
                    <a:pt x="488438" y="297227"/>
                    <a:pt x="503896" y="296524"/>
                    <a:pt x="526382" y="271931"/>
                  </a:cubicBezTo>
                  <a:cubicBezTo>
                    <a:pt x="535516" y="262094"/>
                    <a:pt x="541840" y="244527"/>
                    <a:pt x="560812" y="253662"/>
                  </a:cubicBezTo>
                  <a:cubicBezTo>
                    <a:pt x="579081" y="262094"/>
                    <a:pt x="591729" y="275444"/>
                    <a:pt x="591729" y="297930"/>
                  </a:cubicBezTo>
                  <a:cubicBezTo>
                    <a:pt x="593135" y="318307"/>
                    <a:pt x="593135" y="339387"/>
                    <a:pt x="593135" y="36046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27206F14-64F9-42E5-B159-5B5835C5E220}"/>
                </a:ext>
              </a:extLst>
            </p:cNvPr>
            <p:cNvSpPr/>
            <p:nvPr/>
          </p:nvSpPr>
          <p:spPr>
            <a:xfrm flipH="1">
              <a:off x="5845130" y="5072255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CD525EAA-04C6-4C94-AC98-2F65289729EE}"/>
                </a:ext>
              </a:extLst>
            </p:cNvPr>
            <p:cNvSpPr/>
            <p:nvPr/>
          </p:nvSpPr>
          <p:spPr>
            <a:xfrm flipH="1">
              <a:off x="4316094" y="5070078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83309F90-3A5D-4019-86F1-8CDD32EA1033}"/>
                </a:ext>
              </a:extLst>
            </p:cNvPr>
            <p:cNvSpPr/>
            <p:nvPr/>
          </p:nvSpPr>
          <p:spPr>
            <a:xfrm flipH="1">
              <a:off x="5843708" y="1247328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3C892358-9CC0-4A7D-8C42-1B0459FB9083}"/>
                </a:ext>
              </a:extLst>
            </p:cNvPr>
            <p:cNvSpPr/>
            <p:nvPr/>
          </p:nvSpPr>
          <p:spPr>
            <a:xfrm>
              <a:off x="8900336" y="2795065"/>
              <a:ext cx="1026185" cy="1282732"/>
            </a:xfrm>
            <a:custGeom>
              <a:avLst/>
              <a:gdLst>
                <a:gd name="connsiteX0" fmla="*/ 343415 w 590237"/>
                <a:gd name="connsiteY0" fmla="*/ 741252 h 737797"/>
                <a:gd name="connsiteX1" fmla="*/ 301958 w 590237"/>
                <a:gd name="connsiteY1" fmla="*/ 711740 h 737797"/>
                <a:gd name="connsiteX2" fmla="*/ 307579 w 590237"/>
                <a:gd name="connsiteY2" fmla="*/ 637258 h 737797"/>
                <a:gd name="connsiteX3" fmla="*/ 323038 w 590237"/>
                <a:gd name="connsiteY3" fmla="*/ 613367 h 737797"/>
                <a:gd name="connsiteX4" fmla="*/ 290715 w 590237"/>
                <a:gd name="connsiteY4" fmla="*/ 592287 h 737797"/>
                <a:gd name="connsiteX5" fmla="*/ 172668 w 590237"/>
                <a:gd name="connsiteY5" fmla="*/ 592990 h 737797"/>
                <a:gd name="connsiteX6" fmla="*/ 146669 w 590237"/>
                <a:gd name="connsiteY6" fmla="*/ 565586 h 737797"/>
                <a:gd name="connsiteX7" fmla="*/ 147372 w 590237"/>
                <a:gd name="connsiteY7" fmla="*/ 453160 h 737797"/>
                <a:gd name="connsiteX8" fmla="*/ 138940 w 590237"/>
                <a:gd name="connsiteY8" fmla="*/ 425053 h 737797"/>
                <a:gd name="connsiteX9" fmla="*/ 108725 w 590237"/>
                <a:gd name="connsiteY9" fmla="*/ 425053 h 737797"/>
                <a:gd name="connsiteX10" fmla="*/ 54620 w 590237"/>
                <a:gd name="connsiteY10" fmla="*/ 451052 h 737797"/>
                <a:gd name="connsiteX11" fmla="*/ 2623 w 590237"/>
                <a:gd name="connsiteY11" fmla="*/ 393433 h 737797"/>
                <a:gd name="connsiteX12" fmla="*/ 37756 w 590237"/>
                <a:gd name="connsiteY12" fmla="*/ 297871 h 737797"/>
                <a:gd name="connsiteX13" fmla="*/ 104509 w 590237"/>
                <a:gd name="connsiteY13" fmla="*/ 309817 h 737797"/>
                <a:gd name="connsiteX14" fmla="*/ 126292 w 590237"/>
                <a:gd name="connsiteY14" fmla="*/ 325275 h 737797"/>
                <a:gd name="connsiteX15" fmla="*/ 148075 w 590237"/>
                <a:gd name="connsiteY15" fmla="*/ 293655 h 737797"/>
                <a:gd name="connsiteX16" fmla="*/ 147372 w 590237"/>
                <a:gd name="connsiteY16" fmla="*/ 170689 h 737797"/>
                <a:gd name="connsiteX17" fmla="*/ 168452 w 590237"/>
                <a:gd name="connsiteY17" fmla="*/ 148906 h 737797"/>
                <a:gd name="connsiteX18" fmla="*/ 286499 w 590237"/>
                <a:gd name="connsiteY18" fmla="*/ 149609 h 737797"/>
                <a:gd name="connsiteX19" fmla="*/ 316714 w 590237"/>
                <a:gd name="connsiteY19" fmla="*/ 139772 h 737797"/>
                <a:gd name="connsiteX20" fmla="*/ 316011 w 590237"/>
                <a:gd name="connsiteY20" fmla="*/ 109557 h 737797"/>
                <a:gd name="connsiteX21" fmla="*/ 323741 w 590237"/>
                <a:gd name="connsiteY21" fmla="*/ 12589 h 737797"/>
                <a:gd name="connsiteX22" fmla="*/ 443896 w 590237"/>
                <a:gd name="connsiteY22" fmla="*/ 39993 h 737797"/>
                <a:gd name="connsiteX23" fmla="*/ 434761 w 590237"/>
                <a:gd name="connsiteY23" fmla="*/ 103233 h 737797"/>
                <a:gd name="connsiteX24" fmla="*/ 416492 w 590237"/>
                <a:gd name="connsiteY24" fmla="*/ 129934 h 737797"/>
                <a:gd name="connsiteX25" fmla="*/ 454436 w 590237"/>
                <a:gd name="connsiteY25" fmla="*/ 150312 h 737797"/>
                <a:gd name="connsiteX26" fmla="*/ 569673 w 590237"/>
                <a:gd name="connsiteY26" fmla="*/ 149609 h 737797"/>
                <a:gd name="connsiteX27" fmla="*/ 591455 w 590237"/>
                <a:gd name="connsiteY27" fmla="*/ 172797 h 737797"/>
                <a:gd name="connsiteX28" fmla="*/ 591455 w 590237"/>
                <a:gd name="connsiteY28" fmla="*/ 292952 h 737797"/>
                <a:gd name="connsiteX29" fmla="*/ 571078 w 590237"/>
                <a:gd name="connsiteY29" fmla="*/ 332301 h 737797"/>
                <a:gd name="connsiteX30" fmla="*/ 531729 w 590237"/>
                <a:gd name="connsiteY30" fmla="*/ 328086 h 737797"/>
                <a:gd name="connsiteX31" fmla="*/ 485353 w 590237"/>
                <a:gd name="connsiteY31" fmla="*/ 304195 h 737797"/>
                <a:gd name="connsiteX32" fmla="*/ 443193 w 590237"/>
                <a:gd name="connsiteY32" fmla="*/ 359706 h 737797"/>
                <a:gd name="connsiteX33" fmla="*/ 461463 w 590237"/>
                <a:gd name="connsiteY33" fmla="*/ 422945 h 737797"/>
                <a:gd name="connsiteX34" fmla="*/ 527513 w 590237"/>
                <a:gd name="connsiteY34" fmla="*/ 420837 h 737797"/>
                <a:gd name="connsiteX35" fmla="*/ 557728 w 590237"/>
                <a:gd name="connsiteY35" fmla="*/ 402568 h 737797"/>
                <a:gd name="connsiteX36" fmla="*/ 590753 w 590237"/>
                <a:gd name="connsiteY36" fmla="*/ 441917 h 737797"/>
                <a:gd name="connsiteX37" fmla="*/ 591455 w 590237"/>
                <a:gd name="connsiteY37" fmla="*/ 578937 h 737797"/>
                <a:gd name="connsiteX38" fmla="*/ 574591 w 590237"/>
                <a:gd name="connsiteY38" fmla="*/ 592287 h 737797"/>
                <a:gd name="connsiteX39" fmla="*/ 453733 w 590237"/>
                <a:gd name="connsiteY39" fmla="*/ 591585 h 737797"/>
                <a:gd name="connsiteX40" fmla="*/ 418600 w 590237"/>
                <a:gd name="connsiteY40" fmla="*/ 608449 h 737797"/>
                <a:gd name="connsiteX41" fmla="*/ 420005 w 590237"/>
                <a:gd name="connsiteY41" fmla="*/ 627420 h 737797"/>
                <a:gd name="connsiteX42" fmla="*/ 449517 w 590237"/>
                <a:gd name="connsiteY42" fmla="*/ 690660 h 737797"/>
                <a:gd name="connsiteX43" fmla="*/ 398925 w 590237"/>
                <a:gd name="connsiteY43" fmla="*/ 740549 h 737797"/>
                <a:gd name="connsiteX44" fmla="*/ 343415 w 590237"/>
                <a:gd name="connsiteY44" fmla="*/ 741252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90237" h="737797">
                  <a:moveTo>
                    <a:pt x="343415" y="741252"/>
                  </a:moveTo>
                  <a:cubicBezTo>
                    <a:pt x="328659" y="732820"/>
                    <a:pt x="313201" y="725793"/>
                    <a:pt x="301958" y="711740"/>
                  </a:cubicBezTo>
                  <a:cubicBezTo>
                    <a:pt x="280175" y="683633"/>
                    <a:pt x="282283" y="661851"/>
                    <a:pt x="307579" y="637258"/>
                  </a:cubicBezTo>
                  <a:cubicBezTo>
                    <a:pt x="314606" y="630934"/>
                    <a:pt x="331470" y="628826"/>
                    <a:pt x="323038" y="613367"/>
                  </a:cubicBezTo>
                  <a:cubicBezTo>
                    <a:pt x="316714" y="600719"/>
                    <a:pt x="306174" y="592287"/>
                    <a:pt x="290715" y="592287"/>
                  </a:cubicBezTo>
                  <a:cubicBezTo>
                    <a:pt x="251366" y="592990"/>
                    <a:pt x="212017" y="590882"/>
                    <a:pt x="172668" y="592990"/>
                  </a:cubicBezTo>
                  <a:cubicBezTo>
                    <a:pt x="149480" y="594395"/>
                    <a:pt x="145264" y="585963"/>
                    <a:pt x="146669" y="565586"/>
                  </a:cubicBezTo>
                  <a:cubicBezTo>
                    <a:pt x="148075" y="528345"/>
                    <a:pt x="146669" y="490401"/>
                    <a:pt x="147372" y="453160"/>
                  </a:cubicBezTo>
                  <a:cubicBezTo>
                    <a:pt x="147372" y="442620"/>
                    <a:pt x="146669" y="432783"/>
                    <a:pt x="138940" y="425053"/>
                  </a:cubicBezTo>
                  <a:cubicBezTo>
                    <a:pt x="129103" y="415216"/>
                    <a:pt x="119968" y="408892"/>
                    <a:pt x="108725" y="425053"/>
                  </a:cubicBezTo>
                  <a:cubicBezTo>
                    <a:pt x="96077" y="442620"/>
                    <a:pt x="80619" y="460186"/>
                    <a:pt x="54620" y="451052"/>
                  </a:cubicBezTo>
                  <a:cubicBezTo>
                    <a:pt x="27216" y="441214"/>
                    <a:pt x="8244" y="422945"/>
                    <a:pt x="2623" y="393433"/>
                  </a:cubicBezTo>
                  <a:cubicBezTo>
                    <a:pt x="-5809" y="351273"/>
                    <a:pt x="6136" y="317546"/>
                    <a:pt x="37756" y="297871"/>
                  </a:cubicBezTo>
                  <a:cubicBezTo>
                    <a:pt x="63755" y="281007"/>
                    <a:pt x="80619" y="284520"/>
                    <a:pt x="104509" y="309817"/>
                  </a:cubicBezTo>
                  <a:cubicBezTo>
                    <a:pt x="110833" y="316140"/>
                    <a:pt x="112941" y="330896"/>
                    <a:pt x="126292" y="325275"/>
                  </a:cubicBezTo>
                  <a:cubicBezTo>
                    <a:pt x="139643" y="319654"/>
                    <a:pt x="148075" y="309817"/>
                    <a:pt x="148075" y="293655"/>
                  </a:cubicBezTo>
                  <a:cubicBezTo>
                    <a:pt x="148075" y="252900"/>
                    <a:pt x="148777" y="211444"/>
                    <a:pt x="147372" y="170689"/>
                  </a:cubicBezTo>
                  <a:cubicBezTo>
                    <a:pt x="146669" y="154528"/>
                    <a:pt x="150885" y="148204"/>
                    <a:pt x="168452" y="148906"/>
                  </a:cubicBezTo>
                  <a:cubicBezTo>
                    <a:pt x="207801" y="150312"/>
                    <a:pt x="247150" y="148906"/>
                    <a:pt x="286499" y="149609"/>
                  </a:cubicBezTo>
                  <a:cubicBezTo>
                    <a:pt x="297742" y="149609"/>
                    <a:pt x="308282" y="148204"/>
                    <a:pt x="316714" y="139772"/>
                  </a:cubicBezTo>
                  <a:cubicBezTo>
                    <a:pt x="327254" y="129232"/>
                    <a:pt x="330064" y="121502"/>
                    <a:pt x="316011" y="109557"/>
                  </a:cubicBezTo>
                  <a:cubicBezTo>
                    <a:pt x="277365" y="77235"/>
                    <a:pt x="280878" y="39993"/>
                    <a:pt x="323741" y="12589"/>
                  </a:cubicBezTo>
                  <a:cubicBezTo>
                    <a:pt x="362387" y="-12004"/>
                    <a:pt x="420005" y="644"/>
                    <a:pt x="443896" y="39993"/>
                  </a:cubicBezTo>
                  <a:cubicBezTo>
                    <a:pt x="459355" y="64587"/>
                    <a:pt x="456544" y="81451"/>
                    <a:pt x="434761" y="103233"/>
                  </a:cubicBezTo>
                  <a:cubicBezTo>
                    <a:pt x="427032" y="110962"/>
                    <a:pt x="410168" y="114476"/>
                    <a:pt x="416492" y="129934"/>
                  </a:cubicBezTo>
                  <a:cubicBezTo>
                    <a:pt x="423519" y="145393"/>
                    <a:pt x="436869" y="151014"/>
                    <a:pt x="454436" y="150312"/>
                  </a:cubicBezTo>
                  <a:cubicBezTo>
                    <a:pt x="493082" y="148906"/>
                    <a:pt x="531026" y="151014"/>
                    <a:pt x="569673" y="149609"/>
                  </a:cubicBezTo>
                  <a:cubicBezTo>
                    <a:pt x="588645" y="148906"/>
                    <a:pt x="592158" y="155230"/>
                    <a:pt x="591455" y="172797"/>
                  </a:cubicBezTo>
                  <a:cubicBezTo>
                    <a:pt x="590050" y="212849"/>
                    <a:pt x="590753" y="252900"/>
                    <a:pt x="591455" y="292952"/>
                  </a:cubicBezTo>
                  <a:cubicBezTo>
                    <a:pt x="591455" y="310519"/>
                    <a:pt x="583726" y="322464"/>
                    <a:pt x="571078" y="332301"/>
                  </a:cubicBezTo>
                  <a:cubicBezTo>
                    <a:pt x="556322" y="344247"/>
                    <a:pt x="543674" y="344247"/>
                    <a:pt x="531729" y="328086"/>
                  </a:cubicBezTo>
                  <a:cubicBezTo>
                    <a:pt x="520487" y="312627"/>
                    <a:pt x="507838" y="295060"/>
                    <a:pt x="485353" y="304195"/>
                  </a:cubicBezTo>
                  <a:cubicBezTo>
                    <a:pt x="461463" y="314032"/>
                    <a:pt x="445301" y="332301"/>
                    <a:pt x="443193" y="359706"/>
                  </a:cubicBezTo>
                  <a:cubicBezTo>
                    <a:pt x="441788" y="382893"/>
                    <a:pt x="443193" y="405379"/>
                    <a:pt x="461463" y="422945"/>
                  </a:cubicBezTo>
                  <a:cubicBezTo>
                    <a:pt x="486758" y="447538"/>
                    <a:pt x="504325" y="447538"/>
                    <a:pt x="527513" y="420837"/>
                  </a:cubicBezTo>
                  <a:cubicBezTo>
                    <a:pt x="535242" y="411703"/>
                    <a:pt x="541566" y="396244"/>
                    <a:pt x="557728" y="402568"/>
                  </a:cubicBezTo>
                  <a:cubicBezTo>
                    <a:pt x="575294" y="409594"/>
                    <a:pt x="590050" y="422243"/>
                    <a:pt x="590753" y="441917"/>
                  </a:cubicBezTo>
                  <a:cubicBezTo>
                    <a:pt x="592158" y="487590"/>
                    <a:pt x="590753" y="533264"/>
                    <a:pt x="591455" y="578937"/>
                  </a:cubicBezTo>
                  <a:cubicBezTo>
                    <a:pt x="591455" y="592990"/>
                    <a:pt x="584429" y="592990"/>
                    <a:pt x="574591" y="592287"/>
                  </a:cubicBezTo>
                  <a:cubicBezTo>
                    <a:pt x="534540" y="592287"/>
                    <a:pt x="494488" y="592990"/>
                    <a:pt x="453733" y="591585"/>
                  </a:cubicBezTo>
                  <a:cubicBezTo>
                    <a:pt x="438275" y="591585"/>
                    <a:pt x="427032" y="596503"/>
                    <a:pt x="418600" y="608449"/>
                  </a:cubicBezTo>
                  <a:cubicBezTo>
                    <a:pt x="413682" y="615475"/>
                    <a:pt x="412979" y="621097"/>
                    <a:pt x="420005" y="627420"/>
                  </a:cubicBezTo>
                  <a:cubicBezTo>
                    <a:pt x="438977" y="644284"/>
                    <a:pt x="462165" y="658338"/>
                    <a:pt x="449517" y="690660"/>
                  </a:cubicBezTo>
                  <a:cubicBezTo>
                    <a:pt x="439680" y="714551"/>
                    <a:pt x="420005" y="728604"/>
                    <a:pt x="398925" y="740549"/>
                  </a:cubicBezTo>
                  <a:cubicBezTo>
                    <a:pt x="379954" y="741252"/>
                    <a:pt x="361684" y="741252"/>
                    <a:pt x="343415" y="74125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5C080264-FDEF-46DC-AE7F-8A3F4D4803F3}"/>
                </a:ext>
              </a:extLst>
            </p:cNvPr>
            <p:cNvSpPr/>
            <p:nvPr/>
          </p:nvSpPr>
          <p:spPr>
            <a:xfrm>
              <a:off x="7364767" y="-14380"/>
              <a:ext cx="1282731" cy="1026186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81DBF19F-DB2C-4A86-9F3C-5D45A9289688}"/>
                </a:ext>
              </a:extLst>
            </p:cNvPr>
            <p:cNvSpPr/>
            <p:nvPr/>
          </p:nvSpPr>
          <p:spPr>
            <a:xfrm>
              <a:off x="6612685" y="475333"/>
              <a:ext cx="1282731" cy="1026186"/>
            </a:xfrm>
            <a:custGeom>
              <a:avLst/>
              <a:gdLst>
                <a:gd name="connsiteX0" fmla="*/ 510179 w 737797"/>
                <a:gd name="connsiteY0" fmla="*/ 592182 h 590237"/>
                <a:gd name="connsiteX1" fmla="*/ 449750 w 737797"/>
                <a:gd name="connsiteY1" fmla="*/ 592182 h 590237"/>
                <a:gd name="connsiteX2" fmla="*/ 408293 w 737797"/>
                <a:gd name="connsiteY2" fmla="*/ 569697 h 590237"/>
                <a:gd name="connsiteX3" fmla="*/ 412509 w 737797"/>
                <a:gd name="connsiteY3" fmla="*/ 532456 h 590237"/>
                <a:gd name="connsiteX4" fmla="*/ 438507 w 737797"/>
                <a:gd name="connsiteY4" fmla="*/ 486783 h 590237"/>
                <a:gd name="connsiteX5" fmla="*/ 378781 w 737797"/>
                <a:gd name="connsiteY5" fmla="*/ 443218 h 590237"/>
                <a:gd name="connsiteX6" fmla="*/ 314838 w 737797"/>
                <a:gd name="connsiteY6" fmla="*/ 465703 h 590237"/>
                <a:gd name="connsiteX7" fmla="*/ 319757 w 737797"/>
                <a:gd name="connsiteY7" fmla="*/ 526132 h 590237"/>
                <a:gd name="connsiteX8" fmla="*/ 338729 w 737797"/>
                <a:gd name="connsiteY8" fmla="*/ 558455 h 590237"/>
                <a:gd name="connsiteX9" fmla="*/ 298677 w 737797"/>
                <a:gd name="connsiteY9" fmla="*/ 591480 h 590237"/>
                <a:gd name="connsiteX10" fmla="*/ 161658 w 737797"/>
                <a:gd name="connsiteY10" fmla="*/ 592182 h 590237"/>
                <a:gd name="connsiteX11" fmla="*/ 149712 w 737797"/>
                <a:gd name="connsiteY11" fmla="*/ 573913 h 590237"/>
                <a:gd name="connsiteX12" fmla="*/ 149712 w 737797"/>
                <a:gd name="connsiteY12" fmla="*/ 458676 h 590237"/>
                <a:gd name="connsiteX13" fmla="*/ 141983 w 737797"/>
                <a:gd name="connsiteY13" fmla="*/ 427759 h 590237"/>
                <a:gd name="connsiteX14" fmla="*/ 108255 w 737797"/>
                <a:gd name="connsiteY14" fmla="*/ 426354 h 590237"/>
                <a:gd name="connsiteX15" fmla="*/ 55555 w 737797"/>
                <a:gd name="connsiteY15" fmla="*/ 450947 h 590237"/>
                <a:gd name="connsiteX16" fmla="*/ 4261 w 737797"/>
                <a:gd name="connsiteY16" fmla="*/ 398950 h 590237"/>
                <a:gd name="connsiteX17" fmla="*/ 35178 w 737797"/>
                <a:gd name="connsiteY17" fmla="*/ 299172 h 590237"/>
                <a:gd name="connsiteX18" fmla="*/ 102634 w 737797"/>
                <a:gd name="connsiteY18" fmla="*/ 306901 h 590237"/>
                <a:gd name="connsiteX19" fmla="*/ 128632 w 737797"/>
                <a:gd name="connsiteY19" fmla="*/ 324468 h 590237"/>
                <a:gd name="connsiteX20" fmla="*/ 149712 w 737797"/>
                <a:gd name="connsiteY20" fmla="*/ 289334 h 590237"/>
                <a:gd name="connsiteX21" fmla="*/ 149010 w 737797"/>
                <a:gd name="connsiteY21" fmla="*/ 174097 h 590237"/>
                <a:gd name="connsiteX22" fmla="*/ 174305 w 737797"/>
                <a:gd name="connsiteY22" fmla="*/ 148802 h 590237"/>
                <a:gd name="connsiteX23" fmla="*/ 286732 w 737797"/>
                <a:gd name="connsiteY23" fmla="*/ 149504 h 590237"/>
                <a:gd name="connsiteX24" fmla="*/ 310622 w 737797"/>
                <a:gd name="connsiteY24" fmla="*/ 144586 h 590237"/>
                <a:gd name="connsiteX25" fmla="*/ 314136 w 737797"/>
                <a:gd name="connsiteY25" fmla="*/ 108047 h 590237"/>
                <a:gd name="connsiteX26" fmla="*/ 311325 w 737797"/>
                <a:gd name="connsiteY26" fmla="*/ 23025 h 590237"/>
                <a:gd name="connsiteX27" fmla="*/ 439913 w 737797"/>
                <a:gd name="connsiteY27" fmla="*/ 32862 h 590237"/>
                <a:gd name="connsiteX28" fmla="*/ 433589 w 737797"/>
                <a:gd name="connsiteY28" fmla="*/ 104534 h 590237"/>
                <a:gd name="connsiteX29" fmla="*/ 416724 w 737797"/>
                <a:gd name="connsiteY29" fmla="*/ 128424 h 590237"/>
                <a:gd name="connsiteX30" fmla="*/ 451858 w 737797"/>
                <a:gd name="connsiteY30" fmla="*/ 149504 h 590237"/>
                <a:gd name="connsiteX31" fmla="*/ 572013 w 737797"/>
                <a:gd name="connsiteY31" fmla="*/ 148802 h 590237"/>
                <a:gd name="connsiteX32" fmla="*/ 590985 w 737797"/>
                <a:gd name="connsiteY32" fmla="*/ 168476 h 590237"/>
                <a:gd name="connsiteX33" fmla="*/ 590283 w 737797"/>
                <a:gd name="connsiteY33" fmla="*/ 283713 h 590237"/>
                <a:gd name="connsiteX34" fmla="*/ 597309 w 737797"/>
                <a:gd name="connsiteY34" fmla="*/ 312522 h 590237"/>
                <a:gd name="connsiteX35" fmla="*/ 633145 w 737797"/>
                <a:gd name="connsiteY35" fmla="*/ 314630 h 590237"/>
                <a:gd name="connsiteX36" fmla="*/ 719573 w 737797"/>
                <a:gd name="connsiteY36" fmla="*/ 312522 h 590237"/>
                <a:gd name="connsiteX37" fmla="*/ 694980 w 737797"/>
                <a:gd name="connsiteY37" fmla="*/ 448136 h 590237"/>
                <a:gd name="connsiteX38" fmla="*/ 636659 w 737797"/>
                <a:gd name="connsiteY38" fmla="*/ 433380 h 590237"/>
                <a:gd name="connsiteX39" fmla="*/ 612768 w 737797"/>
                <a:gd name="connsiteY39" fmla="*/ 417219 h 590237"/>
                <a:gd name="connsiteX40" fmla="*/ 590283 w 737797"/>
                <a:gd name="connsiteY40" fmla="*/ 451650 h 590237"/>
                <a:gd name="connsiteX41" fmla="*/ 590985 w 737797"/>
                <a:gd name="connsiteY41" fmla="*/ 569697 h 590237"/>
                <a:gd name="connsiteX42" fmla="*/ 567797 w 737797"/>
                <a:gd name="connsiteY42" fmla="*/ 593588 h 590237"/>
                <a:gd name="connsiteX43" fmla="*/ 510179 w 737797"/>
                <a:gd name="connsiteY43" fmla="*/ 592182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737797" h="590237">
                  <a:moveTo>
                    <a:pt x="510179" y="592182"/>
                  </a:moveTo>
                  <a:cubicBezTo>
                    <a:pt x="489802" y="592182"/>
                    <a:pt x="470127" y="592182"/>
                    <a:pt x="449750" y="592182"/>
                  </a:cubicBezTo>
                  <a:cubicBezTo>
                    <a:pt x="431481" y="592182"/>
                    <a:pt x="418833" y="583751"/>
                    <a:pt x="408293" y="569697"/>
                  </a:cubicBezTo>
                  <a:cubicBezTo>
                    <a:pt x="397753" y="555644"/>
                    <a:pt x="397753" y="543699"/>
                    <a:pt x="412509" y="532456"/>
                  </a:cubicBezTo>
                  <a:cubicBezTo>
                    <a:pt x="427264" y="521213"/>
                    <a:pt x="445534" y="509971"/>
                    <a:pt x="438507" y="486783"/>
                  </a:cubicBezTo>
                  <a:cubicBezTo>
                    <a:pt x="430778" y="460785"/>
                    <a:pt x="407590" y="445326"/>
                    <a:pt x="378781" y="443218"/>
                  </a:cubicBezTo>
                  <a:cubicBezTo>
                    <a:pt x="354188" y="441813"/>
                    <a:pt x="331702" y="444623"/>
                    <a:pt x="314838" y="465703"/>
                  </a:cubicBezTo>
                  <a:cubicBezTo>
                    <a:pt x="294461" y="490296"/>
                    <a:pt x="295164" y="504349"/>
                    <a:pt x="319757" y="526132"/>
                  </a:cubicBezTo>
                  <a:cubicBezTo>
                    <a:pt x="329594" y="534564"/>
                    <a:pt x="345053" y="540186"/>
                    <a:pt x="338729" y="558455"/>
                  </a:cubicBezTo>
                  <a:cubicBezTo>
                    <a:pt x="331702" y="576724"/>
                    <a:pt x="317649" y="590777"/>
                    <a:pt x="298677" y="591480"/>
                  </a:cubicBezTo>
                  <a:cubicBezTo>
                    <a:pt x="253004" y="593588"/>
                    <a:pt x="207331" y="591480"/>
                    <a:pt x="161658" y="592182"/>
                  </a:cubicBezTo>
                  <a:cubicBezTo>
                    <a:pt x="146199" y="592182"/>
                    <a:pt x="149712" y="581642"/>
                    <a:pt x="149712" y="573913"/>
                  </a:cubicBezTo>
                  <a:cubicBezTo>
                    <a:pt x="149712" y="535267"/>
                    <a:pt x="149712" y="497323"/>
                    <a:pt x="149712" y="458676"/>
                  </a:cubicBezTo>
                  <a:cubicBezTo>
                    <a:pt x="149712" y="447434"/>
                    <a:pt x="149712" y="436894"/>
                    <a:pt x="141983" y="427759"/>
                  </a:cubicBezTo>
                  <a:cubicBezTo>
                    <a:pt x="131443" y="415111"/>
                    <a:pt x="121606" y="407382"/>
                    <a:pt x="108255" y="426354"/>
                  </a:cubicBezTo>
                  <a:cubicBezTo>
                    <a:pt x="95607" y="443920"/>
                    <a:pt x="80149" y="459379"/>
                    <a:pt x="55555" y="450947"/>
                  </a:cubicBezTo>
                  <a:cubicBezTo>
                    <a:pt x="30259" y="442515"/>
                    <a:pt x="11288" y="426354"/>
                    <a:pt x="4261" y="398950"/>
                  </a:cubicBezTo>
                  <a:cubicBezTo>
                    <a:pt x="-6982" y="356087"/>
                    <a:pt x="4261" y="320954"/>
                    <a:pt x="35178" y="299172"/>
                  </a:cubicBezTo>
                  <a:cubicBezTo>
                    <a:pt x="61177" y="280902"/>
                    <a:pt x="80149" y="283713"/>
                    <a:pt x="102634" y="306901"/>
                  </a:cubicBezTo>
                  <a:cubicBezTo>
                    <a:pt x="109661" y="313928"/>
                    <a:pt x="111769" y="331494"/>
                    <a:pt x="128632" y="324468"/>
                  </a:cubicBezTo>
                  <a:cubicBezTo>
                    <a:pt x="143388" y="317441"/>
                    <a:pt x="149712" y="304793"/>
                    <a:pt x="149712" y="289334"/>
                  </a:cubicBezTo>
                  <a:cubicBezTo>
                    <a:pt x="149712" y="250688"/>
                    <a:pt x="151118" y="212744"/>
                    <a:pt x="149010" y="174097"/>
                  </a:cubicBezTo>
                  <a:cubicBezTo>
                    <a:pt x="148307" y="153720"/>
                    <a:pt x="153225" y="147396"/>
                    <a:pt x="174305" y="148802"/>
                  </a:cubicBezTo>
                  <a:cubicBezTo>
                    <a:pt x="211547" y="150910"/>
                    <a:pt x="249491" y="149504"/>
                    <a:pt x="286732" y="149504"/>
                  </a:cubicBezTo>
                  <a:cubicBezTo>
                    <a:pt x="295164" y="149504"/>
                    <a:pt x="302893" y="149504"/>
                    <a:pt x="310622" y="144586"/>
                  </a:cubicBezTo>
                  <a:cubicBezTo>
                    <a:pt x="330297" y="132640"/>
                    <a:pt x="331000" y="122803"/>
                    <a:pt x="314136" y="108047"/>
                  </a:cubicBezTo>
                  <a:cubicBezTo>
                    <a:pt x="281110" y="79941"/>
                    <a:pt x="280408" y="52537"/>
                    <a:pt x="311325" y="23025"/>
                  </a:cubicBezTo>
                  <a:cubicBezTo>
                    <a:pt x="346458" y="-11406"/>
                    <a:pt x="409698" y="-6487"/>
                    <a:pt x="439913" y="32862"/>
                  </a:cubicBezTo>
                  <a:cubicBezTo>
                    <a:pt x="460993" y="59563"/>
                    <a:pt x="458884" y="81346"/>
                    <a:pt x="433589" y="104534"/>
                  </a:cubicBezTo>
                  <a:cubicBezTo>
                    <a:pt x="426562" y="111560"/>
                    <a:pt x="410401" y="114371"/>
                    <a:pt x="416724" y="128424"/>
                  </a:cubicBezTo>
                  <a:cubicBezTo>
                    <a:pt x="423049" y="141775"/>
                    <a:pt x="434994" y="149504"/>
                    <a:pt x="451858" y="149504"/>
                  </a:cubicBezTo>
                  <a:cubicBezTo>
                    <a:pt x="491910" y="148802"/>
                    <a:pt x="531962" y="150207"/>
                    <a:pt x="572013" y="148802"/>
                  </a:cubicBezTo>
                  <a:cubicBezTo>
                    <a:pt x="588175" y="148099"/>
                    <a:pt x="591688" y="153720"/>
                    <a:pt x="590985" y="168476"/>
                  </a:cubicBezTo>
                  <a:cubicBezTo>
                    <a:pt x="589580" y="207123"/>
                    <a:pt x="590985" y="245067"/>
                    <a:pt x="590283" y="283713"/>
                  </a:cubicBezTo>
                  <a:cubicBezTo>
                    <a:pt x="590283" y="294253"/>
                    <a:pt x="590985" y="304090"/>
                    <a:pt x="597309" y="312522"/>
                  </a:cubicBezTo>
                  <a:cubicBezTo>
                    <a:pt x="607849" y="325873"/>
                    <a:pt x="617687" y="333602"/>
                    <a:pt x="633145" y="314630"/>
                  </a:cubicBezTo>
                  <a:cubicBezTo>
                    <a:pt x="661954" y="278794"/>
                    <a:pt x="687953" y="279497"/>
                    <a:pt x="719573" y="312522"/>
                  </a:cubicBezTo>
                  <a:cubicBezTo>
                    <a:pt x="756112" y="351872"/>
                    <a:pt x="742761" y="424948"/>
                    <a:pt x="694980" y="448136"/>
                  </a:cubicBezTo>
                  <a:cubicBezTo>
                    <a:pt x="671089" y="459379"/>
                    <a:pt x="653522" y="450947"/>
                    <a:pt x="636659" y="433380"/>
                  </a:cubicBezTo>
                  <a:cubicBezTo>
                    <a:pt x="630334" y="426354"/>
                    <a:pt x="627524" y="410895"/>
                    <a:pt x="612768" y="417219"/>
                  </a:cubicBezTo>
                  <a:cubicBezTo>
                    <a:pt x="598012" y="423543"/>
                    <a:pt x="590283" y="435488"/>
                    <a:pt x="590283" y="451650"/>
                  </a:cubicBezTo>
                  <a:cubicBezTo>
                    <a:pt x="590283" y="490999"/>
                    <a:pt x="588877" y="530348"/>
                    <a:pt x="590985" y="569697"/>
                  </a:cubicBezTo>
                  <a:cubicBezTo>
                    <a:pt x="591688" y="587967"/>
                    <a:pt x="587472" y="595696"/>
                    <a:pt x="567797" y="593588"/>
                  </a:cubicBezTo>
                  <a:cubicBezTo>
                    <a:pt x="548826" y="590777"/>
                    <a:pt x="529151" y="592182"/>
                    <a:pt x="510179" y="59218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8E7B9600-24B0-493A-9B65-33EC0A78A5D2}"/>
                </a:ext>
              </a:extLst>
            </p:cNvPr>
            <p:cNvSpPr/>
            <p:nvPr/>
          </p:nvSpPr>
          <p:spPr>
            <a:xfrm>
              <a:off x="6615226" y="5817009"/>
              <a:ext cx="1026185" cy="1026186"/>
            </a:xfrm>
            <a:custGeom>
              <a:avLst/>
              <a:gdLst>
                <a:gd name="connsiteX0" fmla="*/ 370196 w 590237"/>
                <a:gd name="connsiteY0" fmla="*/ 591917 h 590237"/>
                <a:gd name="connsiteX1" fmla="*/ 167829 w 590237"/>
                <a:gd name="connsiteY1" fmla="*/ 591917 h 590237"/>
                <a:gd name="connsiteX2" fmla="*/ 147452 w 590237"/>
                <a:gd name="connsiteY2" fmla="*/ 572242 h 590237"/>
                <a:gd name="connsiteX3" fmla="*/ 148154 w 590237"/>
                <a:gd name="connsiteY3" fmla="*/ 454897 h 590237"/>
                <a:gd name="connsiteX4" fmla="*/ 139020 w 590237"/>
                <a:gd name="connsiteY4" fmla="*/ 424683 h 590237"/>
                <a:gd name="connsiteX5" fmla="*/ 108805 w 590237"/>
                <a:gd name="connsiteY5" fmla="*/ 425385 h 590237"/>
                <a:gd name="connsiteX6" fmla="*/ 56808 w 590237"/>
                <a:gd name="connsiteY6" fmla="*/ 451384 h 590237"/>
                <a:gd name="connsiteX7" fmla="*/ 4811 w 590237"/>
                <a:gd name="connsiteY7" fmla="*/ 400089 h 590237"/>
                <a:gd name="connsiteX8" fmla="*/ 38539 w 590237"/>
                <a:gd name="connsiteY8" fmla="*/ 296798 h 590237"/>
                <a:gd name="connsiteX9" fmla="*/ 105292 w 590237"/>
                <a:gd name="connsiteY9" fmla="*/ 309446 h 590237"/>
                <a:gd name="connsiteX10" fmla="*/ 127074 w 590237"/>
                <a:gd name="connsiteY10" fmla="*/ 324904 h 590237"/>
                <a:gd name="connsiteX11" fmla="*/ 148857 w 590237"/>
                <a:gd name="connsiteY11" fmla="*/ 293284 h 590237"/>
                <a:gd name="connsiteX12" fmla="*/ 148154 w 590237"/>
                <a:gd name="connsiteY12" fmla="*/ 175940 h 590237"/>
                <a:gd name="connsiteX13" fmla="*/ 174153 w 590237"/>
                <a:gd name="connsiteY13" fmla="*/ 148536 h 590237"/>
                <a:gd name="connsiteX14" fmla="*/ 286579 w 590237"/>
                <a:gd name="connsiteY14" fmla="*/ 149238 h 590237"/>
                <a:gd name="connsiteX15" fmla="*/ 310470 w 590237"/>
                <a:gd name="connsiteY15" fmla="*/ 145022 h 590237"/>
                <a:gd name="connsiteX16" fmla="*/ 313983 w 590237"/>
                <a:gd name="connsiteY16" fmla="*/ 108484 h 590237"/>
                <a:gd name="connsiteX17" fmla="*/ 312578 w 590237"/>
                <a:gd name="connsiteY17" fmla="*/ 21354 h 590237"/>
                <a:gd name="connsiteX18" fmla="*/ 449597 w 590237"/>
                <a:gd name="connsiteY18" fmla="*/ 48757 h 590237"/>
                <a:gd name="connsiteX19" fmla="*/ 433436 w 590237"/>
                <a:gd name="connsiteY19" fmla="*/ 104268 h 590237"/>
                <a:gd name="connsiteX20" fmla="*/ 417275 w 590237"/>
                <a:gd name="connsiteY20" fmla="*/ 128861 h 590237"/>
                <a:gd name="connsiteX21" fmla="*/ 452408 w 590237"/>
                <a:gd name="connsiteY21" fmla="*/ 149941 h 590237"/>
                <a:gd name="connsiteX22" fmla="*/ 572564 w 590237"/>
                <a:gd name="connsiteY22" fmla="*/ 149238 h 590237"/>
                <a:gd name="connsiteX23" fmla="*/ 592941 w 590237"/>
                <a:gd name="connsiteY23" fmla="*/ 168210 h 590237"/>
                <a:gd name="connsiteX24" fmla="*/ 592941 w 590237"/>
                <a:gd name="connsiteY24" fmla="*/ 291176 h 590237"/>
                <a:gd name="connsiteX25" fmla="*/ 566942 w 590237"/>
                <a:gd name="connsiteY25" fmla="*/ 336147 h 590237"/>
                <a:gd name="connsiteX26" fmla="*/ 538133 w 590237"/>
                <a:gd name="connsiteY26" fmla="*/ 333336 h 590237"/>
                <a:gd name="connsiteX27" fmla="*/ 472082 w 590237"/>
                <a:gd name="connsiteY27" fmla="*/ 312256 h 590237"/>
                <a:gd name="connsiteX28" fmla="*/ 452408 w 590237"/>
                <a:gd name="connsiteY28" fmla="*/ 408521 h 590237"/>
                <a:gd name="connsiteX29" fmla="*/ 530404 w 590237"/>
                <a:gd name="connsiteY29" fmla="*/ 419764 h 590237"/>
                <a:gd name="connsiteX30" fmla="*/ 560618 w 590237"/>
                <a:gd name="connsiteY30" fmla="*/ 403603 h 590237"/>
                <a:gd name="connsiteX31" fmla="*/ 592238 w 590237"/>
                <a:gd name="connsiteY31" fmla="*/ 441547 h 590237"/>
                <a:gd name="connsiteX32" fmla="*/ 592941 w 590237"/>
                <a:gd name="connsiteY32" fmla="*/ 581377 h 590237"/>
                <a:gd name="connsiteX33" fmla="*/ 574671 w 590237"/>
                <a:gd name="connsiteY33" fmla="*/ 593322 h 590237"/>
                <a:gd name="connsiteX34" fmla="*/ 370196 w 590237"/>
                <a:gd name="connsiteY34" fmla="*/ 591917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90237" h="590237">
                  <a:moveTo>
                    <a:pt x="370196" y="591917"/>
                  </a:moveTo>
                  <a:cubicBezTo>
                    <a:pt x="302740" y="591917"/>
                    <a:pt x="235285" y="591214"/>
                    <a:pt x="167829" y="591917"/>
                  </a:cubicBezTo>
                  <a:cubicBezTo>
                    <a:pt x="152370" y="591917"/>
                    <a:pt x="147452" y="588403"/>
                    <a:pt x="147452" y="572242"/>
                  </a:cubicBezTo>
                  <a:cubicBezTo>
                    <a:pt x="148857" y="532893"/>
                    <a:pt x="147452" y="493544"/>
                    <a:pt x="148154" y="454897"/>
                  </a:cubicBezTo>
                  <a:cubicBezTo>
                    <a:pt x="148154" y="443655"/>
                    <a:pt x="147452" y="433115"/>
                    <a:pt x="139020" y="424683"/>
                  </a:cubicBezTo>
                  <a:cubicBezTo>
                    <a:pt x="128480" y="414143"/>
                    <a:pt x="119345" y="410629"/>
                    <a:pt x="108805" y="425385"/>
                  </a:cubicBezTo>
                  <a:cubicBezTo>
                    <a:pt x="96157" y="442249"/>
                    <a:pt x="81401" y="459113"/>
                    <a:pt x="56808" y="451384"/>
                  </a:cubicBezTo>
                  <a:cubicBezTo>
                    <a:pt x="30810" y="443655"/>
                    <a:pt x="12540" y="426790"/>
                    <a:pt x="4811" y="400089"/>
                  </a:cubicBezTo>
                  <a:cubicBezTo>
                    <a:pt x="-7837" y="357929"/>
                    <a:pt x="4811" y="317878"/>
                    <a:pt x="38539" y="296798"/>
                  </a:cubicBezTo>
                  <a:cubicBezTo>
                    <a:pt x="64537" y="279934"/>
                    <a:pt x="81401" y="284150"/>
                    <a:pt x="105292" y="309446"/>
                  </a:cubicBezTo>
                  <a:cubicBezTo>
                    <a:pt x="110913" y="315770"/>
                    <a:pt x="113724" y="330526"/>
                    <a:pt x="127074" y="324904"/>
                  </a:cubicBezTo>
                  <a:cubicBezTo>
                    <a:pt x="140425" y="319283"/>
                    <a:pt x="148857" y="308743"/>
                    <a:pt x="148857" y="293284"/>
                  </a:cubicBezTo>
                  <a:cubicBezTo>
                    <a:pt x="148857" y="253935"/>
                    <a:pt x="150262" y="214586"/>
                    <a:pt x="148154" y="175940"/>
                  </a:cubicBezTo>
                  <a:cubicBezTo>
                    <a:pt x="147452" y="155562"/>
                    <a:pt x="150965" y="147130"/>
                    <a:pt x="174153" y="148536"/>
                  </a:cubicBezTo>
                  <a:cubicBezTo>
                    <a:pt x="211394" y="150644"/>
                    <a:pt x="248635" y="149238"/>
                    <a:pt x="286579" y="149238"/>
                  </a:cubicBezTo>
                  <a:cubicBezTo>
                    <a:pt x="294309" y="149238"/>
                    <a:pt x="302740" y="149941"/>
                    <a:pt x="310470" y="145022"/>
                  </a:cubicBezTo>
                  <a:cubicBezTo>
                    <a:pt x="328739" y="133077"/>
                    <a:pt x="330145" y="122537"/>
                    <a:pt x="313983" y="108484"/>
                  </a:cubicBezTo>
                  <a:cubicBezTo>
                    <a:pt x="280255" y="78972"/>
                    <a:pt x="280255" y="52271"/>
                    <a:pt x="312578" y="21354"/>
                  </a:cubicBezTo>
                  <a:cubicBezTo>
                    <a:pt x="353332" y="-16590"/>
                    <a:pt x="426409" y="-1835"/>
                    <a:pt x="449597" y="48757"/>
                  </a:cubicBezTo>
                  <a:cubicBezTo>
                    <a:pt x="460137" y="72648"/>
                    <a:pt x="449597" y="88107"/>
                    <a:pt x="433436" y="104268"/>
                  </a:cubicBezTo>
                  <a:cubicBezTo>
                    <a:pt x="426409" y="111295"/>
                    <a:pt x="410951" y="114808"/>
                    <a:pt x="417275" y="128861"/>
                  </a:cubicBezTo>
                  <a:cubicBezTo>
                    <a:pt x="423599" y="142914"/>
                    <a:pt x="435544" y="149941"/>
                    <a:pt x="452408" y="149941"/>
                  </a:cubicBezTo>
                  <a:cubicBezTo>
                    <a:pt x="492460" y="149238"/>
                    <a:pt x="532512" y="150644"/>
                    <a:pt x="572564" y="149238"/>
                  </a:cubicBezTo>
                  <a:cubicBezTo>
                    <a:pt x="587319" y="149238"/>
                    <a:pt x="592941" y="152049"/>
                    <a:pt x="592941" y="168210"/>
                  </a:cubicBezTo>
                  <a:cubicBezTo>
                    <a:pt x="591535" y="208965"/>
                    <a:pt x="592238" y="250422"/>
                    <a:pt x="592941" y="291176"/>
                  </a:cubicBezTo>
                  <a:cubicBezTo>
                    <a:pt x="592941" y="312256"/>
                    <a:pt x="582401" y="324904"/>
                    <a:pt x="566942" y="336147"/>
                  </a:cubicBezTo>
                  <a:cubicBezTo>
                    <a:pt x="556402" y="343174"/>
                    <a:pt x="547268" y="342471"/>
                    <a:pt x="538133" y="333336"/>
                  </a:cubicBezTo>
                  <a:cubicBezTo>
                    <a:pt x="500892" y="297501"/>
                    <a:pt x="494568" y="295393"/>
                    <a:pt x="472082" y="312256"/>
                  </a:cubicBezTo>
                  <a:cubicBezTo>
                    <a:pt x="444679" y="332634"/>
                    <a:pt x="435544" y="378307"/>
                    <a:pt x="452408" y="408521"/>
                  </a:cubicBezTo>
                  <a:cubicBezTo>
                    <a:pt x="472785" y="445762"/>
                    <a:pt x="503702" y="449979"/>
                    <a:pt x="530404" y="419764"/>
                  </a:cubicBezTo>
                  <a:cubicBezTo>
                    <a:pt x="538133" y="410629"/>
                    <a:pt x="544457" y="395874"/>
                    <a:pt x="560618" y="403603"/>
                  </a:cubicBezTo>
                  <a:cubicBezTo>
                    <a:pt x="576779" y="410629"/>
                    <a:pt x="592238" y="422575"/>
                    <a:pt x="592238" y="441547"/>
                  </a:cubicBezTo>
                  <a:cubicBezTo>
                    <a:pt x="593643" y="487922"/>
                    <a:pt x="592238" y="534298"/>
                    <a:pt x="592941" y="581377"/>
                  </a:cubicBezTo>
                  <a:cubicBezTo>
                    <a:pt x="592941" y="596835"/>
                    <a:pt x="582401" y="593322"/>
                    <a:pt x="574671" y="593322"/>
                  </a:cubicBezTo>
                  <a:cubicBezTo>
                    <a:pt x="505108" y="592619"/>
                    <a:pt x="437652" y="591917"/>
                    <a:pt x="370196" y="59191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C56CD2F6-6F64-4A3C-BCEA-804A09DDC6E1}"/>
                </a:ext>
              </a:extLst>
            </p:cNvPr>
            <p:cNvSpPr/>
            <p:nvPr/>
          </p:nvSpPr>
          <p:spPr>
            <a:xfrm>
              <a:off x="8391592" y="-14380"/>
              <a:ext cx="1026185" cy="1026186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9A0E4B94-34B5-4987-AC59-AF13FF5F23DF}"/>
                </a:ext>
              </a:extLst>
            </p:cNvPr>
            <p:cNvSpPr/>
            <p:nvPr/>
          </p:nvSpPr>
          <p:spPr>
            <a:xfrm>
              <a:off x="7381166" y="6073556"/>
              <a:ext cx="1282731" cy="769640"/>
            </a:xfrm>
            <a:custGeom>
              <a:avLst/>
              <a:gdLst>
                <a:gd name="connsiteX0" fmla="*/ 370725 w 737797"/>
                <a:gd name="connsiteY0" fmla="*/ 441321 h 442678"/>
                <a:gd name="connsiteX1" fmla="*/ 178898 w 737797"/>
                <a:gd name="connsiteY1" fmla="*/ 442023 h 442678"/>
                <a:gd name="connsiteX2" fmla="*/ 148684 w 737797"/>
                <a:gd name="connsiteY2" fmla="*/ 413214 h 442678"/>
                <a:gd name="connsiteX3" fmla="*/ 149386 w 737797"/>
                <a:gd name="connsiteY3" fmla="*/ 303599 h 442678"/>
                <a:gd name="connsiteX4" fmla="*/ 138846 w 737797"/>
                <a:gd name="connsiteY4" fmla="*/ 274087 h 442678"/>
                <a:gd name="connsiteX5" fmla="*/ 110037 w 737797"/>
                <a:gd name="connsiteY5" fmla="*/ 274790 h 442678"/>
                <a:gd name="connsiteX6" fmla="*/ 55230 w 737797"/>
                <a:gd name="connsiteY6" fmla="*/ 301491 h 442678"/>
                <a:gd name="connsiteX7" fmla="*/ 2530 w 737797"/>
                <a:gd name="connsiteY7" fmla="*/ 243872 h 442678"/>
                <a:gd name="connsiteX8" fmla="*/ 40473 w 737797"/>
                <a:gd name="connsiteY8" fmla="*/ 146905 h 442678"/>
                <a:gd name="connsiteX9" fmla="*/ 105119 w 737797"/>
                <a:gd name="connsiteY9" fmla="*/ 160255 h 442678"/>
                <a:gd name="connsiteX10" fmla="*/ 127604 w 737797"/>
                <a:gd name="connsiteY10" fmla="*/ 175714 h 442678"/>
                <a:gd name="connsiteX11" fmla="*/ 149386 w 737797"/>
                <a:gd name="connsiteY11" fmla="*/ 143391 h 442678"/>
                <a:gd name="connsiteX12" fmla="*/ 148684 w 737797"/>
                <a:gd name="connsiteY12" fmla="*/ 23236 h 442678"/>
                <a:gd name="connsiteX13" fmla="*/ 170466 w 737797"/>
                <a:gd name="connsiteY13" fmla="*/ 48 h 442678"/>
                <a:gd name="connsiteX14" fmla="*/ 290622 w 737797"/>
                <a:gd name="connsiteY14" fmla="*/ 751 h 442678"/>
                <a:gd name="connsiteX15" fmla="*/ 330673 w 737797"/>
                <a:gd name="connsiteY15" fmla="*/ 19722 h 442678"/>
                <a:gd name="connsiteX16" fmla="*/ 327160 w 737797"/>
                <a:gd name="connsiteY16" fmla="*/ 59072 h 442678"/>
                <a:gd name="connsiteX17" fmla="*/ 301864 w 737797"/>
                <a:gd name="connsiteY17" fmla="*/ 105447 h 442678"/>
                <a:gd name="connsiteX18" fmla="*/ 357375 w 737797"/>
                <a:gd name="connsiteY18" fmla="*/ 148310 h 442678"/>
                <a:gd name="connsiteX19" fmla="*/ 419209 w 737797"/>
                <a:gd name="connsiteY19" fmla="*/ 132851 h 442678"/>
                <a:gd name="connsiteX20" fmla="*/ 419209 w 737797"/>
                <a:gd name="connsiteY20" fmla="*/ 63287 h 442678"/>
                <a:gd name="connsiteX21" fmla="*/ 401643 w 737797"/>
                <a:gd name="connsiteY21" fmla="*/ 35884 h 442678"/>
                <a:gd name="connsiteX22" fmla="*/ 437478 w 737797"/>
                <a:gd name="connsiteY22" fmla="*/ 2156 h 442678"/>
                <a:gd name="connsiteX23" fmla="*/ 582228 w 737797"/>
                <a:gd name="connsiteY23" fmla="*/ 751 h 442678"/>
                <a:gd name="connsiteX24" fmla="*/ 591362 w 737797"/>
                <a:gd name="connsiteY24" fmla="*/ 19020 h 442678"/>
                <a:gd name="connsiteX25" fmla="*/ 591362 w 737797"/>
                <a:gd name="connsiteY25" fmla="*/ 134257 h 442678"/>
                <a:gd name="connsiteX26" fmla="*/ 596983 w 737797"/>
                <a:gd name="connsiteY26" fmla="*/ 160255 h 442678"/>
                <a:gd name="connsiteX27" fmla="*/ 634224 w 737797"/>
                <a:gd name="connsiteY27" fmla="*/ 164471 h 442678"/>
                <a:gd name="connsiteX28" fmla="*/ 722760 w 737797"/>
                <a:gd name="connsiteY28" fmla="*/ 165174 h 442678"/>
                <a:gd name="connsiteX29" fmla="*/ 695356 w 737797"/>
                <a:gd name="connsiteY29" fmla="*/ 298680 h 442678"/>
                <a:gd name="connsiteX30" fmla="*/ 637035 w 737797"/>
                <a:gd name="connsiteY30" fmla="*/ 283221 h 442678"/>
                <a:gd name="connsiteX31" fmla="*/ 613144 w 737797"/>
                <a:gd name="connsiteY31" fmla="*/ 267060 h 442678"/>
                <a:gd name="connsiteX32" fmla="*/ 591362 w 737797"/>
                <a:gd name="connsiteY32" fmla="*/ 302193 h 442678"/>
                <a:gd name="connsiteX33" fmla="*/ 592065 w 737797"/>
                <a:gd name="connsiteY33" fmla="*/ 420241 h 442678"/>
                <a:gd name="connsiteX34" fmla="*/ 570282 w 737797"/>
                <a:gd name="connsiteY34" fmla="*/ 442726 h 442678"/>
                <a:gd name="connsiteX35" fmla="*/ 370725 w 737797"/>
                <a:gd name="connsiteY35" fmla="*/ 441321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37797" h="442678">
                  <a:moveTo>
                    <a:pt x="370725" y="441321"/>
                  </a:moveTo>
                  <a:cubicBezTo>
                    <a:pt x="306783" y="441321"/>
                    <a:pt x="242840" y="440618"/>
                    <a:pt x="178898" y="442023"/>
                  </a:cubicBezTo>
                  <a:cubicBezTo>
                    <a:pt x="155710" y="442726"/>
                    <a:pt x="146576" y="438510"/>
                    <a:pt x="148684" y="413214"/>
                  </a:cubicBezTo>
                  <a:cubicBezTo>
                    <a:pt x="151494" y="376676"/>
                    <a:pt x="149386" y="340137"/>
                    <a:pt x="149386" y="303599"/>
                  </a:cubicBezTo>
                  <a:cubicBezTo>
                    <a:pt x="149386" y="292356"/>
                    <a:pt x="147981" y="282519"/>
                    <a:pt x="138846" y="274087"/>
                  </a:cubicBezTo>
                  <a:cubicBezTo>
                    <a:pt x="128306" y="264250"/>
                    <a:pt x="119874" y="260736"/>
                    <a:pt x="110037" y="274790"/>
                  </a:cubicBezTo>
                  <a:cubicBezTo>
                    <a:pt x="96686" y="293761"/>
                    <a:pt x="79823" y="309923"/>
                    <a:pt x="55230" y="301491"/>
                  </a:cubicBezTo>
                  <a:cubicBezTo>
                    <a:pt x="28528" y="292356"/>
                    <a:pt x="8853" y="274087"/>
                    <a:pt x="2530" y="243872"/>
                  </a:cubicBezTo>
                  <a:cubicBezTo>
                    <a:pt x="-5902" y="201010"/>
                    <a:pt x="6746" y="166579"/>
                    <a:pt x="40473" y="146905"/>
                  </a:cubicBezTo>
                  <a:cubicBezTo>
                    <a:pt x="65067" y="132148"/>
                    <a:pt x="82633" y="136365"/>
                    <a:pt x="105119" y="160255"/>
                  </a:cubicBezTo>
                  <a:cubicBezTo>
                    <a:pt x="111443" y="167282"/>
                    <a:pt x="114956" y="181335"/>
                    <a:pt x="127604" y="175714"/>
                  </a:cubicBezTo>
                  <a:cubicBezTo>
                    <a:pt x="140252" y="170092"/>
                    <a:pt x="149386" y="159552"/>
                    <a:pt x="149386" y="143391"/>
                  </a:cubicBezTo>
                  <a:cubicBezTo>
                    <a:pt x="149386" y="103339"/>
                    <a:pt x="150089" y="63287"/>
                    <a:pt x="148684" y="23236"/>
                  </a:cubicBezTo>
                  <a:cubicBezTo>
                    <a:pt x="147981" y="6372"/>
                    <a:pt x="150792" y="-655"/>
                    <a:pt x="170466" y="48"/>
                  </a:cubicBezTo>
                  <a:cubicBezTo>
                    <a:pt x="210518" y="2156"/>
                    <a:pt x="250570" y="751"/>
                    <a:pt x="290622" y="751"/>
                  </a:cubicBezTo>
                  <a:cubicBezTo>
                    <a:pt x="307486" y="751"/>
                    <a:pt x="320836" y="7074"/>
                    <a:pt x="330673" y="19722"/>
                  </a:cubicBezTo>
                  <a:cubicBezTo>
                    <a:pt x="341916" y="33775"/>
                    <a:pt x="344024" y="46424"/>
                    <a:pt x="327160" y="59072"/>
                  </a:cubicBezTo>
                  <a:cubicBezTo>
                    <a:pt x="312404" y="70314"/>
                    <a:pt x="292730" y="82259"/>
                    <a:pt x="301864" y="105447"/>
                  </a:cubicBezTo>
                  <a:cubicBezTo>
                    <a:pt x="311702" y="129338"/>
                    <a:pt x="329268" y="146202"/>
                    <a:pt x="357375" y="148310"/>
                  </a:cubicBezTo>
                  <a:cubicBezTo>
                    <a:pt x="379860" y="150418"/>
                    <a:pt x="400940" y="149013"/>
                    <a:pt x="419209" y="132851"/>
                  </a:cubicBezTo>
                  <a:cubicBezTo>
                    <a:pt x="448018" y="106150"/>
                    <a:pt x="448018" y="89286"/>
                    <a:pt x="419209" y="63287"/>
                  </a:cubicBezTo>
                  <a:cubicBezTo>
                    <a:pt x="410777" y="56261"/>
                    <a:pt x="396724" y="50640"/>
                    <a:pt x="401643" y="35884"/>
                  </a:cubicBezTo>
                  <a:cubicBezTo>
                    <a:pt x="407264" y="19020"/>
                    <a:pt x="418506" y="2859"/>
                    <a:pt x="437478" y="2156"/>
                  </a:cubicBezTo>
                  <a:cubicBezTo>
                    <a:pt x="485962" y="48"/>
                    <a:pt x="534446" y="751"/>
                    <a:pt x="582228" y="751"/>
                  </a:cubicBezTo>
                  <a:cubicBezTo>
                    <a:pt x="596983" y="751"/>
                    <a:pt x="591362" y="11993"/>
                    <a:pt x="591362" y="19020"/>
                  </a:cubicBezTo>
                  <a:cubicBezTo>
                    <a:pt x="592065" y="57666"/>
                    <a:pt x="591362" y="95610"/>
                    <a:pt x="591362" y="134257"/>
                  </a:cubicBezTo>
                  <a:cubicBezTo>
                    <a:pt x="591362" y="143391"/>
                    <a:pt x="592065" y="152526"/>
                    <a:pt x="596983" y="160255"/>
                  </a:cubicBezTo>
                  <a:cubicBezTo>
                    <a:pt x="608929" y="179930"/>
                    <a:pt x="618766" y="180632"/>
                    <a:pt x="634224" y="164471"/>
                  </a:cubicBezTo>
                  <a:cubicBezTo>
                    <a:pt x="665142" y="130041"/>
                    <a:pt x="692545" y="130743"/>
                    <a:pt x="722760" y="165174"/>
                  </a:cubicBezTo>
                  <a:cubicBezTo>
                    <a:pt x="758596" y="205928"/>
                    <a:pt x="743840" y="274790"/>
                    <a:pt x="695356" y="298680"/>
                  </a:cubicBezTo>
                  <a:cubicBezTo>
                    <a:pt x="671465" y="310625"/>
                    <a:pt x="653899" y="300788"/>
                    <a:pt x="637035" y="283221"/>
                  </a:cubicBezTo>
                  <a:cubicBezTo>
                    <a:pt x="630711" y="276195"/>
                    <a:pt x="627901" y="260033"/>
                    <a:pt x="613144" y="267060"/>
                  </a:cubicBezTo>
                  <a:cubicBezTo>
                    <a:pt x="599794" y="273384"/>
                    <a:pt x="591362" y="285330"/>
                    <a:pt x="591362" y="302193"/>
                  </a:cubicBezTo>
                  <a:cubicBezTo>
                    <a:pt x="591362" y="341543"/>
                    <a:pt x="590659" y="380892"/>
                    <a:pt x="592065" y="420241"/>
                  </a:cubicBezTo>
                  <a:cubicBezTo>
                    <a:pt x="592767" y="437807"/>
                    <a:pt x="588551" y="443429"/>
                    <a:pt x="570282" y="442726"/>
                  </a:cubicBezTo>
                  <a:cubicBezTo>
                    <a:pt x="504232" y="440618"/>
                    <a:pt x="437478" y="441321"/>
                    <a:pt x="370725" y="44132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D506BE6C-3DEC-4D98-A9CB-B8B3F18BC009}"/>
                </a:ext>
              </a:extLst>
            </p:cNvPr>
            <p:cNvSpPr/>
            <p:nvPr/>
          </p:nvSpPr>
          <p:spPr>
            <a:xfrm flipH="1">
              <a:off x="7370814" y="1511907"/>
              <a:ext cx="1026185" cy="1026186"/>
            </a:xfrm>
            <a:custGeom>
              <a:avLst/>
              <a:gdLst>
                <a:gd name="connsiteX0" fmla="*/ 527 w 590237"/>
                <a:gd name="connsiteY0" fmla="*/ 78746 h 590237"/>
                <a:gd name="connsiteX1" fmla="*/ 527 w 590237"/>
                <a:gd name="connsiteY1" fmla="*/ 21128 h 590237"/>
                <a:gd name="connsiteX2" fmla="*/ 19499 w 590237"/>
                <a:gd name="connsiteY2" fmla="*/ 751 h 590237"/>
                <a:gd name="connsiteX3" fmla="*/ 139654 w 590237"/>
                <a:gd name="connsiteY3" fmla="*/ 751 h 590237"/>
                <a:gd name="connsiteX4" fmla="*/ 181814 w 590237"/>
                <a:gd name="connsiteY4" fmla="*/ 21128 h 590237"/>
                <a:gd name="connsiteX5" fmla="*/ 179004 w 590237"/>
                <a:gd name="connsiteY5" fmla="*/ 60477 h 590237"/>
                <a:gd name="connsiteX6" fmla="*/ 153708 w 590237"/>
                <a:gd name="connsiteY6" fmla="*/ 106150 h 590237"/>
                <a:gd name="connsiteX7" fmla="*/ 211326 w 590237"/>
                <a:gd name="connsiteY7" fmla="*/ 149013 h 590237"/>
                <a:gd name="connsiteX8" fmla="*/ 278079 w 590237"/>
                <a:gd name="connsiteY8" fmla="*/ 126528 h 590237"/>
                <a:gd name="connsiteX9" fmla="*/ 274566 w 590237"/>
                <a:gd name="connsiteY9" fmla="*/ 68206 h 590237"/>
                <a:gd name="connsiteX10" fmla="*/ 254188 w 590237"/>
                <a:gd name="connsiteY10" fmla="*/ 34479 h 590237"/>
                <a:gd name="connsiteX11" fmla="*/ 301970 w 590237"/>
                <a:gd name="connsiteY11" fmla="*/ 751 h 590237"/>
                <a:gd name="connsiteX12" fmla="*/ 424936 w 590237"/>
                <a:gd name="connsiteY12" fmla="*/ 48 h 590237"/>
                <a:gd name="connsiteX13" fmla="*/ 442503 w 590237"/>
                <a:gd name="connsiteY13" fmla="*/ 19723 h 590237"/>
                <a:gd name="connsiteX14" fmla="*/ 442503 w 590237"/>
                <a:gd name="connsiteY14" fmla="*/ 134959 h 590237"/>
                <a:gd name="connsiteX15" fmla="*/ 450934 w 590237"/>
                <a:gd name="connsiteY15" fmla="*/ 165877 h 590237"/>
                <a:gd name="connsiteX16" fmla="*/ 484663 w 590237"/>
                <a:gd name="connsiteY16" fmla="*/ 167282 h 590237"/>
                <a:gd name="connsiteX17" fmla="*/ 574603 w 590237"/>
                <a:gd name="connsiteY17" fmla="*/ 167985 h 590237"/>
                <a:gd name="connsiteX18" fmla="*/ 559145 w 590237"/>
                <a:gd name="connsiteY18" fmla="*/ 292356 h 590237"/>
                <a:gd name="connsiteX19" fmla="*/ 489581 w 590237"/>
                <a:gd name="connsiteY19" fmla="*/ 286032 h 590237"/>
                <a:gd name="connsiteX20" fmla="*/ 462880 w 590237"/>
                <a:gd name="connsiteY20" fmla="*/ 269168 h 590237"/>
                <a:gd name="connsiteX21" fmla="*/ 442503 w 590237"/>
                <a:gd name="connsiteY21" fmla="*/ 305004 h 590237"/>
                <a:gd name="connsiteX22" fmla="*/ 442503 w 590237"/>
                <a:gd name="connsiteY22" fmla="*/ 406188 h 590237"/>
                <a:gd name="connsiteX23" fmla="*/ 404559 w 590237"/>
                <a:gd name="connsiteY23" fmla="*/ 442726 h 590237"/>
                <a:gd name="connsiteX24" fmla="*/ 308997 w 590237"/>
                <a:gd name="connsiteY24" fmla="*/ 442726 h 590237"/>
                <a:gd name="connsiteX25" fmla="*/ 278079 w 590237"/>
                <a:gd name="connsiteY25" fmla="*/ 451158 h 590237"/>
                <a:gd name="connsiteX26" fmla="*/ 276674 w 590237"/>
                <a:gd name="connsiteY26" fmla="*/ 483481 h 590237"/>
                <a:gd name="connsiteX27" fmla="*/ 301267 w 590237"/>
                <a:gd name="connsiteY27" fmla="*/ 541099 h 590237"/>
                <a:gd name="connsiteX28" fmla="*/ 235919 w 590237"/>
                <a:gd name="connsiteY28" fmla="*/ 590988 h 590237"/>
                <a:gd name="connsiteX29" fmla="*/ 153005 w 590237"/>
                <a:gd name="connsiteY29" fmla="*/ 560774 h 590237"/>
                <a:gd name="connsiteX30" fmla="*/ 160032 w 590237"/>
                <a:gd name="connsiteY30" fmla="*/ 489102 h 590237"/>
                <a:gd name="connsiteX31" fmla="*/ 176193 w 590237"/>
                <a:gd name="connsiteY31" fmla="*/ 465211 h 590237"/>
                <a:gd name="connsiteX32" fmla="*/ 141060 w 590237"/>
                <a:gd name="connsiteY32" fmla="*/ 443429 h 590237"/>
                <a:gd name="connsiteX33" fmla="*/ 20904 w 590237"/>
                <a:gd name="connsiteY33" fmla="*/ 444132 h 590237"/>
                <a:gd name="connsiteX34" fmla="*/ 527 w 590237"/>
                <a:gd name="connsiteY34" fmla="*/ 423052 h 590237"/>
                <a:gd name="connsiteX35" fmla="*/ 527 w 590237"/>
                <a:gd name="connsiteY35" fmla="*/ 307815 h 590237"/>
                <a:gd name="connsiteX36" fmla="*/ 14580 w 590237"/>
                <a:gd name="connsiteY36" fmla="*/ 267763 h 590237"/>
                <a:gd name="connsiteX37" fmla="*/ 61659 w 590237"/>
                <a:gd name="connsiteY37" fmla="*/ 268466 h 590237"/>
                <a:gd name="connsiteX38" fmla="*/ 103819 w 590237"/>
                <a:gd name="connsiteY38" fmla="*/ 291654 h 590237"/>
                <a:gd name="connsiteX39" fmla="*/ 147384 w 590237"/>
                <a:gd name="connsiteY39" fmla="*/ 243872 h 590237"/>
                <a:gd name="connsiteX40" fmla="*/ 123493 w 590237"/>
                <a:gd name="connsiteY40" fmla="*/ 165174 h 590237"/>
                <a:gd name="connsiteX41" fmla="*/ 67280 w 590237"/>
                <a:gd name="connsiteY41" fmla="*/ 170795 h 590237"/>
                <a:gd name="connsiteX42" fmla="*/ 32849 w 590237"/>
                <a:gd name="connsiteY42" fmla="*/ 191173 h 590237"/>
                <a:gd name="connsiteX43" fmla="*/ 527 w 590237"/>
                <a:gd name="connsiteY43" fmla="*/ 147607 h 590237"/>
                <a:gd name="connsiteX44" fmla="*/ 527 w 590237"/>
                <a:gd name="connsiteY44" fmla="*/ 111772 h 590237"/>
                <a:gd name="connsiteX45" fmla="*/ 527 w 590237"/>
                <a:gd name="connsiteY45" fmla="*/ 78746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90237">
                  <a:moveTo>
                    <a:pt x="527" y="78746"/>
                  </a:moveTo>
                  <a:cubicBezTo>
                    <a:pt x="527" y="59774"/>
                    <a:pt x="1229" y="40100"/>
                    <a:pt x="527" y="21128"/>
                  </a:cubicBezTo>
                  <a:cubicBezTo>
                    <a:pt x="-176" y="7075"/>
                    <a:pt x="2635" y="48"/>
                    <a:pt x="19499" y="751"/>
                  </a:cubicBezTo>
                  <a:cubicBezTo>
                    <a:pt x="59551" y="2156"/>
                    <a:pt x="99602" y="1453"/>
                    <a:pt x="139654" y="751"/>
                  </a:cubicBezTo>
                  <a:cubicBezTo>
                    <a:pt x="157924" y="751"/>
                    <a:pt x="171274" y="7777"/>
                    <a:pt x="181814" y="21128"/>
                  </a:cubicBezTo>
                  <a:cubicBezTo>
                    <a:pt x="193057" y="35181"/>
                    <a:pt x="195165" y="47829"/>
                    <a:pt x="179004" y="60477"/>
                  </a:cubicBezTo>
                  <a:cubicBezTo>
                    <a:pt x="164247" y="71720"/>
                    <a:pt x="144573" y="82962"/>
                    <a:pt x="153708" y="106150"/>
                  </a:cubicBezTo>
                  <a:cubicBezTo>
                    <a:pt x="163545" y="131446"/>
                    <a:pt x="181814" y="147607"/>
                    <a:pt x="211326" y="149013"/>
                  </a:cubicBezTo>
                  <a:cubicBezTo>
                    <a:pt x="236622" y="149715"/>
                    <a:pt x="260513" y="148310"/>
                    <a:pt x="278079" y="126528"/>
                  </a:cubicBezTo>
                  <a:cubicBezTo>
                    <a:pt x="297051" y="102637"/>
                    <a:pt x="296348" y="88584"/>
                    <a:pt x="274566" y="68206"/>
                  </a:cubicBezTo>
                  <a:cubicBezTo>
                    <a:pt x="264728" y="59072"/>
                    <a:pt x="246459" y="54153"/>
                    <a:pt x="254188" y="34479"/>
                  </a:cubicBezTo>
                  <a:cubicBezTo>
                    <a:pt x="262620" y="13399"/>
                    <a:pt x="278079" y="751"/>
                    <a:pt x="301970" y="751"/>
                  </a:cubicBezTo>
                  <a:cubicBezTo>
                    <a:pt x="342724" y="751"/>
                    <a:pt x="384181" y="1453"/>
                    <a:pt x="424936" y="48"/>
                  </a:cubicBezTo>
                  <a:cubicBezTo>
                    <a:pt x="441097" y="-655"/>
                    <a:pt x="442503" y="6372"/>
                    <a:pt x="442503" y="19723"/>
                  </a:cubicBezTo>
                  <a:cubicBezTo>
                    <a:pt x="441800" y="58369"/>
                    <a:pt x="442503" y="96313"/>
                    <a:pt x="442503" y="134959"/>
                  </a:cubicBezTo>
                  <a:cubicBezTo>
                    <a:pt x="442503" y="146202"/>
                    <a:pt x="443205" y="156742"/>
                    <a:pt x="450934" y="165877"/>
                  </a:cubicBezTo>
                  <a:cubicBezTo>
                    <a:pt x="461474" y="179227"/>
                    <a:pt x="470609" y="184849"/>
                    <a:pt x="484663" y="167282"/>
                  </a:cubicBezTo>
                  <a:cubicBezTo>
                    <a:pt x="513472" y="131446"/>
                    <a:pt x="545091" y="132149"/>
                    <a:pt x="574603" y="167985"/>
                  </a:cubicBezTo>
                  <a:cubicBezTo>
                    <a:pt x="604115" y="203118"/>
                    <a:pt x="595683" y="265655"/>
                    <a:pt x="559145" y="292356"/>
                  </a:cubicBezTo>
                  <a:cubicBezTo>
                    <a:pt x="531741" y="312031"/>
                    <a:pt x="512769" y="309923"/>
                    <a:pt x="489581" y="286032"/>
                  </a:cubicBezTo>
                  <a:cubicBezTo>
                    <a:pt x="482554" y="278303"/>
                    <a:pt x="479041" y="260736"/>
                    <a:pt x="462880" y="269168"/>
                  </a:cubicBezTo>
                  <a:cubicBezTo>
                    <a:pt x="449529" y="276195"/>
                    <a:pt x="442503" y="288843"/>
                    <a:pt x="442503" y="305004"/>
                  </a:cubicBezTo>
                  <a:cubicBezTo>
                    <a:pt x="442503" y="338732"/>
                    <a:pt x="442503" y="372460"/>
                    <a:pt x="442503" y="406188"/>
                  </a:cubicBezTo>
                  <a:cubicBezTo>
                    <a:pt x="442503" y="442726"/>
                    <a:pt x="442503" y="442726"/>
                    <a:pt x="404559" y="442726"/>
                  </a:cubicBezTo>
                  <a:cubicBezTo>
                    <a:pt x="372939" y="442726"/>
                    <a:pt x="340616" y="442726"/>
                    <a:pt x="308997" y="442726"/>
                  </a:cubicBezTo>
                  <a:cubicBezTo>
                    <a:pt x="297754" y="442726"/>
                    <a:pt x="287214" y="443429"/>
                    <a:pt x="278079" y="451158"/>
                  </a:cubicBezTo>
                  <a:cubicBezTo>
                    <a:pt x="266837" y="460995"/>
                    <a:pt x="259107" y="470130"/>
                    <a:pt x="276674" y="483481"/>
                  </a:cubicBezTo>
                  <a:cubicBezTo>
                    <a:pt x="295646" y="497534"/>
                    <a:pt x="312510" y="514398"/>
                    <a:pt x="301267" y="541099"/>
                  </a:cubicBezTo>
                  <a:cubicBezTo>
                    <a:pt x="289322" y="569206"/>
                    <a:pt x="268945" y="588880"/>
                    <a:pt x="235919" y="590988"/>
                  </a:cubicBezTo>
                  <a:cubicBezTo>
                    <a:pt x="203597" y="593096"/>
                    <a:pt x="174085" y="588880"/>
                    <a:pt x="153005" y="560774"/>
                  </a:cubicBezTo>
                  <a:cubicBezTo>
                    <a:pt x="132628" y="533370"/>
                    <a:pt x="134736" y="512290"/>
                    <a:pt x="160032" y="489102"/>
                  </a:cubicBezTo>
                  <a:cubicBezTo>
                    <a:pt x="167058" y="482778"/>
                    <a:pt x="183219" y="479967"/>
                    <a:pt x="176193" y="465211"/>
                  </a:cubicBezTo>
                  <a:cubicBezTo>
                    <a:pt x="169869" y="451861"/>
                    <a:pt x="157924" y="443429"/>
                    <a:pt x="141060" y="443429"/>
                  </a:cubicBezTo>
                  <a:cubicBezTo>
                    <a:pt x="101008" y="443429"/>
                    <a:pt x="60956" y="442726"/>
                    <a:pt x="20904" y="444132"/>
                  </a:cubicBezTo>
                  <a:cubicBezTo>
                    <a:pt x="3338" y="444834"/>
                    <a:pt x="-176" y="439213"/>
                    <a:pt x="527" y="423052"/>
                  </a:cubicBezTo>
                  <a:cubicBezTo>
                    <a:pt x="1932" y="385108"/>
                    <a:pt x="1229" y="346461"/>
                    <a:pt x="527" y="307815"/>
                  </a:cubicBezTo>
                  <a:cubicBezTo>
                    <a:pt x="527" y="292356"/>
                    <a:pt x="3338" y="279006"/>
                    <a:pt x="14580" y="267763"/>
                  </a:cubicBezTo>
                  <a:cubicBezTo>
                    <a:pt x="33552" y="249494"/>
                    <a:pt x="44092" y="249494"/>
                    <a:pt x="61659" y="268466"/>
                  </a:cubicBezTo>
                  <a:cubicBezTo>
                    <a:pt x="72901" y="281114"/>
                    <a:pt x="82739" y="297978"/>
                    <a:pt x="103819" y="291654"/>
                  </a:cubicBezTo>
                  <a:cubicBezTo>
                    <a:pt x="126304" y="283924"/>
                    <a:pt x="143168" y="269168"/>
                    <a:pt x="147384" y="243872"/>
                  </a:cubicBezTo>
                  <a:cubicBezTo>
                    <a:pt x="153005" y="213658"/>
                    <a:pt x="150897" y="185551"/>
                    <a:pt x="123493" y="165174"/>
                  </a:cubicBezTo>
                  <a:cubicBezTo>
                    <a:pt x="101008" y="147607"/>
                    <a:pt x="86954" y="149013"/>
                    <a:pt x="67280" y="170795"/>
                  </a:cubicBezTo>
                  <a:cubicBezTo>
                    <a:pt x="58145" y="181335"/>
                    <a:pt x="51821" y="198902"/>
                    <a:pt x="32849" y="191173"/>
                  </a:cubicBezTo>
                  <a:cubicBezTo>
                    <a:pt x="13878" y="183443"/>
                    <a:pt x="1932" y="168687"/>
                    <a:pt x="527" y="147607"/>
                  </a:cubicBezTo>
                  <a:cubicBezTo>
                    <a:pt x="-176" y="135662"/>
                    <a:pt x="527" y="123717"/>
                    <a:pt x="527" y="111772"/>
                  </a:cubicBezTo>
                  <a:cubicBezTo>
                    <a:pt x="-176" y="100529"/>
                    <a:pt x="-176" y="89989"/>
                    <a:pt x="527" y="787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DFD1A454-BEC3-47E2-AACD-F594873C4797}"/>
                </a:ext>
              </a:extLst>
            </p:cNvPr>
            <p:cNvSpPr/>
            <p:nvPr/>
          </p:nvSpPr>
          <p:spPr>
            <a:xfrm flipH="1">
              <a:off x="8137483" y="1250418"/>
              <a:ext cx="1026185" cy="1013970"/>
            </a:xfrm>
            <a:custGeom>
              <a:avLst/>
              <a:gdLst>
                <a:gd name="connsiteX0" fmla="*/ 710 w 590237"/>
                <a:gd name="connsiteY0" fmla="*/ 508487 h 583211"/>
                <a:gd name="connsiteX1" fmla="*/ 710 w 590237"/>
                <a:gd name="connsiteY1" fmla="*/ 448058 h 583211"/>
                <a:gd name="connsiteX2" fmla="*/ 16168 w 590237"/>
                <a:gd name="connsiteY2" fmla="*/ 411520 h 583211"/>
                <a:gd name="connsiteX3" fmla="*/ 61841 w 590237"/>
                <a:gd name="connsiteY3" fmla="*/ 413628 h 583211"/>
                <a:gd name="connsiteX4" fmla="*/ 103298 w 590237"/>
                <a:gd name="connsiteY4" fmla="*/ 437518 h 583211"/>
                <a:gd name="connsiteX5" fmla="*/ 146864 w 590237"/>
                <a:gd name="connsiteY5" fmla="*/ 389737 h 583211"/>
                <a:gd name="connsiteX6" fmla="*/ 125081 w 590237"/>
                <a:gd name="connsiteY6" fmla="*/ 312444 h 583211"/>
                <a:gd name="connsiteX7" fmla="*/ 66760 w 590237"/>
                <a:gd name="connsiteY7" fmla="*/ 316660 h 583211"/>
                <a:gd name="connsiteX8" fmla="*/ 33032 w 590237"/>
                <a:gd name="connsiteY8" fmla="*/ 336335 h 583211"/>
                <a:gd name="connsiteX9" fmla="*/ 710 w 590237"/>
                <a:gd name="connsiteY9" fmla="*/ 290661 h 583211"/>
                <a:gd name="connsiteX10" fmla="*/ 710 w 590237"/>
                <a:gd name="connsiteY10" fmla="*/ 164884 h 583211"/>
                <a:gd name="connsiteX11" fmla="*/ 17574 w 590237"/>
                <a:gd name="connsiteY11" fmla="*/ 148021 h 583211"/>
                <a:gd name="connsiteX12" fmla="*/ 135621 w 590237"/>
                <a:gd name="connsiteY12" fmla="*/ 148723 h 583211"/>
                <a:gd name="connsiteX13" fmla="*/ 165836 w 590237"/>
                <a:gd name="connsiteY13" fmla="*/ 139589 h 583211"/>
                <a:gd name="connsiteX14" fmla="*/ 167241 w 590237"/>
                <a:gd name="connsiteY14" fmla="*/ 107969 h 583211"/>
                <a:gd name="connsiteX15" fmla="*/ 141242 w 590237"/>
                <a:gd name="connsiteY15" fmla="*/ 52458 h 583211"/>
                <a:gd name="connsiteX16" fmla="*/ 203077 w 590237"/>
                <a:gd name="connsiteY16" fmla="*/ 1164 h 583211"/>
                <a:gd name="connsiteX17" fmla="*/ 293018 w 590237"/>
                <a:gd name="connsiteY17" fmla="*/ 32784 h 583211"/>
                <a:gd name="connsiteX18" fmla="*/ 286694 w 590237"/>
                <a:gd name="connsiteY18" fmla="*/ 100239 h 583211"/>
                <a:gd name="connsiteX19" fmla="*/ 268424 w 590237"/>
                <a:gd name="connsiteY19" fmla="*/ 126238 h 583211"/>
                <a:gd name="connsiteX20" fmla="*/ 306368 w 590237"/>
                <a:gd name="connsiteY20" fmla="*/ 148021 h 583211"/>
                <a:gd name="connsiteX21" fmla="*/ 421605 w 590237"/>
                <a:gd name="connsiteY21" fmla="*/ 147318 h 583211"/>
                <a:gd name="connsiteX22" fmla="*/ 443388 w 590237"/>
                <a:gd name="connsiteY22" fmla="*/ 169803 h 583211"/>
                <a:gd name="connsiteX23" fmla="*/ 442685 w 590237"/>
                <a:gd name="connsiteY23" fmla="*/ 282229 h 583211"/>
                <a:gd name="connsiteX24" fmla="*/ 453928 w 590237"/>
                <a:gd name="connsiteY24" fmla="*/ 314552 h 583211"/>
                <a:gd name="connsiteX25" fmla="*/ 482737 w 590237"/>
                <a:gd name="connsiteY25" fmla="*/ 314552 h 583211"/>
                <a:gd name="connsiteX26" fmla="*/ 539653 w 590237"/>
                <a:gd name="connsiteY26" fmla="*/ 288554 h 583211"/>
                <a:gd name="connsiteX27" fmla="*/ 590947 w 590237"/>
                <a:gd name="connsiteY27" fmla="*/ 353198 h 583211"/>
                <a:gd name="connsiteX28" fmla="*/ 560030 w 590237"/>
                <a:gd name="connsiteY28" fmla="*/ 438221 h 583211"/>
                <a:gd name="connsiteX29" fmla="*/ 489763 w 590237"/>
                <a:gd name="connsiteY29" fmla="*/ 431897 h 583211"/>
                <a:gd name="connsiteX30" fmla="*/ 465873 w 590237"/>
                <a:gd name="connsiteY30" fmla="*/ 414330 h 583211"/>
                <a:gd name="connsiteX31" fmla="*/ 441982 w 590237"/>
                <a:gd name="connsiteY31" fmla="*/ 450869 h 583211"/>
                <a:gd name="connsiteX32" fmla="*/ 442685 w 590237"/>
                <a:gd name="connsiteY32" fmla="*/ 568214 h 583211"/>
                <a:gd name="connsiteX33" fmla="*/ 419497 w 590237"/>
                <a:gd name="connsiteY33" fmla="*/ 589996 h 583211"/>
                <a:gd name="connsiteX34" fmla="*/ 307071 w 590237"/>
                <a:gd name="connsiteY34" fmla="*/ 589996 h 583211"/>
                <a:gd name="connsiteX35" fmla="*/ 263506 w 590237"/>
                <a:gd name="connsiteY35" fmla="*/ 572430 h 583211"/>
                <a:gd name="connsiteX36" fmla="*/ 266316 w 590237"/>
                <a:gd name="connsiteY36" fmla="*/ 528864 h 583211"/>
                <a:gd name="connsiteX37" fmla="*/ 289504 w 590237"/>
                <a:gd name="connsiteY37" fmla="*/ 485299 h 583211"/>
                <a:gd name="connsiteX38" fmla="*/ 237507 w 590237"/>
                <a:gd name="connsiteY38" fmla="*/ 442437 h 583211"/>
                <a:gd name="connsiteX39" fmla="*/ 167241 w 590237"/>
                <a:gd name="connsiteY39" fmla="*/ 462111 h 583211"/>
                <a:gd name="connsiteX40" fmla="*/ 170051 w 590237"/>
                <a:gd name="connsiteY40" fmla="*/ 523946 h 583211"/>
                <a:gd name="connsiteX41" fmla="*/ 189023 w 590237"/>
                <a:gd name="connsiteY41" fmla="*/ 555566 h 583211"/>
                <a:gd name="connsiteX42" fmla="*/ 148971 w 590237"/>
                <a:gd name="connsiteY42" fmla="*/ 587888 h 583211"/>
                <a:gd name="connsiteX43" fmla="*/ 11952 w 590237"/>
                <a:gd name="connsiteY43" fmla="*/ 589294 h 583211"/>
                <a:gd name="connsiteX44" fmla="*/ 7 w 590237"/>
                <a:gd name="connsiteY44" fmla="*/ 573132 h 583211"/>
                <a:gd name="connsiteX45" fmla="*/ 710 w 590237"/>
                <a:gd name="connsiteY45" fmla="*/ 508487 h 58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83211">
                  <a:moveTo>
                    <a:pt x="710" y="508487"/>
                  </a:moveTo>
                  <a:cubicBezTo>
                    <a:pt x="710" y="488110"/>
                    <a:pt x="1412" y="468435"/>
                    <a:pt x="710" y="448058"/>
                  </a:cubicBezTo>
                  <a:cubicBezTo>
                    <a:pt x="7" y="433302"/>
                    <a:pt x="5628" y="421357"/>
                    <a:pt x="16168" y="411520"/>
                  </a:cubicBezTo>
                  <a:cubicBezTo>
                    <a:pt x="32329" y="396764"/>
                    <a:pt x="47085" y="393250"/>
                    <a:pt x="61841" y="413628"/>
                  </a:cubicBezTo>
                  <a:cubicBezTo>
                    <a:pt x="71678" y="427681"/>
                    <a:pt x="83624" y="444545"/>
                    <a:pt x="103298" y="437518"/>
                  </a:cubicBezTo>
                  <a:cubicBezTo>
                    <a:pt x="125081" y="429789"/>
                    <a:pt x="142648" y="415033"/>
                    <a:pt x="146864" y="389737"/>
                  </a:cubicBezTo>
                  <a:cubicBezTo>
                    <a:pt x="151782" y="360928"/>
                    <a:pt x="150377" y="333524"/>
                    <a:pt x="125081" y="312444"/>
                  </a:cubicBezTo>
                  <a:cubicBezTo>
                    <a:pt x="101893" y="293472"/>
                    <a:pt x="87840" y="294877"/>
                    <a:pt x="66760" y="316660"/>
                  </a:cubicBezTo>
                  <a:cubicBezTo>
                    <a:pt x="57625" y="325795"/>
                    <a:pt x="53409" y="345469"/>
                    <a:pt x="33032" y="336335"/>
                  </a:cubicBezTo>
                  <a:cubicBezTo>
                    <a:pt x="13357" y="327903"/>
                    <a:pt x="710" y="313849"/>
                    <a:pt x="710" y="290661"/>
                  </a:cubicBezTo>
                  <a:cubicBezTo>
                    <a:pt x="710" y="248502"/>
                    <a:pt x="1412" y="207044"/>
                    <a:pt x="710" y="164884"/>
                  </a:cubicBezTo>
                  <a:cubicBezTo>
                    <a:pt x="710" y="151534"/>
                    <a:pt x="4223" y="148021"/>
                    <a:pt x="17574" y="148021"/>
                  </a:cubicBezTo>
                  <a:cubicBezTo>
                    <a:pt x="56923" y="148723"/>
                    <a:pt x="96272" y="148021"/>
                    <a:pt x="135621" y="148723"/>
                  </a:cubicBezTo>
                  <a:cubicBezTo>
                    <a:pt x="146864" y="148723"/>
                    <a:pt x="157404" y="147318"/>
                    <a:pt x="165836" y="139589"/>
                  </a:cubicBezTo>
                  <a:cubicBezTo>
                    <a:pt x="177781" y="129049"/>
                    <a:pt x="184808" y="119914"/>
                    <a:pt x="167241" y="107969"/>
                  </a:cubicBezTo>
                  <a:cubicBezTo>
                    <a:pt x="148269" y="95321"/>
                    <a:pt x="134216" y="77754"/>
                    <a:pt x="141242" y="52458"/>
                  </a:cubicBezTo>
                  <a:cubicBezTo>
                    <a:pt x="147566" y="27865"/>
                    <a:pt x="177078" y="3974"/>
                    <a:pt x="203077" y="1164"/>
                  </a:cubicBezTo>
                  <a:cubicBezTo>
                    <a:pt x="238210" y="-2349"/>
                    <a:pt x="270533" y="461"/>
                    <a:pt x="293018" y="32784"/>
                  </a:cubicBezTo>
                  <a:cubicBezTo>
                    <a:pt x="311287" y="58782"/>
                    <a:pt x="308476" y="78457"/>
                    <a:pt x="286694" y="100239"/>
                  </a:cubicBezTo>
                  <a:cubicBezTo>
                    <a:pt x="279667" y="107969"/>
                    <a:pt x="261398" y="110779"/>
                    <a:pt x="268424" y="126238"/>
                  </a:cubicBezTo>
                  <a:cubicBezTo>
                    <a:pt x="275451" y="140994"/>
                    <a:pt x="288802" y="148021"/>
                    <a:pt x="306368" y="148021"/>
                  </a:cubicBezTo>
                  <a:cubicBezTo>
                    <a:pt x="345015" y="147318"/>
                    <a:pt x="382959" y="148723"/>
                    <a:pt x="421605" y="147318"/>
                  </a:cubicBezTo>
                  <a:cubicBezTo>
                    <a:pt x="440577" y="146615"/>
                    <a:pt x="444090" y="152939"/>
                    <a:pt x="443388" y="169803"/>
                  </a:cubicBezTo>
                  <a:cubicBezTo>
                    <a:pt x="441982" y="207044"/>
                    <a:pt x="443388" y="244285"/>
                    <a:pt x="442685" y="282229"/>
                  </a:cubicBezTo>
                  <a:cubicBezTo>
                    <a:pt x="442685" y="294877"/>
                    <a:pt x="445496" y="305417"/>
                    <a:pt x="453928" y="314552"/>
                  </a:cubicBezTo>
                  <a:cubicBezTo>
                    <a:pt x="463765" y="324389"/>
                    <a:pt x="472197" y="328605"/>
                    <a:pt x="482737" y="314552"/>
                  </a:cubicBezTo>
                  <a:cubicBezTo>
                    <a:pt x="496790" y="295580"/>
                    <a:pt x="512952" y="278014"/>
                    <a:pt x="539653" y="288554"/>
                  </a:cubicBezTo>
                  <a:cubicBezTo>
                    <a:pt x="568462" y="299796"/>
                    <a:pt x="588136" y="320173"/>
                    <a:pt x="590947" y="353198"/>
                  </a:cubicBezTo>
                  <a:cubicBezTo>
                    <a:pt x="593758" y="386927"/>
                    <a:pt x="589542" y="416438"/>
                    <a:pt x="560030" y="438221"/>
                  </a:cubicBezTo>
                  <a:cubicBezTo>
                    <a:pt x="534032" y="457193"/>
                    <a:pt x="512952" y="455085"/>
                    <a:pt x="489763" y="431897"/>
                  </a:cubicBezTo>
                  <a:cubicBezTo>
                    <a:pt x="482737" y="424870"/>
                    <a:pt x="479224" y="408709"/>
                    <a:pt x="465873" y="414330"/>
                  </a:cubicBezTo>
                  <a:cubicBezTo>
                    <a:pt x="451117" y="420654"/>
                    <a:pt x="441982" y="433302"/>
                    <a:pt x="441982" y="450869"/>
                  </a:cubicBezTo>
                  <a:cubicBezTo>
                    <a:pt x="441982" y="490218"/>
                    <a:pt x="440577" y="529567"/>
                    <a:pt x="442685" y="568214"/>
                  </a:cubicBezTo>
                  <a:cubicBezTo>
                    <a:pt x="443388" y="587186"/>
                    <a:pt x="437064" y="590699"/>
                    <a:pt x="419497" y="589996"/>
                  </a:cubicBezTo>
                  <a:cubicBezTo>
                    <a:pt x="382256" y="588591"/>
                    <a:pt x="345015" y="589294"/>
                    <a:pt x="307071" y="589996"/>
                  </a:cubicBezTo>
                  <a:cubicBezTo>
                    <a:pt x="289504" y="589996"/>
                    <a:pt x="274748" y="586483"/>
                    <a:pt x="263506" y="572430"/>
                  </a:cubicBezTo>
                  <a:cubicBezTo>
                    <a:pt x="250155" y="556971"/>
                    <a:pt x="247344" y="543621"/>
                    <a:pt x="266316" y="528864"/>
                  </a:cubicBezTo>
                  <a:cubicBezTo>
                    <a:pt x="280370" y="518324"/>
                    <a:pt x="297936" y="507082"/>
                    <a:pt x="289504" y="485299"/>
                  </a:cubicBezTo>
                  <a:cubicBezTo>
                    <a:pt x="280370" y="462111"/>
                    <a:pt x="264911" y="445248"/>
                    <a:pt x="237507" y="442437"/>
                  </a:cubicBezTo>
                  <a:cubicBezTo>
                    <a:pt x="211509" y="439626"/>
                    <a:pt x="186915" y="440329"/>
                    <a:pt x="167241" y="462111"/>
                  </a:cubicBezTo>
                  <a:cubicBezTo>
                    <a:pt x="144756" y="487407"/>
                    <a:pt x="145458" y="502163"/>
                    <a:pt x="170051" y="523946"/>
                  </a:cubicBezTo>
                  <a:cubicBezTo>
                    <a:pt x="179186" y="532378"/>
                    <a:pt x="196050" y="537296"/>
                    <a:pt x="189023" y="555566"/>
                  </a:cubicBezTo>
                  <a:cubicBezTo>
                    <a:pt x="181997" y="573835"/>
                    <a:pt x="168646" y="587186"/>
                    <a:pt x="148971" y="587888"/>
                  </a:cubicBezTo>
                  <a:cubicBezTo>
                    <a:pt x="103298" y="589294"/>
                    <a:pt x="57625" y="588591"/>
                    <a:pt x="11952" y="589294"/>
                  </a:cubicBezTo>
                  <a:cubicBezTo>
                    <a:pt x="-696" y="589294"/>
                    <a:pt x="7" y="581564"/>
                    <a:pt x="7" y="573132"/>
                  </a:cubicBezTo>
                  <a:cubicBezTo>
                    <a:pt x="1412" y="552053"/>
                    <a:pt x="1412" y="530270"/>
                    <a:pt x="710" y="50848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62E62412-9E33-4204-B7B4-EAA749B858C2}"/>
                </a:ext>
              </a:extLst>
            </p:cNvPr>
            <p:cNvSpPr/>
            <p:nvPr/>
          </p:nvSpPr>
          <p:spPr>
            <a:xfrm>
              <a:off x="8131056" y="740838"/>
              <a:ext cx="1282731" cy="769640"/>
            </a:xfrm>
            <a:custGeom>
              <a:avLst/>
              <a:gdLst>
                <a:gd name="connsiteX0" fmla="*/ 220814 w 737797"/>
                <a:gd name="connsiteY0" fmla="*/ 442759 h 442678"/>
                <a:gd name="connsiteX1" fmla="*/ 153359 w 737797"/>
                <a:gd name="connsiteY1" fmla="*/ 437841 h 442678"/>
                <a:gd name="connsiteX2" fmla="*/ 149143 w 737797"/>
                <a:gd name="connsiteY2" fmla="*/ 366169 h 442678"/>
                <a:gd name="connsiteX3" fmla="*/ 149143 w 737797"/>
                <a:gd name="connsiteY3" fmla="*/ 302929 h 442678"/>
                <a:gd name="connsiteX4" fmla="*/ 127360 w 737797"/>
                <a:gd name="connsiteY4" fmla="*/ 267796 h 442678"/>
                <a:gd name="connsiteX5" fmla="*/ 103470 w 737797"/>
                <a:gd name="connsiteY5" fmla="*/ 283957 h 442678"/>
                <a:gd name="connsiteX6" fmla="*/ 31095 w 737797"/>
                <a:gd name="connsiteY6" fmla="*/ 290984 h 442678"/>
                <a:gd name="connsiteX7" fmla="*/ 28987 w 737797"/>
                <a:gd name="connsiteY7" fmla="*/ 153965 h 442678"/>
                <a:gd name="connsiteX8" fmla="*/ 102767 w 737797"/>
                <a:gd name="connsiteY8" fmla="*/ 160288 h 442678"/>
                <a:gd name="connsiteX9" fmla="*/ 127360 w 737797"/>
                <a:gd name="connsiteY9" fmla="*/ 175747 h 442678"/>
                <a:gd name="connsiteX10" fmla="*/ 148440 w 737797"/>
                <a:gd name="connsiteY10" fmla="*/ 142722 h 442678"/>
                <a:gd name="connsiteX11" fmla="*/ 147738 w 737797"/>
                <a:gd name="connsiteY11" fmla="*/ 24674 h 442678"/>
                <a:gd name="connsiteX12" fmla="*/ 173736 w 737797"/>
                <a:gd name="connsiteY12" fmla="*/ 81 h 442678"/>
                <a:gd name="connsiteX13" fmla="*/ 288973 w 737797"/>
                <a:gd name="connsiteY13" fmla="*/ 81 h 442678"/>
                <a:gd name="connsiteX14" fmla="*/ 325511 w 737797"/>
                <a:gd name="connsiteY14" fmla="*/ 14134 h 442678"/>
                <a:gd name="connsiteX15" fmla="*/ 323404 w 737797"/>
                <a:gd name="connsiteY15" fmla="*/ 60510 h 442678"/>
                <a:gd name="connsiteX16" fmla="*/ 300918 w 737797"/>
                <a:gd name="connsiteY16" fmla="*/ 100562 h 442678"/>
                <a:gd name="connsiteX17" fmla="*/ 342376 w 737797"/>
                <a:gd name="connsiteY17" fmla="*/ 144127 h 442678"/>
                <a:gd name="connsiteX18" fmla="*/ 425290 w 737797"/>
                <a:gd name="connsiteY18" fmla="*/ 125155 h 442678"/>
                <a:gd name="connsiteX19" fmla="*/ 421074 w 737797"/>
                <a:gd name="connsiteY19" fmla="*/ 64726 h 442678"/>
                <a:gd name="connsiteX20" fmla="*/ 401399 w 737797"/>
                <a:gd name="connsiteY20" fmla="*/ 33106 h 442678"/>
                <a:gd name="connsiteX21" fmla="*/ 441451 w 737797"/>
                <a:gd name="connsiteY21" fmla="*/ 783 h 442678"/>
                <a:gd name="connsiteX22" fmla="*/ 578470 w 737797"/>
                <a:gd name="connsiteY22" fmla="*/ 81 h 442678"/>
                <a:gd name="connsiteX23" fmla="*/ 591821 w 737797"/>
                <a:gd name="connsiteY23" fmla="*/ 17648 h 442678"/>
                <a:gd name="connsiteX24" fmla="*/ 591821 w 737797"/>
                <a:gd name="connsiteY24" fmla="*/ 135695 h 442678"/>
                <a:gd name="connsiteX25" fmla="*/ 602361 w 737797"/>
                <a:gd name="connsiteY25" fmla="*/ 168018 h 442678"/>
                <a:gd name="connsiteX26" fmla="*/ 631170 w 737797"/>
                <a:gd name="connsiteY26" fmla="*/ 166612 h 442678"/>
                <a:gd name="connsiteX27" fmla="*/ 683168 w 737797"/>
                <a:gd name="connsiteY27" fmla="*/ 139208 h 442678"/>
                <a:gd name="connsiteX28" fmla="*/ 737975 w 737797"/>
                <a:gd name="connsiteY28" fmla="*/ 194719 h 442678"/>
                <a:gd name="connsiteX29" fmla="*/ 711977 w 737797"/>
                <a:gd name="connsiteY29" fmla="*/ 286768 h 442678"/>
                <a:gd name="connsiteX30" fmla="*/ 636089 w 737797"/>
                <a:gd name="connsiteY30" fmla="*/ 281849 h 442678"/>
                <a:gd name="connsiteX31" fmla="*/ 614306 w 737797"/>
                <a:gd name="connsiteY31" fmla="*/ 266391 h 442678"/>
                <a:gd name="connsiteX32" fmla="*/ 592524 w 737797"/>
                <a:gd name="connsiteY32" fmla="*/ 298011 h 442678"/>
                <a:gd name="connsiteX33" fmla="*/ 593226 w 737797"/>
                <a:gd name="connsiteY33" fmla="*/ 418166 h 442678"/>
                <a:gd name="connsiteX34" fmla="*/ 571444 w 737797"/>
                <a:gd name="connsiteY34" fmla="*/ 441354 h 442678"/>
                <a:gd name="connsiteX35" fmla="*/ 453396 w 737797"/>
                <a:gd name="connsiteY35" fmla="*/ 441354 h 442678"/>
                <a:gd name="connsiteX36" fmla="*/ 411939 w 737797"/>
                <a:gd name="connsiteY36" fmla="*/ 424490 h 442678"/>
                <a:gd name="connsiteX37" fmla="*/ 415452 w 737797"/>
                <a:gd name="connsiteY37" fmla="*/ 380925 h 442678"/>
                <a:gd name="connsiteX38" fmla="*/ 439343 w 737797"/>
                <a:gd name="connsiteY38" fmla="*/ 338765 h 442678"/>
                <a:gd name="connsiteX39" fmla="*/ 394372 w 737797"/>
                <a:gd name="connsiteY39" fmla="*/ 295902 h 442678"/>
                <a:gd name="connsiteX40" fmla="*/ 318485 w 737797"/>
                <a:gd name="connsiteY40" fmla="*/ 312766 h 442678"/>
                <a:gd name="connsiteX41" fmla="*/ 320593 w 737797"/>
                <a:gd name="connsiteY41" fmla="*/ 377412 h 442678"/>
                <a:gd name="connsiteX42" fmla="*/ 338862 w 737797"/>
                <a:gd name="connsiteY42" fmla="*/ 409032 h 442678"/>
                <a:gd name="connsiteX43" fmla="*/ 298107 w 737797"/>
                <a:gd name="connsiteY43" fmla="*/ 440651 h 442678"/>
                <a:gd name="connsiteX44" fmla="*/ 220814 w 737797"/>
                <a:gd name="connsiteY44" fmla="*/ 44275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37797" h="442678">
                  <a:moveTo>
                    <a:pt x="220814" y="442759"/>
                  </a:moveTo>
                  <a:cubicBezTo>
                    <a:pt x="201140" y="440651"/>
                    <a:pt x="167412" y="454002"/>
                    <a:pt x="153359" y="437841"/>
                  </a:cubicBezTo>
                  <a:cubicBezTo>
                    <a:pt x="140711" y="423787"/>
                    <a:pt x="149845" y="390762"/>
                    <a:pt x="149143" y="366169"/>
                  </a:cubicBezTo>
                  <a:cubicBezTo>
                    <a:pt x="149143" y="345089"/>
                    <a:pt x="148440" y="324009"/>
                    <a:pt x="149143" y="302929"/>
                  </a:cubicBezTo>
                  <a:cubicBezTo>
                    <a:pt x="149845" y="286065"/>
                    <a:pt x="141413" y="274120"/>
                    <a:pt x="127360" y="267796"/>
                  </a:cubicBezTo>
                  <a:cubicBezTo>
                    <a:pt x="112604" y="260769"/>
                    <a:pt x="109794" y="276931"/>
                    <a:pt x="103470" y="283957"/>
                  </a:cubicBezTo>
                  <a:cubicBezTo>
                    <a:pt x="79579" y="309253"/>
                    <a:pt x="59905" y="309956"/>
                    <a:pt x="31095" y="290984"/>
                  </a:cubicBezTo>
                  <a:cubicBezTo>
                    <a:pt x="-10362" y="263580"/>
                    <a:pt x="-9659" y="181368"/>
                    <a:pt x="28987" y="153965"/>
                  </a:cubicBezTo>
                  <a:cubicBezTo>
                    <a:pt x="58499" y="133587"/>
                    <a:pt x="78174" y="133587"/>
                    <a:pt x="102767" y="160288"/>
                  </a:cubicBezTo>
                  <a:cubicBezTo>
                    <a:pt x="109091" y="167315"/>
                    <a:pt x="112604" y="183476"/>
                    <a:pt x="127360" y="175747"/>
                  </a:cubicBezTo>
                  <a:cubicBezTo>
                    <a:pt x="140008" y="169423"/>
                    <a:pt x="148440" y="158883"/>
                    <a:pt x="148440" y="142722"/>
                  </a:cubicBezTo>
                  <a:cubicBezTo>
                    <a:pt x="148440" y="103373"/>
                    <a:pt x="149845" y="64023"/>
                    <a:pt x="147738" y="24674"/>
                  </a:cubicBezTo>
                  <a:cubicBezTo>
                    <a:pt x="146332" y="2892"/>
                    <a:pt x="154061" y="-621"/>
                    <a:pt x="173736" y="81"/>
                  </a:cubicBezTo>
                  <a:cubicBezTo>
                    <a:pt x="211680" y="1486"/>
                    <a:pt x="250326" y="783"/>
                    <a:pt x="288973" y="81"/>
                  </a:cubicBezTo>
                  <a:cubicBezTo>
                    <a:pt x="303729" y="81"/>
                    <a:pt x="315674" y="3594"/>
                    <a:pt x="325511" y="14134"/>
                  </a:cubicBezTo>
                  <a:cubicBezTo>
                    <a:pt x="343781" y="33106"/>
                    <a:pt x="343781" y="42943"/>
                    <a:pt x="323404" y="60510"/>
                  </a:cubicBezTo>
                  <a:cubicBezTo>
                    <a:pt x="310756" y="71050"/>
                    <a:pt x="295999" y="80887"/>
                    <a:pt x="300918" y="100562"/>
                  </a:cubicBezTo>
                  <a:cubicBezTo>
                    <a:pt x="306539" y="122345"/>
                    <a:pt x="320593" y="137803"/>
                    <a:pt x="342376" y="144127"/>
                  </a:cubicBezTo>
                  <a:cubicBezTo>
                    <a:pt x="373292" y="152559"/>
                    <a:pt x="402102" y="151154"/>
                    <a:pt x="425290" y="125155"/>
                  </a:cubicBezTo>
                  <a:cubicBezTo>
                    <a:pt x="446370" y="101967"/>
                    <a:pt x="444964" y="85103"/>
                    <a:pt x="421074" y="64726"/>
                  </a:cubicBezTo>
                  <a:cubicBezTo>
                    <a:pt x="411237" y="56294"/>
                    <a:pt x="395075" y="49970"/>
                    <a:pt x="401399" y="33106"/>
                  </a:cubicBezTo>
                  <a:cubicBezTo>
                    <a:pt x="408426" y="14837"/>
                    <a:pt x="421074" y="783"/>
                    <a:pt x="441451" y="783"/>
                  </a:cubicBezTo>
                  <a:cubicBezTo>
                    <a:pt x="487124" y="81"/>
                    <a:pt x="532797" y="783"/>
                    <a:pt x="578470" y="81"/>
                  </a:cubicBezTo>
                  <a:cubicBezTo>
                    <a:pt x="592524" y="81"/>
                    <a:pt x="591821" y="8513"/>
                    <a:pt x="591821" y="17648"/>
                  </a:cubicBezTo>
                  <a:cubicBezTo>
                    <a:pt x="591821" y="56997"/>
                    <a:pt x="591821" y="96346"/>
                    <a:pt x="591821" y="135695"/>
                  </a:cubicBezTo>
                  <a:cubicBezTo>
                    <a:pt x="591821" y="147640"/>
                    <a:pt x="592524" y="158883"/>
                    <a:pt x="602361" y="168018"/>
                  </a:cubicBezTo>
                  <a:cubicBezTo>
                    <a:pt x="612901" y="177855"/>
                    <a:pt x="621333" y="180666"/>
                    <a:pt x="631170" y="166612"/>
                  </a:cubicBezTo>
                  <a:cubicBezTo>
                    <a:pt x="643818" y="149046"/>
                    <a:pt x="659277" y="132182"/>
                    <a:pt x="683168" y="139208"/>
                  </a:cubicBezTo>
                  <a:cubicBezTo>
                    <a:pt x="710571" y="146938"/>
                    <a:pt x="731651" y="165207"/>
                    <a:pt x="737975" y="194719"/>
                  </a:cubicBezTo>
                  <a:cubicBezTo>
                    <a:pt x="745002" y="229149"/>
                    <a:pt x="742191" y="261472"/>
                    <a:pt x="711977" y="286768"/>
                  </a:cubicBezTo>
                  <a:cubicBezTo>
                    <a:pt x="683168" y="309956"/>
                    <a:pt x="660682" y="308551"/>
                    <a:pt x="636089" y="281849"/>
                  </a:cubicBezTo>
                  <a:cubicBezTo>
                    <a:pt x="629765" y="275525"/>
                    <a:pt x="626954" y="260769"/>
                    <a:pt x="614306" y="266391"/>
                  </a:cubicBezTo>
                  <a:cubicBezTo>
                    <a:pt x="601658" y="272012"/>
                    <a:pt x="592524" y="282552"/>
                    <a:pt x="592524" y="298011"/>
                  </a:cubicBezTo>
                  <a:cubicBezTo>
                    <a:pt x="592524" y="338062"/>
                    <a:pt x="591821" y="378114"/>
                    <a:pt x="593226" y="418166"/>
                  </a:cubicBezTo>
                  <a:cubicBezTo>
                    <a:pt x="593929" y="435030"/>
                    <a:pt x="590416" y="442057"/>
                    <a:pt x="571444" y="441354"/>
                  </a:cubicBezTo>
                  <a:cubicBezTo>
                    <a:pt x="532095" y="439948"/>
                    <a:pt x="492745" y="440651"/>
                    <a:pt x="453396" y="441354"/>
                  </a:cubicBezTo>
                  <a:cubicBezTo>
                    <a:pt x="436532" y="441354"/>
                    <a:pt x="423182" y="437138"/>
                    <a:pt x="411939" y="424490"/>
                  </a:cubicBezTo>
                  <a:cubicBezTo>
                    <a:pt x="397886" y="408329"/>
                    <a:pt x="396480" y="394275"/>
                    <a:pt x="415452" y="380925"/>
                  </a:cubicBezTo>
                  <a:cubicBezTo>
                    <a:pt x="429506" y="371087"/>
                    <a:pt x="445667" y="359142"/>
                    <a:pt x="439343" y="338765"/>
                  </a:cubicBezTo>
                  <a:cubicBezTo>
                    <a:pt x="432316" y="316982"/>
                    <a:pt x="417560" y="301524"/>
                    <a:pt x="394372" y="295902"/>
                  </a:cubicBezTo>
                  <a:cubicBezTo>
                    <a:pt x="366266" y="289579"/>
                    <a:pt x="340267" y="290984"/>
                    <a:pt x="318485" y="312766"/>
                  </a:cubicBezTo>
                  <a:cubicBezTo>
                    <a:pt x="294594" y="336657"/>
                    <a:pt x="295999" y="354224"/>
                    <a:pt x="320593" y="377412"/>
                  </a:cubicBezTo>
                  <a:cubicBezTo>
                    <a:pt x="329727" y="385844"/>
                    <a:pt x="347294" y="390060"/>
                    <a:pt x="338862" y="409032"/>
                  </a:cubicBezTo>
                  <a:cubicBezTo>
                    <a:pt x="330430" y="426598"/>
                    <a:pt x="319187" y="439948"/>
                    <a:pt x="298107" y="440651"/>
                  </a:cubicBezTo>
                  <a:cubicBezTo>
                    <a:pt x="274217" y="443462"/>
                    <a:pt x="250326" y="442759"/>
                    <a:pt x="220814" y="44275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C1EF3DD2-9D07-4229-AFBA-9678FD242042}"/>
                </a:ext>
              </a:extLst>
            </p:cNvPr>
            <p:cNvSpPr/>
            <p:nvPr/>
          </p:nvSpPr>
          <p:spPr>
            <a:xfrm>
              <a:off x="8403485" y="5817009"/>
              <a:ext cx="769640" cy="1026186"/>
            </a:xfrm>
            <a:custGeom>
              <a:avLst/>
              <a:gdLst>
                <a:gd name="connsiteX0" fmla="*/ 222808 w 442678"/>
                <a:gd name="connsiteY0" fmla="*/ 592910 h 590237"/>
                <a:gd name="connsiteX1" fmla="*/ 22549 w 442678"/>
                <a:gd name="connsiteY1" fmla="*/ 593613 h 590237"/>
                <a:gd name="connsiteX2" fmla="*/ 64 w 442678"/>
                <a:gd name="connsiteY2" fmla="*/ 570425 h 590237"/>
                <a:gd name="connsiteX3" fmla="*/ 64 w 442678"/>
                <a:gd name="connsiteY3" fmla="*/ 457998 h 590237"/>
                <a:gd name="connsiteX4" fmla="*/ 15523 w 442678"/>
                <a:gd name="connsiteY4" fmla="*/ 415839 h 590237"/>
                <a:gd name="connsiteX5" fmla="*/ 62601 w 442678"/>
                <a:gd name="connsiteY5" fmla="*/ 417947 h 590237"/>
                <a:gd name="connsiteX6" fmla="*/ 104761 w 442678"/>
                <a:gd name="connsiteY6" fmla="*/ 440432 h 590237"/>
                <a:gd name="connsiteX7" fmla="*/ 147624 w 442678"/>
                <a:gd name="connsiteY7" fmla="*/ 391245 h 590237"/>
                <a:gd name="connsiteX8" fmla="*/ 127246 w 442678"/>
                <a:gd name="connsiteY8" fmla="*/ 316061 h 590237"/>
                <a:gd name="connsiteX9" fmla="*/ 66817 w 442678"/>
                <a:gd name="connsiteY9" fmla="*/ 319574 h 590237"/>
                <a:gd name="connsiteX10" fmla="*/ 35900 w 442678"/>
                <a:gd name="connsiteY10" fmla="*/ 339249 h 590237"/>
                <a:gd name="connsiteX11" fmla="*/ 1469 w 442678"/>
                <a:gd name="connsiteY11" fmla="*/ 297791 h 590237"/>
                <a:gd name="connsiteX12" fmla="*/ 767 w 442678"/>
                <a:gd name="connsiteY12" fmla="*/ 163583 h 590237"/>
                <a:gd name="connsiteX13" fmla="*/ 19036 w 442678"/>
                <a:gd name="connsiteY13" fmla="*/ 150934 h 590237"/>
                <a:gd name="connsiteX14" fmla="*/ 137084 w 442678"/>
                <a:gd name="connsiteY14" fmla="*/ 150934 h 590237"/>
                <a:gd name="connsiteX15" fmla="*/ 165190 w 442678"/>
                <a:gd name="connsiteY15" fmla="*/ 143205 h 590237"/>
                <a:gd name="connsiteX16" fmla="*/ 166595 w 442678"/>
                <a:gd name="connsiteY16" fmla="*/ 107369 h 590237"/>
                <a:gd name="connsiteX17" fmla="*/ 163785 w 442678"/>
                <a:gd name="connsiteY17" fmla="*/ 22347 h 590237"/>
                <a:gd name="connsiteX18" fmla="*/ 290967 w 442678"/>
                <a:gd name="connsiteY18" fmla="*/ 30779 h 590237"/>
                <a:gd name="connsiteX19" fmla="*/ 286048 w 442678"/>
                <a:gd name="connsiteY19" fmla="*/ 104559 h 590237"/>
                <a:gd name="connsiteX20" fmla="*/ 270590 w 442678"/>
                <a:gd name="connsiteY20" fmla="*/ 129152 h 590237"/>
                <a:gd name="connsiteX21" fmla="*/ 303615 w 442678"/>
                <a:gd name="connsiteY21" fmla="*/ 150232 h 590237"/>
                <a:gd name="connsiteX22" fmla="*/ 421662 w 442678"/>
                <a:gd name="connsiteY22" fmla="*/ 149529 h 590237"/>
                <a:gd name="connsiteX23" fmla="*/ 446256 w 442678"/>
                <a:gd name="connsiteY23" fmla="*/ 175528 h 590237"/>
                <a:gd name="connsiteX24" fmla="*/ 446256 w 442678"/>
                <a:gd name="connsiteY24" fmla="*/ 287954 h 590237"/>
                <a:gd name="connsiteX25" fmla="*/ 428689 w 442678"/>
                <a:gd name="connsiteY25" fmla="*/ 329411 h 590237"/>
                <a:gd name="connsiteX26" fmla="*/ 385827 w 442678"/>
                <a:gd name="connsiteY26" fmla="*/ 327303 h 590237"/>
                <a:gd name="connsiteX27" fmla="*/ 342261 w 442678"/>
                <a:gd name="connsiteY27" fmla="*/ 303412 h 590237"/>
                <a:gd name="connsiteX28" fmla="*/ 298696 w 442678"/>
                <a:gd name="connsiteY28" fmla="*/ 357518 h 590237"/>
                <a:gd name="connsiteX29" fmla="*/ 318371 w 442678"/>
                <a:gd name="connsiteY29" fmla="*/ 425676 h 590237"/>
                <a:gd name="connsiteX30" fmla="*/ 380908 w 442678"/>
                <a:gd name="connsiteY30" fmla="*/ 422865 h 590237"/>
                <a:gd name="connsiteX31" fmla="*/ 415338 w 442678"/>
                <a:gd name="connsiteY31" fmla="*/ 404596 h 590237"/>
                <a:gd name="connsiteX32" fmla="*/ 446256 w 442678"/>
                <a:gd name="connsiteY32" fmla="*/ 446054 h 590237"/>
                <a:gd name="connsiteX33" fmla="*/ 446958 w 442678"/>
                <a:gd name="connsiteY33" fmla="*/ 577451 h 590237"/>
                <a:gd name="connsiteX34" fmla="*/ 425878 w 442678"/>
                <a:gd name="connsiteY34" fmla="*/ 592910 h 590237"/>
                <a:gd name="connsiteX35" fmla="*/ 222808 w 442678"/>
                <a:gd name="connsiteY35" fmla="*/ 59291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222808" y="592910"/>
                  </a:moveTo>
                  <a:cubicBezTo>
                    <a:pt x="156055" y="592910"/>
                    <a:pt x="89302" y="592208"/>
                    <a:pt x="22549" y="593613"/>
                  </a:cubicBezTo>
                  <a:cubicBezTo>
                    <a:pt x="4280" y="593613"/>
                    <a:pt x="-639" y="588694"/>
                    <a:pt x="64" y="570425"/>
                  </a:cubicBezTo>
                  <a:cubicBezTo>
                    <a:pt x="1469" y="533184"/>
                    <a:pt x="767" y="495240"/>
                    <a:pt x="64" y="457998"/>
                  </a:cubicBezTo>
                  <a:cubicBezTo>
                    <a:pt x="64" y="441837"/>
                    <a:pt x="3577" y="427784"/>
                    <a:pt x="15523" y="415839"/>
                  </a:cubicBezTo>
                  <a:cubicBezTo>
                    <a:pt x="33792" y="397570"/>
                    <a:pt x="45035" y="397570"/>
                    <a:pt x="62601" y="417947"/>
                  </a:cubicBezTo>
                  <a:cubicBezTo>
                    <a:pt x="73844" y="431297"/>
                    <a:pt x="85086" y="448161"/>
                    <a:pt x="104761" y="440432"/>
                  </a:cubicBezTo>
                  <a:cubicBezTo>
                    <a:pt x="126544" y="432000"/>
                    <a:pt x="144813" y="417244"/>
                    <a:pt x="147624" y="391245"/>
                  </a:cubicBezTo>
                  <a:cubicBezTo>
                    <a:pt x="150434" y="363842"/>
                    <a:pt x="152542" y="336438"/>
                    <a:pt x="127246" y="316061"/>
                  </a:cubicBezTo>
                  <a:cubicBezTo>
                    <a:pt x="102653" y="295683"/>
                    <a:pt x="87897" y="296386"/>
                    <a:pt x="66817" y="319574"/>
                  </a:cubicBezTo>
                  <a:cubicBezTo>
                    <a:pt x="58385" y="328709"/>
                    <a:pt x="54169" y="345572"/>
                    <a:pt x="35900" y="339249"/>
                  </a:cubicBezTo>
                  <a:cubicBezTo>
                    <a:pt x="15523" y="332222"/>
                    <a:pt x="2172" y="318169"/>
                    <a:pt x="1469" y="297791"/>
                  </a:cubicBezTo>
                  <a:cubicBezTo>
                    <a:pt x="-639" y="252821"/>
                    <a:pt x="1469" y="208553"/>
                    <a:pt x="767" y="163583"/>
                  </a:cubicBezTo>
                  <a:cubicBezTo>
                    <a:pt x="767" y="148827"/>
                    <a:pt x="9901" y="150934"/>
                    <a:pt x="19036" y="150934"/>
                  </a:cubicBezTo>
                  <a:cubicBezTo>
                    <a:pt x="58385" y="150934"/>
                    <a:pt x="97734" y="150934"/>
                    <a:pt x="137084" y="150934"/>
                  </a:cubicBezTo>
                  <a:cubicBezTo>
                    <a:pt x="147624" y="150934"/>
                    <a:pt x="157461" y="150232"/>
                    <a:pt x="165190" y="143205"/>
                  </a:cubicBezTo>
                  <a:cubicBezTo>
                    <a:pt x="178541" y="131963"/>
                    <a:pt x="185567" y="122828"/>
                    <a:pt x="166595" y="107369"/>
                  </a:cubicBezTo>
                  <a:cubicBezTo>
                    <a:pt x="132165" y="80668"/>
                    <a:pt x="132165" y="53264"/>
                    <a:pt x="163785" y="22347"/>
                  </a:cubicBezTo>
                  <a:cubicBezTo>
                    <a:pt x="197513" y="-10678"/>
                    <a:pt x="260752" y="-6462"/>
                    <a:pt x="290967" y="30779"/>
                  </a:cubicBezTo>
                  <a:cubicBezTo>
                    <a:pt x="314155" y="58885"/>
                    <a:pt x="312047" y="79263"/>
                    <a:pt x="286048" y="104559"/>
                  </a:cubicBezTo>
                  <a:cubicBezTo>
                    <a:pt x="279022" y="111585"/>
                    <a:pt x="263563" y="115099"/>
                    <a:pt x="270590" y="129152"/>
                  </a:cubicBezTo>
                  <a:cubicBezTo>
                    <a:pt x="276914" y="141800"/>
                    <a:pt x="288156" y="150232"/>
                    <a:pt x="303615" y="150232"/>
                  </a:cubicBezTo>
                  <a:cubicBezTo>
                    <a:pt x="342964" y="150232"/>
                    <a:pt x="382313" y="151637"/>
                    <a:pt x="421662" y="149529"/>
                  </a:cubicBezTo>
                  <a:cubicBezTo>
                    <a:pt x="443445" y="148124"/>
                    <a:pt x="446958" y="155853"/>
                    <a:pt x="446256" y="175528"/>
                  </a:cubicBezTo>
                  <a:cubicBezTo>
                    <a:pt x="444850" y="212769"/>
                    <a:pt x="445553" y="250713"/>
                    <a:pt x="446256" y="287954"/>
                  </a:cubicBezTo>
                  <a:cubicBezTo>
                    <a:pt x="446256" y="304818"/>
                    <a:pt x="441337" y="318169"/>
                    <a:pt x="428689" y="329411"/>
                  </a:cubicBezTo>
                  <a:cubicBezTo>
                    <a:pt x="413933" y="342059"/>
                    <a:pt x="399880" y="346275"/>
                    <a:pt x="385827" y="327303"/>
                  </a:cubicBezTo>
                  <a:cubicBezTo>
                    <a:pt x="375287" y="313250"/>
                    <a:pt x="364044" y="295683"/>
                    <a:pt x="342261" y="303412"/>
                  </a:cubicBezTo>
                  <a:cubicBezTo>
                    <a:pt x="316965" y="312547"/>
                    <a:pt x="300804" y="330114"/>
                    <a:pt x="298696" y="357518"/>
                  </a:cubicBezTo>
                  <a:cubicBezTo>
                    <a:pt x="296588" y="382814"/>
                    <a:pt x="297994" y="406704"/>
                    <a:pt x="318371" y="425676"/>
                  </a:cubicBezTo>
                  <a:cubicBezTo>
                    <a:pt x="342964" y="448161"/>
                    <a:pt x="358423" y="447459"/>
                    <a:pt x="380908" y="422865"/>
                  </a:cubicBezTo>
                  <a:cubicBezTo>
                    <a:pt x="390043" y="412325"/>
                    <a:pt x="397069" y="395462"/>
                    <a:pt x="415338" y="404596"/>
                  </a:cubicBezTo>
                  <a:cubicBezTo>
                    <a:pt x="432202" y="413028"/>
                    <a:pt x="445553" y="425676"/>
                    <a:pt x="446256" y="446054"/>
                  </a:cubicBezTo>
                  <a:cubicBezTo>
                    <a:pt x="446958" y="489618"/>
                    <a:pt x="445553" y="533887"/>
                    <a:pt x="446958" y="577451"/>
                  </a:cubicBezTo>
                  <a:cubicBezTo>
                    <a:pt x="447661" y="595721"/>
                    <a:pt x="436418" y="592910"/>
                    <a:pt x="425878" y="592910"/>
                  </a:cubicBezTo>
                  <a:cubicBezTo>
                    <a:pt x="355612" y="592910"/>
                    <a:pt x="288859" y="592910"/>
                    <a:pt x="222808" y="59291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B3C6D908-A0A6-4B1A-8079-76AFFCD55753}"/>
                </a:ext>
              </a:extLst>
            </p:cNvPr>
            <p:cNvSpPr/>
            <p:nvPr/>
          </p:nvSpPr>
          <p:spPr>
            <a:xfrm>
              <a:off x="9152411" y="-5588"/>
              <a:ext cx="1026185" cy="769640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8CA24A3C-F761-4D15-92BD-BCBB61102E93}"/>
                </a:ext>
              </a:extLst>
            </p:cNvPr>
            <p:cNvSpPr/>
            <p:nvPr/>
          </p:nvSpPr>
          <p:spPr>
            <a:xfrm>
              <a:off x="8921505" y="6085772"/>
              <a:ext cx="1026185" cy="757423"/>
            </a:xfrm>
            <a:custGeom>
              <a:avLst/>
              <a:gdLst>
                <a:gd name="connsiteX0" fmla="*/ 368817 w 590237"/>
                <a:gd name="connsiteY0" fmla="*/ 441448 h 435651"/>
                <a:gd name="connsiteX1" fmla="*/ 166450 w 590237"/>
                <a:gd name="connsiteY1" fmla="*/ 441448 h 435651"/>
                <a:gd name="connsiteX2" fmla="*/ 148180 w 590237"/>
                <a:gd name="connsiteY2" fmla="*/ 423882 h 435651"/>
                <a:gd name="connsiteX3" fmla="*/ 148883 w 590237"/>
                <a:gd name="connsiteY3" fmla="*/ 308645 h 435651"/>
                <a:gd name="connsiteX4" fmla="*/ 140451 w 590237"/>
                <a:gd name="connsiteY4" fmla="*/ 277728 h 435651"/>
                <a:gd name="connsiteX5" fmla="*/ 106723 w 590237"/>
                <a:gd name="connsiteY5" fmla="*/ 276322 h 435651"/>
                <a:gd name="connsiteX6" fmla="*/ 16782 w 590237"/>
                <a:gd name="connsiteY6" fmla="*/ 274917 h 435651"/>
                <a:gd name="connsiteX7" fmla="*/ 26619 w 590237"/>
                <a:gd name="connsiteY7" fmla="*/ 155465 h 435651"/>
                <a:gd name="connsiteX8" fmla="*/ 102507 w 590237"/>
                <a:gd name="connsiteY8" fmla="*/ 157572 h 435651"/>
                <a:gd name="connsiteX9" fmla="*/ 126398 w 590237"/>
                <a:gd name="connsiteY9" fmla="*/ 175139 h 435651"/>
                <a:gd name="connsiteX10" fmla="*/ 148883 w 590237"/>
                <a:gd name="connsiteY10" fmla="*/ 137898 h 435651"/>
                <a:gd name="connsiteX11" fmla="*/ 148180 w 590237"/>
                <a:gd name="connsiteY11" fmla="*/ 25472 h 435651"/>
                <a:gd name="connsiteX12" fmla="*/ 172773 w 590237"/>
                <a:gd name="connsiteY12" fmla="*/ 176 h 435651"/>
                <a:gd name="connsiteX13" fmla="*/ 290821 w 590237"/>
                <a:gd name="connsiteY13" fmla="*/ 176 h 435651"/>
                <a:gd name="connsiteX14" fmla="*/ 332278 w 590237"/>
                <a:gd name="connsiteY14" fmla="*/ 22661 h 435651"/>
                <a:gd name="connsiteX15" fmla="*/ 328062 w 590237"/>
                <a:gd name="connsiteY15" fmla="*/ 57794 h 435651"/>
                <a:gd name="connsiteX16" fmla="*/ 303469 w 590237"/>
                <a:gd name="connsiteY16" fmla="*/ 111196 h 435651"/>
                <a:gd name="connsiteX17" fmla="*/ 381465 w 590237"/>
                <a:gd name="connsiteY17" fmla="*/ 148438 h 435651"/>
                <a:gd name="connsiteX18" fmla="*/ 439083 w 590237"/>
                <a:gd name="connsiteY18" fmla="*/ 100656 h 435651"/>
                <a:gd name="connsiteX19" fmla="*/ 418706 w 590237"/>
                <a:gd name="connsiteY19" fmla="*/ 64118 h 435651"/>
                <a:gd name="connsiteX20" fmla="*/ 401842 w 590237"/>
                <a:gd name="connsiteY20" fmla="*/ 31093 h 435651"/>
                <a:gd name="connsiteX21" fmla="*/ 437678 w 590237"/>
                <a:gd name="connsiteY21" fmla="*/ 878 h 435651"/>
                <a:gd name="connsiteX22" fmla="*/ 580319 w 590237"/>
                <a:gd name="connsiteY22" fmla="*/ 176 h 435651"/>
                <a:gd name="connsiteX23" fmla="*/ 590859 w 590237"/>
                <a:gd name="connsiteY23" fmla="*/ 14229 h 435651"/>
                <a:gd name="connsiteX24" fmla="*/ 590859 w 590237"/>
                <a:gd name="connsiteY24" fmla="*/ 142816 h 435651"/>
                <a:gd name="connsiteX25" fmla="*/ 569779 w 590237"/>
                <a:gd name="connsiteY25" fmla="*/ 182166 h 435651"/>
                <a:gd name="connsiteX26" fmla="*/ 532537 w 590237"/>
                <a:gd name="connsiteY26" fmla="*/ 178652 h 435651"/>
                <a:gd name="connsiteX27" fmla="*/ 486864 w 590237"/>
                <a:gd name="connsiteY27" fmla="*/ 152654 h 435651"/>
                <a:gd name="connsiteX28" fmla="*/ 442596 w 590237"/>
                <a:gd name="connsiteY28" fmla="*/ 209569 h 435651"/>
                <a:gd name="connsiteX29" fmla="*/ 462271 w 590237"/>
                <a:gd name="connsiteY29" fmla="*/ 274917 h 435651"/>
                <a:gd name="connsiteX30" fmla="*/ 526213 w 590237"/>
                <a:gd name="connsiteY30" fmla="*/ 270701 h 435651"/>
                <a:gd name="connsiteX31" fmla="*/ 556428 w 590237"/>
                <a:gd name="connsiteY31" fmla="*/ 253135 h 435651"/>
                <a:gd name="connsiteX32" fmla="*/ 588048 w 590237"/>
                <a:gd name="connsiteY32" fmla="*/ 287565 h 435651"/>
                <a:gd name="connsiteX33" fmla="*/ 590156 w 590237"/>
                <a:gd name="connsiteY33" fmla="*/ 432314 h 435651"/>
                <a:gd name="connsiteX34" fmla="*/ 569076 w 590237"/>
                <a:gd name="connsiteY34" fmla="*/ 441448 h 435651"/>
                <a:gd name="connsiteX35" fmla="*/ 368817 w 590237"/>
                <a:gd name="connsiteY35" fmla="*/ 441448 h 43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90237" h="435651">
                  <a:moveTo>
                    <a:pt x="368817" y="441448"/>
                  </a:moveTo>
                  <a:cubicBezTo>
                    <a:pt x="301361" y="441448"/>
                    <a:pt x="233905" y="440746"/>
                    <a:pt x="166450" y="441448"/>
                  </a:cubicBezTo>
                  <a:cubicBezTo>
                    <a:pt x="152396" y="441448"/>
                    <a:pt x="147478" y="438638"/>
                    <a:pt x="148180" y="423882"/>
                  </a:cubicBezTo>
                  <a:cubicBezTo>
                    <a:pt x="149586" y="385235"/>
                    <a:pt x="148180" y="347292"/>
                    <a:pt x="148883" y="308645"/>
                  </a:cubicBezTo>
                  <a:cubicBezTo>
                    <a:pt x="148883" y="297402"/>
                    <a:pt x="148180" y="286862"/>
                    <a:pt x="140451" y="277728"/>
                  </a:cubicBezTo>
                  <a:cubicBezTo>
                    <a:pt x="129208" y="264377"/>
                    <a:pt x="120776" y="258756"/>
                    <a:pt x="106723" y="276322"/>
                  </a:cubicBezTo>
                  <a:cubicBezTo>
                    <a:pt x="77211" y="312159"/>
                    <a:pt x="46294" y="310753"/>
                    <a:pt x="16782" y="274917"/>
                  </a:cubicBezTo>
                  <a:cubicBezTo>
                    <a:pt x="-9216" y="243298"/>
                    <a:pt x="-4298" y="182868"/>
                    <a:pt x="26619" y="155465"/>
                  </a:cubicBezTo>
                  <a:cubicBezTo>
                    <a:pt x="54726" y="130871"/>
                    <a:pt x="77914" y="131574"/>
                    <a:pt x="102507" y="157572"/>
                  </a:cubicBezTo>
                  <a:cubicBezTo>
                    <a:pt x="109534" y="164599"/>
                    <a:pt x="112344" y="180760"/>
                    <a:pt x="126398" y="175139"/>
                  </a:cubicBezTo>
                  <a:cubicBezTo>
                    <a:pt x="141154" y="168815"/>
                    <a:pt x="148883" y="155465"/>
                    <a:pt x="148883" y="137898"/>
                  </a:cubicBezTo>
                  <a:cubicBezTo>
                    <a:pt x="148883" y="100656"/>
                    <a:pt x="150288" y="62713"/>
                    <a:pt x="148180" y="25472"/>
                  </a:cubicBezTo>
                  <a:cubicBezTo>
                    <a:pt x="147478" y="5797"/>
                    <a:pt x="151694" y="-1230"/>
                    <a:pt x="172773" y="176"/>
                  </a:cubicBezTo>
                  <a:cubicBezTo>
                    <a:pt x="212123" y="2283"/>
                    <a:pt x="251472" y="1581"/>
                    <a:pt x="290821" y="176"/>
                  </a:cubicBezTo>
                  <a:cubicBezTo>
                    <a:pt x="309793" y="-527"/>
                    <a:pt x="321738" y="8608"/>
                    <a:pt x="332278" y="22661"/>
                  </a:cubicBezTo>
                  <a:cubicBezTo>
                    <a:pt x="341413" y="35309"/>
                    <a:pt x="342116" y="46552"/>
                    <a:pt x="328062" y="57794"/>
                  </a:cubicBezTo>
                  <a:cubicBezTo>
                    <a:pt x="311901" y="71145"/>
                    <a:pt x="289416" y="83090"/>
                    <a:pt x="303469" y="111196"/>
                  </a:cubicBezTo>
                  <a:cubicBezTo>
                    <a:pt x="317522" y="139303"/>
                    <a:pt x="346332" y="152654"/>
                    <a:pt x="381465" y="148438"/>
                  </a:cubicBezTo>
                  <a:cubicBezTo>
                    <a:pt x="408166" y="144925"/>
                    <a:pt x="435570" y="123142"/>
                    <a:pt x="439083" y="100656"/>
                  </a:cubicBezTo>
                  <a:cubicBezTo>
                    <a:pt x="441894" y="83793"/>
                    <a:pt x="429949" y="73955"/>
                    <a:pt x="418706" y="64118"/>
                  </a:cubicBezTo>
                  <a:cubicBezTo>
                    <a:pt x="408869" y="55686"/>
                    <a:pt x="394113" y="48660"/>
                    <a:pt x="401842" y="31093"/>
                  </a:cubicBezTo>
                  <a:cubicBezTo>
                    <a:pt x="408869" y="15634"/>
                    <a:pt x="419409" y="1581"/>
                    <a:pt x="437678" y="878"/>
                  </a:cubicBezTo>
                  <a:cubicBezTo>
                    <a:pt x="485459" y="-527"/>
                    <a:pt x="532537" y="176"/>
                    <a:pt x="580319" y="176"/>
                  </a:cubicBezTo>
                  <a:cubicBezTo>
                    <a:pt x="591561" y="176"/>
                    <a:pt x="590859" y="6500"/>
                    <a:pt x="590859" y="14229"/>
                  </a:cubicBezTo>
                  <a:cubicBezTo>
                    <a:pt x="590859" y="57092"/>
                    <a:pt x="590859" y="99954"/>
                    <a:pt x="590859" y="142816"/>
                  </a:cubicBezTo>
                  <a:cubicBezTo>
                    <a:pt x="590859" y="159680"/>
                    <a:pt x="582427" y="172328"/>
                    <a:pt x="569779" y="182166"/>
                  </a:cubicBezTo>
                  <a:cubicBezTo>
                    <a:pt x="556428" y="192706"/>
                    <a:pt x="544483" y="193408"/>
                    <a:pt x="532537" y="178652"/>
                  </a:cubicBezTo>
                  <a:cubicBezTo>
                    <a:pt x="521295" y="163896"/>
                    <a:pt x="510052" y="144222"/>
                    <a:pt x="486864" y="152654"/>
                  </a:cubicBezTo>
                  <a:cubicBezTo>
                    <a:pt x="460866" y="161788"/>
                    <a:pt x="444704" y="180760"/>
                    <a:pt x="442596" y="209569"/>
                  </a:cubicBezTo>
                  <a:cubicBezTo>
                    <a:pt x="441191" y="234163"/>
                    <a:pt x="442596" y="256648"/>
                    <a:pt x="462271" y="274917"/>
                  </a:cubicBezTo>
                  <a:cubicBezTo>
                    <a:pt x="488270" y="298105"/>
                    <a:pt x="503026" y="297402"/>
                    <a:pt x="526213" y="270701"/>
                  </a:cubicBezTo>
                  <a:cubicBezTo>
                    <a:pt x="533943" y="261567"/>
                    <a:pt x="539564" y="247513"/>
                    <a:pt x="556428" y="253135"/>
                  </a:cubicBezTo>
                  <a:cubicBezTo>
                    <a:pt x="572589" y="258756"/>
                    <a:pt x="587345" y="269999"/>
                    <a:pt x="588048" y="287565"/>
                  </a:cubicBezTo>
                  <a:cubicBezTo>
                    <a:pt x="590156" y="336049"/>
                    <a:pt x="590156" y="384533"/>
                    <a:pt x="590156" y="432314"/>
                  </a:cubicBezTo>
                  <a:cubicBezTo>
                    <a:pt x="590156" y="447773"/>
                    <a:pt x="576805" y="440746"/>
                    <a:pt x="569076" y="441448"/>
                  </a:cubicBezTo>
                  <a:cubicBezTo>
                    <a:pt x="502323" y="441448"/>
                    <a:pt x="435570" y="441448"/>
                    <a:pt x="368817" y="44144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5C748DC5-D3FE-4A12-A2A7-FFB31559FD4D}"/>
                </a:ext>
              </a:extLst>
            </p:cNvPr>
            <p:cNvSpPr/>
            <p:nvPr/>
          </p:nvSpPr>
          <p:spPr>
            <a:xfrm>
              <a:off x="7622367" y="2285221"/>
              <a:ext cx="1026185" cy="769640"/>
            </a:xfrm>
            <a:custGeom>
              <a:avLst/>
              <a:gdLst>
                <a:gd name="connsiteX0" fmla="*/ 362604 w 590237"/>
                <a:gd name="connsiteY0" fmla="*/ 443446 h 442678"/>
                <a:gd name="connsiteX1" fmla="*/ 302175 w 590237"/>
                <a:gd name="connsiteY1" fmla="*/ 443446 h 442678"/>
                <a:gd name="connsiteX2" fmla="*/ 261420 w 590237"/>
                <a:gd name="connsiteY2" fmla="*/ 424474 h 442678"/>
                <a:gd name="connsiteX3" fmla="*/ 264934 w 590237"/>
                <a:gd name="connsiteY3" fmla="*/ 383017 h 442678"/>
                <a:gd name="connsiteX4" fmla="*/ 288122 w 590237"/>
                <a:gd name="connsiteY4" fmla="*/ 335938 h 442678"/>
                <a:gd name="connsiteX5" fmla="*/ 234719 w 590237"/>
                <a:gd name="connsiteY5" fmla="*/ 295184 h 442678"/>
                <a:gd name="connsiteX6" fmla="*/ 165155 w 590237"/>
                <a:gd name="connsiteY6" fmla="*/ 316966 h 442678"/>
                <a:gd name="connsiteX7" fmla="*/ 170074 w 590237"/>
                <a:gd name="connsiteY7" fmla="*/ 377395 h 442678"/>
                <a:gd name="connsiteX8" fmla="*/ 189749 w 590237"/>
                <a:gd name="connsiteY8" fmla="*/ 409015 h 442678"/>
                <a:gd name="connsiteX9" fmla="*/ 149697 w 590237"/>
                <a:gd name="connsiteY9" fmla="*/ 442041 h 442678"/>
                <a:gd name="connsiteX10" fmla="*/ 12677 w 590237"/>
                <a:gd name="connsiteY10" fmla="*/ 442743 h 442678"/>
                <a:gd name="connsiteX11" fmla="*/ 29 w 590237"/>
                <a:gd name="connsiteY11" fmla="*/ 427285 h 442678"/>
                <a:gd name="connsiteX12" fmla="*/ 29 w 590237"/>
                <a:gd name="connsiteY12" fmla="*/ 298697 h 442678"/>
                <a:gd name="connsiteX13" fmla="*/ 17596 w 590237"/>
                <a:gd name="connsiteY13" fmla="*/ 263564 h 442678"/>
                <a:gd name="connsiteX14" fmla="*/ 60458 w 590237"/>
                <a:gd name="connsiteY14" fmla="*/ 266375 h 442678"/>
                <a:gd name="connsiteX15" fmla="*/ 104024 w 590237"/>
                <a:gd name="connsiteY15" fmla="*/ 290265 h 442678"/>
                <a:gd name="connsiteX16" fmla="*/ 147589 w 590237"/>
                <a:gd name="connsiteY16" fmla="*/ 236160 h 442678"/>
                <a:gd name="connsiteX17" fmla="*/ 122996 w 590237"/>
                <a:gd name="connsiteY17" fmla="*/ 164488 h 442678"/>
                <a:gd name="connsiteX18" fmla="*/ 66782 w 590237"/>
                <a:gd name="connsiteY18" fmla="*/ 169407 h 442678"/>
                <a:gd name="connsiteX19" fmla="*/ 30244 w 590237"/>
                <a:gd name="connsiteY19" fmla="*/ 189082 h 442678"/>
                <a:gd name="connsiteX20" fmla="*/ 29 w 590237"/>
                <a:gd name="connsiteY20" fmla="*/ 141300 h 442678"/>
                <a:gd name="connsiteX21" fmla="*/ 29 w 590237"/>
                <a:gd name="connsiteY21" fmla="*/ 18334 h 442678"/>
                <a:gd name="connsiteX22" fmla="*/ 18298 w 590237"/>
                <a:gd name="connsiteY22" fmla="*/ 65 h 442678"/>
                <a:gd name="connsiteX23" fmla="*/ 138454 w 590237"/>
                <a:gd name="connsiteY23" fmla="*/ 65 h 442678"/>
                <a:gd name="connsiteX24" fmla="*/ 179209 w 590237"/>
                <a:gd name="connsiteY24" fmla="*/ 18334 h 442678"/>
                <a:gd name="connsiteX25" fmla="*/ 176398 w 590237"/>
                <a:gd name="connsiteY25" fmla="*/ 61197 h 442678"/>
                <a:gd name="connsiteX26" fmla="*/ 153913 w 590237"/>
                <a:gd name="connsiteY26" fmla="*/ 108275 h 442678"/>
                <a:gd name="connsiteX27" fmla="*/ 208018 w 590237"/>
                <a:gd name="connsiteY27" fmla="*/ 148327 h 442678"/>
                <a:gd name="connsiteX28" fmla="*/ 277582 w 590237"/>
                <a:gd name="connsiteY28" fmla="*/ 126545 h 442678"/>
                <a:gd name="connsiteX29" fmla="*/ 274068 w 590237"/>
                <a:gd name="connsiteY29" fmla="*/ 67521 h 442678"/>
                <a:gd name="connsiteX30" fmla="*/ 253691 w 590237"/>
                <a:gd name="connsiteY30" fmla="*/ 33793 h 442678"/>
                <a:gd name="connsiteX31" fmla="*/ 299364 w 590237"/>
                <a:gd name="connsiteY31" fmla="*/ 768 h 442678"/>
                <a:gd name="connsiteX32" fmla="*/ 427952 w 590237"/>
                <a:gd name="connsiteY32" fmla="*/ 65 h 442678"/>
                <a:gd name="connsiteX33" fmla="*/ 442708 w 590237"/>
                <a:gd name="connsiteY33" fmla="*/ 19037 h 442678"/>
                <a:gd name="connsiteX34" fmla="*/ 442708 w 590237"/>
                <a:gd name="connsiteY34" fmla="*/ 139192 h 442678"/>
                <a:gd name="connsiteX35" fmla="*/ 453248 w 590237"/>
                <a:gd name="connsiteY35" fmla="*/ 168704 h 442678"/>
                <a:gd name="connsiteX36" fmla="*/ 481354 w 590237"/>
                <a:gd name="connsiteY36" fmla="*/ 168002 h 442678"/>
                <a:gd name="connsiteX37" fmla="*/ 538973 w 590237"/>
                <a:gd name="connsiteY37" fmla="*/ 142003 h 442678"/>
                <a:gd name="connsiteX38" fmla="*/ 589565 w 590237"/>
                <a:gd name="connsiteY38" fmla="*/ 198216 h 442678"/>
                <a:gd name="connsiteX39" fmla="*/ 559350 w 590237"/>
                <a:gd name="connsiteY39" fmla="*/ 290968 h 442678"/>
                <a:gd name="connsiteX40" fmla="*/ 487678 w 590237"/>
                <a:gd name="connsiteY40" fmla="*/ 283239 h 442678"/>
                <a:gd name="connsiteX41" fmla="*/ 463085 w 590237"/>
                <a:gd name="connsiteY41" fmla="*/ 267780 h 442678"/>
                <a:gd name="connsiteX42" fmla="*/ 442708 w 590237"/>
                <a:gd name="connsiteY42" fmla="*/ 300805 h 442678"/>
                <a:gd name="connsiteX43" fmla="*/ 443410 w 590237"/>
                <a:gd name="connsiteY43" fmla="*/ 423771 h 442678"/>
                <a:gd name="connsiteX44" fmla="*/ 425844 w 590237"/>
                <a:gd name="connsiteY44" fmla="*/ 442743 h 442678"/>
                <a:gd name="connsiteX45" fmla="*/ 362604 w 590237"/>
                <a:gd name="connsiteY45" fmla="*/ 443446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442678">
                  <a:moveTo>
                    <a:pt x="362604" y="443446"/>
                  </a:moveTo>
                  <a:cubicBezTo>
                    <a:pt x="342227" y="443446"/>
                    <a:pt x="322552" y="442743"/>
                    <a:pt x="302175" y="443446"/>
                  </a:cubicBezTo>
                  <a:cubicBezTo>
                    <a:pt x="285311" y="444149"/>
                    <a:pt x="272663" y="437122"/>
                    <a:pt x="261420" y="424474"/>
                  </a:cubicBezTo>
                  <a:cubicBezTo>
                    <a:pt x="248070" y="409718"/>
                    <a:pt x="247367" y="396367"/>
                    <a:pt x="264934" y="383017"/>
                  </a:cubicBezTo>
                  <a:cubicBezTo>
                    <a:pt x="280392" y="371774"/>
                    <a:pt x="297959" y="359126"/>
                    <a:pt x="288122" y="335938"/>
                  </a:cubicBezTo>
                  <a:cubicBezTo>
                    <a:pt x="278284" y="312751"/>
                    <a:pt x="261420" y="297292"/>
                    <a:pt x="234719" y="295184"/>
                  </a:cubicBezTo>
                  <a:cubicBezTo>
                    <a:pt x="208721" y="293076"/>
                    <a:pt x="184127" y="295184"/>
                    <a:pt x="165155" y="316966"/>
                  </a:cubicBezTo>
                  <a:cubicBezTo>
                    <a:pt x="145481" y="340154"/>
                    <a:pt x="146886" y="357018"/>
                    <a:pt x="170074" y="377395"/>
                  </a:cubicBezTo>
                  <a:cubicBezTo>
                    <a:pt x="179209" y="385828"/>
                    <a:pt x="196775" y="390746"/>
                    <a:pt x="189749" y="409015"/>
                  </a:cubicBezTo>
                  <a:cubicBezTo>
                    <a:pt x="182722" y="426582"/>
                    <a:pt x="169371" y="441338"/>
                    <a:pt x="149697" y="442041"/>
                  </a:cubicBezTo>
                  <a:cubicBezTo>
                    <a:pt x="104024" y="443446"/>
                    <a:pt x="58350" y="442041"/>
                    <a:pt x="12677" y="442743"/>
                  </a:cubicBezTo>
                  <a:cubicBezTo>
                    <a:pt x="732" y="442743"/>
                    <a:pt x="29" y="437122"/>
                    <a:pt x="29" y="427285"/>
                  </a:cubicBezTo>
                  <a:cubicBezTo>
                    <a:pt x="29" y="384422"/>
                    <a:pt x="732" y="341560"/>
                    <a:pt x="29" y="298697"/>
                  </a:cubicBezTo>
                  <a:cubicBezTo>
                    <a:pt x="29" y="283239"/>
                    <a:pt x="7056" y="272699"/>
                    <a:pt x="17596" y="263564"/>
                  </a:cubicBezTo>
                  <a:cubicBezTo>
                    <a:pt x="32352" y="250213"/>
                    <a:pt x="46405" y="245997"/>
                    <a:pt x="60458" y="266375"/>
                  </a:cubicBezTo>
                  <a:cubicBezTo>
                    <a:pt x="70998" y="281131"/>
                    <a:pt x="82241" y="297995"/>
                    <a:pt x="104024" y="290265"/>
                  </a:cubicBezTo>
                  <a:cubicBezTo>
                    <a:pt x="128617" y="281131"/>
                    <a:pt x="145481" y="263564"/>
                    <a:pt x="147589" y="236160"/>
                  </a:cubicBezTo>
                  <a:cubicBezTo>
                    <a:pt x="149697" y="208756"/>
                    <a:pt x="147589" y="183460"/>
                    <a:pt x="122996" y="164488"/>
                  </a:cubicBezTo>
                  <a:cubicBezTo>
                    <a:pt x="99808" y="146922"/>
                    <a:pt x="86457" y="147624"/>
                    <a:pt x="66782" y="169407"/>
                  </a:cubicBezTo>
                  <a:cubicBezTo>
                    <a:pt x="56945" y="179947"/>
                    <a:pt x="49918" y="198919"/>
                    <a:pt x="30244" y="189082"/>
                  </a:cubicBezTo>
                  <a:cubicBezTo>
                    <a:pt x="11272" y="179947"/>
                    <a:pt x="-673" y="165191"/>
                    <a:pt x="29" y="141300"/>
                  </a:cubicBezTo>
                  <a:cubicBezTo>
                    <a:pt x="732" y="100546"/>
                    <a:pt x="732" y="59089"/>
                    <a:pt x="29" y="18334"/>
                  </a:cubicBezTo>
                  <a:cubicBezTo>
                    <a:pt x="29" y="4281"/>
                    <a:pt x="4245" y="-638"/>
                    <a:pt x="18298" y="65"/>
                  </a:cubicBezTo>
                  <a:cubicBezTo>
                    <a:pt x="58350" y="768"/>
                    <a:pt x="98402" y="768"/>
                    <a:pt x="138454" y="65"/>
                  </a:cubicBezTo>
                  <a:cubicBezTo>
                    <a:pt x="155318" y="65"/>
                    <a:pt x="168669" y="5686"/>
                    <a:pt x="179209" y="18334"/>
                  </a:cubicBezTo>
                  <a:cubicBezTo>
                    <a:pt x="192559" y="33090"/>
                    <a:pt x="196073" y="47143"/>
                    <a:pt x="176398" y="61197"/>
                  </a:cubicBezTo>
                  <a:cubicBezTo>
                    <a:pt x="160940" y="72439"/>
                    <a:pt x="143373" y="85790"/>
                    <a:pt x="153913" y="108275"/>
                  </a:cubicBezTo>
                  <a:cubicBezTo>
                    <a:pt x="163750" y="130760"/>
                    <a:pt x="180614" y="146922"/>
                    <a:pt x="208018" y="148327"/>
                  </a:cubicBezTo>
                  <a:cubicBezTo>
                    <a:pt x="234016" y="149732"/>
                    <a:pt x="258610" y="149030"/>
                    <a:pt x="277582" y="126545"/>
                  </a:cubicBezTo>
                  <a:cubicBezTo>
                    <a:pt x="296554" y="103357"/>
                    <a:pt x="295851" y="88601"/>
                    <a:pt x="274068" y="67521"/>
                  </a:cubicBezTo>
                  <a:cubicBezTo>
                    <a:pt x="264231" y="58386"/>
                    <a:pt x="245962" y="52765"/>
                    <a:pt x="253691" y="33793"/>
                  </a:cubicBezTo>
                  <a:cubicBezTo>
                    <a:pt x="262123" y="14118"/>
                    <a:pt x="277582" y="768"/>
                    <a:pt x="299364" y="768"/>
                  </a:cubicBezTo>
                  <a:cubicBezTo>
                    <a:pt x="342227" y="65"/>
                    <a:pt x="385089" y="768"/>
                    <a:pt x="427952" y="65"/>
                  </a:cubicBezTo>
                  <a:cubicBezTo>
                    <a:pt x="443410" y="65"/>
                    <a:pt x="443410" y="7794"/>
                    <a:pt x="442708" y="19037"/>
                  </a:cubicBezTo>
                  <a:cubicBezTo>
                    <a:pt x="442708" y="59089"/>
                    <a:pt x="442708" y="99140"/>
                    <a:pt x="442708" y="139192"/>
                  </a:cubicBezTo>
                  <a:cubicBezTo>
                    <a:pt x="442708" y="150435"/>
                    <a:pt x="444113" y="160975"/>
                    <a:pt x="453248" y="168704"/>
                  </a:cubicBezTo>
                  <a:cubicBezTo>
                    <a:pt x="463085" y="177839"/>
                    <a:pt x="471517" y="182758"/>
                    <a:pt x="481354" y="168002"/>
                  </a:cubicBezTo>
                  <a:cubicBezTo>
                    <a:pt x="494705" y="148327"/>
                    <a:pt x="512272" y="132868"/>
                    <a:pt x="538973" y="142003"/>
                  </a:cubicBezTo>
                  <a:cubicBezTo>
                    <a:pt x="564971" y="151138"/>
                    <a:pt x="584646" y="170110"/>
                    <a:pt x="589565" y="198216"/>
                  </a:cubicBezTo>
                  <a:cubicBezTo>
                    <a:pt x="595888" y="234052"/>
                    <a:pt x="591673" y="267077"/>
                    <a:pt x="559350" y="290968"/>
                  </a:cubicBezTo>
                  <a:cubicBezTo>
                    <a:pt x="531243" y="311345"/>
                    <a:pt x="512272" y="309237"/>
                    <a:pt x="487678" y="283239"/>
                  </a:cubicBezTo>
                  <a:cubicBezTo>
                    <a:pt x="481354" y="276212"/>
                    <a:pt x="477841" y="260753"/>
                    <a:pt x="463085" y="267780"/>
                  </a:cubicBezTo>
                  <a:cubicBezTo>
                    <a:pt x="450437" y="274104"/>
                    <a:pt x="442708" y="284644"/>
                    <a:pt x="442708" y="300805"/>
                  </a:cubicBezTo>
                  <a:cubicBezTo>
                    <a:pt x="443410" y="341560"/>
                    <a:pt x="442005" y="383017"/>
                    <a:pt x="443410" y="423771"/>
                  </a:cubicBezTo>
                  <a:cubicBezTo>
                    <a:pt x="443410" y="437825"/>
                    <a:pt x="440600" y="443446"/>
                    <a:pt x="425844" y="442743"/>
                  </a:cubicBezTo>
                  <a:cubicBezTo>
                    <a:pt x="404764" y="442041"/>
                    <a:pt x="383684" y="443446"/>
                    <a:pt x="362604" y="4434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87D6FF7E-23E7-4228-B8E5-0019B47E9C5F}"/>
                </a:ext>
              </a:extLst>
            </p:cNvPr>
            <p:cNvSpPr/>
            <p:nvPr/>
          </p:nvSpPr>
          <p:spPr>
            <a:xfrm>
              <a:off x="7622575" y="743022"/>
              <a:ext cx="769640" cy="1026186"/>
            </a:xfrm>
            <a:custGeom>
              <a:avLst/>
              <a:gdLst>
                <a:gd name="connsiteX0" fmla="*/ 1580 w 442678"/>
                <a:gd name="connsiteY0" fmla="*/ 362575 h 590237"/>
                <a:gd name="connsiteX1" fmla="*/ 1580 w 442678"/>
                <a:gd name="connsiteY1" fmla="*/ 299335 h 590237"/>
                <a:gd name="connsiteX2" fmla="*/ 27579 w 442678"/>
                <a:gd name="connsiteY2" fmla="*/ 257175 h 590237"/>
                <a:gd name="connsiteX3" fmla="*/ 56388 w 442678"/>
                <a:gd name="connsiteY3" fmla="*/ 259986 h 590237"/>
                <a:gd name="connsiteX4" fmla="*/ 130871 w 442678"/>
                <a:gd name="connsiteY4" fmla="*/ 274039 h 590237"/>
                <a:gd name="connsiteX5" fmla="*/ 132979 w 442678"/>
                <a:gd name="connsiteY5" fmla="*/ 171450 h 590237"/>
                <a:gd name="connsiteX6" fmla="*/ 64820 w 442678"/>
                <a:gd name="connsiteY6" fmla="*/ 172855 h 590237"/>
                <a:gd name="connsiteX7" fmla="*/ 34606 w 442678"/>
                <a:gd name="connsiteY7" fmla="*/ 189719 h 590237"/>
                <a:gd name="connsiteX8" fmla="*/ 2986 w 442678"/>
                <a:gd name="connsiteY8" fmla="*/ 152478 h 590237"/>
                <a:gd name="connsiteX9" fmla="*/ 2283 w 442678"/>
                <a:gd name="connsiteY9" fmla="*/ 12648 h 590237"/>
                <a:gd name="connsiteX10" fmla="*/ 17742 w 442678"/>
                <a:gd name="connsiteY10" fmla="*/ 0 h 590237"/>
                <a:gd name="connsiteX11" fmla="*/ 146329 w 442678"/>
                <a:gd name="connsiteY11" fmla="*/ 0 h 590237"/>
                <a:gd name="connsiteX12" fmla="*/ 184976 w 442678"/>
                <a:gd name="connsiteY12" fmla="*/ 22485 h 590237"/>
                <a:gd name="connsiteX13" fmla="*/ 180760 w 442678"/>
                <a:gd name="connsiteY13" fmla="*/ 59726 h 590237"/>
                <a:gd name="connsiteX14" fmla="*/ 155464 w 442678"/>
                <a:gd name="connsiteY14" fmla="*/ 105400 h 590237"/>
                <a:gd name="connsiteX15" fmla="*/ 212380 w 442678"/>
                <a:gd name="connsiteY15" fmla="*/ 148262 h 590237"/>
                <a:gd name="connsiteX16" fmla="*/ 281241 w 442678"/>
                <a:gd name="connsiteY16" fmla="*/ 123669 h 590237"/>
                <a:gd name="connsiteX17" fmla="*/ 276322 w 442678"/>
                <a:gd name="connsiteY17" fmla="*/ 67456 h 590237"/>
                <a:gd name="connsiteX18" fmla="*/ 256648 w 442678"/>
                <a:gd name="connsiteY18" fmla="*/ 30917 h 590237"/>
                <a:gd name="connsiteX19" fmla="*/ 300915 w 442678"/>
                <a:gd name="connsiteY19" fmla="*/ 0 h 590237"/>
                <a:gd name="connsiteX20" fmla="*/ 429503 w 442678"/>
                <a:gd name="connsiteY20" fmla="*/ 0 h 590237"/>
                <a:gd name="connsiteX21" fmla="*/ 445664 w 442678"/>
                <a:gd name="connsiteY21" fmla="*/ 15459 h 590237"/>
                <a:gd name="connsiteX22" fmla="*/ 444961 w 442678"/>
                <a:gd name="connsiteY22" fmla="*/ 144046 h 590237"/>
                <a:gd name="connsiteX23" fmla="*/ 425287 w 442678"/>
                <a:gd name="connsiteY23" fmla="*/ 181990 h 590237"/>
                <a:gd name="connsiteX24" fmla="*/ 383830 w 442678"/>
                <a:gd name="connsiteY24" fmla="*/ 177774 h 590237"/>
                <a:gd name="connsiteX25" fmla="*/ 339562 w 442678"/>
                <a:gd name="connsiteY25" fmla="*/ 153884 h 590237"/>
                <a:gd name="connsiteX26" fmla="*/ 296699 w 442678"/>
                <a:gd name="connsiteY26" fmla="*/ 205881 h 590237"/>
                <a:gd name="connsiteX27" fmla="*/ 319887 w 442678"/>
                <a:gd name="connsiteY27" fmla="*/ 279660 h 590237"/>
                <a:gd name="connsiteX28" fmla="*/ 376100 w 442678"/>
                <a:gd name="connsiteY28" fmla="*/ 276147 h 590237"/>
                <a:gd name="connsiteX29" fmla="*/ 409126 w 442678"/>
                <a:gd name="connsiteY29" fmla="*/ 254364 h 590237"/>
                <a:gd name="connsiteX30" fmla="*/ 443556 w 442678"/>
                <a:gd name="connsiteY30" fmla="*/ 298632 h 590237"/>
                <a:gd name="connsiteX31" fmla="*/ 444259 w 442678"/>
                <a:gd name="connsiteY31" fmla="*/ 430030 h 590237"/>
                <a:gd name="connsiteX32" fmla="*/ 425989 w 442678"/>
                <a:gd name="connsiteY32" fmla="*/ 442678 h 590237"/>
                <a:gd name="connsiteX33" fmla="*/ 307942 w 442678"/>
                <a:gd name="connsiteY33" fmla="*/ 442678 h 590237"/>
                <a:gd name="connsiteX34" fmla="*/ 279835 w 442678"/>
                <a:gd name="connsiteY34" fmla="*/ 450408 h 590237"/>
                <a:gd name="connsiteX35" fmla="*/ 278430 w 442678"/>
                <a:gd name="connsiteY35" fmla="*/ 486244 h 590237"/>
                <a:gd name="connsiteX36" fmla="*/ 281241 w 442678"/>
                <a:gd name="connsiteY36" fmla="*/ 571266 h 590237"/>
                <a:gd name="connsiteX37" fmla="*/ 150545 w 442678"/>
                <a:gd name="connsiteY37" fmla="*/ 558618 h 590237"/>
                <a:gd name="connsiteX38" fmla="*/ 157572 w 442678"/>
                <a:gd name="connsiteY38" fmla="*/ 491162 h 590237"/>
                <a:gd name="connsiteX39" fmla="*/ 175139 w 442678"/>
                <a:gd name="connsiteY39" fmla="*/ 464461 h 590237"/>
                <a:gd name="connsiteX40" fmla="*/ 137195 w 442678"/>
                <a:gd name="connsiteY40" fmla="*/ 443381 h 590237"/>
                <a:gd name="connsiteX41" fmla="*/ 21958 w 442678"/>
                <a:gd name="connsiteY41" fmla="*/ 444084 h 590237"/>
                <a:gd name="connsiteX42" fmla="*/ 175 w 442678"/>
                <a:gd name="connsiteY42" fmla="*/ 423706 h 590237"/>
                <a:gd name="connsiteX43" fmla="*/ 1580 w 442678"/>
                <a:gd name="connsiteY43" fmla="*/ 36257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2678" h="590237">
                  <a:moveTo>
                    <a:pt x="1580" y="362575"/>
                  </a:moveTo>
                  <a:cubicBezTo>
                    <a:pt x="1580" y="341495"/>
                    <a:pt x="2283" y="320415"/>
                    <a:pt x="1580" y="299335"/>
                  </a:cubicBezTo>
                  <a:cubicBezTo>
                    <a:pt x="878" y="279660"/>
                    <a:pt x="12823" y="267012"/>
                    <a:pt x="27579" y="257175"/>
                  </a:cubicBezTo>
                  <a:cubicBezTo>
                    <a:pt x="37416" y="250851"/>
                    <a:pt x="46551" y="250851"/>
                    <a:pt x="56388" y="259986"/>
                  </a:cubicBezTo>
                  <a:cubicBezTo>
                    <a:pt x="94332" y="297227"/>
                    <a:pt x="105575" y="298632"/>
                    <a:pt x="130871" y="274039"/>
                  </a:cubicBezTo>
                  <a:cubicBezTo>
                    <a:pt x="156869" y="248041"/>
                    <a:pt x="157572" y="198854"/>
                    <a:pt x="132979" y="171450"/>
                  </a:cubicBezTo>
                  <a:cubicBezTo>
                    <a:pt x="108385" y="144749"/>
                    <a:pt x="88711" y="144749"/>
                    <a:pt x="64820" y="172855"/>
                  </a:cubicBezTo>
                  <a:cubicBezTo>
                    <a:pt x="57091" y="181990"/>
                    <a:pt x="50767" y="196043"/>
                    <a:pt x="34606" y="189719"/>
                  </a:cubicBezTo>
                  <a:cubicBezTo>
                    <a:pt x="17742" y="183395"/>
                    <a:pt x="3689" y="170747"/>
                    <a:pt x="2986" y="152478"/>
                  </a:cubicBezTo>
                  <a:cubicBezTo>
                    <a:pt x="1580" y="106102"/>
                    <a:pt x="2283" y="59726"/>
                    <a:pt x="2283" y="12648"/>
                  </a:cubicBezTo>
                  <a:cubicBezTo>
                    <a:pt x="2283" y="703"/>
                    <a:pt x="8607" y="0"/>
                    <a:pt x="17742" y="0"/>
                  </a:cubicBezTo>
                  <a:cubicBezTo>
                    <a:pt x="60604" y="0"/>
                    <a:pt x="103467" y="0"/>
                    <a:pt x="146329" y="0"/>
                  </a:cubicBezTo>
                  <a:cubicBezTo>
                    <a:pt x="163193" y="0"/>
                    <a:pt x="175139" y="9135"/>
                    <a:pt x="184976" y="22485"/>
                  </a:cubicBezTo>
                  <a:cubicBezTo>
                    <a:pt x="195516" y="36539"/>
                    <a:pt x="195516" y="47781"/>
                    <a:pt x="180760" y="59726"/>
                  </a:cubicBezTo>
                  <a:cubicBezTo>
                    <a:pt x="166004" y="70969"/>
                    <a:pt x="147032" y="82212"/>
                    <a:pt x="155464" y="105400"/>
                  </a:cubicBezTo>
                  <a:cubicBezTo>
                    <a:pt x="165301" y="131398"/>
                    <a:pt x="183570" y="146857"/>
                    <a:pt x="212380" y="148262"/>
                  </a:cubicBezTo>
                  <a:cubicBezTo>
                    <a:pt x="239081" y="149668"/>
                    <a:pt x="262972" y="146857"/>
                    <a:pt x="281241" y="123669"/>
                  </a:cubicBezTo>
                  <a:cubicBezTo>
                    <a:pt x="298807" y="100481"/>
                    <a:pt x="298105" y="87131"/>
                    <a:pt x="276322" y="67456"/>
                  </a:cubicBezTo>
                  <a:cubicBezTo>
                    <a:pt x="265079" y="57619"/>
                    <a:pt x="246810" y="50592"/>
                    <a:pt x="256648" y="30917"/>
                  </a:cubicBezTo>
                  <a:cubicBezTo>
                    <a:pt x="265079" y="12648"/>
                    <a:pt x="279835" y="0"/>
                    <a:pt x="300915" y="0"/>
                  </a:cubicBezTo>
                  <a:cubicBezTo>
                    <a:pt x="343778" y="0"/>
                    <a:pt x="386640" y="0"/>
                    <a:pt x="429503" y="0"/>
                  </a:cubicBezTo>
                  <a:cubicBezTo>
                    <a:pt x="441448" y="0"/>
                    <a:pt x="445664" y="2811"/>
                    <a:pt x="445664" y="15459"/>
                  </a:cubicBezTo>
                  <a:cubicBezTo>
                    <a:pt x="444961" y="58321"/>
                    <a:pt x="445664" y="101184"/>
                    <a:pt x="444961" y="144046"/>
                  </a:cubicBezTo>
                  <a:cubicBezTo>
                    <a:pt x="444961" y="159505"/>
                    <a:pt x="437232" y="171450"/>
                    <a:pt x="425287" y="181990"/>
                  </a:cubicBezTo>
                  <a:cubicBezTo>
                    <a:pt x="409828" y="194638"/>
                    <a:pt x="397180" y="196043"/>
                    <a:pt x="383830" y="177774"/>
                  </a:cubicBezTo>
                  <a:cubicBezTo>
                    <a:pt x="373290" y="163018"/>
                    <a:pt x="361345" y="145452"/>
                    <a:pt x="339562" y="153884"/>
                  </a:cubicBezTo>
                  <a:cubicBezTo>
                    <a:pt x="316374" y="162315"/>
                    <a:pt x="299510" y="178477"/>
                    <a:pt x="296699" y="205881"/>
                  </a:cubicBezTo>
                  <a:cubicBezTo>
                    <a:pt x="293186" y="233987"/>
                    <a:pt x="295294" y="260688"/>
                    <a:pt x="319887" y="279660"/>
                  </a:cubicBezTo>
                  <a:cubicBezTo>
                    <a:pt x="343075" y="297930"/>
                    <a:pt x="355723" y="296524"/>
                    <a:pt x="376100" y="276147"/>
                  </a:cubicBezTo>
                  <a:cubicBezTo>
                    <a:pt x="385235" y="267012"/>
                    <a:pt x="390154" y="248041"/>
                    <a:pt x="409126" y="254364"/>
                  </a:cubicBezTo>
                  <a:cubicBezTo>
                    <a:pt x="429503" y="261391"/>
                    <a:pt x="442854" y="276850"/>
                    <a:pt x="443556" y="298632"/>
                  </a:cubicBezTo>
                  <a:cubicBezTo>
                    <a:pt x="444961" y="342197"/>
                    <a:pt x="443556" y="386465"/>
                    <a:pt x="444259" y="430030"/>
                  </a:cubicBezTo>
                  <a:cubicBezTo>
                    <a:pt x="444259" y="444786"/>
                    <a:pt x="435124" y="442678"/>
                    <a:pt x="425989" y="442678"/>
                  </a:cubicBezTo>
                  <a:cubicBezTo>
                    <a:pt x="386640" y="442678"/>
                    <a:pt x="347291" y="442678"/>
                    <a:pt x="307942" y="442678"/>
                  </a:cubicBezTo>
                  <a:cubicBezTo>
                    <a:pt x="297402" y="442678"/>
                    <a:pt x="288268" y="443381"/>
                    <a:pt x="279835" y="450408"/>
                  </a:cubicBezTo>
                  <a:cubicBezTo>
                    <a:pt x="265782" y="461650"/>
                    <a:pt x="259458" y="470785"/>
                    <a:pt x="278430" y="486244"/>
                  </a:cubicBezTo>
                  <a:cubicBezTo>
                    <a:pt x="312158" y="512945"/>
                    <a:pt x="312158" y="541051"/>
                    <a:pt x="281241" y="571266"/>
                  </a:cubicBezTo>
                  <a:cubicBezTo>
                    <a:pt x="245405" y="606399"/>
                    <a:pt x="180057" y="600075"/>
                    <a:pt x="150545" y="558618"/>
                  </a:cubicBezTo>
                  <a:cubicBezTo>
                    <a:pt x="132276" y="532619"/>
                    <a:pt x="134384" y="513647"/>
                    <a:pt x="157572" y="491162"/>
                  </a:cubicBezTo>
                  <a:cubicBezTo>
                    <a:pt x="165301" y="483433"/>
                    <a:pt x="182868" y="479920"/>
                    <a:pt x="175139" y="464461"/>
                  </a:cubicBezTo>
                  <a:cubicBezTo>
                    <a:pt x="168112" y="449705"/>
                    <a:pt x="154761" y="442678"/>
                    <a:pt x="137195" y="443381"/>
                  </a:cubicBezTo>
                  <a:cubicBezTo>
                    <a:pt x="98548" y="444084"/>
                    <a:pt x="60604" y="442678"/>
                    <a:pt x="21958" y="444084"/>
                  </a:cubicBezTo>
                  <a:cubicBezTo>
                    <a:pt x="5797" y="444786"/>
                    <a:pt x="-1230" y="441976"/>
                    <a:pt x="175" y="423706"/>
                  </a:cubicBezTo>
                  <a:cubicBezTo>
                    <a:pt x="2986" y="402627"/>
                    <a:pt x="1580" y="382249"/>
                    <a:pt x="1580" y="36257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BEF2D64A-FABA-4BBF-AA96-0DD063F4D3B7}"/>
                </a:ext>
              </a:extLst>
            </p:cNvPr>
            <p:cNvSpPr/>
            <p:nvPr userDrawn="1"/>
          </p:nvSpPr>
          <p:spPr>
            <a:xfrm>
              <a:off x="8130349" y="3052093"/>
              <a:ext cx="1026185" cy="757423"/>
            </a:xfrm>
            <a:custGeom>
              <a:avLst/>
              <a:gdLst>
                <a:gd name="connsiteX0" fmla="*/ 593135 w 590237"/>
                <a:gd name="connsiteY0" fmla="*/ 360467 h 435651"/>
                <a:gd name="connsiteX1" fmla="*/ 593135 w 590237"/>
                <a:gd name="connsiteY1" fmla="*/ 426517 h 435651"/>
                <a:gd name="connsiteX2" fmla="*/ 577676 w 590237"/>
                <a:gd name="connsiteY2" fmla="*/ 441976 h 435651"/>
                <a:gd name="connsiteX3" fmla="*/ 446278 w 590237"/>
                <a:gd name="connsiteY3" fmla="*/ 441273 h 435651"/>
                <a:gd name="connsiteX4" fmla="*/ 403415 w 590237"/>
                <a:gd name="connsiteY4" fmla="*/ 408248 h 435651"/>
                <a:gd name="connsiteX5" fmla="*/ 422387 w 590237"/>
                <a:gd name="connsiteY5" fmla="*/ 376628 h 435651"/>
                <a:gd name="connsiteX6" fmla="*/ 425198 w 590237"/>
                <a:gd name="connsiteY6" fmla="*/ 314091 h 435651"/>
                <a:gd name="connsiteX7" fmla="*/ 316988 w 590237"/>
                <a:gd name="connsiteY7" fmla="*/ 314091 h 435651"/>
                <a:gd name="connsiteX8" fmla="*/ 320501 w 590237"/>
                <a:gd name="connsiteY8" fmla="*/ 376628 h 435651"/>
                <a:gd name="connsiteX9" fmla="*/ 339473 w 590237"/>
                <a:gd name="connsiteY9" fmla="*/ 408951 h 435651"/>
                <a:gd name="connsiteX10" fmla="*/ 301529 w 590237"/>
                <a:gd name="connsiteY10" fmla="*/ 440570 h 435651"/>
                <a:gd name="connsiteX11" fmla="*/ 161699 w 590237"/>
                <a:gd name="connsiteY11" fmla="*/ 441273 h 435651"/>
                <a:gd name="connsiteX12" fmla="*/ 149754 w 590237"/>
                <a:gd name="connsiteY12" fmla="*/ 423004 h 435651"/>
                <a:gd name="connsiteX13" fmla="*/ 149754 w 590237"/>
                <a:gd name="connsiteY13" fmla="*/ 304956 h 435651"/>
                <a:gd name="connsiteX14" fmla="*/ 140619 w 590237"/>
                <a:gd name="connsiteY14" fmla="*/ 274742 h 435651"/>
                <a:gd name="connsiteX15" fmla="*/ 109702 w 590237"/>
                <a:gd name="connsiteY15" fmla="*/ 274742 h 435651"/>
                <a:gd name="connsiteX16" fmla="*/ 5708 w 590237"/>
                <a:gd name="connsiteY16" fmla="*/ 252959 h 435651"/>
                <a:gd name="connsiteX17" fmla="*/ 32409 w 590237"/>
                <a:gd name="connsiteY17" fmla="*/ 151776 h 435651"/>
                <a:gd name="connsiteX18" fmla="*/ 104081 w 590237"/>
                <a:gd name="connsiteY18" fmla="*/ 158099 h 435651"/>
                <a:gd name="connsiteX19" fmla="*/ 127971 w 590237"/>
                <a:gd name="connsiteY19" fmla="*/ 174963 h 435651"/>
                <a:gd name="connsiteX20" fmla="*/ 149051 w 590237"/>
                <a:gd name="connsiteY20" fmla="*/ 139830 h 435651"/>
                <a:gd name="connsiteX21" fmla="*/ 148348 w 590237"/>
                <a:gd name="connsiteY21" fmla="*/ 19675 h 435651"/>
                <a:gd name="connsiteX22" fmla="*/ 168023 w 590237"/>
                <a:gd name="connsiteY22" fmla="*/ 0 h 435651"/>
                <a:gd name="connsiteX23" fmla="*/ 290989 w 590237"/>
                <a:gd name="connsiteY23" fmla="*/ 0 h 435651"/>
                <a:gd name="connsiteX24" fmla="*/ 328933 w 590237"/>
                <a:gd name="connsiteY24" fmla="*/ 17567 h 435651"/>
                <a:gd name="connsiteX25" fmla="*/ 326122 w 590237"/>
                <a:gd name="connsiteY25" fmla="*/ 59024 h 435651"/>
                <a:gd name="connsiteX26" fmla="*/ 301529 w 590237"/>
                <a:gd name="connsiteY26" fmla="*/ 103292 h 435651"/>
                <a:gd name="connsiteX27" fmla="*/ 352824 w 590237"/>
                <a:gd name="connsiteY27" fmla="*/ 146857 h 435651"/>
                <a:gd name="connsiteX28" fmla="*/ 421685 w 590237"/>
                <a:gd name="connsiteY28" fmla="*/ 129993 h 435651"/>
                <a:gd name="connsiteX29" fmla="*/ 419577 w 590237"/>
                <a:gd name="connsiteY29" fmla="*/ 63943 h 435651"/>
                <a:gd name="connsiteX30" fmla="*/ 402010 w 590237"/>
                <a:gd name="connsiteY30" fmla="*/ 34431 h 435651"/>
                <a:gd name="connsiteX31" fmla="*/ 436441 w 590237"/>
                <a:gd name="connsiteY31" fmla="*/ 2811 h 435651"/>
                <a:gd name="connsiteX32" fmla="*/ 581190 w 590237"/>
                <a:gd name="connsiteY32" fmla="*/ 703 h 435651"/>
                <a:gd name="connsiteX33" fmla="*/ 591027 w 590237"/>
                <a:gd name="connsiteY33" fmla="*/ 15459 h 435651"/>
                <a:gd name="connsiteX34" fmla="*/ 591027 w 590237"/>
                <a:gd name="connsiteY34" fmla="*/ 146857 h 435651"/>
                <a:gd name="connsiteX35" fmla="*/ 560110 w 590237"/>
                <a:gd name="connsiteY35" fmla="*/ 188314 h 435651"/>
                <a:gd name="connsiteX36" fmla="*/ 525679 w 590237"/>
                <a:gd name="connsiteY36" fmla="*/ 170045 h 435651"/>
                <a:gd name="connsiteX37" fmla="*/ 465953 w 590237"/>
                <a:gd name="connsiteY37" fmla="*/ 165126 h 435651"/>
                <a:gd name="connsiteX38" fmla="*/ 463845 w 590237"/>
                <a:gd name="connsiteY38" fmla="*/ 274742 h 435651"/>
                <a:gd name="connsiteX39" fmla="*/ 526382 w 590237"/>
                <a:gd name="connsiteY39" fmla="*/ 271931 h 435651"/>
                <a:gd name="connsiteX40" fmla="*/ 560812 w 590237"/>
                <a:gd name="connsiteY40" fmla="*/ 253662 h 435651"/>
                <a:gd name="connsiteX41" fmla="*/ 591729 w 590237"/>
                <a:gd name="connsiteY41" fmla="*/ 297930 h 435651"/>
                <a:gd name="connsiteX42" fmla="*/ 593135 w 590237"/>
                <a:gd name="connsiteY42" fmla="*/ 360467 h 43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90237" h="435651">
                  <a:moveTo>
                    <a:pt x="593135" y="360467"/>
                  </a:moveTo>
                  <a:cubicBezTo>
                    <a:pt x="593135" y="382249"/>
                    <a:pt x="592432" y="404032"/>
                    <a:pt x="593135" y="426517"/>
                  </a:cubicBezTo>
                  <a:cubicBezTo>
                    <a:pt x="593837" y="438462"/>
                    <a:pt x="589621" y="441976"/>
                    <a:pt x="577676" y="441976"/>
                  </a:cubicBezTo>
                  <a:cubicBezTo>
                    <a:pt x="534111" y="441273"/>
                    <a:pt x="489843" y="441976"/>
                    <a:pt x="446278" y="441273"/>
                  </a:cubicBezTo>
                  <a:cubicBezTo>
                    <a:pt x="424495" y="441273"/>
                    <a:pt x="411145" y="427220"/>
                    <a:pt x="403415" y="408248"/>
                  </a:cubicBezTo>
                  <a:cubicBezTo>
                    <a:pt x="395686" y="389978"/>
                    <a:pt x="413253" y="385060"/>
                    <a:pt x="422387" y="376628"/>
                  </a:cubicBezTo>
                  <a:cubicBezTo>
                    <a:pt x="446278" y="354143"/>
                    <a:pt x="447683" y="337279"/>
                    <a:pt x="425198" y="314091"/>
                  </a:cubicBezTo>
                  <a:cubicBezTo>
                    <a:pt x="397794" y="285282"/>
                    <a:pt x="344392" y="285282"/>
                    <a:pt x="316988" y="314091"/>
                  </a:cubicBezTo>
                  <a:cubicBezTo>
                    <a:pt x="295205" y="337982"/>
                    <a:pt x="295908" y="355548"/>
                    <a:pt x="320501" y="376628"/>
                  </a:cubicBezTo>
                  <a:cubicBezTo>
                    <a:pt x="330338" y="385060"/>
                    <a:pt x="346500" y="391384"/>
                    <a:pt x="339473" y="408951"/>
                  </a:cubicBezTo>
                  <a:cubicBezTo>
                    <a:pt x="332447" y="425815"/>
                    <a:pt x="321204" y="439868"/>
                    <a:pt x="301529" y="440570"/>
                  </a:cubicBezTo>
                  <a:cubicBezTo>
                    <a:pt x="255153" y="441976"/>
                    <a:pt x="208778" y="441273"/>
                    <a:pt x="161699" y="441273"/>
                  </a:cubicBezTo>
                  <a:cubicBezTo>
                    <a:pt x="146241" y="441273"/>
                    <a:pt x="149754" y="431436"/>
                    <a:pt x="149754" y="423004"/>
                  </a:cubicBezTo>
                  <a:cubicBezTo>
                    <a:pt x="149754" y="383655"/>
                    <a:pt x="149754" y="344305"/>
                    <a:pt x="149754" y="304956"/>
                  </a:cubicBezTo>
                  <a:cubicBezTo>
                    <a:pt x="149754" y="293713"/>
                    <a:pt x="149051" y="283173"/>
                    <a:pt x="140619" y="274742"/>
                  </a:cubicBezTo>
                  <a:cubicBezTo>
                    <a:pt x="130079" y="264904"/>
                    <a:pt x="122350" y="259986"/>
                    <a:pt x="109702" y="274742"/>
                  </a:cubicBezTo>
                  <a:cubicBezTo>
                    <a:pt x="74569" y="316902"/>
                    <a:pt x="23977" y="305659"/>
                    <a:pt x="5708" y="252959"/>
                  </a:cubicBezTo>
                  <a:cubicBezTo>
                    <a:pt x="-7643" y="214313"/>
                    <a:pt x="2897" y="174963"/>
                    <a:pt x="32409" y="151776"/>
                  </a:cubicBezTo>
                  <a:cubicBezTo>
                    <a:pt x="59110" y="130696"/>
                    <a:pt x="81595" y="132804"/>
                    <a:pt x="104081" y="158099"/>
                  </a:cubicBezTo>
                  <a:cubicBezTo>
                    <a:pt x="111107" y="165126"/>
                    <a:pt x="113918" y="181287"/>
                    <a:pt x="127971" y="174963"/>
                  </a:cubicBezTo>
                  <a:cubicBezTo>
                    <a:pt x="142025" y="168639"/>
                    <a:pt x="149754" y="156694"/>
                    <a:pt x="149051" y="139830"/>
                  </a:cubicBezTo>
                  <a:cubicBezTo>
                    <a:pt x="148348" y="99778"/>
                    <a:pt x="149754" y="59726"/>
                    <a:pt x="148348" y="19675"/>
                  </a:cubicBezTo>
                  <a:cubicBezTo>
                    <a:pt x="147646" y="3513"/>
                    <a:pt x="152564" y="0"/>
                    <a:pt x="168023" y="0"/>
                  </a:cubicBezTo>
                  <a:cubicBezTo>
                    <a:pt x="208778" y="703"/>
                    <a:pt x="250235" y="703"/>
                    <a:pt x="290989" y="0"/>
                  </a:cubicBezTo>
                  <a:cubicBezTo>
                    <a:pt x="307151" y="0"/>
                    <a:pt x="319096" y="5621"/>
                    <a:pt x="328933" y="17567"/>
                  </a:cubicBezTo>
                  <a:cubicBezTo>
                    <a:pt x="341581" y="32323"/>
                    <a:pt x="344392" y="45673"/>
                    <a:pt x="326122" y="59024"/>
                  </a:cubicBezTo>
                  <a:cubicBezTo>
                    <a:pt x="311367" y="69564"/>
                    <a:pt x="294502" y="81509"/>
                    <a:pt x="301529" y="103292"/>
                  </a:cubicBezTo>
                  <a:cubicBezTo>
                    <a:pt x="309258" y="127182"/>
                    <a:pt x="326825" y="143344"/>
                    <a:pt x="352824" y="146857"/>
                  </a:cubicBezTo>
                  <a:cubicBezTo>
                    <a:pt x="378120" y="150370"/>
                    <a:pt x="402010" y="148965"/>
                    <a:pt x="421685" y="129993"/>
                  </a:cubicBezTo>
                  <a:cubicBezTo>
                    <a:pt x="446278" y="105400"/>
                    <a:pt x="445575" y="86428"/>
                    <a:pt x="419577" y="63943"/>
                  </a:cubicBezTo>
                  <a:cubicBezTo>
                    <a:pt x="410442" y="56213"/>
                    <a:pt x="394984" y="51294"/>
                    <a:pt x="402010" y="34431"/>
                  </a:cubicBezTo>
                  <a:cubicBezTo>
                    <a:pt x="408334" y="18972"/>
                    <a:pt x="418874" y="3513"/>
                    <a:pt x="436441" y="2811"/>
                  </a:cubicBezTo>
                  <a:cubicBezTo>
                    <a:pt x="484924" y="703"/>
                    <a:pt x="533408" y="1405"/>
                    <a:pt x="581190" y="703"/>
                  </a:cubicBezTo>
                  <a:cubicBezTo>
                    <a:pt x="593135" y="703"/>
                    <a:pt x="591027" y="8432"/>
                    <a:pt x="591027" y="15459"/>
                  </a:cubicBezTo>
                  <a:cubicBezTo>
                    <a:pt x="591027" y="59024"/>
                    <a:pt x="591729" y="103292"/>
                    <a:pt x="591027" y="146857"/>
                  </a:cubicBezTo>
                  <a:cubicBezTo>
                    <a:pt x="591027" y="167234"/>
                    <a:pt x="577676" y="179882"/>
                    <a:pt x="560110" y="188314"/>
                  </a:cubicBezTo>
                  <a:cubicBezTo>
                    <a:pt x="541138" y="197449"/>
                    <a:pt x="534814" y="179882"/>
                    <a:pt x="525679" y="170045"/>
                  </a:cubicBezTo>
                  <a:cubicBezTo>
                    <a:pt x="503896" y="145452"/>
                    <a:pt x="490546" y="144749"/>
                    <a:pt x="465953" y="165126"/>
                  </a:cubicBezTo>
                  <a:cubicBezTo>
                    <a:pt x="434333" y="191827"/>
                    <a:pt x="432927" y="246635"/>
                    <a:pt x="463845" y="274742"/>
                  </a:cubicBezTo>
                  <a:cubicBezTo>
                    <a:pt x="488438" y="297227"/>
                    <a:pt x="503896" y="296524"/>
                    <a:pt x="526382" y="271931"/>
                  </a:cubicBezTo>
                  <a:cubicBezTo>
                    <a:pt x="535516" y="262094"/>
                    <a:pt x="541840" y="244527"/>
                    <a:pt x="560812" y="253662"/>
                  </a:cubicBezTo>
                  <a:cubicBezTo>
                    <a:pt x="579081" y="262094"/>
                    <a:pt x="591729" y="275444"/>
                    <a:pt x="591729" y="297930"/>
                  </a:cubicBezTo>
                  <a:cubicBezTo>
                    <a:pt x="593135" y="318307"/>
                    <a:pt x="593135" y="339387"/>
                    <a:pt x="593135" y="36046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9EB5AE67-365E-4C06-9A31-11C6FEFED10E}"/>
                </a:ext>
              </a:extLst>
            </p:cNvPr>
            <p:cNvSpPr/>
            <p:nvPr/>
          </p:nvSpPr>
          <p:spPr>
            <a:xfrm>
              <a:off x="9158199" y="482287"/>
              <a:ext cx="769640" cy="1026186"/>
            </a:xfrm>
            <a:custGeom>
              <a:avLst/>
              <a:gdLst>
                <a:gd name="connsiteX0" fmla="*/ 363277 w 442678"/>
                <a:gd name="connsiteY0" fmla="*/ 590663 h 590237"/>
                <a:gd name="connsiteX1" fmla="*/ 300037 w 442678"/>
                <a:gd name="connsiteY1" fmla="*/ 590663 h 590237"/>
                <a:gd name="connsiteX2" fmla="*/ 262094 w 442678"/>
                <a:gd name="connsiteY2" fmla="*/ 572393 h 590237"/>
                <a:gd name="connsiteX3" fmla="*/ 266310 w 442678"/>
                <a:gd name="connsiteY3" fmla="*/ 530937 h 590237"/>
                <a:gd name="connsiteX4" fmla="*/ 290200 w 442678"/>
                <a:gd name="connsiteY4" fmla="*/ 486669 h 590237"/>
                <a:gd name="connsiteX5" fmla="*/ 241014 w 442678"/>
                <a:gd name="connsiteY5" fmla="*/ 444509 h 590237"/>
                <a:gd name="connsiteX6" fmla="*/ 167937 w 442678"/>
                <a:gd name="connsiteY6" fmla="*/ 464183 h 590237"/>
                <a:gd name="connsiteX7" fmla="*/ 170747 w 442678"/>
                <a:gd name="connsiteY7" fmla="*/ 526720 h 590237"/>
                <a:gd name="connsiteX8" fmla="*/ 189719 w 442678"/>
                <a:gd name="connsiteY8" fmla="*/ 558340 h 590237"/>
                <a:gd name="connsiteX9" fmla="*/ 146857 w 442678"/>
                <a:gd name="connsiteY9" fmla="*/ 591365 h 590237"/>
                <a:gd name="connsiteX10" fmla="*/ 15458 w 442678"/>
                <a:gd name="connsiteY10" fmla="*/ 592068 h 590237"/>
                <a:gd name="connsiteX11" fmla="*/ 702 w 442678"/>
                <a:gd name="connsiteY11" fmla="*/ 576610 h 590237"/>
                <a:gd name="connsiteX12" fmla="*/ 702 w 442678"/>
                <a:gd name="connsiteY12" fmla="*/ 448022 h 590237"/>
                <a:gd name="connsiteX13" fmla="*/ 26701 w 442678"/>
                <a:gd name="connsiteY13" fmla="*/ 405862 h 590237"/>
                <a:gd name="connsiteX14" fmla="*/ 55510 w 442678"/>
                <a:gd name="connsiteY14" fmla="*/ 410078 h 590237"/>
                <a:gd name="connsiteX15" fmla="*/ 127885 w 442678"/>
                <a:gd name="connsiteY15" fmla="*/ 424834 h 590237"/>
                <a:gd name="connsiteX16" fmla="*/ 132803 w 442678"/>
                <a:gd name="connsiteY16" fmla="*/ 322948 h 590237"/>
                <a:gd name="connsiteX17" fmla="*/ 63240 w 442678"/>
                <a:gd name="connsiteY17" fmla="*/ 322245 h 590237"/>
                <a:gd name="connsiteX18" fmla="*/ 33025 w 442678"/>
                <a:gd name="connsiteY18" fmla="*/ 338406 h 590237"/>
                <a:gd name="connsiteX19" fmla="*/ 1405 w 442678"/>
                <a:gd name="connsiteY19" fmla="*/ 301165 h 590237"/>
                <a:gd name="connsiteX20" fmla="*/ 0 w 442678"/>
                <a:gd name="connsiteY20" fmla="*/ 161335 h 590237"/>
                <a:gd name="connsiteX21" fmla="*/ 16161 w 442678"/>
                <a:gd name="connsiteY21" fmla="*/ 150093 h 590237"/>
                <a:gd name="connsiteX22" fmla="*/ 131398 w 442678"/>
                <a:gd name="connsiteY22" fmla="*/ 150093 h 590237"/>
                <a:gd name="connsiteX23" fmla="*/ 158099 w 442678"/>
                <a:gd name="connsiteY23" fmla="*/ 145877 h 590237"/>
                <a:gd name="connsiteX24" fmla="*/ 163018 w 442678"/>
                <a:gd name="connsiteY24" fmla="*/ 107230 h 590237"/>
                <a:gd name="connsiteX25" fmla="*/ 160910 w 442678"/>
                <a:gd name="connsiteY25" fmla="*/ 22208 h 590237"/>
                <a:gd name="connsiteX26" fmla="*/ 289497 w 442678"/>
                <a:gd name="connsiteY26" fmla="*/ 32748 h 590237"/>
                <a:gd name="connsiteX27" fmla="*/ 283876 w 442678"/>
                <a:gd name="connsiteY27" fmla="*/ 103014 h 590237"/>
                <a:gd name="connsiteX28" fmla="*/ 267012 w 442678"/>
                <a:gd name="connsiteY28" fmla="*/ 129013 h 590237"/>
                <a:gd name="connsiteX29" fmla="*/ 304956 w 442678"/>
                <a:gd name="connsiteY29" fmla="*/ 150795 h 590237"/>
                <a:gd name="connsiteX30" fmla="*/ 420193 w 442678"/>
                <a:gd name="connsiteY30" fmla="*/ 150093 h 590237"/>
                <a:gd name="connsiteX31" fmla="*/ 443381 w 442678"/>
                <a:gd name="connsiteY31" fmla="*/ 172578 h 590237"/>
                <a:gd name="connsiteX32" fmla="*/ 442678 w 442678"/>
                <a:gd name="connsiteY32" fmla="*/ 285004 h 590237"/>
                <a:gd name="connsiteX33" fmla="*/ 427220 w 442678"/>
                <a:gd name="connsiteY33" fmla="*/ 327164 h 590237"/>
                <a:gd name="connsiteX34" fmla="*/ 380844 w 442678"/>
                <a:gd name="connsiteY34" fmla="*/ 325056 h 590237"/>
                <a:gd name="connsiteX35" fmla="*/ 338684 w 442678"/>
                <a:gd name="connsiteY35" fmla="*/ 302571 h 590237"/>
                <a:gd name="connsiteX36" fmla="*/ 295821 w 442678"/>
                <a:gd name="connsiteY36" fmla="*/ 351054 h 590237"/>
                <a:gd name="connsiteX37" fmla="*/ 320415 w 442678"/>
                <a:gd name="connsiteY37" fmla="*/ 429753 h 590237"/>
                <a:gd name="connsiteX38" fmla="*/ 374520 w 442678"/>
                <a:gd name="connsiteY38" fmla="*/ 424834 h 590237"/>
                <a:gd name="connsiteX39" fmla="*/ 410356 w 442678"/>
                <a:gd name="connsiteY39" fmla="*/ 403754 h 590237"/>
                <a:gd name="connsiteX40" fmla="*/ 442678 w 442678"/>
                <a:gd name="connsiteY40" fmla="*/ 450130 h 590237"/>
                <a:gd name="connsiteX41" fmla="*/ 443381 w 442678"/>
                <a:gd name="connsiteY41" fmla="*/ 575907 h 590237"/>
                <a:gd name="connsiteX42" fmla="*/ 427922 w 442678"/>
                <a:gd name="connsiteY42" fmla="*/ 591365 h 590237"/>
                <a:gd name="connsiteX43" fmla="*/ 363277 w 442678"/>
                <a:gd name="connsiteY43" fmla="*/ 590663 h 590237"/>
                <a:gd name="connsiteX44" fmla="*/ 363277 w 442678"/>
                <a:gd name="connsiteY44" fmla="*/ 59066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42678" h="590237">
                  <a:moveTo>
                    <a:pt x="363277" y="590663"/>
                  </a:moveTo>
                  <a:cubicBezTo>
                    <a:pt x="342197" y="590663"/>
                    <a:pt x="321117" y="590663"/>
                    <a:pt x="300037" y="590663"/>
                  </a:cubicBezTo>
                  <a:cubicBezTo>
                    <a:pt x="283876" y="590663"/>
                    <a:pt x="271931" y="583636"/>
                    <a:pt x="262094" y="572393"/>
                  </a:cubicBezTo>
                  <a:cubicBezTo>
                    <a:pt x="249446" y="556935"/>
                    <a:pt x="248743" y="543584"/>
                    <a:pt x="266310" y="530937"/>
                  </a:cubicBezTo>
                  <a:cubicBezTo>
                    <a:pt x="281066" y="520397"/>
                    <a:pt x="298632" y="508451"/>
                    <a:pt x="290200" y="486669"/>
                  </a:cubicBezTo>
                  <a:cubicBezTo>
                    <a:pt x="281768" y="464886"/>
                    <a:pt x="266310" y="448022"/>
                    <a:pt x="241014" y="444509"/>
                  </a:cubicBezTo>
                  <a:cubicBezTo>
                    <a:pt x="214313" y="440996"/>
                    <a:pt x="188314" y="440996"/>
                    <a:pt x="167937" y="464183"/>
                  </a:cubicBezTo>
                  <a:cubicBezTo>
                    <a:pt x="146154" y="488777"/>
                    <a:pt x="146857" y="504235"/>
                    <a:pt x="170747" y="526720"/>
                  </a:cubicBezTo>
                  <a:cubicBezTo>
                    <a:pt x="179882" y="535152"/>
                    <a:pt x="197448" y="540071"/>
                    <a:pt x="189719" y="558340"/>
                  </a:cubicBezTo>
                  <a:cubicBezTo>
                    <a:pt x="181990" y="577312"/>
                    <a:pt x="169342" y="591365"/>
                    <a:pt x="146857" y="591365"/>
                  </a:cubicBezTo>
                  <a:cubicBezTo>
                    <a:pt x="103291" y="592068"/>
                    <a:pt x="59024" y="591365"/>
                    <a:pt x="15458" y="592068"/>
                  </a:cubicBezTo>
                  <a:cubicBezTo>
                    <a:pt x="2811" y="592068"/>
                    <a:pt x="0" y="587852"/>
                    <a:pt x="702" y="576610"/>
                  </a:cubicBezTo>
                  <a:cubicBezTo>
                    <a:pt x="1405" y="533747"/>
                    <a:pt x="1405" y="490885"/>
                    <a:pt x="702" y="448022"/>
                  </a:cubicBezTo>
                  <a:cubicBezTo>
                    <a:pt x="702" y="428347"/>
                    <a:pt x="11945" y="415699"/>
                    <a:pt x="26701" y="405862"/>
                  </a:cubicBezTo>
                  <a:cubicBezTo>
                    <a:pt x="36538" y="399538"/>
                    <a:pt x="45673" y="400241"/>
                    <a:pt x="55510" y="410078"/>
                  </a:cubicBezTo>
                  <a:cubicBezTo>
                    <a:pt x="93454" y="448022"/>
                    <a:pt x="101886" y="449427"/>
                    <a:pt x="127885" y="424834"/>
                  </a:cubicBezTo>
                  <a:cubicBezTo>
                    <a:pt x="154586" y="399538"/>
                    <a:pt x="157397" y="350352"/>
                    <a:pt x="132803" y="322948"/>
                  </a:cubicBezTo>
                  <a:cubicBezTo>
                    <a:pt x="106805" y="293436"/>
                    <a:pt x="89238" y="293436"/>
                    <a:pt x="63240" y="322245"/>
                  </a:cubicBezTo>
                  <a:cubicBezTo>
                    <a:pt x="55510" y="330677"/>
                    <a:pt x="50592" y="345433"/>
                    <a:pt x="33025" y="338406"/>
                  </a:cubicBezTo>
                  <a:cubicBezTo>
                    <a:pt x="15458" y="331380"/>
                    <a:pt x="2108" y="320137"/>
                    <a:pt x="1405" y="301165"/>
                  </a:cubicBezTo>
                  <a:cubicBezTo>
                    <a:pt x="0" y="254790"/>
                    <a:pt x="702" y="208414"/>
                    <a:pt x="0" y="161335"/>
                  </a:cubicBezTo>
                  <a:cubicBezTo>
                    <a:pt x="0" y="147985"/>
                    <a:pt x="8432" y="150093"/>
                    <a:pt x="16161" y="150093"/>
                  </a:cubicBezTo>
                  <a:cubicBezTo>
                    <a:pt x="54808" y="150093"/>
                    <a:pt x="92752" y="150093"/>
                    <a:pt x="131398" y="150093"/>
                  </a:cubicBezTo>
                  <a:cubicBezTo>
                    <a:pt x="140533" y="150093"/>
                    <a:pt x="149667" y="150795"/>
                    <a:pt x="158099" y="145877"/>
                  </a:cubicBezTo>
                  <a:cubicBezTo>
                    <a:pt x="179179" y="133931"/>
                    <a:pt x="180585" y="122689"/>
                    <a:pt x="163018" y="107230"/>
                  </a:cubicBezTo>
                  <a:cubicBezTo>
                    <a:pt x="129993" y="77718"/>
                    <a:pt x="129290" y="52422"/>
                    <a:pt x="160910" y="22208"/>
                  </a:cubicBezTo>
                  <a:cubicBezTo>
                    <a:pt x="196043" y="-11520"/>
                    <a:pt x="260688" y="-5899"/>
                    <a:pt x="289497" y="32748"/>
                  </a:cubicBezTo>
                  <a:cubicBezTo>
                    <a:pt x="309172" y="58746"/>
                    <a:pt x="306361" y="80529"/>
                    <a:pt x="283876" y="103014"/>
                  </a:cubicBezTo>
                  <a:cubicBezTo>
                    <a:pt x="276850" y="110041"/>
                    <a:pt x="257878" y="112149"/>
                    <a:pt x="267012" y="129013"/>
                  </a:cubicBezTo>
                  <a:cubicBezTo>
                    <a:pt x="274741" y="143769"/>
                    <a:pt x="287390" y="150795"/>
                    <a:pt x="304956" y="150795"/>
                  </a:cubicBezTo>
                  <a:cubicBezTo>
                    <a:pt x="343603" y="150093"/>
                    <a:pt x="381546" y="151498"/>
                    <a:pt x="420193" y="150093"/>
                  </a:cubicBezTo>
                  <a:cubicBezTo>
                    <a:pt x="437760" y="149390"/>
                    <a:pt x="444083" y="153606"/>
                    <a:pt x="443381" y="172578"/>
                  </a:cubicBezTo>
                  <a:cubicBezTo>
                    <a:pt x="441976" y="209819"/>
                    <a:pt x="442678" y="247763"/>
                    <a:pt x="442678" y="285004"/>
                  </a:cubicBezTo>
                  <a:cubicBezTo>
                    <a:pt x="442678" y="301165"/>
                    <a:pt x="439165" y="315219"/>
                    <a:pt x="427220" y="327164"/>
                  </a:cubicBezTo>
                  <a:cubicBezTo>
                    <a:pt x="408950" y="345433"/>
                    <a:pt x="397708" y="344731"/>
                    <a:pt x="380844" y="325056"/>
                  </a:cubicBezTo>
                  <a:cubicBezTo>
                    <a:pt x="369601" y="312408"/>
                    <a:pt x="359061" y="294841"/>
                    <a:pt x="338684" y="302571"/>
                  </a:cubicBezTo>
                  <a:cubicBezTo>
                    <a:pt x="316199" y="311003"/>
                    <a:pt x="299335" y="325759"/>
                    <a:pt x="295821" y="351054"/>
                  </a:cubicBezTo>
                  <a:cubicBezTo>
                    <a:pt x="291606" y="381269"/>
                    <a:pt x="293011" y="409376"/>
                    <a:pt x="320415" y="429753"/>
                  </a:cubicBezTo>
                  <a:cubicBezTo>
                    <a:pt x="342900" y="446617"/>
                    <a:pt x="355548" y="445211"/>
                    <a:pt x="374520" y="424834"/>
                  </a:cubicBezTo>
                  <a:cubicBezTo>
                    <a:pt x="384357" y="414294"/>
                    <a:pt x="389978" y="394620"/>
                    <a:pt x="410356" y="403754"/>
                  </a:cubicBezTo>
                  <a:cubicBezTo>
                    <a:pt x="430030" y="412186"/>
                    <a:pt x="441976" y="428347"/>
                    <a:pt x="442678" y="450130"/>
                  </a:cubicBezTo>
                  <a:cubicBezTo>
                    <a:pt x="443381" y="492290"/>
                    <a:pt x="442678" y="534450"/>
                    <a:pt x="443381" y="575907"/>
                  </a:cubicBezTo>
                  <a:cubicBezTo>
                    <a:pt x="443381" y="587852"/>
                    <a:pt x="439867" y="592068"/>
                    <a:pt x="427922" y="591365"/>
                  </a:cubicBezTo>
                  <a:cubicBezTo>
                    <a:pt x="406842" y="589960"/>
                    <a:pt x="385060" y="590663"/>
                    <a:pt x="363277" y="590663"/>
                  </a:cubicBezTo>
                  <a:cubicBezTo>
                    <a:pt x="363277" y="590663"/>
                    <a:pt x="363277" y="590663"/>
                    <a:pt x="363277" y="59066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5F8C68FF-1CAF-4119-AEE3-8AC72D815F58}"/>
                </a:ext>
              </a:extLst>
            </p:cNvPr>
            <p:cNvSpPr/>
            <p:nvPr/>
          </p:nvSpPr>
          <p:spPr>
            <a:xfrm>
              <a:off x="6856110" y="-14380"/>
              <a:ext cx="757423" cy="769640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61A0F9B2-145C-4908-BB98-BDF15D379F10}"/>
                </a:ext>
              </a:extLst>
            </p:cNvPr>
            <p:cNvSpPr/>
            <p:nvPr/>
          </p:nvSpPr>
          <p:spPr>
            <a:xfrm>
              <a:off x="9158880" y="2277686"/>
              <a:ext cx="769640" cy="769640"/>
            </a:xfrm>
            <a:custGeom>
              <a:avLst/>
              <a:gdLst>
                <a:gd name="connsiteX0" fmla="*/ 441372 w 442678"/>
                <a:gd name="connsiteY0" fmla="*/ 81509 h 442678"/>
                <a:gd name="connsiteX1" fmla="*/ 441372 w 442678"/>
                <a:gd name="connsiteY1" fmla="*/ 144749 h 442678"/>
                <a:gd name="connsiteX2" fmla="*/ 422400 w 442678"/>
                <a:gd name="connsiteY2" fmla="*/ 181990 h 442678"/>
                <a:gd name="connsiteX3" fmla="*/ 380943 w 442678"/>
                <a:gd name="connsiteY3" fmla="*/ 179179 h 442678"/>
                <a:gd name="connsiteX4" fmla="*/ 334567 w 442678"/>
                <a:gd name="connsiteY4" fmla="*/ 155289 h 442678"/>
                <a:gd name="connsiteX5" fmla="*/ 293110 w 442678"/>
                <a:gd name="connsiteY5" fmla="*/ 211502 h 442678"/>
                <a:gd name="connsiteX6" fmla="*/ 315595 w 442678"/>
                <a:gd name="connsiteY6" fmla="*/ 278255 h 442678"/>
                <a:gd name="connsiteX7" fmla="*/ 376024 w 442678"/>
                <a:gd name="connsiteY7" fmla="*/ 274741 h 442678"/>
                <a:gd name="connsiteX8" fmla="*/ 409752 w 442678"/>
                <a:gd name="connsiteY8" fmla="*/ 255770 h 442678"/>
                <a:gd name="connsiteX9" fmla="*/ 441372 w 442678"/>
                <a:gd name="connsiteY9" fmla="*/ 299335 h 442678"/>
                <a:gd name="connsiteX10" fmla="*/ 442074 w 442678"/>
                <a:gd name="connsiteY10" fmla="*/ 427922 h 442678"/>
                <a:gd name="connsiteX11" fmla="*/ 424508 w 442678"/>
                <a:gd name="connsiteY11" fmla="*/ 444083 h 442678"/>
                <a:gd name="connsiteX12" fmla="*/ 298731 w 442678"/>
                <a:gd name="connsiteY12" fmla="*/ 444083 h 442678"/>
                <a:gd name="connsiteX13" fmla="*/ 261490 w 442678"/>
                <a:gd name="connsiteY13" fmla="*/ 425112 h 442678"/>
                <a:gd name="connsiteX14" fmla="*/ 265003 w 442678"/>
                <a:gd name="connsiteY14" fmla="*/ 384357 h 442678"/>
                <a:gd name="connsiteX15" fmla="*/ 288191 w 442678"/>
                <a:gd name="connsiteY15" fmla="*/ 337981 h 442678"/>
                <a:gd name="connsiteX16" fmla="*/ 235491 w 442678"/>
                <a:gd name="connsiteY16" fmla="*/ 296524 h 442678"/>
                <a:gd name="connsiteX17" fmla="*/ 165927 w 442678"/>
                <a:gd name="connsiteY17" fmla="*/ 318307 h 442678"/>
                <a:gd name="connsiteX18" fmla="*/ 170143 w 442678"/>
                <a:gd name="connsiteY18" fmla="*/ 378736 h 442678"/>
                <a:gd name="connsiteX19" fmla="*/ 189115 w 442678"/>
                <a:gd name="connsiteY19" fmla="*/ 413166 h 442678"/>
                <a:gd name="connsiteX20" fmla="*/ 144848 w 442678"/>
                <a:gd name="connsiteY20" fmla="*/ 444083 h 442678"/>
                <a:gd name="connsiteX21" fmla="*/ 16260 w 442678"/>
                <a:gd name="connsiteY21" fmla="*/ 444083 h 442678"/>
                <a:gd name="connsiteX22" fmla="*/ 99 w 442678"/>
                <a:gd name="connsiteY22" fmla="*/ 426517 h 442678"/>
                <a:gd name="connsiteX23" fmla="*/ 99 w 442678"/>
                <a:gd name="connsiteY23" fmla="*/ 303551 h 442678"/>
                <a:gd name="connsiteX24" fmla="*/ 19773 w 442678"/>
                <a:gd name="connsiteY24" fmla="*/ 263499 h 442678"/>
                <a:gd name="connsiteX25" fmla="*/ 61231 w 442678"/>
                <a:gd name="connsiteY25" fmla="*/ 267012 h 442678"/>
                <a:gd name="connsiteX26" fmla="*/ 107606 w 442678"/>
                <a:gd name="connsiteY26" fmla="*/ 290200 h 442678"/>
                <a:gd name="connsiteX27" fmla="*/ 148361 w 442678"/>
                <a:gd name="connsiteY27" fmla="*/ 234690 h 442678"/>
                <a:gd name="connsiteX28" fmla="*/ 127281 w 442678"/>
                <a:gd name="connsiteY28" fmla="*/ 167234 h 442678"/>
                <a:gd name="connsiteX29" fmla="*/ 66852 w 442678"/>
                <a:gd name="connsiteY29" fmla="*/ 171450 h 442678"/>
                <a:gd name="connsiteX30" fmla="*/ 31719 w 442678"/>
                <a:gd name="connsiteY30" fmla="*/ 189719 h 442678"/>
                <a:gd name="connsiteX31" fmla="*/ 801 w 442678"/>
                <a:gd name="connsiteY31" fmla="*/ 148262 h 442678"/>
                <a:gd name="connsiteX32" fmla="*/ 99 w 442678"/>
                <a:gd name="connsiteY32" fmla="*/ 14053 h 442678"/>
                <a:gd name="connsiteX33" fmla="*/ 14855 w 442678"/>
                <a:gd name="connsiteY33" fmla="*/ 702 h 442678"/>
                <a:gd name="connsiteX34" fmla="*/ 143442 w 442678"/>
                <a:gd name="connsiteY34" fmla="*/ 702 h 442678"/>
                <a:gd name="connsiteX35" fmla="*/ 181386 w 442678"/>
                <a:gd name="connsiteY35" fmla="*/ 19675 h 442678"/>
                <a:gd name="connsiteX36" fmla="*/ 177873 w 442678"/>
                <a:gd name="connsiteY36" fmla="*/ 61132 h 442678"/>
                <a:gd name="connsiteX37" fmla="*/ 153982 w 442678"/>
                <a:gd name="connsiteY37" fmla="*/ 107508 h 442678"/>
                <a:gd name="connsiteX38" fmla="*/ 207385 w 442678"/>
                <a:gd name="connsiteY38" fmla="*/ 148262 h 442678"/>
                <a:gd name="connsiteX39" fmla="*/ 280462 w 442678"/>
                <a:gd name="connsiteY39" fmla="*/ 122966 h 442678"/>
                <a:gd name="connsiteX40" fmla="*/ 275543 w 442678"/>
                <a:gd name="connsiteY40" fmla="*/ 68158 h 442678"/>
                <a:gd name="connsiteX41" fmla="*/ 253760 w 442678"/>
                <a:gd name="connsiteY41" fmla="*/ 35133 h 442678"/>
                <a:gd name="connsiteX42" fmla="*/ 298028 w 442678"/>
                <a:gd name="connsiteY42" fmla="*/ 702 h 442678"/>
                <a:gd name="connsiteX43" fmla="*/ 429426 w 442678"/>
                <a:gd name="connsiteY43" fmla="*/ 0 h 442678"/>
                <a:gd name="connsiteX44" fmla="*/ 442777 w 442678"/>
                <a:gd name="connsiteY44" fmla="*/ 14756 h 442678"/>
                <a:gd name="connsiteX45" fmla="*/ 441372 w 442678"/>
                <a:gd name="connsiteY45" fmla="*/ 8150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2678" h="442678">
                  <a:moveTo>
                    <a:pt x="441372" y="81509"/>
                  </a:moveTo>
                  <a:cubicBezTo>
                    <a:pt x="441372" y="102589"/>
                    <a:pt x="440669" y="123669"/>
                    <a:pt x="441372" y="144749"/>
                  </a:cubicBezTo>
                  <a:cubicBezTo>
                    <a:pt x="442074" y="160910"/>
                    <a:pt x="434345" y="172153"/>
                    <a:pt x="422400" y="181990"/>
                  </a:cubicBezTo>
                  <a:cubicBezTo>
                    <a:pt x="407644" y="194638"/>
                    <a:pt x="394293" y="196746"/>
                    <a:pt x="380943" y="179179"/>
                  </a:cubicBezTo>
                  <a:cubicBezTo>
                    <a:pt x="369700" y="164423"/>
                    <a:pt x="357755" y="145451"/>
                    <a:pt x="334567" y="155289"/>
                  </a:cubicBezTo>
                  <a:cubicBezTo>
                    <a:pt x="310676" y="165829"/>
                    <a:pt x="294515" y="183395"/>
                    <a:pt x="293110" y="211502"/>
                  </a:cubicBezTo>
                  <a:cubicBezTo>
                    <a:pt x="291704" y="236798"/>
                    <a:pt x="293812" y="260688"/>
                    <a:pt x="315595" y="278255"/>
                  </a:cubicBezTo>
                  <a:cubicBezTo>
                    <a:pt x="339485" y="298632"/>
                    <a:pt x="354944" y="297227"/>
                    <a:pt x="376024" y="274741"/>
                  </a:cubicBezTo>
                  <a:cubicBezTo>
                    <a:pt x="385158" y="264904"/>
                    <a:pt x="390077" y="245932"/>
                    <a:pt x="409752" y="255770"/>
                  </a:cubicBezTo>
                  <a:cubicBezTo>
                    <a:pt x="428021" y="264904"/>
                    <a:pt x="441372" y="277552"/>
                    <a:pt x="441372" y="299335"/>
                  </a:cubicBezTo>
                  <a:cubicBezTo>
                    <a:pt x="441372" y="342197"/>
                    <a:pt x="440669" y="385060"/>
                    <a:pt x="442074" y="427922"/>
                  </a:cubicBezTo>
                  <a:cubicBezTo>
                    <a:pt x="442074" y="441976"/>
                    <a:pt x="436453" y="444083"/>
                    <a:pt x="424508" y="444083"/>
                  </a:cubicBezTo>
                  <a:cubicBezTo>
                    <a:pt x="382348" y="443381"/>
                    <a:pt x="340891" y="443381"/>
                    <a:pt x="298731" y="444083"/>
                  </a:cubicBezTo>
                  <a:cubicBezTo>
                    <a:pt x="282570" y="444083"/>
                    <a:pt x="270624" y="437057"/>
                    <a:pt x="261490" y="425112"/>
                  </a:cubicBezTo>
                  <a:cubicBezTo>
                    <a:pt x="249544" y="410356"/>
                    <a:pt x="246734" y="397005"/>
                    <a:pt x="265003" y="384357"/>
                  </a:cubicBezTo>
                  <a:cubicBezTo>
                    <a:pt x="280462" y="373114"/>
                    <a:pt x="298028" y="361169"/>
                    <a:pt x="288191" y="337981"/>
                  </a:cubicBezTo>
                  <a:cubicBezTo>
                    <a:pt x="279056" y="314793"/>
                    <a:pt x="261490" y="299335"/>
                    <a:pt x="235491" y="296524"/>
                  </a:cubicBezTo>
                  <a:cubicBezTo>
                    <a:pt x="209493" y="294416"/>
                    <a:pt x="184197" y="295821"/>
                    <a:pt x="165927" y="318307"/>
                  </a:cubicBezTo>
                  <a:cubicBezTo>
                    <a:pt x="145550" y="342197"/>
                    <a:pt x="146955" y="357656"/>
                    <a:pt x="170143" y="378736"/>
                  </a:cubicBezTo>
                  <a:cubicBezTo>
                    <a:pt x="180683" y="387870"/>
                    <a:pt x="197547" y="394897"/>
                    <a:pt x="189115" y="413166"/>
                  </a:cubicBezTo>
                  <a:cubicBezTo>
                    <a:pt x="180683" y="430733"/>
                    <a:pt x="166630" y="444083"/>
                    <a:pt x="144848" y="444083"/>
                  </a:cubicBezTo>
                  <a:cubicBezTo>
                    <a:pt x="101985" y="444083"/>
                    <a:pt x="59122" y="443381"/>
                    <a:pt x="16260" y="444083"/>
                  </a:cubicBezTo>
                  <a:cubicBezTo>
                    <a:pt x="2207" y="444083"/>
                    <a:pt x="-604" y="439165"/>
                    <a:pt x="99" y="426517"/>
                  </a:cubicBezTo>
                  <a:cubicBezTo>
                    <a:pt x="801" y="385762"/>
                    <a:pt x="801" y="344305"/>
                    <a:pt x="99" y="303551"/>
                  </a:cubicBezTo>
                  <a:cubicBezTo>
                    <a:pt x="99" y="286687"/>
                    <a:pt x="7125" y="274039"/>
                    <a:pt x="19773" y="263499"/>
                  </a:cubicBezTo>
                  <a:cubicBezTo>
                    <a:pt x="34529" y="251554"/>
                    <a:pt x="47880" y="248743"/>
                    <a:pt x="61231" y="267012"/>
                  </a:cubicBezTo>
                  <a:cubicBezTo>
                    <a:pt x="72473" y="282471"/>
                    <a:pt x="84418" y="300740"/>
                    <a:pt x="107606" y="290200"/>
                  </a:cubicBezTo>
                  <a:cubicBezTo>
                    <a:pt x="131497" y="279660"/>
                    <a:pt x="147658" y="262796"/>
                    <a:pt x="148361" y="234690"/>
                  </a:cubicBezTo>
                  <a:cubicBezTo>
                    <a:pt x="149064" y="209394"/>
                    <a:pt x="149064" y="185503"/>
                    <a:pt x="127281" y="167234"/>
                  </a:cubicBezTo>
                  <a:cubicBezTo>
                    <a:pt x="103390" y="147559"/>
                    <a:pt x="87932" y="147559"/>
                    <a:pt x="66852" y="171450"/>
                  </a:cubicBezTo>
                  <a:cubicBezTo>
                    <a:pt x="57717" y="181990"/>
                    <a:pt x="50691" y="198854"/>
                    <a:pt x="31719" y="189719"/>
                  </a:cubicBezTo>
                  <a:cubicBezTo>
                    <a:pt x="14855" y="181990"/>
                    <a:pt x="801" y="167937"/>
                    <a:pt x="801" y="148262"/>
                  </a:cubicBezTo>
                  <a:cubicBezTo>
                    <a:pt x="99" y="103291"/>
                    <a:pt x="801" y="59024"/>
                    <a:pt x="99" y="14053"/>
                  </a:cubicBezTo>
                  <a:cubicBezTo>
                    <a:pt x="99" y="2811"/>
                    <a:pt x="5017" y="702"/>
                    <a:pt x="14855" y="702"/>
                  </a:cubicBezTo>
                  <a:cubicBezTo>
                    <a:pt x="57717" y="1405"/>
                    <a:pt x="100580" y="702"/>
                    <a:pt x="143442" y="702"/>
                  </a:cubicBezTo>
                  <a:cubicBezTo>
                    <a:pt x="158901" y="702"/>
                    <a:pt x="170846" y="7729"/>
                    <a:pt x="181386" y="19675"/>
                  </a:cubicBezTo>
                  <a:cubicBezTo>
                    <a:pt x="194034" y="34430"/>
                    <a:pt x="196142" y="47781"/>
                    <a:pt x="177873" y="61132"/>
                  </a:cubicBezTo>
                  <a:cubicBezTo>
                    <a:pt x="162414" y="72374"/>
                    <a:pt x="144145" y="85022"/>
                    <a:pt x="153982" y="107508"/>
                  </a:cubicBezTo>
                  <a:cubicBezTo>
                    <a:pt x="163819" y="129993"/>
                    <a:pt x="179981" y="146154"/>
                    <a:pt x="207385" y="148262"/>
                  </a:cubicBezTo>
                  <a:cubicBezTo>
                    <a:pt x="236194" y="150370"/>
                    <a:pt x="262192" y="148262"/>
                    <a:pt x="280462" y="122966"/>
                  </a:cubicBezTo>
                  <a:cubicBezTo>
                    <a:pt x="295218" y="102589"/>
                    <a:pt x="295218" y="85725"/>
                    <a:pt x="275543" y="68158"/>
                  </a:cubicBezTo>
                  <a:cubicBezTo>
                    <a:pt x="265706" y="59726"/>
                    <a:pt x="246734" y="54808"/>
                    <a:pt x="253760" y="35133"/>
                  </a:cubicBezTo>
                  <a:cubicBezTo>
                    <a:pt x="260787" y="14053"/>
                    <a:pt x="276246" y="1405"/>
                    <a:pt x="298028" y="702"/>
                  </a:cubicBezTo>
                  <a:cubicBezTo>
                    <a:pt x="341593" y="-703"/>
                    <a:pt x="385861" y="702"/>
                    <a:pt x="429426" y="0"/>
                  </a:cubicBezTo>
                  <a:cubicBezTo>
                    <a:pt x="441372" y="0"/>
                    <a:pt x="442777" y="5621"/>
                    <a:pt x="442777" y="14756"/>
                  </a:cubicBezTo>
                  <a:cubicBezTo>
                    <a:pt x="441372" y="37241"/>
                    <a:pt x="441372" y="59024"/>
                    <a:pt x="441372" y="8150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726B8F1-95CB-447D-85F6-523A1787FC1C}"/>
                </a:ext>
              </a:extLst>
            </p:cNvPr>
            <p:cNvSpPr/>
            <p:nvPr/>
          </p:nvSpPr>
          <p:spPr>
            <a:xfrm>
              <a:off x="8909693" y="3819740"/>
              <a:ext cx="1282731" cy="1026186"/>
            </a:xfrm>
            <a:custGeom>
              <a:avLst/>
              <a:gdLst>
                <a:gd name="connsiteX0" fmla="*/ 230901 w 737797"/>
                <a:gd name="connsiteY0" fmla="*/ 1565 h 590237"/>
                <a:gd name="connsiteX1" fmla="*/ 291330 w 737797"/>
                <a:gd name="connsiteY1" fmla="*/ 1565 h 590237"/>
                <a:gd name="connsiteX2" fmla="*/ 336300 w 737797"/>
                <a:gd name="connsiteY2" fmla="*/ 31077 h 590237"/>
                <a:gd name="connsiteX3" fmla="*/ 317328 w 737797"/>
                <a:gd name="connsiteY3" fmla="*/ 68318 h 590237"/>
                <a:gd name="connsiteX4" fmla="*/ 313815 w 737797"/>
                <a:gd name="connsiteY4" fmla="*/ 126639 h 590237"/>
                <a:gd name="connsiteX5" fmla="*/ 417107 w 737797"/>
                <a:gd name="connsiteY5" fmla="*/ 135071 h 590237"/>
                <a:gd name="connsiteX6" fmla="*/ 417809 w 737797"/>
                <a:gd name="connsiteY6" fmla="*/ 64102 h 590237"/>
                <a:gd name="connsiteX7" fmla="*/ 401648 w 737797"/>
                <a:gd name="connsiteY7" fmla="*/ 36698 h 590237"/>
                <a:gd name="connsiteX8" fmla="*/ 437484 w 737797"/>
                <a:gd name="connsiteY8" fmla="*/ 3673 h 590237"/>
                <a:gd name="connsiteX9" fmla="*/ 579422 w 737797"/>
                <a:gd name="connsiteY9" fmla="*/ 2268 h 590237"/>
                <a:gd name="connsiteX10" fmla="*/ 589962 w 737797"/>
                <a:gd name="connsiteY10" fmla="*/ 19132 h 590237"/>
                <a:gd name="connsiteX11" fmla="*/ 589962 w 737797"/>
                <a:gd name="connsiteY11" fmla="*/ 134369 h 590237"/>
                <a:gd name="connsiteX12" fmla="*/ 599799 w 737797"/>
                <a:gd name="connsiteY12" fmla="*/ 167394 h 590237"/>
                <a:gd name="connsiteX13" fmla="*/ 632122 w 737797"/>
                <a:gd name="connsiteY13" fmla="*/ 167394 h 590237"/>
                <a:gd name="connsiteX14" fmla="*/ 729089 w 737797"/>
                <a:gd name="connsiteY14" fmla="*/ 176528 h 590237"/>
                <a:gd name="connsiteX15" fmla="*/ 708009 w 737797"/>
                <a:gd name="connsiteY15" fmla="*/ 292468 h 590237"/>
                <a:gd name="connsiteX16" fmla="*/ 638446 w 737797"/>
                <a:gd name="connsiteY16" fmla="*/ 286144 h 590237"/>
                <a:gd name="connsiteX17" fmla="*/ 612447 w 737797"/>
                <a:gd name="connsiteY17" fmla="*/ 269280 h 590237"/>
                <a:gd name="connsiteX18" fmla="*/ 591367 w 737797"/>
                <a:gd name="connsiteY18" fmla="*/ 305116 h 590237"/>
                <a:gd name="connsiteX19" fmla="*/ 592070 w 737797"/>
                <a:gd name="connsiteY19" fmla="*/ 420353 h 590237"/>
                <a:gd name="connsiteX20" fmla="*/ 568882 w 737797"/>
                <a:gd name="connsiteY20" fmla="*/ 444243 h 590237"/>
                <a:gd name="connsiteX21" fmla="*/ 459267 w 737797"/>
                <a:gd name="connsiteY21" fmla="*/ 443541 h 590237"/>
                <a:gd name="connsiteX22" fmla="*/ 428349 w 737797"/>
                <a:gd name="connsiteY22" fmla="*/ 451270 h 590237"/>
                <a:gd name="connsiteX23" fmla="*/ 426944 w 737797"/>
                <a:gd name="connsiteY23" fmla="*/ 484998 h 590237"/>
                <a:gd name="connsiteX24" fmla="*/ 425539 w 737797"/>
                <a:gd name="connsiteY24" fmla="*/ 574939 h 590237"/>
                <a:gd name="connsiteX25" fmla="*/ 302573 w 737797"/>
                <a:gd name="connsiteY25" fmla="*/ 561588 h 590237"/>
                <a:gd name="connsiteX26" fmla="*/ 308194 w 737797"/>
                <a:gd name="connsiteY26" fmla="*/ 489214 h 590237"/>
                <a:gd name="connsiteX27" fmla="*/ 325760 w 737797"/>
                <a:gd name="connsiteY27" fmla="*/ 465323 h 590237"/>
                <a:gd name="connsiteX28" fmla="*/ 288519 w 737797"/>
                <a:gd name="connsiteY28" fmla="*/ 442838 h 590237"/>
                <a:gd name="connsiteX29" fmla="*/ 173282 w 737797"/>
                <a:gd name="connsiteY29" fmla="*/ 443541 h 590237"/>
                <a:gd name="connsiteX30" fmla="*/ 150094 w 737797"/>
                <a:gd name="connsiteY30" fmla="*/ 418947 h 590237"/>
                <a:gd name="connsiteX31" fmla="*/ 150797 w 737797"/>
                <a:gd name="connsiteY31" fmla="*/ 309332 h 590237"/>
                <a:gd name="connsiteX32" fmla="*/ 143770 w 737797"/>
                <a:gd name="connsiteY32" fmla="*/ 280523 h 590237"/>
                <a:gd name="connsiteX33" fmla="*/ 107935 w 737797"/>
                <a:gd name="connsiteY33" fmla="*/ 278415 h 590237"/>
                <a:gd name="connsiteX34" fmla="*/ 10967 w 737797"/>
                <a:gd name="connsiteY34" fmla="*/ 267172 h 590237"/>
                <a:gd name="connsiteX35" fmla="*/ 32047 w 737797"/>
                <a:gd name="connsiteY35" fmla="*/ 153341 h 590237"/>
                <a:gd name="connsiteX36" fmla="*/ 103718 w 737797"/>
                <a:gd name="connsiteY36" fmla="*/ 159664 h 590237"/>
                <a:gd name="connsiteX37" fmla="*/ 127609 w 737797"/>
                <a:gd name="connsiteY37" fmla="*/ 176528 h 590237"/>
                <a:gd name="connsiteX38" fmla="*/ 149391 w 737797"/>
                <a:gd name="connsiteY38" fmla="*/ 141395 h 590237"/>
                <a:gd name="connsiteX39" fmla="*/ 148689 w 737797"/>
                <a:gd name="connsiteY39" fmla="*/ 34590 h 590237"/>
                <a:gd name="connsiteX40" fmla="*/ 181714 w 737797"/>
                <a:gd name="connsiteY40" fmla="*/ 862 h 590237"/>
                <a:gd name="connsiteX41" fmla="*/ 230901 w 737797"/>
                <a:gd name="connsiteY41" fmla="*/ 156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37797" h="590237">
                  <a:moveTo>
                    <a:pt x="230901" y="1565"/>
                  </a:moveTo>
                  <a:cubicBezTo>
                    <a:pt x="251278" y="1565"/>
                    <a:pt x="270953" y="2268"/>
                    <a:pt x="291330" y="1565"/>
                  </a:cubicBezTo>
                  <a:cubicBezTo>
                    <a:pt x="313113" y="862"/>
                    <a:pt x="327868" y="12808"/>
                    <a:pt x="336300" y="31077"/>
                  </a:cubicBezTo>
                  <a:cubicBezTo>
                    <a:pt x="346137" y="50751"/>
                    <a:pt x="327868" y="57778"/>
                    <a:pt x="317328" y="68318"/>
                  </a:cubicBezTo>
                  <a:cubicBezTo>
                    <a:pt x="294843" y="89398"/>
                    <a:pt x="293438" y="102749"/>
                    <a:pt x="313815" y="126639"/>
                  </a:cubicBezTo>
                  <a:cubicBezTo>
                    <a:pt x="338408" y="155449"/>
                    <a:pt x="389703" y="159664"/>
                    <a:pt x="417107" y="135071"/>
                  </a:cubicBezTo>
                  <a:cubicBezTo>
                    <a:pt x="448024" y="108370"/>
                    <a:pt x="448024" y="90803"/>
                    <a:pt x="417809" y="64102"/>
                  </a:cubicBezTo>
                  <a:cubicBezTo>
                    <a:pt x="410080" y="57076"/>
                    <a:pt x="396027" y="52157"/>
                    <a:pt x="401648" y="36698"/>
                  </a:cubicBezTo>
                  <a:cubicBezTo>
                    <a:pt x="407972" y="19132"/>
                    <a:pt x="419215" y="4376"/>
                    <a:pt x="437484" y="3673"/>
                  </a:cubicBezTo>
                  <a:cubicBezTo>
                    <a:pt x="484562" y="1565"/>
                    <a:pt x="532343" y="2970"/>
                    <a:pt x="579422" y="2268"/>
                  </a:cubicBezTo>
                  <a:cubicBezTo>
                    <a:pt x="593475" y="2268"/>
                    <a:pt x="589962" y="12105"/>
                    <a:pt x="589962" y="19132"/>
                  </a:cubicBezTo>
                  <a:cubicBezTo>
                    <a:pt x="589962" y="57778"/>
                    <a:pt x="589962" y="95722"/>
                    <a:pt x="589962" y="134369"/>
                  </a:cubicBezTo>
                  <a:cubicBezTo>
                    <a:pt x="589962" y="146314"/>
                    <a:pt x="591367" y="157556"/>
                    <a:pt x="599799" y="167394"/>
                  </a:cubicBezTo>
                  <a:cubicBezTo>
                    <a:pt x="611042" y="180042"/>
                    <a:pt x="619474" y="182852"/>
                    <a:pt x="632122" y="167394"/>
                  </a:cubicBezTo>
                  <a:cubicBezTo>
                    <a:pt x="665147" y="128747"/>
                    <a:pt x="700983" y="132261"/>
                    <a:pt x="729089" y="176528"/>
                  </a:cubicBezTo>
                  <a:cubicBezTo>
                    <a:pt x="750872" y="210959"/>
                    <a:pt x="740332" y="268577"/>
                    <a:pt x="708009" y="292468"/>
                  </a:cubicBezTo>
                  <a:cubicBezTo>
                    <a:pt x="681308" y="312142"/>
                    <a:pt x="661634" y="309332"/>
                    <a:pt x="638446" y="286144"/>
                  </a:cubicBezTo>
                  <a:cubicBezTo>
                    <a:pt x="631419" y="279117"/>
                    <a:pt x="628608" y="260848"/>
                    <a:pt x="612447" y="269280"/>
                  </a:cubicBezTo>
                  <a:cubicBezTo>
                    <a:pt x="599096" y="276307"/>
                    <a:pt x="591367" y="288252"/>
                    <a:pt x="591367" y="305116"/>
                  </a:cubicBezTo>
                  <a:cubicBezTo>
                    <a:pt x="592070" y="343762"/>
                    <a:pt x="590665" y="381706"/>
                    <a:pt x="592070" y="420353"/>
                  </a:cubicBezTo>
                  <a:cubicBezTo>
                    <a:pt x="592773" y="438622"/>
                    <a:pt x="589259" y="445649"/>
                    <a:pt x="568882" y="444243"/>
                  </a:cubicBezTo>
                  <a:cubicBezTo>
                    <a:pt x="532343" y="442135"/>
                    <a:pt x="495805" y="443541"/>
                    <a:pt x="459267" y="443541"/>
                  </a:cubicBezTo>
                  <a:cubicBezTo>
                    <a:pt x="448024" y="443541"/>
                    <a:pt x="437484" y="444243"/>
                    <a:pt x="428349" y="451270"/>
                  </a:cubicBezTo>
                  <a:cubicBezTo>
                    <a:pt x="414999" y="462513"/>
                    <a:pt x="410080" y="470944"/>
                    <a:pt x="426944" y="484998"/>
                  </a:cubicBezTo>
                  <a:cubicBezTo>
                    <a:pt x="463482" y="515213"/>
                    <a:pt x="462077" y="544724"/>
                    <a:pt x="425539" y="574939"/>
                  </a:cubicBezTo>
                  <a:cubicBezTo>
                    <a:pt x="391811" y="602343"/>
                    <a:pt x="329274" y="596019"/>
                    <a:pt x="302573" y="561588"/>
                  </a:cubicBezTo>
                  <a:cubicBezTo>
                    <a:pt x="281493" y="534887"/>
                    <a:pt x="283601" y="513104"/>
                    <a:pt x="308194" y="489214"/>
                  </a:cubicBezTo>
                  <a:cubicBezTo>
                    <a:pt x="315220" y="482187"/>
                    <a:pt x="331382" y="479376"/>
                    <a:pt x="325760" y="465323"/>
                  </a:cubicBezTo>
                  <a:cubicBezTo>
                    <a:pt x="319436" y="450567"/>
                    <a:pt x="306086" y="442135"/>
                    <a:pt x="288519" y="442838"/>
                  </a:cubicBezTo>
                  <a:cubicBezTo>
                    <a:pt x="249873" y="443541"/>
                    <a:pt x="211929" y="441433"/>
                    <a:pt x="173282" y="443541"/>
                  </a:cubicBezTo>
                  <a:cubicBezTo>
                    <a:pt x="153608" y="444243"/>
                    <a:pt x="149391" y="437920"/>
                    <a:pt x="150094" y="418947"/>
                  </a:cubicBezTo>
                  <a:cubicBezTo>
                    <a:pt x="151500" y="382409"/>
                    <a:pt x="150797" y="345870"/>
                    <a:pt x="150797" y="309332"/>
                  </a:cubicBezTo>
                  <a:cubicBezTo>
                    <a:pt x="150797" y="299495"/>
                    <a:pt x="150797" y="288955"/>
                    <a:pt x="143770" y="280523"/>
                  </a:cubicBezTo>
                  <a:cubicBezTo>
                    <a:pt x="133230" y="267172"/>
                    <a:pt x="124096" y="258740"/>
                    <a:pt x="107935" y="278415"/>
                  </a:cubicBezTo>
                  <a:cubicBezTo>
                    <a:pt x="76315" y="317061"/>
                    <a:pt x="37668" y="311440"/>
                    <a:pt x="10967" y="267172"/>
                  </a:cubicBezTo>
                  <a:cubicBezTo>
                    <a:pt x="-10113" y="232742"/>
                    <a:pt x="427" y="177934"/>
                    <a:pt x="32047" y="153341"/>
                  </a:cubicBezTo>
                  <a:cubicBezTo>
                    <a:pt x="59451" y="132261"/>
                    <a:pt x="79828" y="135071"/>
                    <a:pt x="103718" y="159664"/>
                  </a:cubicBezTo>
                  <a:cubicBezTo>
                    <a:pt x="110745" y="166691"/>
                    <a:pt x="113556" y="182852"/>
                    <a:pt x="127609" y="176528"/>
                  </a:cubicBezTo>
                  <a:cubicBezTo>
                    <a:pt x="141662" y="170204"/>
                    <a:pt x="149391" y="157556"/>
                    <a:pt x="149391" y="141395"/>
                  </a:cubicBezTo>
                  <a:cubicBezTo>
                    <a:pt x="149391" y="105559"/>
                    <a:pt x="151500" y="70426"/>
                    <a:pt x="148689" y="34590"/>
                  </a:cubicBezTo>
                  <a:cubicBezTo>
                    <a:pt x="146581" y="7889"/>
                    <a:pt x="153608" y="-3354"/>
                    <a:pt x="181714" y="862"/>
                  </a:cubicBezTo>
                  <a:cubicBezTo>
                    <a:pt x="197875" y="3673"/>
                    <a:pt x="214037" y="1565"/>
                    <a:pt x="230901" y="156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F204A848-316D-4A46-BB39-5156F7FA979C}"/>
                </a:ext>
              </a:extLst>
            </p:cNvPr>
            <p:cNvSpPr/>
            <p:nvPr/>
          </p:nvSpPr>
          <p:spPr>
            <a:xfrm flipH="1">
              <a:off x="6616113" y="1239717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CF731701-9771-4B5A-BE76-106E0A14423D}"/>
                </a:ext>
              </a:extLst>
            </p:cNvPr>
            <p:cNvSpPr/>
            <p:nvPr/>
          </p:nvSpPr>
          <p:spPr>
            <a:xfrm>
              <a:off x="8394604" y="4309250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00F7C574-35C6-4F00-9D98-75BF121ED6EF}"/>
                </a:ext>
              </a:extLst>
            </p:cNvPr>
            <p:cNvSpPr/>
            <p:nvPr/>
          </p:nvSpPr>
          <p:spPr>
            <a:xfrm>
              <a:off x="8139307" y="5318875"/>
              <a:ext cx="1026185" cy="757423"/>
            </a:xfrm>
            <a:custGeom>
              <a:avLst/>
              <a:gdLst>
                <a:gd name="connsiteX0" fmla="*/ 593135 w 590237"/>
                <a:gd name="connsiteY0" fmla="*/ 360467 h 435651"/>
                <a:gd name="connsiteX1" fmla="*/ 593135 w 590237"/>
                <a:gd name="connsiteY1" fmla="*/ 426517 h 435651"/>
                <a:gd name="connsiteX2" fmla="*/ 577676 w 590237"/>
                <a:gd name="connsiteY2" fmla="*/ 441976 h 435651"/>
                <a:gd name="connsiteX3" fmla="*/ 446278 w 590237"/>
                <a:gd name="connsiteY3" fmla="*/ 441273 h 435651"/>
                <a:gd name="connsiteX4" fmla="*/ 403415 w 590237"/>
                <a:gd name="connsiteY4" fmla="*/ 408248 h 435651"/>
                <a:gd name="connsiteX5" fmla="*/ 422387 w 590237"/>
                <a:gd name="connsiteY5" fmla="*/ 376628 h 435651"/>
                <a:gd name="connsiteX6" fmla="*/ 425198 w 590237"/>
                <a:gd name="connsiteY6" fmla="*/ 314091 h 435651"/>
                <a:gd name="connsiteX7" fmla="*/ 316988 w 590237"/>
                <a:gd name="connsiteY7" fmla="*/ 314091 h 435651"/>
                <a:gd name="connsiteX8" fmla="*/ 320501 w 590237"/>
                <a:gd name="connsiteY8" fmla="*/ 376628 h 435651"/>
                <a:gd name="connsiteX9" fmla="*/ 339473 w 590237"/>
                <a:gd name="connsiteY9" fmla="*/ 408951 h 435651"/>
                <a:gd name="connsiteX10" fmla="*/ 301529 w 590237"/>
                <a:gd name="connsiteY10" fmla="*/ 440570 h 435651"/>
                <a:gd name="connsiteX11" fmla="*/ 161699 w 590237"/>
                <a:gd name="connsiteY11" fmla="*/ 441273 h 435651"/>
                <a:gd name="connsiteX12" fmla="*/ 149754 w 590237"/>
                <a:gd name="connsiteY12" fmla="*/ 423004 h 435651"/>
                <a:gd name="connsiteX13" fmla="*/ 149754 w 590237"/>
                <a:gd name="connsiteY13" fmla="*/ 304956 h 435651"/>
                <a:gd name="connsiteX14" fmla="*/ 140619 w 590237"/>
                <a:gd name="connsiteY14" fmla="*/ 274742 h 435651"/>
                <a:gd name="connsiteX15" fmla="*/ 109702 w 590237"/>
                <a:gd name="connsiteY15" fmla="*/ 274742 h 435651"/>
                <a:gd name="connsiteX16" fmla="*/ 5708 w 590237"/>
                <a:gd name="connsiteY16" fmla="*/ 252959 h 435651"/>
                <a:gd name="connsiteX17" fmla="*/ 32409 w 590237"/>
                <a:gd name="connsiteY17" fmla="*/ 151776 h 435651"/>
                <a:gd name="connsiteX18" fmla="*/ 104081 w 590237"/>
                <a:gd name="connsiteY18" fmla="*/ 158099 h 435651"/>
                <a:gd name="connsiteX19" fmla="*/ 127971 w 590237"/>
                <a:gd name="connsiteY19" fmla="*/ 174963 h 435651"/>
                <a:gd name="connsiteX20" fmla="*/ 149051 w 590237"/>
                <a:gd name="connsiteY20" fmla="*/ 139830 h 435651"/>
                <a:gd name="connsiteX21" fmla="*/ 148348 w 590237"/>
                <a:gd name="connsiteY21" fmla="*/ 19675 h 435651"/>
                <a:gd name="connsiteX22" fmla="*/ 168023 w 590237"/>
                <a:gd name="connsiteY22" fmla="*/ 0 h 435651"/>
                <a:gd name="connsiteX23" fmla="*/ 290989 w 590237"/>
                <a:gd name="connsiteY23" fmla="*/ 0 h 435651"/>
                <a:gd name="connsiteX24" fmla="*/ 328933 w 590237"/>
                <a:gd name="connsiteY24" fmla="*/ 17567 h 435651"/>
                <a:gd name="connsiteX25" fmla="*/ 326122 w 590237"/>
                <a:gd name="connsiteY25" fmla="*/ 59024 h 435651"/>
                <a:gd name="connsiteX26" fmla="*/ 301529 w 590237"/>
                <a:gd name="connsiteY26" fmla="*/ 103292 h 435651"/>
                <a:gd name="connsiteX27" fmla="*/ 352824 w 590237"/>
                <a:gd name="connsiteY27" fmla="*/ 146857 h 435651"/>
                <a:gd name="connsiteX28" fmla="*/ 421685 w 590237"/>
                <a:gd name="connsiteY28" fmla="*/ 129993 h 435651"/>
                <a:gd name="connsiteX29" fmla="*/ 419577 w 590237"/>
                <a:gd name="connsiteY29" fmla="*/ 63943 h 435651"/>
                <a:gd name="connsiteX30" fmla="*/ 402010 w 590237"/>
                <a:gd name="connsiteY30" fmla="*/ 34431 h 435651"/>
                <a:gd name="connsiteX31" fmla="*/ 436441 w 590237"/>
                <a:gd name="connsiteY31" fmla="*/ 2811 h 435651"/>
                <a:gd name="connsiteX32" fmla="*/ 581190 w 590237"/>
                <a:gd name="connsiteY32" fmla="*/ 703 h 435651"/>
                <a:gd name="connsiteX33" fmla="*/ 591027 w 590237"/>
                <a:gd name="connsiteY33" fmla="*/ 15459 h 435651"/>
                <a:gd name="connsiteX34" fmla="*/ 591027 w 590237"/>
                <a:gd name="connsiteY34" fmla="*/ 146857 h 435651"/>
                <a:gd name="connsiteX35" fmla="*/ 560110 w 590237"/>
                <a:gd name="connsiteY35" fmla="*/ 188314 h 435651"/>
                <a:gd name="connsiteX36" fmla="*/ 525679 w 590237"/>
                <a:gd name="connsiteY36" fmla="*/ 170045 h 435651"/>
                <a:gd name="connsiteX37" fmla="*/ 465953 w 590237"/>
                <a:gd name="connsiteY37" fmla="*/ 165126 h 435651"/>
                <a:gd name="connsiteX38" fmla="*/ 463845 w 590237"/>
                <a:gd name="connsiteY38" fmla="*/ 274742 h 435651"/>
                <a:gd name="connsiteX39" fmla="*/ 526382 w 590237"/>
                <a:gd name="connsiteY39" fmla="*/ 271931 h 435651"/>
                <a:gd name="connsiteX40" fmla="*/ 560812 w 590237"/>
                <a:gd name="connsiteY40" fmla="*/ 253662 h 435651"/>
                <a:gd name="connsiteX41" fmla="*/ 591729 w 590237"/>
                <a:gd name="connsiteY41" fmla="*/ 297930 h 435651"/>
                <a:gd name="connsiteX42" fmla="*/ 593135 w 590237"/>
                <a:gd name="connsiteY42" fmla="*/ 360467 h 43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90237" h="435651">
                  <a:moveTo>
                    <a:pt x="593135" y="360467"/>
                  </a:moveTo>
                  <a:cubicBezTo>
                    <a:pt x="593135" y="382249"/>
                    <a:pt x="592432" y="404032"/>
                    <a:pt x="593135" y="426517"/>
                  </a:cubicBezTo>
                  <a:cubicBezTo>
                    <a:pt x="593837" y="438462"/>
                    <a:pt x="589621" y="441976"/>
                    <a:pt x="577676" y="441976"/>
                  </a:cubicBezTo>
                  <a:cubicBezTo>
                    <a:pt x="534111" y="441273"/>
                    <a:pt x="489843" y="441976"/>
                    <a:pt x="446278" y="441273"/>
                  </a:cubicBezTo>
                  <a:cubicBezTo>
                    <a:pt x="424495" y="441273"/>
                    <a:pt x="411145" y="427220"/>
                    <a:pt x="403415" y="408248"/>
                  </a:cubicBezTo>
                  <a:cubicBezTo>
                    <a:pt x="395686" y="389978"/>
                    <a:pt x="413253" y="385060"/>
                    <a:pt x="422387" y="376628"/>
                  </a:cubicBezTo>
                  <a:cubicBezTo>
                    <a:pt x="446278" y="354143"/>
                    <a:pt x="447683" y="337279"/>
                    <a:pt x="425198" y="314091"/>
                  </a:cubicBezTo>
                  <a:cubicBezTo>
                    <a:pt x="397794" y="285282"/>
                    <a:pt x="344392" y="285282"/>
                    <a:pt x="316988" y="314091"/>
                  </a:cubicBezTo>
                  <a:cubicBezTo>
                    <a:pt x="295205" y="337982"/>
                    <a:pt x="295908" y="355548"/>
                    <a:pt x="320501" y="376628"/>
                  </a:cubicBezTo>
                  <a:cubicBezTo>
                    <a:pt x="330338" y="385060"/>
                    <a:pt x="346500" y="391384"/>
                    <a:pt x="339473" y="408951"/>
                  </a:cubicBezTo>
                  <a:cubicBezTo>
                    <a:pt x="332447" y="425815"/>
                    <a:pt x="321204" y="439868"/>
                    <a:pt x="301529" y="440570"/>
                  </a:cubicBezTo>
                  <a:cubicBezTo>
                    <a:pt x="255153" y="441976"/>
                    <a:pt x="208778" y="441273"/>
                    <a:pt x="161699" y="441273"/>
                  </a:cubicBezTo>
                  <a:cubicBezTo>
                    <a:pt x="146241" y="441273"/>
                    <a:pt x="149754" y="431436"/>
                    <a:pt x="149754" y="423004"/>
                  </a:cubicBezTo>
                  <a:cubicBezTo>
                    <a:pt x="149754" y="383655"/>
                    <a:pt x="149754" y="344305"/>
                    <a:pt x="149754" y="304956"/>
                  </a:cubicBezTo>
                  <a:cubicBezTo>
                    <a:pt x="149754" y="293713"/>
                    <a:pt x="149051" y="283173"/>
                    <a:pt x="140619" y="274742"/>
                  </a:cubicBezTo>
                  <a:cubicBezTo>
                    <a:pt x="130079" y="264904"/>
                    <a:pt x="122350" y="259986"/>
                    <a:pt x="109702" y="274742"/>
                  </a:cubicBezTo>
                  <a:cubicBezTo>
                    <a:pt x="74569" y="316902"/>
                    <a:pt x="23977" y="305659"/>
                    <a:pt x="5708" y="252959"/>
                  </a:cubicBezTo>
                  <a:cubicBezTo>
                    <a:pt x="-7643" y="214313"/>
                    <a:pt x="2897" y="174963"/>
                    <a:pt x="32409" y="151776"/>
                  </a:cubicBezTo>
                  <a:cubicBezTo>
                    <a:pt x="59110" y="130696"/>
                    <a:pt x="81595" y="132804"/>
                    <a:pt x="104081" y="158099"/>
                  </a:cubicBezTo>
                  <a:cubicBezTo>
                    <a:pt x="111107" y="165126"/>
                    <a:pt x="113918" y="181287"/>
                    <a:pt x="127971" y="174963"/>
                  </a:cubicBezTo>
                  <a:cubicBezTo>
                    <a:pt x="142025" y="168639"/>
                    <a:pt x="149754" y="156694"/>
                    <a:pt x="149051" y="139830"/>
                  </a:cubicBezTo>
                  <a:cubicBezTo>
                    <a:pt x="148348" y="99778"/>
                    <a:pt x="149754" y="59726"/>
                    <a:pt x="148348" y="19675"/>
                  </a:cubicBezTo>
                  <a:cubicBezTo>
                    <a:pt x="147646" y="3513"/>
                    <a:pt x="152564" y="0"/>
                    <a:pt x="168023" y="0"/>
                  </a:cubicBezTo>
                  <a:cubicBezTo>
                    <a:pt x="208778" y="703"/>
                    <a:pt x="250235" y="703"/>
                    <a:pt x="290989" y="0"/>
                  </a:cubicBezTo>
                  <a:cubicBezTo>
                    <a:pt x="307151" y="0"/>
                    <a:pt x="319096" y="5621"/>
                    <a:pt x="328933" y="17567"/>
                  </a:cubicBezTo>
                  <a:cubicBezTo>
                    <a:pt x="341581" y="32323"/>
                    <a:pt x="344392" y="45673"/>
                    <a:pt x="326122" y="59024"/>
                  </a:cubicBezTo>
                  <a:cubicBezTo>
                    <a:pt x="311367" y="69564"/>
                    <a:pt x="294502" y="81509"/>
                    <a:pt x="301529" y="103292"/>
                  </a:cubicBezTo>
                  <a:cubicBezTo>
                    <a:pt x="309258" y="127182"/>
                    <a:pt x="326825" y="143344"/>
                    <a:pt x="352824" y="146857"/>
                  </a:cubicBezTo>
                  <a:cubicBezTo>
                    <a:pt x="378120" y="150370"/>
                    <a:pt x="402010" y="148965"/>
                    <a:pt x="421685" y="129993"/>
                  </a:cubicBezTo>
                  <a:cubicBezTo>
                    <a:pt x="446278" y="105400"/>
                    <a:pt x="445575" y="86428"/>
                    <a:pt x="419577" y="63943"/>
                  </a:cubicBezTo>
                  <a:cubicBezTo>
                    <a:pt x="410442" y="56213"/>
                    <a:pt x="394984" y="51294"/>
                    <a:pt x="402010" y="34431"/>
                  </a:cubicBezTo>
                  <a:cubicBezTo>
                    <a:pt x="408334" y="18972"/>
                    <a:pt x="418874" y="3513"/>
                    <a:pt x="436441" y="2811"/>
                  </a:cubicBezTo>
                  <a:cubicBezTo>
                    <a:pt x="484924" y="703"/>
                    <a:pt x="533408" y="1405"/>
                    <a:pt x="581190" y="703"/>
                  </a:cubicBezTo>
                  <a:cubicBezTo>
                    <a:pt x="593135" y="703"/>
                    <a:pt x="591027" y="8432"/>
                    <a:pt x="591027" y="15459"/>
                  </a:cubicBezTo>
                  <a:cubicBezTo>
                    <a:pt x="591027" y="59024"/>
                    <a:pt x="591729" y="103292"/>
                    <a:pt x="591027" y="146857"/>
                  </a:cubicBezTo>
                  <a:cubicBezTo>
                    <a:pt x="591027" y="167234"/>
                    <a:pt x="577676" y="179882"/>
                    <a:pt x="560110" y="188314"/>
                  </a:cubicBezTo>
                  <a:cubicBezTo>
                    <a:pt x="541138" y="197449"/>
                    <a:pt x="534814" y="179882"/>
                    <a:pt x="525679" y="170045"/>
                  </a:cubicBezTo>
                  <a:cubicBezTo>
                    <a:pt x="503896" y="145452"/>
                    <a:pt x="490546" y="144749"/>
                    <a:pt x="465953" y="165126"/>
                  </a:cubicBezTo>
                  <a:cubicBezTo>
                    <a:pt x="434333" y="191827"/>
                    <a:pt x="432927" y="246635"/>
                    <a:pt x="463845" y="274742"/>
                  </a:cubicBezTo>
                  <a:cubicBezTo>
                    <a:pt x="488438" y="297227"/>
                    <a:pt x="503896" y="296524"/>
                    <a:pt x="526382" y="271931"/>
                  </a:cubicBezTo>
                  <a:cubicBezTo>
                    <a:pt x="535516" y="262094"/>
                    <a:pt x="541840" y="244527"/>
                    <a:pt x="560812" y="253662"/>
                  </a:cubicBezTo>
                  <a:cubicBezTo>
                    <a:pt x="579081" y="262094"/>
                    <a:pt x="591729" y="275444"/>
                    <a:pt x="591729" y="297930"/>
                  </a:cubicBezTo>
                  <a:cubicBezTo>
                    <a:pt x="593135" y="318307"/>
                    <a:pt x="593135" y="339387"/>
                    <a:pt x="593135" y="36046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351D5951-1667-46DB-902E-32E06E48DEF1}"/>
                </a:ext>
              </a:extLst>
            </p:cNvPr>
            <p:cNvSpPr/>
            <p:nvPr/>
          </p:nvSpPr>
          <p:spPr>
            <a:xfrm>
              <a:off x="9157521" y="4568763"/>
              <a:ext cx="1026185" cy="769640"/>
            </a:xfrm>
            <a:custGeom>
              <a:avLst/>
              <a:gdLst>
                <a:gd name="connsiteX0" fmla="*/ 362604 w 590237"/>
                <a:gd name="connsiteY0" fmla="*/ 443446 h 442678"/>
                <a:gd name="connsiteX1" fmla="*/ 302175 w 590237"/>
                <a:gd name="connsiteY1" fmla="*/ 443446 h 442678"/>
                <a:gd name="connsiteX2" fmla="*/ 261420 w 590237"/>
                <a:gd name="connsiteY2" fmla="*/ 424474 h 442678"/>
                <a:gd name="connsiteX3" fmla="*/ 264934 w 590237"/>
                <a:gd name="connsiteY3" fmla="*/ 383017 h 442678"/>
                <a:gd name="connsiteX4" fmla="*/ 288122 w 590237"/>
                <a:gd name="connsiteY4" fmla="*/ 335938 h 442678"/>
                <a:gd name="connsiteX5" fmla="*/ 234719 w 590237"/>
                <a:gd name="connsiteY5" fmla="*/ 295184 h 442678"/>
                <a:gd name="connsiteX6" fmla="*/ 165155 w 590237"/>
                <a:gd name="connsiteY6" fmla="*/ 316966 h 442678"/>
                <a:gd name="connsiteX7" fmla="*/ 170074 w 590237"/>
                <a:gd name="connsiteY7" fmla="*/ 377395 h 442678"/>
                <a:gd name="connsiteX8" fmla="*/ 189749 w 590237"/>
                <a:gd name="connsiteY8" fmla="*/ 409015 h 442678"/>
                <a:gd name="connsiteX9" fmla="*/ 149697 w 590237"/>
                <a:gd name="connsiteY9" fmla="*/ 442041 h 442678"/>
                <a:gd name="connsiteX10" fmla="*/ 12677 w 590237"/>
                <a:gd name="connsiteY10" fmla="*/ 442743 h 442678"/>
                <a:gd name="connsiteX11" fmla="*/ 29 w 590237"/>
                <a:gd name="connsiteY11" fmla="*/ 427285 h 442678"/>
                <a:gd name="connsiteX12" fmla="*/ 29 w 590237"/>
                <a:gd name="connsiteY12" fmla="*/ 298697 h 442678"/>
                <a:gd name="connsiteX13" fmla="*/ 17596 w 590237"/>
                <a:gd name="connsiteY13" fmla="*/ 263564 h 442678"/>
                <a:gd name="connsiteX14" fmla="*/ 60458 w 590237"/>
                <a:gd name="connsiteY14" fmla="*/ 266375 h 442678"/>
                <a:gd name="connsiteX15" fmla="*/ 104024 w 590237"/>
                <a:gd name="connsiteY15" fmla="*/ 290265 h 442678"/>
                <a:gd name="connsiteX16" fmla="*/ 147589 w 590237"/>
                <a:gd name="connsiteY16" fmla="*/ 236160 h 442678"/>
                <a:gd name="connsiteX17" fmla="*/ 122996 w 590237"/>
                <a:gd name="connsiteY17" fmla="*/ 164488 h 442678"/>
                <a:gd name="connsiteX18" fmla="*/ 66782 w 590237"/>
                <a:gd name="connsiteY18" fmla="*/ 169407 h 442678"/>
                <a:gd name="connsiteX19" fmla="*/ 30244 w 590237"/>
                <a:gd name="connsiteY19" fmla="*/ 189082 h 442678"/>
                <a:gd name="connsiteX20" fmla="*/ 29 w 590237"/>
                <a:gd name="connsiteY20" fmla="*/ 141300 h 442678"/>
                <a:gd name="connsiteX21" fmla="*/ 29 w 590237"/>
                <a:gd name="connsiteY21" fmla="*/ 18334 h 442678"/>
                <a:gd name="connsiteX22" fmla="*/ 18298 w 590237"/>
                <a:gd name="connsiteY22" fmla="*/ 65 h 442678"/>
                <a:gd name="connsiteX23" fmla="*/ 138454 w 590237"/>
                <a:gd name="connsiteY23" fmla="*/ 65 h 442678"/>
                <a:gd name="connsiteX24" fmla="*/ 179209 w 590237"/>
                <a:gd name="connsiteY24" fmla="*/ 18334 h 442678"/>
                <a:gd name="connsiteX25" fmla="*/ 176398 w 590237"/>
                <a:gd name="connsiteY25" fmla="*/ 61197 h 442678"/>
                <a:gd name="connsiteX26" fmla="*/ 153913 w 590237"/>
                <a:gd name="connsiteY26" fmla="*/ 108275 h 442678"/>
                <a:gd name="connsiteX27" fmla="*/ 208018 w 590237"/>
                <a:gd name="connsiteY27" fmla="*/ 148327 h 442678"/>
                <a:gd name="connsiteX28" fmla="*/ 277582 w 590237"/>
                <a:gd name="connsiteY28" fmla="*/ 126545 h 442678"/>
                <a:gd name="connsiteX29" fmla="*/ 274068 w 590237"/>
                <a:gd name="connsiteY29" fmla="*/ 67521 h 442678"/>
                <a:gd name="connsiteX30" fmla="*/ 253691 w 590237"/>
                <a:gd name="connsiteY30" fmla="*/ 33793 h 442678"/>
                <a:gd name="connsiteX31" fmla="*/ 299364 w 590237"/>
                <a:gd name="connsiteY31" fmla="*/ 768 h 442678"/>
                <a:gd name="connsiteX32" fmla="*/ 427952 w 590237"/>
                <a:gd name="connsiteY32" fmla="*/ 65 h 442678"/>
                <a:gd name="connsiteX33" fmla="*/ 442708 w 590237"/>
                <a:gd name="connsiteY33" fmla="*/ 19037 h 442678"/>
                <a:gd name="connsiteX34" fmla="*/ 442708 w 590237"/>
                <a:gd name="connsiteY34" fmla="*/ 139192 h 442678"/>
                <a:gd name="connsiteX35" fmla="*/ 453248 w 590237"/>
                <a:gd name="connsiteY35" fmla="*/ 168704 h 442678"/>
                <a:gd name="connsiteX36" fmla="*/ 481354 w 590237"/>
                <a:gd name="connsiteY36" fmla="*/ 168002 h 442678"/>
                <a:gd name="connsiteX37" fmla="*/ 538973 w 590237"/>
                <a:gd name="connsiteY37" fmla="*/ 142003 h 442678"/>
                <a:gd name="connsiteX38" fmla="*/ 589565 w 590237"/>
                <a:gd name="connsiteY38" fmla="*/ 198216 h 442678"/>
                <a:gd name="connsiteX39" fmla="*/ 559350 w 590237"/>
                <a:gd name="connsiteY39" fmla="*/ 290968 h 442678"/>
                <a:gd name="connsiteX40" fmla="*/ 487678 w 590237"/>
                <a:gd name="connsiteY40" fmla="*/ 283239 h 442678"/>
                <a:gd name="connsiteX41" fmla="*/ 463085 w 590237"/>
                <a:gd name="connsiteY41" fmla="*/ 267780 h 442678"/>
                <a:gd name="connsiteX42" fmla="*/ 442708 w 590237"/>
                <a:gd name="connsiteY42" fmla="*/ 300805 h 442678"/>
                <a:gd name="connsiteX43" fmla="*/ 443410 w 590237"/>
                <a:gd name="connsiteY43" fmla="*/ 423771 h 442678"/>
                <a:gd name="connsiteX44" fmla="*/ 425844 w 590237"/>
                <a:gd name="connsiteY44" fmla="*/ 442743 h 442678"/>
                <a:gd name="connsiteX45" fmla="*/ 362604 w 590237"/>
                <a:gd name="connsiteY45" fmla="*/ 443446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442678">
                  <a:moveTo>
                    <a:pt x="362604" y="443446"/>
                  </a:moveTo>
                  <a:cubicBezTo>
                    <a:pt x="342227" y="443446"/>
                    <a:pt x="322552" y="442743"/>
                    <a:pt x="302175" y="443446"/>
                  </a:cubicBezTo>
                  <a:cubicBezTo>
                    <a:pt x="285311" y="444149"/>
                    <a:pt x="272663" y="437122"/>
                    <a:pt x="261420" y="424474"/>
                  </a:cubicBezTo>
                  <a:cubicBezTo>
                    <a:pt x="248070" y="409718"/>
                    <a:pt x="247367" y="396367"/>
                    <a:pt x="264934" y="383017"/>
                  </a:cubicBezTo>
                  <a:cubicBezTo>
                    <a:pt x="280392" y="371774"/>
                    <a:pt x="297959" y="359126"/>
                    <a:pt x="288122" y="335938"/>
                  </a:cubicBezTo>
                  <a:cubicBezTo>
                    <a:pt x="278284" y="312751"/>
                    <a:pt x="261420" y="297292"/>
                    <a:pt x="234719" y="295184"/>
                  </a:cubicBezTo>
                  <a:cubicBezTo>
                    <a:pt x="208721" y="293076"/>
                    <a:pt x="184127" y="295184"/>
                    <a:pt x="165155" y="316966"/>
                  </a:cubicBezTo>
                  <a:cubicBezTo>
                    <a:pt x="145481" y="340154"/>
                    <a:pt x="146886" y="357018"/>
                    <a:pt x="170074" y="377395"/>
                  </a:cubicBezTo>
                  <a:cubicBezTo>
                    <a:pt x="179209" y="385828"/>
                    <a:pt x="196775" y="390746"/>
                    <a:pt x="189749" y="409015"/>
                  </a:cubicBezTo>
                  <a:cubicBezTo>
                    <a:pt x="182722" y="426582"/>
                    <a:pt x="169371" y="441338"/>
                    <a:pt x="149697" y="442041"/>
                  </a:cubicBezTo>
                  <a:cubicBezTo>
                    <a:pt x="104024" y="443446"/>
                    <a:pt x="58350" y="442041"/>
                    <a:pt x="12677" y="442743"/>
                  </a:cubicBezTo>
                  <a:cubicBezTo>
                    <a:pt x="732" y="442743"/>
                    <a:pt x="29" y="437122"/>
                    <a:pt x="29" y="427285"/>
                  </a:cubicBezTo>
                  <a:cubicBezTo>
                    <a:pt x="29" y="384422"/>
                    <a:pt x="732" y="341560"/>
                    <a:pt x="29" y="298697"/>
                  </a:cubicBezTo>
                  <a:cubicBezTo>
                    <a:pt x="29" y="283239"/>
                    <a:pt x="7056" y="272699"/>
                    <a:pt x="17596" y="263564"/>
                  </a:cubicBezTo>
                  <a:cubicBezTo>
                    <a:pt x="32352" y="250213"/>
                    <a:pt x="46405" y="245997"/>
                    <a:pt x="60458" y="266375"/>
                  </a:cubicBezTo>
                  <a:cubicBezTo>
                    <a:pt x="70998" y="281131"/>
                    <a:pt x="82241" y="297995"/>
                    <a:pt x="104024" y="290265"/>
                  </a:cubicBezTo>
                  <a:cubicBezTo>
                    <a:pt x="128617" y="281131"/>
                    <a:pt x="145481" y="263564"/>
                    <a:pt x="147589" y="236160"/>
                  </a:cubicBezTo>
                  <a:cubicBezTo>
                    <a:pt x="149697" y="208756"/>
                    <a:pt x="147589" y="183460"/>
                    <a:pt x="122996" y="164488"/>
                  </a:cubicBezTo>
                  <a:cubicBezTo>
                    <a:pt x="99808" y="146922"/>
                    <a:pt x="86457" y="147624"/>
                    <a:pt x="66782" y="169407"/>
                  </a:cubicBezTo>
                  <a:cubicBezTo>
                    <a:pt x="56945" y="179947"/>
                    <a:pt x="49918" y="198919"/>
                    <a:pt x="30244" y="189082"/>
                  </a:cubicBezTo>
                  <a:cubicBezTo>
                    <a:pt x="11272" y="179947"/>
                    <a:pt x="-673" y="165191"/>
                    <a:pt x="29" y="141300"/>
                  </a:cubicBezTo>
                  <a:cubicBezTo>
                    <a:pt x="732" y="100546"/>
                    <a:pt x="732" y="59089"/>
                    <a:pt x="29" y="18334"/>
                  </a:cubicBezTo>
                  <a:cubicBezTo>
                    <a:pt x="29" y="4281"/>
                    <a:pt x="4245" y="-638"/>
                    <a:pt x="18298" y="65"/>
                  </a:cubicBezTo>
                  <a:cubicBezTo>
                    <a:pt x="58350" y="768"/>
                    <a:pt x="98402" y="768"/>
                    <a:pt x="138454" y="65"/>
                  </a:cubicBezTo>
                  <a:cubicBezTo>
                    <a:pt x="155318" y="65"/>
                    <a:pt x="168669" y="5686"/>
                    <a:pt x="179209" y="18334"/>
                  </a:cubicBezTo>
                  <a:cubicBezTo>
                    <a:pt x="192559" y="33090"/>
                    <a:pt x="196073" y="47143"/>
                    <a:pt x="176398" y="61197"/>
                  </a:cubicBezTo>
                  <a:cubicBezTo>
                    <a:pt x="160940" y="72439"/>
                    <a:pt x="143373" y="85790"/>
                    <a:pt x="153913" y="108275"/>
                  </a:cubicBezTo>
                  <a:cubicBezTo>
                    <a:pt x="163750" y="130760"/>
                    <a:pt x="180614" y="146922"/>
                    <a:pt x="208018" y="148327"/>
                  </a:cubicBezTo>
                  <a:cubicBezTo>
                    <a:pt x="234016" y="149732"/>
                    <a:pt x="258610" y="149030"/>
                    <a:pt x="277582" y="126545"/>
                  </a:cubicBezTo>
                  <a:cubicBezTo>
                    <a:pt x="296554" y="103357"/>
                    <a:pt x="295851" y="88601"/>
                    <a:pt x="274068" y="67521"/>
                  </a:cubicBezTo>
                  <a:cubicBezTo>
                    <a:pt x="264231" y="58386"/>
                    <a:pt x="245962" y="52765"/>
                    <a:pt x="253691" y="33793"/>
                  </a:cubicBezTo>
                  <a:cubicBezTo>
                    <a:pt x="262123" y="14118"/>
                    <a:pt x="277582" y="768"/>
                    <a:pt x="299364" y="768"/>
                  </a:cubicBezTo>
                  <a:cubicBezTo>
                    <a:pt x="342227" y="65"/>
                    <a:pt x="385089" y="768"/>
                    <a:pt x="427952" y="65"/>
                  </a:cubicBezTo>
                  <a:cubicBezTo>
                    <a:pt x="443410" y="65"/>
                    <a:pt x="443410" y="7794"/>
                    <a:pt x="442708" y="19037"/>
                  </a:cubicBezTo>
                  <a:cubicBezTo>
                    <a:pt x="442708" y="59089"/>
                    <a:pt x="442708" y="99140"/>
                    <a:pt x="442708" y="139192"/>
                  </a:cubicBezTo>
                  <a:cubicBezTo>
                    <a:pt x="442708" y="150435"/>
                    <a:pt x="444113" y="160975"/>
                    <a:pt x="453248" y="168704"/>
                  </a:cubicBezTo>
                  <a:cubicBezTo>
                    <a:pt x="463085" y="177839"/>
                    <a:pt x="471517" y="182758"/>
                    <a:pt x="481354" y="168002"/>
                  </a:cubicBezTo>
                  <a:cubicBezTo>
                    <a:pt x="494705" y="148327"/>
                    <a:pt x="512272" y="132868"/>
                    <a:pt x="538973" y="142003"/>
                  </a:cubicBezTo>
                  <a:cubicBezTo>
                    <a:pt x="564971" y="151138"/>
                    <a:pt x="584646" y="170110"/>
                    <a:pt x="589565" y="198216"/>
                  </a:cubicBezTo>
                  <a:cubicBezTo>
                    <a:pt x="595888" y="234052"/>
                    <a:pt x="591673" y="267077"/>
                    <a:pt x="559350" y="290968"/>
                  </a:cubicBezTo>
                  <a:cubicBezTo>
                    <a:pt x="531243" y="311345"/>
                    <a:pt x="512272" y="309237"/>
                    <a:pt x="487678" y="283239"/>
                  </a:cubicBezTo>
                  <a:cubicBezTo>
                    <a:pt x="481354" y="276212"/>
                    <a:pt x="477841" y="260753"/>
                    <a:pt x="463085" y="267780"/>
                  </a:cubicBezTo>
                  <a:cubicBezTo>
                    <a:pt x="450437" y="274104"/>
                    <a:pt x="442708" y="284644"/>
                    <a:pt x="442708" y="300805"/>
                  </a:cubicBezTo>
                  <a:cubicBezTo>
                    <a:pt x="443410" y="341560"/>
                    <a:pt x="442005" y="383017"/>
                    <a:pt x="443410" y="423771"/>
                  </a:cubicBezTo>
                  <a:cubicBezTo>
                    <a:pt x="443410" y="437825"/>
                    <a:pt x="440600" y="443446"/>
                    <a:pt x="425844" y="442743"/>
                  </a:cubicBezTo>
                  <a:cubicBezTo>
                    <a:pt x="404764" y="442041"/>
                    <a:pt x="383684" y="443446"/>
                    <a:pt x="362604" y="4434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851241C2-BE61-4C39-A7CF-9A656257172D}"/>
                </a:ext>
              </a:extLst>
            </p:cNvPr>
            <p:cNvSpPr/>
            <p:nvPr/>
          </p:nvSpPr>
          <p:spPr>
            <a:xfrm flipH="1">
              <a:off x="7376246" y="5070078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7AD6056D-44D5-4C4F-A49E-1D00449A7A6F}"/>
                </a:ext>
              </a:extLst>
            </p:cNvPr>
            <p:cNvSpPr/>
            <p:nvPr/>
          </p:nvSpPr>
          <p:spPr>
            <a:xfrm flipH="1">
              <a:off x="8903528" y="1247328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F960671B-320F-4FC3-B709-E61B00B0D28E}"/>
                </a:ext>
              </a:extLst>
            </p:cNvPr>
            <p:cNvSpPr/>
            <p:nvPr/>
          </p:nvSpPr>
          <p:spPr>
            <a:xfrm>
              <a:off x="6872117" y="4315315"/>
              <a:ext cx="769640" cy="1026186"/>
            </a:xfrm>
            <a:custGeom>
              <a:avLst/>
              <a:gdLst>
                <a:gd name="connsiteX0" fmla="*/ 363277 w 442678"/>
                <a:gd name="connsiteY0" fmla="*/ 590663 h 590237"/>
                <a:gd name="connsiteX1" fmla="*/ 300037 w 442678"/>
                <a:gd name="connsiteY1" fmla="*/ 590663 h 590237"/>
                <a:gd name="connsiteX2" fmla="*/ 262094 w 442678"/>
                <a:gd name="connsiteY2" fmla="*/ 572393 h 590237"/>
                <a:gd name="connsiteX3" fmla="*/ 266310 w 442678"/>
                <a:gd name="connsiteY3" fmla="*/ 530937 h 590237"/>
                <a:gd name="connsiteX4" fmla="*/ 290200 w 442678"/>
                <a:gd name="connsiteY4" fmla="*/ 486669 h 590237"/>
                <a:gd name="connsiteX5" fmla="*/ 241014 w 442678"/>
                <a:gd name="connsiteY5" fmla="*/ 444509 h 590237"/>
                <a:gd name="connsiteX6" fmla="*/ 167937 w 442678"/>
                <a:gd name="connsiteY6" fmla="*/ 464183 h 590237"/>
                <a:gd name="connsiteX7" fmla="*/ 170747 w 442678"/>
                <a:gd name="connsiteY7" fmla="*/ 526720 h 590237"/>
                <a:gd name="connsiteX8" fmla="*/ 189719 w 442678"/>
                <a:gd name="connsiteY8" fmla="*/ 558340 h 590237"/>
                <a:gd name="connsiteX9" fmla="*/ 146857 w 442678"/>
                <a:gd name="connsiteY9" fmla="*/ 591365 h 590237"/>
                <a:gd name="connsiteX10" fmla="*/ 15458 w 442678"/>
                <a:gd name="connsiteY10" fmla="*/ 592068 h 590237"/>
                <a:gd name="connsiteX11" fmla="*/ 702 w 442678"/>
                <a:gd name="connsiteY11" fmla="*/ 576610 h 590237"/>
                <a:gd name="connsiteX12" fmla="*/ 702 w 442678"/>
                <a:gd name="connsiteY12" fmla="*/ 448022 h 590237"/>
                <a:gd name="connsiteX13" fmla="*/ 26701 w 442678"/>
                <a:gd name="connsiteY13" fmla="*/ 405862 h 590237"/>
                <a:gd name="connsiteX14" fmla="*/ 55510 w 442678"/>
                <a:gd name="connsiteY14" fmla="*/ 410078 h 590237"/>
                <a:gd name="connsiteX15" fmla="*/ 127885 w 442678"/>
                <a:gd name="connsiteY15" fmla="*/ 424834 h 590237"/>
                <a:gd name="connsiteX16" fmla="*/ 132803 w 442678"/>
                <a:gd name="connsiteY16" fmla="*/ 322948 h 590237"/>
                <a:gd name="connsiteX17" fmla="*/ 63240 w 442678"/>
                <a:gd name="connsiteY17" fmla="*/ 322245 h 590237"/>
                <a:gd name="connsiteX18" fmla="*/ 33025 w 442678"/>
                <a:gd name="connsiteY18" fmla="*/ 338406 h 590237"/>
                <a:gd name="connsiteX19" fmla="*/ 1405 w 442678"/>
                <a:gd name="connsiteY19" fmla="*/ 301165 h 590237"/>
                <a:gd name="connsiteX20" fmla="*/ 0 w 442678"/>
                <a:gd name="connsiteY20" fmla="*/ 161335 h 590237"/>
                <a:gd name="connsiteX21" fmla="*/ 16161 w 442678"/>
                <a:gd name="connsiteY21" fmla="*/ 150093 h 590237"/>
                <a:gd name="connsiteX22" fmla="*/ 131398 w 442678"/>
                <a:gd name="connsiteY22" fmla="*/ 150093 h 590237"/>
                <a:gd name="connsiteX23" fmla="*/ 158099 w 442678"/>
                <a:gd name="connsiteY23" fmla="*/ 145877 h 590237"/>
                <a:gd name="connsiteX24" fmla="*/ 163018 w 442678"/>
                <a:gd name="connsiteY24" fmla="*/ 107230 h 590237"/>
                <a:gd name="connsiteX25" fmla="*/ 160910 w 442678"/>
                <a:gd name="connsiteY25" fmla="*/ 22208 h 590237"/>
                <a:gd name="connsiteX26" fmla="*/ 289497 w 442678"/>
                <a:gd name="connsiteY26" fmla="*/ 32748 h 590237"/>
                <a:gd name="connsiteX27" fmla="*/ 283876 w 442678"/>
                <a:gd name="connsiteY27" fmla="*/ 103014 h 590237"/>
                <a:gd name="connsiteX28" fmla="*/ 267012 w 442678"/>
                <a:gd name="connsiteY28" fmla="*/ 129013 h 590237"/>
                <a:gd name="connsiteX29" fmla="*/ 304956 w 442678"/>
                <a:gd name="connsiteY29" fmla="*/ 150795 h 590237"/>
                <a:gd name="connsiteX30" fmla="*/ 420193 w 442678"/>
                <a:gd name="connsiteY30" fmla="*/ 150093 h 590237"/>
                <a:gd name="connsiteX31" fmla="*/ 443381 w 442678"/>
                <a:gd name="connsiteY31" fmla="*/ 172578 h 590237"/>
                <a:gd name="connsiteX32" fmla="*/ 442678 w 442678"/>
                <a:gd name="connsiteY32" fmla="*/ 285004 h 590237"/>
                <a:gd name="connsiteX33" fmla="*/ 427220 w 442678"/>
                <a:gd name="connsiteY33" fmla="*/ 327164 h 590237"/>
                <a:gd name="connsiteX34" fmla="*/ 380844 w 442678"/>
                <a:gd name="connsiteY34" fmla="*/ 325056 h 590237"/>
                <a:gd name="connsiteX35" fmla="*/ 338684 w 442678"/>
                <a:gd name="connsiteY35" fmla="*/ 302571 h 590237"/>
                <a:gd name="connsiteX36" fmla="*/ 295821 w 442678"/>
                <a:gd name="connsiteY36" fmla="*/ 351054 h 590237"/>
                <a:gd name="connsiteX37" fmla="*/ 320415 w 442678"/>
                <a:gd name="connsiteY37" fmla="*/ 429753 h 590237"/>
                <a:gd name="connsiteX38" fmla="*/ 374520 w 442678"/>
                <a:gd name="connsiteY38" fmla="*/ 424834 h 590237"/>
                <a:gd name="connsiteX39" fmla="*/ 410356 w 442678"/>
                <a:gd name="connsiteY39" fmla="*/ 403754 h 590237"/>
                <a:gd name="connsiteX40" fmla="*/ 442678 w 442678"/>
                <a:gd name="connsiteY40" fmla="*/ 450130 h 590237"/>
                <a:gd name="connsiteX41" fmla="*/ 443381 w 442678"/>
                <a:gd name="connsiteY41" fmla="*/ 575907 h 590237"/>
                <a:gd name="connsiteX42" fmla="*/ 427922 w 442678"/>
                <a:gd name="connsiteY42" fmla="*/ 591365 h 590237"/>
                <a:gd name="connsiteX43" fmla="*/ 363277 w 442678"/>
                <a:gd name="connsiteY43" fmla="*/ 590663 h 590237"/>
                <a:gd name="connsiteX44" fmla="*/ 363277 w 442678"/>
                <a:gd name="connsiteY44" fmla="*/ 59066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42678" h="590237">
                  <a:moveTo>
                    <a:pt x="363277" y="590663"/>
                  </a:moveTo>
                  <a:cubicBezTo>
                    <a:pt x="342197" y="590663"/>
                    <a:pt x="321117" y="590663"/>
                    <a:pt x="300037" y="590663"/>
                  </a:cubicBezTo>
                  <a:cubicBezTo>
                    <a:pt x="283876" y="590663"/>
                    <a:pt x="271931" y="583636"/>
                    <a:pt x="262094" y="572393"/>
                  </a:cubicBezTo>
                  <a:cubicBezTo>
                    <a:pt x="249446" y="556935"/>
                    <a:pt x="248743" y="543584"/>
                    <a:pt x="266310" y="530937"/>
                  </a:cubicBezTo>
                  <a:cubicBezTo>
                    <a:pt x="281066" y="520397"/>
                    <a:pt x="298632" y="508451"/>
                    <a:pt x="290200" y="486669"/>
                  </a:cubicBezTo>
                  <a:cubicBezTo>
                    <a:pt x="281768" y="464886"/>
                    <a:pt x="266310" y="448022"/>
                    <a:pt x="241014" y="444509"/>
                  </a:cubicBezTo>
                  <a:cubicBezTo>
                    <a:pt x="214313" y="440996"/>
                    <a:pt x="188314" y="440996"/>
                    <a:pt x="167937" y="464183"/>
                  </a:cubicBezTo>
                  <a:cubicBezTo>
                    <a:pt x="146154" y="488777"/>
                    <a:pt x="146857" y="504235"/>
                    <a:pt x="170747" y="526720"/>
                  </a:cubicBezTo>
                  <a:cubicBezTo>
                    <a:pt x="179882" y="535152"/>
                    <a:pt x="197448" y="540071"/>
                    <a:pt x="189719" y="558340"/>
                  </a:cubicBezTo>
                  <a:cubicBezTo>
                    <a:pt x="181990" y="577312"/>
                    <a:pt x="169342" y="591365"/>
                    <a:pt x="146857" y="591365"/>
                  </a:cubicBezTo>
                  <a:cubicBezTo>
                    <a:pt x="103291" y="592068"/>
                    <a:pt x="59024" y="591365"/>
                    <a:pt x="15458" y="592068"/>
                  </a:cubicBezTo>
                  <a:cubicBezTo>
                    <a:pt x="2811" y="592068"/>
                    <a:pt x="0" y="587852"/>
                    <a:pt x="702" y="576610"/>
                  </a:cubicBezTo>
                  <a:cubicBezTo>
                    <a:pt x="1405" y="533747"/>
                    <a:pt x="1405" y="490885"/>
                    <a:pt x="702" y="448022"/>
                  </a:cubicBezTo>
                  <a:cubicBezTo>
                    <a:pt x="702" y="428347"/>
                    <a:pt x="11945" y="415699"/>
                    <a:pt x="26701" y="405862"/>
                  </a:cubicBezTo>
                  <a:cubicBezTo>
                    <a:pt x="36538" y="399538"/>
                    <a:pt x="45673" y="400241"/>
                    <a:pt x="55510" y="410078"/>
                  </a:cubicBezTo>
                  <a:cubicBezTo>
                    <a:pt x="93454" y="448022"/>
                    <a:pt x="101886" y="449427"/>
                    <a:pt x="127885" y="424834"/>
                  </a:cubicBezTo>
                  <a:cubicBezTo>
                    <a:pt x="154586" y="399538"/>
                    <a:pt x="157397" y="350352"/>
                    <a:pt x="132803" y="322948"/>
                  </a:cubicBezTo>
                  <a:cubicBezTo>
                    <a:pt x="106805" y="293436"/>
                    <a:pt x="89238" y="293436"/>
                    <a:pt x="63240" y="322245"/>
                  </a:cubicBezTo>
                  <a:cubicBezTo>
                    <a:pt x="55510" y="330677"/>
                    <a:pt x="50592" y="345433"/>
                    <a:pt x="33025" y="338406"/>
                  </a:cubicBezTo>
                  <a:cubicBezTo>
                    <a:pt x="15458" y="331380"/>
                    <a:pt x="2108" y="320137"/>
                    <a:pt x="1405" y="301165"/>
                  </a:cubicBezTo>
                  <a:cubicBezTo>
                    <a:pt x="0" y="254790"/>
                    <a:pt x="702" y="208414"/>
                    <a:pt x="0" y="161335"/>
                  </a:cubicBezTo>
                  <a:cubicBezTo>
                    <a:pt x="0" y="147985"/>
                    <a:pt x="8432" y="150093"/>
                    <a:pt x="16161" y="150093"/>
                  </a:cubicBezTo>
                  <a:cubicBezTo>
                    <a:pt x="54808" y="150093"/>
                    <a:pt x="92752" y="150093"/>
                    <a:pt x="131398" y="150093"/>
                  </a:cubicBezTo>
                  <a:cubicBezTo>
                    <a:pt x="140533" y="150093"/>
                    <a:pt x="149667" y="150795"/>
                    <a:pt x="158099" y="145877"/>
                  </a:cubicBezTo>
                  <a:cubicBezTo>
                    <a:pt x="179179" y="133931"/>
                    <a:pt x="180585" y="122689"/>
                    <a:pt x="163018" y="107230"/>
                  </a:cubicBezTo>
                  <a:cubicBezTo>
                    <a:pt x="129993" y="77718"/>
                    <a:pt x="129290" y="52422"/>
                    <a:pt x="160910" y="22208"/>
                  </a:cubicBezTo>
                  <a:cubicBezTo>
                    <a:pt x="196043" y="-11520"/>
                    <a:pt x="260688" y="-5899"/>
                    <a:pt x="289497" y="32748"/>
                  </a:cubicBezTo>
                  <a:cubicBezTo>
                    <a:pt x="309172" y="58746"/>
                    <a:pt x="306361" y="80529"/>
                    <a:pt x="283876" y="103014"/>
                  </a:cubicBezTo>
                  <a:cubicBezTo>
                    <a:pt x="276850" y="110041"/>
                    <a:pt x="257878" y="112149"/>
                    <a:pt x="267012" y="129013"/>
                  </a:cubicBezTo>
                  <a:cubicBezTo>
                    <a:pt x="274741" y="143769"/>
                    <a:pt x="287390" y="150795"/>
                    <a:pt x="304956" y="150795"/>
                  </a:cubicBezTo>
                  <a:cubicBezTo>
                    <a:pt x="343603" y="150093"/>
                    <a:pt x="381546" y="151498"/>
                    <a:pt x="420193" y="150093"/>
                  </a:cubicBezTo>
                  <a:cubicBezTo>
                    <a:pt x="437760" y="149390"/>
                    <a:pt x="444083" y="153606"/>
                    <a:pt x="443381" y="172578"/>
                  </a:cubicBezTo>
                  <a:cubicBezTo>
                    <a:pt x="441976" y="209819"/>
                    <a:pt x="442678" y="247763"/>
                    <a:pt x="442678" y="285004"/>
                  </a:cubicBezTo>
                  <a:cubicBezTo>
                    <a:pt x="442678" y="301165"/>
                    <a:pt x="439165" y="315219"/>
                    <a:pt x="427220" y="327164"/>
                  </a:cubicBezTo>
                  <a:cubicBezTo>
                    <a:pt x="408950" y="345433"/>
                    <a:pt x="397708" y="344731"/>
                    <a:pt x="380844" y="325056"/>
                  </a:cubicBezTo>
                  <a:cubicBezTo>
                    <a:pt x="369601" y="312408"/>
                    <a:pt x="359061" y="294841"/>
                    <a:pt x="338684" y="302571"/>
                  </a:cubicBezTo>
                  <a:cubicBezTo>
                    <a:pt x="316199" y="311003"/>
                    <a:pt x="299335" y="325759"/>
                    <a:pt x="295821" y="351054"/>
                  </a:cubicBezTo>
                  <a:cubicBezTo>
                    <a:pt x="291606" y="381269"/>
                    <a:pt x="293011" y="409376"/>
                    <a:pt x="320415" y="429753"/>
                  </a:cubicBezTo>
                  <a:cubicBezTo>
                    <a:pt x="342900" y="446617"/>
                    <a:pt x="355548" y="445211"/>
                    <a:pt x="374520" y="424834"/>
                  </a:cubicBezTo>
                  <a:cubicBezTo>
                    <a:pt x="384357" y="414294"/>
                    <a:pt x="389978" y="394620"/>
                    <a:pt x="410356" y="403754"/>
                  </a:cubicBezTo>
                  <a:cubicBezTo>
                    <a:pt x="430030" y="412186"/>
                    <a:pt x="441976" y="428347"/>
                    <a:pt x="442678" y="450130"/>
                  </a:cubicBezTo>
                  <a:cubicBezTo>
                    <a:pt x="443381" y="492290"/>
                    <a:pt x="442678" y="534450"/>
                    <a:pt x="443381" y="575907"/>
                  </a:cubicBezTo>
                  <a:cubicBezTo>
                    <a:pt x="443381" y="587852"/>
                    <a:pt x="439867" y="592068"/>
                    <a:pt x="427922" y="591365"/>
                  </a:cubicBezTo>
                  <a:cubicBezTo>
                    <a:pt x="406842" y="589960"/>
                    <a:pt x="385060" y="590663"/>
                    <a:pt x="363277" y="590663"/>
                  </a:cubicBezTo>
                  <a:cubicBezTo>
                    <a:pt x="363277" y="590663"/>
                    <a:pt x="363277" y="590663"/>
                    <a:pt x="363277" y="59066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F8E7BCA9-215C-44E9-8AE4-9242DAB421AF}"/>
                </a:ext>
              </a:extLst>
            </p:cNvPr>
            <p:cNvSpPr/>
            <p:nvPr/>
          </p:nvSpPr>
          <p:spPr>
            <a:xfrm>
              <a:off x="10419971" y="-10881"/>
              <a:ext cx="1282731" cy="1026186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E1DE6FD3-80A3-4834-B3E4-592E8A4BAA9A}"/>
                </a:ext>
              </a:extLst>
            </p:cNvPr>
            <p:cNvSpPr/>
            <p:nvPr/>
          </p:nvSpPr>
          <p:spPr>
            <a:xfrm>
              <a:off x="9667889" y="478832"/>
              <a:ext cx="1282731" cy="1026186"/>
            </a:xfrm>
            <a:custGeom>
              <a:avLst/>
              <a:gdLst>
                <a:gd name="connsiteX0" fmla="*/ 510179 w 737797"/>
                <a:gd name="connsiteY0" fmla="*/ 592182 h 590237"/>
                <a:gd name="connsiteX1" fmla="*/ 449750 w 737797"/>
                <a:gd name="connsiteY1" fmla="*/ 592182 h 590237"/>
                <a:gd name="connsiteX2" fmla="*/ 408293 w 737797"/>
                <a:gd name="connsiteY2" fmla="*/ 569697 h 590237"/>
                <a:gd name="connsiteX3" fmla="*/ 412509 w 737797"/>
                <a:gd name="connsiteY3" fmla="*/ 532456 h 590237"/>
                <a:gd name="connsiteX4" fmla="*/ 438507 w 737797"/>
                <a:gd name="connsiteY4" fmla="*/ 486783 h 590237"/>
                <a:gd name="connsiteX5" fmla="*/ 378781 w 737797"/>
                <a:gd name="connsiteY5" fmla="*/ 443218 h 590237"/>
                <a:gd name="connsiteX6" fmla="*/ 314838 w 737797"/>
                <a:gd name="connsiteY6" fmla="*/ 465703 h 590237"/>
                <a:gd name="connsiteX7" fmla="*/ 319757 w 737797"/>
                <a:gd name="connsiteY7" fmla="*/ 526132 h 590237"/>
                <a:gd name="connsiteX8" fmla="*/ 338729 w 737797"/>
                <a:gd name="connsiteY8" fmla="*/ 558455 h 590237"/>
                <a:gd name="connsiteX9" fmla="*/ 298677 w 737797"/>
                <a:gd name="connsiteY9" fmla="*/ 591480 h 590237"/>
                <a:gd name="connsiteX10" fmla="*/ 161658 w 737797"/>
                <a:gd name="connsiteY10" fmla="*/ 592182 h 590237"/>
                <a:gd name="connsiteX11" fmla="*/ 149712 w 737797"/>
                <a:gd name="connsiteY11" fmla="*/ 573913 h 590237"/>
                <a:gd name="connsiteX12" fmla="*/ 149712 w 737797"/>
                <a:gd name="connsiteY12" fmla="*/ 458676 h 590237"/>
                <a:gd name="connsiteX13" fmla="*/ 141983 w 737797"/>
                <a:gd name="connsiteY13" fmla="*/ 427759 h 590237"/>
                <a:gd name="connsiteX14" fmla="*/ 108255 w 737797"/>
                <a:gd name="connsiteY14" fmla="*/ 426354 h 590237"/>
                <a:gd name="connsiteX15" fmla="*/ 55555 w 737797"/>
                <a:gd name="connsiteY15" fmla="*/ 450947 h 590237"/>
                <a:gd name="connsiteX16" fmla="*/ 4261 w 737797"/>
                <a:gd name="connsiteY16" fmla="*/ 398950 h 590237"/>
                <a:gd name="connsiteX17" fmla="*/ 35178 w 737797"/>
                <a:gd name="connsiteY17" fmla="*/ 299172 h 590237"/>
                <a:gd name="connsiteX18" fmla="*/ 102634 w 737797"/>
                <a:gd name="connsiteY18" fmla="*/ 306901 h 590237"/>
                <a:gd name="connsiteX19" fmla="*/ 128632 w 737797"/>
                <a:gd name="connsiteY19" fmla="*/ 324468 h 590237"/>
                <a:gd name="connsiteX20" fmla="*/ 149712 w 737797"/>
                <a:gd name="connsiteY20" fmla="*/ 289334 h 590237"/>
                <a:gd name="connsiteX21" fmla="*/ 149010 w 737797"/>
                <a:gd name="connsiteY21" fmla="*/ 174097 h 590237"/>
                <a:gd name="connsiteX22" fmla="*/ 174305 w 737797"/>
                <a:gd name="connsiteY22" fmla="*/ 148802 h 590237"/>
                <a:gd name="connsiteX23" fmla="*/ 286732 w 737797"/>
                <a:gd name="connsiteY23" fmla="*/ 149504 h 590237"/>
                <a:gd name="connsiteX24" fmla="*/ 310622 w 737797"/>
                <a:gd name="connsiteY24" fmla="*/ 144586 h 590237"/>
                <a:gd name="connsiteX25" fmla="*/ 314136 w 737797"/>
                <a:gd name="connsiteY25" fmla="*/ 108047 h 590237"/>
                <a:gd name="connsiteX26" fmla="*/ 311325 w 737797"/>
                <a:gd name="connsiteY26" fmla="*/ 23025 h 590237"/>
                <a:gd name="connsiteX27" fmla="*/ 439913 w 737797"/>
                <a:gd name="connsiteY27" fmla="*/ 32862 h 590237"/>
                <a:gd name="connsiteX28" fmla="*/ 433589 w 737797"/>
                <a:gd name="connsiteY28" fmla="*/ 104534 h 590237"/>
                <a:gd name="connsiteX29" fmla="*/ 416724 w 737797"/>
                <a:gd name="connsiteY29" fmla="*/ 128424 h 590237"/>
                <a:gd name="connsiteX30" fmla="*/ 451858 w 737797"/>
                <a:gd name="connsiteY30" fmla="*/ 149504 h 590237"/>
                <a:gd name="connsiteX31" fmla="*/ 572013 w 737797"/>
                <a:gd name="connsiteY31" fmla="*/ 148802 h 590237"/>
                <a:gd name="connsiteX32" fmla="*/ 590985 w 737797"/>
                <a:gd name="connsiteY32" fmla="*/ 168476 h 590237"/>
                <a:gd name="connsiteX33" fmla="*/ 590283 w 737797"/>
                <a:gd name="connsiteY33" fmla="*/ 283713 h 590237"/>
                <a:gd name="connsiteX34" fmla="*/ 597309 w 737797"/>
                <a:gd name="connsiteY34" fmla="*/ 312522 h 590237"/>
                <a:gd name="connsiteX35" fmla="*/ 633145 w 737797"/>
                <a:gd name="connsiteY35" fmla="*/ 314630 h 590237"/>
                <a:gd name="connsiteX36" fmla="*/ 719573 w 737797"/>
                <a:gd name="connsiteY36" fmla="*/ 312522 h 590237"/>
                <a:gd name="connsiteX37" fmla="*/ 694980 w 737797"/>
                <a:gd name="connsiteY37" fmla="*/ 448136 h 590237"/>
                <a:gd name="connsiteX38" fmla="*/ 636659 w 737797"/>
                <a:gd name="connsiteY38" fmla="*/ 433380 h 590237"/>
                <a:gd name="connsiteX39" fmla="*/ 612768 w 737797"/>
                <a:gd name="connsiteY39" fmla="*/ 417219 h 590237"/>
                <a:gd name="connsiteX40" fmla="*/ 590283 w 737797"/>
                <a:gd name="connsiteY40" fmla="*/ 451650 h 590237"/>
                <a:gd name="connsiteX41" fmla="*/ 590985 w 737797"/>
                <a:gd name="connsiteY41" fmla="*/ 569697 h 590237"/>
                <a:gd name="connsiteX42" fmla="*/ 567797 w 737797"/>
                <a:gd name="connsiteY42" fmla="*/ 593588 h 590237"/>
                <a:gd name="connsiteX43" fmla="*/ 510179 w 737797"/>
                <a:gd name="connsiteY43" fmla="*/ 592182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737797" h="590237">
                  <a:moveTo>
                    <a:pt x="510179" y="592182"/>
                  </a:moveTo>
                  <a:cubicBezTo>
                    <a:pt x="489802" y="592182"/>
                    <a:pt x="470127" y="592182"/>
                    <a:pt x="449750" y="592182"/>
                  </a:cubicBezTo>
                  <a:cubicBezTo>
                    <a:pt x="431481" y="592182"/>
                    <a:pt x="418833" y="583751"/>
                    <a:pt x="408293" y="569697"/>
                  </a:cubicBezTo>
                  <a:cubicBezTo>
                    <a:pt x="397753" y="555644"/>
                    <a:pt x="397753" y="543699"/>
                    <a:pt x="412509" y="532456"/>
                  </a:cubicBezTo>
                  <a:cubicBezTo>
                    <a:pt x="427264" y="521213"/>
                    <a:pt x="445534" y="509971"/>
                    <a:pt x="438507" y="486783"/>
                  </a:cubicBezTo>
                  <a:cubicBezTo>
                    <a:pt x="430778" y="460785"/>
                    <a:pt x="407590" y="445326"/>
                    <a:pt x="378781" y="443218"/>
                  </a:cubicBezTo>
                  <a:cubicBezTo>
                    <a:pt x="354188" y="441813"/>
                    <a:pt x="331702" y="444623"/>
                    <a:pt x="314838" y="465703"/>
                  </a:cubicBezTo>
                  <a:cubicBezTo>
                    <a:pt x="294461" y="490296"/>
                    <a:pt x="295164" y="504349"/>
                    <a:pt x="319757" y="526132"/>
                  </a:cubicBezTo>
                  <a:cubicBezTo>
                    <a:pt x="329594" y="534564"/>
                    <a:pt x="345053" y="540186"/>
                    <a:pt x="338729" y="558455"/>
                  </a:cubicBezTo>
                  <a:cubicBezTo>
                    <a:pt x="331702" y="576724"/>
                    <a:pt x="317649" y="590777"/>
                    <a:pt x="298677" y="591480"/>
                  </a:cubicBezTo>
                  <a:cubicBezTo>
                    <a:pt x="253004" y="593588"/>
                    <a:pt x="207331" y="591480"/>
                    <a:pt x="161658" y="592182"/>
                  </a:cubicBezTo>
                  <a:cubicBezTo>
                    <a:pt x="146199" y="592182"/>
                    <a:pt x="149712" y="581642"/>
                    <a:pt x="149712" y="573913"/>
                  </a:cubicBezTo>
                  <a:cubicBezTo>
                    <a:pt x="149712" y="535267"/>
                    <a:pt x="149712" y="497323"/>
                    <a:pt x="149712" y="458676"/>
                  </a:cubicBezTo>
                  <a:cubicBezTo>
                    <a:pt x="149712" y="447434"/>
                    <a:pt x="149712" y="436894"/>
                    <a:pt x="141983" y="427759"/>
                  </a:cubicBezTo>
                  <a:cubicBezTo>
                    <a:pt x="131443" y="415111"/>
                    <a:pt x="121606" y="407382"/>
                    <a:pt x="108255" y="426354"/>
                  </a:cubicBezTo>
                  <a:cubicBezTo>
                    <a:pt x="95607" y="443920"/>
                    <a:pt x="80149" y="459379"/>
                    <a:pt x="55555" y="450947"/>
                  </a:cubicBezTo>
                  <a:cubicBezTo>
                    <a:pt x="30259" y="442515"/>
                    <a:pt x="11288" y="426354"/>
                    <a:pt x="4261" y="398950"/>
                  </a:cubicBezTo>
                  <a:cubicBezTo>
                    <a:pt x="-6982" y="356087"/>
                    <a:pt x="4261" y="320954"/>
                    <a:pt x="35178" y="299172"/>
                  </a:cubicBezTo>
                  <a:cubicBezTo>
                    <a:pt x="61177" y="280902"/>
                    <a:pt x="80149" y="283713"/>
                    <a:pt x="102634" y="306901"/>
                  </a:cubicBezTo>
                  <a:cubicBezTo>
                    <a:pt x="109661" y="313928"/>
                    <a:pt x="111769" y="331494"/>
                    <a:pt x="128632" y="324468"/>
                  </a:cubicBezTo>
                  <a:cubicBezTo>
                    <a:pt x="143388" y="317441"/>
                    <a:pt x="149712" y="304793"/>
                    <a:pt x="149712" y="289334"/>
                  </a:cubicBezTo>
                  <a:cubicBezTo>
                    <a:pt x="149712" y="250688"/>
                    <a:pt x="151118" y="212744"/>
                    <a:pt x="149010" y="174097"/>
                  </a:cubicBezTo>
                  <a:cubicBezTo>
                    <a:pt x="148307" y="153720"/>
                    <a:pt x="153225" y="147396"/>
                    <a:pt x="174305" y="148802"/>
                  </a:cubicBezTo>
                  <a:cubicBezTo>
                    <a:pt x="211547" y="150910"/>
                    <a:pt x="249491" y="149504"/>
                    <a:pt x="286732" y="149504"/>
                  </a:cubicBezTo>
                  <a:cubicBezTo>
                    <a:pt x="295164" y="149504"/>
                    <a:pt x="302893" y="149504"/>
                    <a:pt x="310622" y="144586"/>
                  </a:cubicBezTo>
                  <a:cubicBezTo>
                    <a:pt x="330297" y="132640"/>
                    <a:pt x="331000" y="122803"/>
                    <a:pt x="314136" y="108047"/>
                  </a:cubicBezTo>
                  <a:cubicBezTo>
                    <a:pt x="281110" y="79941"/>
                    <a:pt x="280408" y="52537"/>
                    <a:pt x="311325" y="23025"/>
                  </a:cubicBezTo>
                  <a:cubicBezTo>
                    <a:pt x="346458" y="-11406"/>
                    <a:pt x="409698" y="-6487"/>
                    <a:pt x="439913" y="32862"/>
                  </a:cubicBezTo>
                  <a:cubicBezTo>
                    <a:pt x="460993" y="59563"/>
                    <a:pt x="458884" y="81346"/>
                    <a:pt x="433589" y="104534"/>
                  </a:cubicBezTo>
                  <a:cubicBezTo>
                    <a:pt x="426562" y="111560"/>
                    <a:pt x="410401" y="114371"/>
                    <a:pt x="416724" y="128424"/>
                  </a:cubicBezTo>
                  <a:cubicBezTo>
                    <a:pt x="423049" y="141775"/>
                    <a:pt x="434994" y="149504"/>
                    <a:pt x="451858" y="149504"/>
                  </a:cubicBezTo>
                  <a:cubicBezTo>
                    <a:pt x="491910" y="148802"/>
                    <a:pt x="531962" y="150207"/>
                    <a:pt x="572013" y="148802"/>
                  </a:cubicBezTo>
                  <a:cubicBezTo>
                    <a:pt x="588175" y="148099"/>
                    <a:pt x="591688" y="153720"/>
                    <a:pt x="590985" y="168476"/>
                  </a:cubicBezTo>
                  <a:cubicBezTo>
                    <a:pt x="589580" y="207123"/>
                    <a:pt x="590985" y="245067"/>
                    <a:pt x="590283" y="283713"/>
                  </a:cubicBezTo>
                  <a:cubicBezTo>
                    <a:pt x="590283" y="294253"/>
                    <a:pt x="590985" y="304090"/>
                    <a:pt x="597309" y="312522"/>
                  </a:cubicBezTo>
                  <a:cubicBezTo>
                    <a:pt x="607849" y="325873"/>
                    <a:pt x="617687" y="333602"/>
                    <a:pt x="633145" y="314630"/>
                  </a:cubicBezTo>
                  <a:cubicBezTo>
                    <a:pt x="661954" y="278794"/>
                    <a:pt x="687953" y="279497"/>
                    <a:pt x="719573" y="312522"/>
                  </a:cubicBezTo>
                  <a:cubicBezTo>
                    <a:pt x="756112" y="351872"/>
                    <a:pt x="742761" y="424948"/>
                    <a:pt x="694980" y="448136"/>
                  </a:cubicBezTo>
                  <a:cubicBezTo>
                    <a:pt x="671089" y="459379"/>
                    <a:pt x="653522" y="450947"/>
                    <a:pt x="636659" y="433380"/>
                  </a:cubicBezTo>
                  <a:cubicBezTo>
                    <a:pt x="630334" y="426354"/>
                    <a:pt x="627524" y="410895"/>
                    <a:pt x="612768" y="417219"/>
                  </a:cubicBezTo>
                  <a:cubicBezTo>
                    <a:pt x="598012" y="423543"/>
                    <a:pt x="590283" y="435488"/>
                    <a:pt x="590283" y="451650"/>
                  </a:cubicBezTo>
                  <a:cubicBezTo>
                    <a:pt x="590283" y="490999"/>
                    <a:pt x="588877" y="530348"/>
                    <a:pt x="590985" y="569697"/>
                  </a:cubicBezTo>
                  <a:cubicBezTo>
                    <a:pt x="591688" y="587967"/>
                    <a:pt x="587472" y="595696"/>
                    <a:pt x="567797" y="593588"/>
                  </a:cubicBezTo>
                  <a:cubicBezTo>
                    <a:pt x="548826" y="590777"/>
                    <a:pt x="529151" y="592182"/>
                    <a:pt x="510179" y="59218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6347FC94-281D-4913-87CC-8EB01A4D09E4}"/>
                </a:ext>
              </a:extLst>
            </p:cNvPr>
            <p:cNvSpPr/>
            <p:nvPr/>
          </p:nvSpPr>
          <p:spPr>
            <a:xfrm>
              <a:off x="9662880" y="2272726"/>
              <a:ext cx="1282731" cy="1026186"/>
            </a:xfrm>
            <a:custGeom>
              <a:avLst/>
              <a:gdLst>
                <a:gd name="connsiteX0" fmla="*/ 230901 w 737797"/>
                <a:gd name="connsiteY0" fmla="*/ 1565 h 590237"/>
                <a:gd name="connsiteX1" fmla="*/ 291330 w 737797"/>
                <a:gd name="connsiteY1" fmla="*/ 1565 h 590237"/>
                <a:gd name="connsiteX2" fmla="*/ 336300 w 737797"/>
                <a:gd name="connsiteY2" fmla="*/ 31077 h 590237"/>
                <a:gd name="connsiteX3" fmla="*/ 317328 w 737797"/>
                <a:gd name="connsiteY3" fmla="*/ 68318 h 590237"/>
                <a:gd name="connsiteX4" fmla="*/ 313815 w 737797"/>
                <a:gd name="connsiteY4" fmla="*/ 126639 h 590237"/>
                <a:gd name="connsiteX5" fmla="*/ 417107 w 737797"/>
                <a:gd name="connsiteY5" fmla="*/ 135071 h 590237"/>
                <a:gd name="connsiteX6" fmla="*/ 417809 w 737797"/>
                <a:gd name="connsiteY6" fmla="*/ 64102 h 590237"/>
                <a:gd name="connsiteX7" fmla="*/ 401648 w 737797"/>
                <a:gd name="connsiteY7" fmla="*/ 36698 h 590237"/>
                <a:gd name="connsiteX8" fmla="*/ 437484 w 737797"/>
                <a:gd name="connsiteY8" fmla="*/ 3673 h 590237"/>
                <a:gd name="connsiteX9" fmla="*/ 579422 w 737797"/>
                <a:gd name="connsiteY9" fmla="*/ 2268 h 590237"/>
                <a:gd name="connsiteX10" fmla="*/ 589962 w 737797"/>
                <a:gd name="connsiteY10" fmla="*/ 19132 h 590237"/>
                <a:gd name="connsiteX11" fmla="*/ 589962 w 737797"/>
                <a:gd name="connsiteY11" fmla="*/ 134369 h 590237"/>
                <a:gd name="connsiteX12" fmla="*/ 599799 w 737797"/>
                <a:gd name="connsiteY12" fmla="*/ 167394 h 590237"/>
                <a:gd name="connsiteX13" fmla="*/ 632122 w 737797"/>
                <a:gd name="connsiteY13" fmla="*/ 167394 h 590237"/>
                <a:gd name="connsiteX14" fmla="*/ 729089 w 737797"/>
                <a:gd name="connsiteY14" fmla="*/ 176528 h 590237"/>
                <a:gd name="connsiteX15" fmla="*/ 708009 w 737797"/>
                <a:gd name="connsiteY15" fmla="*/ 292468 h 590237"/>
                <a:gd name="connsiteX16" fmla="*/ 638446 w 737797"/>
                <a:gd name="connsiteY16" fmla="*/ 286144 h 590237"/>
                <a:gd name="connsiteX17" fmla="*/ 612447 w 737797"/>
                <a:gd name="connsiteY17" fmla="*/ 269280 h 590237"/>
                <a:gd name="connsiteX18" fmla="*/ 591367 w 737797"/>
                <a:gd name="connsiteY18" fmla="*/ 305116 h 590237"/>
                <a:gd name="connsiteX19" fmla="*/ 592070 w 737797"/>
                <a:gd name="connsiteY19" fmla="*/ 420353 h 590237"/>
                <a:gd name="connsiteX20" fmla="*/ 568882 w 737797"/>
                <a:gd name="connsiteY20" fmla="*/ 444243 h 590237"/>
                <a:gd name="connsiteX21" fmla="*/ 459267 w 737797"/>
                <a:gd name="connsiteY21" fmla="*/ 443541 h 590237"/>
                <a:gd name="connsiteX22" fmla="*/ 428349 w 737797"/>
                <a:gd name="connsiteY22" fmla="*/ 451270 h 590237"/>
                <a:gd name="connsiteX23" fmla="*/ 426944 w 737797"/>
                <a:gd name="connsiteY23" fmla="*/ 484998 h 590237"/>
                <a:gd name="connsiteX24" fmla="*/ 425539 w 737797"/>
                <a:gd name="connsiteY24" fmla="*/ 574939 h 590237"/>
                <a:gd name="connsiteX25" fmla="*/ 302573 w 737797"/>
                <a:gd name="connsiteY25" fmla="*/ 561588 h 590237"/>
                <a:gd name="connsiteX26" fmla="*/ 308194 w 737797"/>
                <a:gd name="connsiteY26" fmla="*/ 489214 h 590237"/>
                <a:gd name="connsiteX27" fmla="*/ 325760 w 737797"/>
                <a:gd name="connsiteY27" fmla="*/ 465323 h 590237"/>
                <a:gd name="connsiteX28" fmla="*/ 288519 w 737797"/>
                <a:gd name="connsiteY28" fmla="*/ 442838 h 590237"/>
                <a:gd name="connsiteX29" fmla="*/ 173282 w 737797"/>
                <a:gd name="connsiteY29" fmla="*/ 443541 h 590237"/>
                <a:gd name="connsiteX30" fmla="*/ 150094 w 737797"/>
                <a:gd name="connsiteY30" fmla="*/ 418947 h 590237"/>
                <a:gd name="connsiteX31" fmla="*/ 150797 w 737797"/>
                <a:gd name="connsiteY31" fmla="*/ 309332 h 590237"/>
                <a:gd name="connsiteX32" fmla="*/ 143770 w 737797"/>
                <a:gd name="connsiteY32" fmla="*/ 280523 h 590237"/>
                <a:gd name="connsiteX33" fmla="*/ 107935 w 737797"/>
                <a:gd name="connsiteY33" fmla="*/ 278415 h 590237"/>
                <a:gd name="connsiteX34" fmla="*/ 10967 w 737797"/>
                <a:gd name="connsiteY34" fmla="*/ 267172 h 590237"/>
                <a:gd name="connsiteX35" fmla="*/ 32047 w 737797"/>
                <a:gd name="connsiteY35" fmla="*/ 153341 h 590237"/>
                <a:gd name="connsiteX36" fmla="*/ 103718 w 737797"/>
                <a:gd name="connsiteY36" fmla="*/ 159664 h 590237"/>
                <a:gd name="connsiteX37" fmla="*/ 127609 w 737797"/>
                <a:gd name="connsiteY37" fmla="*/ 176528 h 590237"/>
                <a:gd name="connsiteX38" fmla="*/ 149391 w 737797"/>
                <a:gd name="connsiteY38" fmla="*/ 141395 h 590237"/>
                <a:gd name="connsiteX39" fmla="*/ 148689 w 737797"/>
                <a:gd name="connsiteY39" fmla="*/ 34590 h 590237"/>
                <a:gd name="connsiteX40" fmla="*/ 181714 w 737797"/>
                <a:gd name="connsiteY40" fmla="*/ 862 h 590237"/>
                <a:gd name="connsiteX41" fmla="*/ 230901 w 737797"/>
                <a:gd name="connsiteY41" fmla="*/ 156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37797" h="590237">
                  <a:moveTo>
                    <a:pt x="230901" y="1565"/>
                  </a:moveTo>
                  <a:cubicBezTo>
                    <a:pt x="251278" y="1565"/>
                    <a:pt x="270953" y="2268"/>
                    <a:pt x="291330" y="1565"/>
                  </a:cubicBezTo>
                  <a:cubicBezTo>
                    <a:pt x="313113" y="862"/>
                    <a:pt x="327868" y="12808"/>
                    <a:pt x="336300" y="31077"/>
                  </a:cubicBezTo>
                  <a:cubicBezTo>
                    <a:pt x="346137" y="50751"/>
                    <a:pt x="327868" y="57778"/>
                    <a:pt x="317328" y="68318"/>
                  </a:cubicBezTo>
                  <a:cubicBezTo>
                    <a:pt x="294843" y="89398"/>
                    <a:pt x="293438" y="102749"/>
                    <a:pt x="313815" y="126639"/>
                  </a:cubicBezTo>
                  <a:cubicBezTo>
                    <a:pt x="338408" y="155449"/>
                    <a:pt x="389703" y="159664"/>
                    <a:pt x="417107" y="135071"/>
                  </a:cubicBezTo>
                  <a:cubicBezTo>
                    <a:pt x="448024" y="108370"/>
                    <a:pt x="448024" y="90803"/>
                    <a:pt x="417809" y="64102"/>
                  </a:cubicBezTo>
                  <a:cubicBezTo>
                    <a:pt x="410080" y="57076"/>
                    <a:pt x="396027" y="52157"/>
                    <a:pt x="401648" y="36698"/>
                  </a:cubicBezTo>
                  <a:cubicBezTo>
                    <a:pt x="407972" y="19132"/>
                    <a:pt x="419215" y="4376"/>
                    <a:pt x="437484" y="3673"/>
                  </a:cubicBezTo>
                  <a:cubicBezTo>
                    <a:pt x="484562" y="1565"/>
                    <a:pt x="532343" y="2970"/>
                    <a:pt x="579422" y="2268"/>
                  </a:cubicBezTo>
                  <a:cubicBezTo>
                    <a:pt x="593475" y="2268"/>
                    <a:pt x="589962" y="12105"/>
                    <a:pt x="589962" y="19132"/>
                  </a:cubicBezTo>
                  <a:cubicBezTo>
                    <a:pt x="589962" y="57778"/>
                    <a:pt x="589962" y="95722"/>
                    <a:pt x="589962" y="134369"/>
                  </a:cubicBezTo>
                  <a:cubicBezTo>
                    <a:pt x="589962" y="146314"/>
                    <a:pt x="591367" y="157556"/>
                    <a:pt x="599799" y="167394"/>
                  </a:cubicBezTo>
                  <a:cubicBezTo>
                    <a:pt x="611042" y="180042"/>
                    <a:pt x="619474" y="182852"/>
                    <a:pt x="632122" y="167394"/>
                  </a:cubicBezTo>
                  <a:cubicBezTo>
                    <a:pt x="665147" y="128747"/>
                    <a:pt x="700983" y="132261"/>
                    <a:pt x="729089" y="176528"/>
                  </a:cubicBezTo>
                  <a:cubicBezTo>
                    <a:pt x="750872" y="210959"/>
                    <a:pt x="740332" y="268577"/>
                    <a:pt x="708009" y="292468"/>
                  </a:cubicBezTo>
                  <a:cubicBezTo>
                    <a:pt x="681308" y="312142"/>
                    <a:pt x="661634" y="309332"/>
                    <a:pt x="638446" y="286144"/>
                  </a:cubicBezTo>
                  <a:cubicBezTo>
                    <a:pt x="631419" y="279117"/>
                    <a:pt x="628608" y="260848"/>
                    <a:pt x="612447" y="269280"/>
                  </a:cubicBezTo>
                  <a:cubicBezTo>
                    <a:pt x="599096" y="276307"/>
                    <a:pt x="591367" y="288252"/>
                    <a:pt x="591367" y="305116"/>
                  </a:cubicBezTo>
                  <a:cubicBezTo>
                    <a:pt x="592070" y="343762"/>
                    <a:pt x="590665" y="381706"/>
                    <a:pt x="592070" y="420353"/>
                  </a:cubicBezTo>
                  <a:cubicBezTo>
                    <a:pt x="592773" y="438622"/>
                    <a:pt x="589259" y="445649"/>
                    <a:pt x="568882" y="444243"/>
                  </a:cubicBezTo>
                  <a:cubicBezTo>
                    <a:pt x="532343" y="442135"/>
                    <a:pt x="495805" y="443541"/>
                    <a:pt x="459267" y="443541"/>
                  </a:cubicBezTo>
                  <a:cubicBezTo>
                    <a:pt x="448024" y="443541"/>
                    <a:pt x="437484" y="444243"/>
                    <a:pt x="428349" y="451270"/>
                  </a:cubicBezTo>
                  <a:cubicBezTo>
                    <a:pt x="414999" y="462513"/>
                    <a:pt x="410080" y="470944"/>
                    <a:pt x="426944" y="484998"/>
                  </a:cubicBezTo>
                  <a:cubicBezTo>
                    <a:pt x="463482" y="515213"/>
                    <a:pt x="462077" y="544724"/>
                    <a:pt x="425539" y="574939"/>
                  </a:cubicBezTo>
                  <a:cubicBezTo>
                    <a:pt x="391811" y="602343"/>
                    <a:pt x="329274" y="596019"/>
                    <a:pt x="302573" y="561588"/>
                  </a:cubicBezTo>
                  <a:cubicBezTo>
                    <a:pt x="281493" y="534887"/>
                    <a:pt x="283601" y="513104"/>
                    <a:pt x="308194" y="489214"/>
                  </a:cubicBezTo>
                  <a:cubicBezTo>
                    <a:pt x="315220" y="482187"/>
                    <a:pt x="331382" y="479376"/>
                    <a:pt x="325760" y="465323"/>
                  </a:cubicBezTo>
                  <a:cubicBezTo>
                    <a:pt x="319436" y="450567"/>
                    <a:pt x="306086" y="442135"/>
                    <a:pt x="288519" y="442838"/>
                  </a:cubicBezTo>
                  <a:cubicBezTo>
                    <a:pt x="249873" y="443541"/>
                    <a:pt x="211929" y="441433"/>
                    <a:pt x="173282" y="443541"/>
                  </a:cubicBezTo>
                  <a:cubicBezTo>
                    <a:pt x="153608" y="444243"/>
                    <a:pt x="149391" y="437920"/>
                    <a:pt x="150094" y="418947"/>
                  </a:cubicBezTo>
                  <a:cubicBezTo>
                    <a:pt x="151500" y="382409"/>
                    <a:pt x="150797" y="345870"/>
                    <a:pt x="150797" y="309332"/>
                  </a:cubicBezTo>
                  <a:cubicBezTo>
                    <a:pt x="150797" y="299495"/>
                    <a:pt x="150797" y="288955"/>
                    <a:pt x="143770" y="280523"/>
                  </a:cubicBezTo>
                  <a:cubicBezTo>
                    <a:pt x="133230" y="267172"/>
                    <a:pt x="124096" y="258740"/>
                    <a:pt x="107935" y="278415"/>
                  </a:cubicBezTo>
                  <a:cubicBezTo>
                    <a:pt x="76315" y="317061"/>
                    <a:pt x="37668" y="311440"/>
                    <a:pt x="10967" y="267172"/>
                  </a:cubicBezTo>
                  <a:cubicBezTo>
                    <a:pt x="-10113" y="232742"/>
                    <a:pt x="427" y="177934"/>
                    <a:pt x="32047" y="153341"/>
                  </a:cubicBezTo>
                  <a:cubicBezTo>
                    <a:pt x="59451" y="132261"/>
                    <a:pt x="79828" y="135071"/>
                    <a:pt x="103718" y="159664"/>
                  </a:cubicBezTo>
                  <a:cubicBezTo>
                    <a:pt x="110745" y="166691"/>
                    <a:pt x="113556" y="182852"/>
                    <a:pt x="127609" y="176528"/>
                  </a:cubicBezTo>
                  <a:cubicBezTo>
                    <a:pt x="141662" y="170204"/>
                    <a:pt x="149391" y="157556"/>
                    <a:pt x="149391" y="141395"/>
                  </a:cubicBezTo>
                  <a:cubicBezTo>
                    <a:pt x="149391" y="105559"/>
                    <a:pt x="151500" y="70426"/>
                    <a:pt x="148689" y="34590"/>
                  </a:cubicBezTo>
                  <a:cubicBezTo>
                    <a:pt x="146581" y="7889"/>
                    <a:pt x="153608" y="-3354"/>
                    <a:pt x="181714" y="862"/>
                  </a:cubicBezTo>
                  <a:cubicBezTo>
                    <a:pt x="197875" y="3673"/>
                    <a:pt x="214037" y="1565"/>
                    <a:pt x="230901" y="156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1BB89AB4-E280-4393-BD88-234ED230119F}"/>
                </a:ext>
              </a:extLst>
            </p:cNvPr>
            <p:cNvSpPr/>
            <p:nvPr/>
          </p:nvSpPr>
          <p:spPr>
            <a:xfrm>
              <a:off x="9670430" y="5820509"/>
              <a:ext cx="1026185" cy="1026186"/>
            </a:xfrm>
            <a:custGeom>
              <a:avLst/>
              <a:gdLst>
                <a:gd name="connsiteX0" fmla="*/ 370196 w 590237"/>
                <a:gd name="connsiteY0" fmla="*/ 591917 h 590237"/>
                <a:gd name="connsiteX1" fmla="*/ 167829 w 590237"/>
                <a:gd name="connsiteY1" fmla="*/ 591917 h 590237"/>
                <a:gd name="connsiteX2" fmla="*/ 147452 w 590237"/>
                <a:gd name="connsiteY2" fmla="*/ 572242 h 590237"/>
                <a:gd name="connsiteX3" fmla="*/ 148154 w 590237"/>
                <a:gd name="connsiteY3" fmla="*/ 454897 h 590237"/>
                <a:gd name="connsiteX4" fmla="*/ 139020 w 590237"/>
                <a:gd name="connsiteY4" fmla="*/ 424683 h 590237"/>
                <a:gd name="connsiteX5" fmla="*/ 108805 w 590237"/>
                <a:gd name="connsiteY5" fmla="*/ 425385 h 590237"/>
                <a:gd name="connsiteX6" fmla="*/ 56808 w 590237"/>
                <a:gd name="connsiteY6" fmla="*/ 451384 h 590237"/>
                <a:gd name="connsiteX7" fmla="*/ 4811 w 590237"/>
                <a:gd name="connsiteY7" fmla="*/ 400089 h 590237"/>
                <a:gd name="connsiteX8" fmla="*/ 38539 w 590237"/>
                <a:gd name="connsiteY8" fmla="*/ 296798 h 590237"/>
                <a:gd name="connsiteX9" fmla="*/ 105292 w 590237"/>
                <a:gd name="connsiteY9" fmla="*/ 309446 h 590237"/>
                <a:gd name="connsiteX10" fmla="*/ 127074 w 590237"/>
                <a:gd name="connsiteY10" fmla="*/ 324904 h 590237"/>
                <a:gd name="connsiteX11" fmla="*/ 148857 w 590237"/>
                <a:gd name="connsiteY11" fmla="*/ 293284 h 590237"/>
                <a:gd name="connsiteX12" fmla="*/ 148154 w 590237"/>
                <a:gd name="connsiteY12" fmla="*/ 175940 h 590237"/>
                <a:gd name="connsiteX13" fmla="*/ 174153 w 590237"/>
                <a:gd name="connsiteY13" fmla="*/ 148536 h 590237"/>
                <a:gd name="connsiteX14" fmla="*/ 286579 w 590237"/>
                <a:gd name="connsiteY14" fmla="*/ 149238 h 590237"/>
                <a:gd name="connsiteX15" fmla="*/ 310470 w 590237"/>
                <a:gd name="connsiteY15" fmla="*/ 145022 h 590237"/>
                <a:gd name="connsiteX16" fmla="*/ 313983 w 590237"/>
                <a:gd name="connsiteY16" fmla="*/ 108484 h 590237"/>
                <a:gd name="connsiteX17" fmla="*/ 312578 w 590237"/>
                <a:gd name="connsiteY17" fmla="*/ 21354 h 590237"/>
                <a:gd name="connsiteX18" fmla="*/ 449597 w 590237"/>
                <a:gd name="connsiteY18" fmla="*/ 48757 h 590237"/>
                <a:gd name="connsiteX19" fmla="*/ 433436 w 590237"/>
                <a:gd name="connsiteY19" fmla="*/ 104268 h 590237"/>
                <a:gd name="connsiteX20" fmla="*/ 417275 w 590237"/>
                <a:gd name="connsiteY20" fmla="*/ 128861 h 590237"/>
                <a:gd name="connsiteX21" fmla="*/ 452408 w 590237"/>
                <a:gd name="connsiteY21" fmla="*/ 149941 h 590237"/>
                <a:gd name="connsiteX22" fmla="*/ 572564 w 590237"/>
                <a:gd name="connsiteY22" fmla="*/ 149238 h 590237"/>
                <a:gd name="connsiteX23" fmla="*/ 592941 w 590237"/>
                <a:gd name="connsiteY23" fmla="*/ 168210 h 590237"/>
                <a:gd name="connsiteX24" fmla="*/ 592941 w 590237"/>
                <a:gd name="connsiteY24" fmla="*/ 291176 h 590237"/>
                <a:gd name="connsiteX25" fmla="*/ 566942 w 590237"/>
                <a:gd name="connsiteY25" fmla="*/ 336147 h 590237"/>
                <a:gd name="connsiteX26" fmla="*/ 538133 w 590237"/>
                <a:gd name="connsiteY26" fmla="*/ 333336 h 590237"/>
                <a:gd name="connsiteX27" fmla="*/ 472082 w 590237"/>
                <a:gd name="connsiteY27" fmla="*/ 312256 h 590237"/>
                <a:gd name="connsiteX28" fmla="*/ 452408 w 590237"/>
                <a:gd name="connsiteY28" fmla="*/ 408521 h 590237"/>
                <a:gd name="connsiteX29" fmla="*/ 530404 w 590237"/>
                <a:gd name="connsiteY29" fmla="*/ 419764 h 590237"/>
                <a:gd name="connsiteX30" fmla="*/ 560618 w 590237"/>
                <a:gd name="connsiteY30" fmla="*/ 403603 h 590237"/>
                <a:gd name="connsiteX31" fmla="*/ 592238 w 590237"/>
                <a:gd name="connsiteY31" fmla="*/ 441547 h 590237"/>
                <a:gd name="connsiteX32" fmla="*/ 592941 w 590237"/>
                <a:gd name="connsiteY32" fmla="*/ 581377 h 590237"/>
                <a:gd name="connsiteX33" fmla="*/ 574671 w 590237"/>
                <a:gd name="connsiteY33" fmla="*/ 593322 h 590237"/>
                <a:gd name="connsiteX34" fmla="*/ 370196 w 590237"/>
                <a:gd name="connsiteY34" fmla="*/ 591917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90237" h="590237">
                  <a:moveTo>
                    <a:pt x="370196" y="591917"/>
                  </a:moveTo>
                  <a:cubicBezTo>
                    <a:pt x="302740" y="591917"/>
                    <a:pt x="235285" y="591214"/>
                    <a:pt x="167829" y="591917"/>
                  </a:cubicBezTo>
                  <a:cubicBezTo>
                    <a:pt x="152370" y="591917"/>
                    <a:pt x="147452" y="588403"/>
                    <a:pt x="147452" y="572242"/>
                  </a:cubicBezTo>
                  <a:cubicBezTo>
                    <a:pt x="148857" y="532893"/>
                    <a:pt x="147452" y="493544"/>
                    <a:pt x="148154" y="454897"/>
                  </a:cubicBezTo>
                  <a:cubicBezTo>
                    <a:pt x="148154" y="443655"/>
                    <a:pt x="147452" y="433115"/>
                    <a:pt x="139020" y="424683"/>
                  </a:cubicBezTo>
                  <a:cubicBezTo>
                    <a:pt x="128480" y="414143"/>
                    <a:pt x="119345" y="410629"/>
                    <a:pt x="108805" y="425385"/>
                  </a:cubicBezTo>
                  <a:cubicBezTo>
                    <a:pt x="96157" y="442249"/>
                    <a:pt x="81401" y="459113"/>
                    <a:pt x="56808" y="451384"/>
                  </a:cubicBezTo>
                  <a:cubicBezTo>
                    <a:pt x="30810" y="443655"/>
                    <a:pt x="12540" y="426790"/>
                    <a:pt x="4811" y="400089"/>
                  </a:cubicBezTo>
                  <a:cubicBezTo>
                    <a:pt x="-7837" y="357929"/>
                    <a:pt x="4811" y="317878"/>
                    <a:pt x="38539" y="296798"/>
                  </a:cubicBezTo>
                  <a:cubicBezTo>
                    <a:pt x="64537" y="279934"/>
                    <a:pt x="81401" y="284150"/>
                    <a:pt x="105292" y="309446"/>
                  </a:cubicBezTo>
                  <a:cubicBezTo>
                    <a:pt x="110913" y="315770"/>
                    <a:pt x="113724" y="330526"/>
                    <a:pt x="127074" y="324904"/>
                  </a:cubicBezTo>
                  <a:cubicBezTo>
                    <a:pt x="140425" y="319283"/>
                    <a:pt x="148857" y="308743"/>
                    <a:pt x="148857" y="293284"/>
                  </a:cubicBezTo>
                  <a:cubicBezTo>
                    <a:pt x="148857" y="253935"/>
                    <a:pt x="150262" y="214586"/>
                    <a:pt x="148154" y="175940"/>
                  </a:cubicBezTo>
                  <a:cubicBezTo>
                    <a:pt x="147452" y="155562"/>
                    <a:pt x="150965" y="147130"/>
                    <a:pt x="174153" y="148536"/>
                  </a:cubicBezTo>
                  <a:cubicBezTo>
                    <a:pt x="211394" y="150644"/>
                    <a:pt x="248635" y="149238"/>
                    <a:pt x="286579" y="149238"/>
                  </a:cubicBezTo>
                  <a:cubicBezTo>
                    <a:pt x="294309" y="149238"/>
                    <a:pt x="302740" y="149941"/>
                    <a:pt x="310470" y="145022"/>
                  </a:cubicBezTo>
                  <a:cubicBezTo>
                    <a:pt x="328739" y="133077"/>
                    <a:pt x="330145" y="122537"/>
                    <a:pt x="313983" y="108484"/>
                  </a:cubicBezTo>
                  <a:cubicBezTo>
                    <a:pt x="280255" y="78972"/>
                    <a:pt x="280255" y="52271"/>
                    <a:pt x="312578" y="21354"/>
                  </a:cubicBezTo>
                  <a:cubicBezTo>
                    <a:pt x="353332" y="-16590"/>
                    <a:pt x="426409" y="-1835"/>
                    <a:pt x="449597" y="48757"/>
                  </a:cubicBezTo>
                  <a:cubicBezTo>
                    <a:pt x="460137" y="72648"/>
                    <a:pt x="449597" y="88107"/>
                    <a:pt x="433436" y="104268"/>
                  </a:cubicBezTo>
                  <a:cubicBezTo>
                    <a:pt x="426409" y="111295"/>
                    <a:pt x="410951" y="114808"/>
                    <a:pt x="417275" y="128861"/>
                  </a:cubicBezTo>
                  <a:cubicBezTo>
                    <a:pt x="423599" y="142914"/>
                    <a:pt x="435544" y="149941"/>
                    <a:pt x="452408" y="149941"/>
                  </a:cubicBezTo>
                  <a:cubicBezTo>
                    <a:pt x="492460" y="149238"/>
                    <a:pt x="532512" y="150644"/>
                    <a:pt x="572564" y="149238"/>
                  </a:cubicBezTo>
                  <a:cubicBezTo>
                    <a:pt x="587319" y="149238"/>
                    <a:pt x="592941" y="152049"/>
                    <a:pt x="592941" y="168210"/>
                  </a:cubicBezTo>
                  <a:cubicBezTo>
                    <a:pt x="591535" y="208965"/>
                    <a:pt x="592238" y="250422"/>
                    <a:pt x="592941" y="291176"/>
                  </a:cubicBezTo>
                  <a:cubicBezTo>
                    <a:pt x="592941" y="312256"/>
                    <a:pt x="582401" y="324904"/>
                    <a:pt x="566942" y="336147"/>
                  </a:cubicBezTo>
                  <a:cubicBezTo>
                    <a:pt x="556402" y="343174"/>
                    <a:pt x="547268" y="342471"/>
                    <a:pt x="538133" y="333336"/>
                  </a:cubicBezTo>
                  <a:cubicBezTo>
                    <a:pt x="500892" y="297501"/>
                    <a:pt x="494568" y="295393"/>
                    <a:pt x="472082" y="312256"/>
                  </a:cubicBezTo>
                  <a:cubicBezTo>
                    <a:pt x="444679" y="332634"/>
                    <a:pt x="435544" y="378307"/>
                    <a:pt x="452408" y="408521"/>
                  </a:cubicBezTo>
                  <a:cubicBezTo>
                    <a:pt x="472785" y="445762"/>
                    <a:pt x="503702" y="449979"/>
                    <a:pt x="530404" y="419764"/>
                  </a:cubicBezTo>
                  <a:cubicBezTo>
                    <a:pt x="538133" y="410629"/>
                    <a:pt x="544457" y="395874"/>
                    <a:pt x="560618" y="403603"/>
                  </a:cubicBezTo>
                  <a:cubicBezTo>
                    <a:pt x="576779" y="410629"/>
                    <a:pt x="592238" y="422575"/>
                    <a:pt x="592238" y="441547"/>
                  </a:cubicBezTo>
                  <a:cubicBezTo>
                    <a:pt x="593643" y="487922"/>
                    <a:pt x="592238" y="534298"/>
                    <a:pt x="592941" y="581377"/>
                  </a:cubicBezTo>
                  <a:cubicBezTo>
                    <a:pt x="592941" y="596835"/>
                    <a:pt x="582401" y="593322"/>
                    <a:pt x="574671" y="593322"/>
                  </a:cubicBezTo>
                  <a:cubicBezTo>
                    <a:pt x="505108" y="592619"/>
                    <a:pt x="437652" y="591917"/>
                    <a:pt x="370196" y="59191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D796C186-7302-4511-98FD-CC38617B3910}"/>
                </a:ext>
              </a:extLst>
            </p:cNvPr>
            <p:cNvSpPr/>
            <p:nvPr/>
          </p:nvSpPr>
          <p:spPr>
            <a:xfrm flipH="1">
              <a:off x="10426018" y="1515407"/>
              <a:ext cx="1026185" cy="1026186"/>
            </a:xfrm>
            <a:custGeom>
              <a:avLst/>
              <a:gdLst>
                <a:gd name="connsiteX0" fmla="*/ 527 w 590237"/>
                <a:gd name="connsiteY0" fmla="*/ 78746 h 590237"/>
                <a:gd name="connsiteX1" fmla="*/ 527 w 590237"/>
                <a:gd name="connsiteY1" fmla="*/ 21128 h 590237"/>
                <a:gd name="connsiteX2" fmla="*/ 19499 w 590237"/>
                <a:gd name="connsiteY2" fmla="*/ 751 h 590237"/>
                <a:gd name="connsiteX3" fmla="*/ 139654 w 590237"/>
                <a:gd name="connsiteY3" fmla="*/ 751 h 590237"/>
                <a:gd name="connsiteX4" fmla="*/ 181814 w 590237"/>
                <a:gd name="connsiteY4" fmla="*/ 21128 h 590237"/>
                <a:gd name="connsiteX5" fmla="*/ 179004 w 590237"/>
                <a:gd name="connsiteY5" fmla="*/ 60477 h 590237"/>
                <a:gd name="connsiteX6" fmla="*/ 153708 w 590237"/>
                <a:gd name="connsiteY6" fmla="*/ 106150 h 590237"/>
                <a:gd name="connsiteX7" fmla="*/ 211326 w 590237"/>
                <a:gd name="connsiteY7" fmla="*/ 149013 h 590237"/>
                <a:gd name="connsiteX8" fmla="*/ 278079 w 590237"/>
                <a:gd name="connsiteY8" fmla="*/ 126528 h 590237"/>
                <a:gd name="connsiteX9" fmla="*/ 274566 w 590237"/>
                <a:gd name="connsiteY9" fmla="*/ 68206 h 590237"/>
                <a:gd name="connsiteX10" fmla="*/ 254188 w 590237"/>
                <a:gd name="connsiteY10" fmla="*/ 34479 h 590237"/>
                <a:gd name="connsiteX11" fmla="*/ 301970 w 590237"/>
                <a:gd name="connsiteY11" fmla="*/ 751 h 590237"/>
                <a:gd name="connsiteX12" fmla="*/ 424936 w 590237"/>
                <a:gd name="connsiteY12" fmla="*/ 48 h 590237"/>
                <a:gd name="connsiteX13" fmla="*/ 442503 w 590237"/>
                <a:gd name="connsiteY13" fmla="*/ 19723 h 590237"/>
                <a:gd name="connsiteX14" fmla="*/ 442503 w 590237"/>
                <a:gd name="connsiteY14" fmla="*/ 134959 h 590237"/>
                <a:gd name="connsiteX15" fmla="*/ 450934 w 590237"/>
                <a:gd name="connsiteY15" fmla="*/ 165877 h 590237"/>
                <a:gd name="connsiteX16" fmla="*/ 484663 w 590237"/>
                <a:gd name="connsiteY16" fmla="*/ 167282 h 590237"/>
                <a:gd name="connsiteX17" fmla="*/ 574603 w 590237"/>
                <a:gd name="connsiteY17" fmla="*/ 167985 h 590237"/>
                <a:gd name="connsiteX18" fmla="*/ 559145 w 590237"/>
                <a:gd name="connsiteY18" fmla="*/ 292356 h 590237"/>
                <a:gd name="connsiteX19" fmla="*/ 489581 w 590237"/>
                <a:gd name="connsiteY19" fmla="*/ 286032 h 590237"/>
                <a:gd name="connsiteX20" fmla="*/ 462880 w 590237"/>
                <a:gd name="connsiteY20" fmla="*/ 269168 h 590237"/>
                <a:gd name="connsiteX21" fmla="*/ 442503 w 590237"/>
                <a:gd name="connsiteY21" fmla="*/ 305004 h 590237"/>
                <a:gd name="connsiteX22" fmla="*/ 442503 w 590237"/>
                <a:gd name="connsiteY22" fmla="*/ 406188 h 590237"/>
                <a:gd name="connsiteX23" fmla="*/ 404559 w 590237"/>
                <a:gd name="connsiteY23" fmla="*/ 442726 h 590237"/>
                <a:gd name="connsiteX24" fmla="*/ 308997 w 590237"/>
                <a:gd name="connsiteY24" fmla="*/ 442726 h 590237"/>
                <a:gd name="connsiteX25" fmla="*/ 278079 w 590237"/>
                <a:gd name="connsiteY25" fmla="*/ 451158 h 590237"/>
                <a:gd name="connsiteX26" fmla="*/ 276674 w 590237"/>
                <a:gd name="connsiteY26" fmla="*/ 483481 h 590237"/>
                <a:gd name="connsiteX27" fmla="*/ 301267 w 590237"/>
                <a:gd name="connsiteY27" fmla="*/ 541099 h 590237"/>
                <a:gd name="connsiteX28" fmla="*/ 235919 w 590237"/>
                <a:gd name="connsiteY28" fmla="*/ 590988 h 590237"/>
                <a:gd name="connsiteX29" fmla="*/ 153005 w 590237"/>
                <a:gd name="connsiteY29" fmla="*/ 560774 h 590237"/>
                <a:gd name="connsiteX30" fmla="*/ 160032 w 590237"/>
                <a:gd name="connsiteY30" fmla="*/ 489102 h 590237"/>
                <a:gd name="connsiteX31" fmla="*/ 176193 w 590237"/>
                <a:gd name="connsiteY31" fmla="*/ 465211 h 590237"/>
                <a:gd name="connsiteX32" fmla="*/ 141060 w 590237"/>
                <a:gd name="connsiteY32" fmla="*/ 443429 h 590237"/>
                <a:gd name="connsiteX33" fmla="*/ 20904 w 590237"/>
                <a:gd name="connsiteY33" fmla="*/ 444132 h 590237"/>
                <a:gd name="connsiteX34" fmla="*/ 527 w 590237"/>
                <a:gd name="connsiteY34" fmla="*/ 423052 h 590237"/>
                <a:gd name="connsiteX35" fmla="*/ 527 w 590237"/>
                <a:gd name="connsiteY35" fmla="*/ 307815 h 590237"/>
                <a:gd name="connsiteX36" fmla="*/ 14580 w 590237"/>
                <a:gd name="connsiteY36" fmla="*/ 267763 h 590237"/>
                <a:gd name="connsiteX37" fmla="*/ 61659 w 590237"/>
                <a:gd name="connsiteY37" fmla="*/ 268466 h 590237"/>
                <a:gd name="connsiteX38" fmla="*/ 103819 w 590237"/>
                <a:gd name="connsiteY38" fmla="*/ 291654 h 590237"/>
                <a:gd name="connsiteX39" fmla="*/ 147384 w 590237"/>
                <a:gd name="connsiteY39" fmla="*/ 243872 h 590237"/>
                <a:gd name="connsiteX40" fmla="*/ 123493 w 590237"/>
                <a:gd name="connsiteY40" fmla="*/ 165174 h 590237"/>
                <a:gd name="connsiteX41" fmla="*/ 67280 w 590237"/>
                <a:gd name="connsiteY41" fmla="*/ 170795 h 590237"/>
                <a:gd name="connsiteX42" fmla="*/ 32849 w 590237"/>
                <a:gd name="connsiteY42" fmla="*/ 191173 h 590237"/>
                <a:gd name="connsiteX43" fmla="*/ 527 w 590237"/>
                <a:gd name="connsiteY43" fmla="*/ 147607 h 590237"/>
                <a:gd name="connsiteX44" fmla="*/ 527 w 590237"/>
                <a:gd name="connsiteY44" fmla="*/ 111772 h 590237"/>
                <a:gd name="connsiteX45" fmla="*/ 527 w 590237"/>
                <a:gd name="connsiteY45" fmla="*/ 78746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90237">
                  <a:moveTo>
                    <a:pt x="527" y="78746"/>
                  </a:moveTo>
                  <a:cubicBezTo>
                    <a:pt x="527" y="59774"/>
                    <a:pt x="1229" y="40100"/>
                    <a:pt x="527" y="21128"/>
                  </a:cubicBezTo>
                  <a:cubicBezTo>
                    <a:pt x="-176" y="7075"/>
                    <a:pt x="2635" y="48"/>
                    <a:pt x="19499" y="751"/>
                  </a:cubicBezTo>
                  <a:cubicBezTo>
                    <a:pt x="59551" y="2156"/>
                    <a:pt x="99602" y="1453"/>
                    <a:pt x="139654" y="751"/>
                  </a:cubicBezTo>
                  <a:cubicBezTo>
                    <a:pt x="157924" y="751"/>
                    <a:pt x="171274" y="7777"/>
                    <a:pt x="181814" y="21128"/>
                  </a:cubicBezTo>
                  <a:cubicBezTo>
                    <a:pt x="193057" y="35181"/>
                    <a:pt x="195165" y="47829"/>
                    <a:pt x="179004" y="60477"/>
                  </a:cubicBezTo>
                  <a:cubicBezTo>
                    <a:pt x="164247" y="71720"/>
                    <a:pt x="144573" y="82962"/>
                    <a:pt x="153708" y="106150"/>
                  </a:cubicBezTo>
                  <a:cubicBezTo>
                    <a:pt x="163545" y="131446"/>
                    <a:pt x="181814" y="147607"/>
                    <a:pt x="211326" y="149013"/>
                  </a:cubicBezTo>
                  <a:cubicBezTo>
                    <a:pt x="236622" y="149715"/>
                    <a:pt x="260513" y="148310"/>
                    <a:pt x="278079" y="126528"/>
                  </a:cubicBezTo>
                  <a:cubicBezTo>
                    <a:pt x="297051" y="102637"/>
                    <a:pt x="296348" y="88584"/>
                    <a:pt x="274566" y="68206"/>
                  </a:cubicBezTo>
                  <a:cubicBezTo>
                    <a:pt x="264728" y="59072"/>
                    <a:pt x="246459" y="54153"/>
                    <a:pt x="254188" y="34479"/>
                  </a:cubicBezTo>
                  <a:cubicBezTo>
                    <a:pt x="262620" y="13399"/>
                    <a:pt x="278079" y="751"/>
                    <a:pt x="301970" y="751"/>
                  </a:cubicBezTo>
                  <a:cubicBezTo>
                    <a:pt x="342724" y="751"/>
                    <a:pt x="384181" y="1453"/>
                    <a:pt x="424936" y="48"/>
                  </a:cubicBezTo>
                  <a:cubicBezTo>
                    <a:pt x="441097" y="-655"/>
                    <a:pt x="442503" y="6372"/>
                    <a:pt x="442503" y="19723"/>
                  </a:cubicBezTo>
                  <a:cubicBezTo>
                    <a:pt x="441800" y="58369"/>
                    <a:pt x="442503" y="96313"/>
                    <a:pt x="442503" y="134959"/>
                  </a:cubicBezTo>
                  <a:cubicBezTo>
                    <a:pt x="442503" y="146202"/>
                    <a:pt x="443205" y="156742"/>
                    <a:pt x="450934" y="165877"/>
                  </a:cubicBezTo>
                  <a:cubicBezTo>
                    <a:pt x="461474" y="179227"/>
                    <a:pt x="470609" y="184849"/>
                    <a:pt x="484663" y="167282"/>
                  </a:cubicBezTo>
                  <a:cubicBezTo>
                    <a:pt x="513472" y="131446"/>
                    <a:pt x="545091" y="132149"/>
                    <a:pt x="574603" y="167985"/>
                  </a:cubicBezTo>
                  <a:cubicBezTo>
                    <a:pt x="604115" y="203118"/>
                    <a:pt x="595683" y="265655"/>
                    <a:pt x="559145" y="292356"/>
                  </a:cubicBezTo>
                  <a:cubicBezTo>
                    <a:pt x="531741" y="312031"/>
                    <a:pt x="512769" y="309923"/>
                    <a:pt x="489581" y="286032"/>
                  </a:cubicBezTo>
                  <a:cubicBezTo>
                    <a:pt x="482554" y="278303"/>
                    <a:pt x="479041" y="260736"/>
                    <a:pt x="462880" y="269168"/>
                  </a:cubicBezTo>
                  <a:cubicBezTo>
                    <a:pt x="449529" y="276195"/>
                    <a:pt x="442503" y="288843"/>
                    <a:pt x="442503" y="305004"/>
                  </a:cubicBezTo>
                  <a:cubicBezTo>
                    <a:pt x="442503" y="338732"/>
                    <a:pt x="442503" y="372460"/>
                    <a:pt x="442503" y="406188"/>
                  </a:cubicBezTo>
                  <a:cubicBezTo>
                    <a:pt x="442503" y="442726"/>
                    <a:pt x="442503" y="442726"/>
                    <a:pt x="404559" y="442726"/>
                  </a:cubicBezTo>
                  <a:cubicBezTo>
                    <a:pt x="372939" y="442726"/>
                    <a:pt x="340616" y="442726"/>
                    <a:pt x="308997" y="442726"/>
                  </a:cubicBezTo>
                  <a:cubicBezTo>
                    <a:pt x="297754" y="442726"/>
                    <a:pt x="287214" y="443429"/>
                    <a:pt x="278079" y="451158"/>
                  </a:cubicBezTo>
                  <a:cubicBezTo>
                    <a:pt x="266837" y="460995"/>
                    <a:pt x="259107" y="470130"/>
                    <a:pt x="276674" y="483481"/>
                  </a:cubicBezTo>
                  <a:cubicBezTo>
                    <a:pt x="295646" y="497534"/>
                    <a:pt x="312510" y="514398"/>
                    <a:pt x="301267" y="541099"/>
                  </a:cubicBezTo>
                  <a:cubicBezTo>
                    <a:pt x="289322" y="569206"/>
                    <a:pt x="268945" y="588880"/>
                    <a:pt x="235919" y="590988"/>
                  </a:cubicBezTo>
                  <a:cubicBezTo>
                    <a:pt x="203597" y="593096"/>
                    <a:pt x="174085" y="588880"/>
                    <a:pt x="153005" y="560774"/>
                  </a:cubicBezTo>
                  <a:cubicBezTo>
                    <a:pt x="132628" y="533370"/>
                    <a:pt x="134736" y="512290"/>
                    <a:pt x="160032" y="489102"/>
                  </a:cubicBezTo>
                  <a:cubicBezTo>
                    <a:pt x="167058" y="482778"/>
                    <a:pt x="183219" y="479967"/>
                    <a:pt x="176193" y="465211"/>
                  </a:cubicBezTo>
                  <a:cubicBezTo>
                    <a:pt x="169869" y="451861"/>
                    <a:pt x="157924" y="443429"/>
                    <a:pt x="141060" y="443429"/>
                  </a:cubicBezTo>
                  <a:cubicBezTo>
                    <a:pt x="101008" y="443429"/>
                    <a:pt x="60956" y="442726"/>
                    <a:pt x="20904" y="444132"/>
                  </a:cubicBezTo>
                  <a:cubicBezTo>
                    <a:pt x="3338" y="444834"/>
                    <a:pt x="-176" y="439213"/>
                    <a:pt x="527" y="423052"/>
                  </a:cubicBezTo>
                  <a:cubicBezTo>
                    <a:pt x="1932" y="385108"/>
                    <a:pt x="1229" y="346461"/>
                    <a:pt x="527" y="307815"/>
                  </a:cubicBezTo>
                  <a:cubicBezTo>
                    <a:pt x="527" y="292356"/>
                    <a:pt x="3338" y="279006"/>
                    <a:pt x="14580" y="267763"/>
                  </a:cubicBezTo>
                  <a:cubicBezTo>
                    <a:pt x="33552" y="249494"/>
                    <a:pt x="44092" y="249494"/>
                    <a:pt x="61659" y="268466"/>
                  </a:cubicBezTo>
                  <a:cubicBezTo>
                    <a:pt x="72901" y="281114"/>
                    <a:pt x="82739" y="297978"/>
                    <a:pt x="103819" y="291654"/>
                  </a:cubicBezTo>
                  <a:cubicBezTo>
                    <a:pt x="126304" y="283924"/>
                    <a:pt x="143168" y="269168"/>
                    <a:pt x="147384" y="243872"/>
                  </a:cubicBezTo>
                  <a:cubicBezTo>
                    <a:pt x="153005" y="213658"/>
                    <a:pt x="150897" y="185551"/>
                    <a:pt x="123493" y="165174"/>
                  </a:cubicBezTo>
                  <a:cubicBezTo>
                    <a:pt x="101008" y="147607"/>
                    <a:pt x="86954" y="149013"/>
                    <a:pt x="67280" y="170795"/>
                  </a:cubicBezTo>
                  <a:cubicBezTo>
                    <a:pt x="58145" y="181335"/>
                    <a:pt x="51821" y="198902"/>
                    <a:pt x="32849" y="191173"/>
                  </a:cubicBezTo>
                  <a:cubicBezTo>
                    <a:pt x="13878" y="183443"/>
                    <a:pt x="1932" y="168687"/>
                    <a:pt x="527" y="147607"/>
                  </a:cubicBezTo>
                  <a:cubicBezTo>
                    <a:pt x="-176" y="135662"/>
                    <a:pt x="527" y="123717"/>
                    <a:pt x="527" y="111772"/>
                  </a:cubicBezTo>
                  <a:cubicBezTo>
                    <a:pt x="-176" y="100529"/>
                    <a:pt x="-176" y="89989"/>
                    <a:pt x="527" y="787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E4B8B65E-FC44-48CE-9F3F-512FFB64A32E}"/>
                </a:ext>
              </a:extLst>
            </p:cNvPr>
            <p:cNvSpPr/>
            <p:nvPr/>
          </p:nvSpPr>
          <p:spPr>
            <a:xfrm>
              <a:off x="10677779" y="746522"/>
              <a:ext cx="769640" cy="1026186"/>
            </a:xfrm>
            <a:custGeom>
              <a:avLst/>
              <a:gdLst>
                <a:gd name="connsiteX0" fmla="*/ 1580 w 442678"/>
                <a:gd name="connsiteY0" fmla="*/ 362575 h 590237"/>
                <a:gd name="connsiteX1" fmla="*/ 1580 w 442678"/>
                <a:gd name="connsiteY1" fmla="*/ 299335 h 590237"/>
                <a:gd name="connsiteX2" fmla="*/ 27579 w 442678"/>
                <a:gd name="connsiteY2" fmla="*/ 257175 h 590237"/>
                <a:gd name="connsiteX3" fmla="*/ 56388 w 442678"/>
                <a:gd name="connsiteY3" fmla="*/ 259986 h 590237"/>
                <a:gd name="connsiteX4" fmla="*/ 130871 w 442678"/>
                <a:gd name="connsiteY4" fmla="*/ 274039 h 590237"/>
                <a:gd name="connsiteX5" fmla="*/ 132979 w 442678"/>
                <a:gd name="connsiteY5" fmla="*/ 171450 h 590237"/>
                <a:gd name="connsiteX6" fmla="*/ 64820 w 442678"/>
                <a:gd name="connsiteY6" fmla="*/ 172855 h 590237"/>
                <a:gd name="connsiteX7" fmla="*/ 34606 w 442678"/>
                <a:gd name="connsiteY7" fmla="*/ 189719 h 590237"/>
                <a:gd name="connsiteX8" fmla="*/ 2986 w 442678"/>
                <a:gd name="connsiteY8" fmla="*/ 152478 h 590237"/>
                <a:gd name="connsiteX9" fmla="*/ 2283 w 442678"/>
                <a:gd name="connsiteY9" fmla="*/ 12648 h 590237"/>
                <a:gd name="connsiteX10" fmla="*/ 17742 w 442678"/>
                <a:gd name="connsiteY10" fmla="*/ 0 h 590237"/>
                <a:gd name="connsiteX11" fmla="*/ 146329 w 442678"/>
                <a:gd name="connsiteY11" fmla="*/ 0 h 590237"/>
                <a:gd name="connsiteX12" fmla="*/ 184976 w 442678"/>
                <a:gd name="connsiteY12" fmla="*/ 22485 h 590237"/>
                <a:gd name="connsiteX13" fmla="*/ 180760 w 442678"/>
                <a:gd name="connsiteY13" fmla="*/ 59726 h 590237"/>
                <a:gd name="connsiteX14" fmla="*/ 155464 w 442678"/>
                <a:gd name="connsiteY14" fmla="*/ 105400 h 590237"/>
                <a:gd name="connsiteX15" fmla="*/ 212380 w 442678"/>
                <a:gd name="connsiteY15" fmla="*/ 148262 h 590237"/>
                <a:gd name="connsiteX16" fmla="*/ 281241 w 442678"/>
                <a:gd name="connsiteY16" fmla="*/ 123669 h 590237"/>
                <a:gd name="connsiteX17" fmla="*/ 276322 w 442678"/>
                <a:gd name="connsiteY17" fmla="*/ 67456 h 590237"/>
                <a:gd name="connsiteX18" fmla="*/ 256648 w 442678"/>
                <a:gd name="connsiteY18" fmla="*/ 30917 h 590237"/>
                <a:gd name="connsiteX19" fmla="*/ 300915 w 442678"/>
                <a:gd name="connsiteY19" fmla="*/ 0 h 590237"/>
                <a:gd name="connsiteX20" fmla="*/ 429503 w 442678"/>
                <a:gd name="connsiteY20" fmla="*/ 0 h 590237"/>
                <a:gd name="connsiteX21" fmla="*/ 445664 w 442678"/>
                <a:gd name="connsiteY21" fmla="*/ 15459 h 590237"/>
                <a:gd name="connsiteX22" fmla="*/ 444961 w 442678"/>
                <a:gd name="connsiteY22" fmla="*/ 144046 h 590237"/>
                <a:gd name="connsiteX23" fmla="*/ 425287 w 442678"/>
                <a:gd name="connsiteY23" fmla="*/ 181990 h 590237"/>
                <a:gd name="connsiteX24" fmla="*/ 383830 w 442678"/>
                <a:gd name="connsiteY24" fmla="*/ 177774 h 590237"/>
                <a:gd name="connsiteX25" fmla="*/ 339562 w 442678"/>
                <a:gd name="connsiteY25" fmla="*/ 153884 h 590237"/>
                <a:gd name="connsiteX26" fmla="*/ 296699 w 442678"/>
                <a:gd name="connsiteY26" fmla="*/ 205881 h 590237"/>
                <a:gd name="connsiteX27" fmla="*/ 319887 w 442678"/>
                <a:gd name="connsiteY27" fmla="*/ 279660 h 590237"/>
                <a:gd name="connsiteX28" fmla="*/ 376100 w 442678"/>
                <a:gd name="connsiteY28" fmla="*/ 276147 h 590237"/>
                <a:gd name="connsiteX29" fmla="*/ 409126 w 442678"/>
                <a:gd name="connsiteY29" fmla="*/ 254364 h 590237"/>
                <a:gd name="connsiteX30" fmla="*/ 443556 w 442678"/>
                <a:gd name="connsiteY30" fmla="*/ 298632 h 590237"/>
                <a:gd name="connsiteX31" fmla="*/ 444259 w 442678"/>
                <a:gd name="connsiteY31" fmla="*/ 430030 h 590237"/>
                <a:gd name="connsiteX32" fmla="*/ 425989 w 442678"/>
                <a:gd name="connsiteY32" fmla="*/ 442678 h 590237"/>
                <a:gd name="connsiteX33" fmla="*/ 307942 w 442678"/>
                <a:gd name="connsiteY33" fmla="*/ 442678 h 590237"/>
                <a:gd name="connsiteX34" fmla="*/ 279835 w 442678"/>
                <a:gd name="connsiteY34" fmla="*/ 450408 h 590237"/>
                <a:gd name="connsiteX35" fmla="*/ 278430 w 442678"/>
                <a:gd name="connsiteY35" fmla="*/ 486244 h 590237"/>
                <a:gd name="connsiteX36" fmla="*/ 281241 w 442678"/>
                <a:gd name="connsiteY36" fmla="*/ 571266 h 590237"/>
                <a:gd name="connsiteX37" fmla="*/ 150545 w 442678"/>
                <a:gd name="connsiteY37" fmla="*/ 558618 h 590237"/>
                <a:gd name="connsiteX38" fmla="*/ 157572 w 442678"/>
                <a:gd name="connsiteY38" fmla="*/ 491162 h 590237"/>
                <a:gd name="connsiteX39" fmla="*/ 175139 w 442678"/>
                <a:gd name="connsiteY39" fmla="*/ 464461 h 590237"/>
                <a:gd name="connsiteX40" fmla="*/ 137195 w 442678"/>
                <a:gd name="connsiteY40" fmla="*/ 443381 h 590237"/>
                <a:gd name="connsiteX41" fmla="*/ 21958 w 442678"/>
                <a:gd name="connsiteY41" fmla="*/ 444084 h 590237"/>
                <a:gd name="connsiteX42" fmla="*/ 175 w 442678"/>
                <a:gd name="connsiteY42" fmla="*/ 423706 h 590237"/>
                <a:gd name="connsiteX43" fmla="*/ 1580 w 442678"/>
                <a:gd name="connsiteY43" fmla="*/ 36257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2678" h="590237">
                  <a:moveTo>
                    <a:pt x="1580" y="362575"/>
                  </a:moveTo>
                  <a:cubicBezTo>
                    <a:pt x="1580" y="341495"/>
                    <a:pt x="2283" y="320415"/>
                    <a:pt x="1580" y="299335"/>
                  </a:cubicBezTo>
                  <a:cubicBezTo>
                    <a:pt x="878" y="279660"/>
                    <a:pt x="12823" y="267012"/>
                    <a:pt x="27579" y="257175"/>
                  </a:cubicBezTo>
                  <a:cubicBezTo>
                    <a:pt x="37416" y="250851"/>
                    <a:pt x="46551" y="250851"/>
                    <a:pt x="56388" y="259986"/>
                  </a:cubicBezTo>
                  <a:cubicBezTo>
                    <a:pt x="94332" y="297227"/>
                    <a:pt x="105575" y="298632"/>
                    <a:pt x="130871" y="274039"/>
                  </a:cubicBezTo>
                  <a:cubicBezTo>
                    <a:pt x="156869" y="248041"/>
                    <a:pt x="157572" y="198854"/>
                    <a:pt x="132979" y="171450"/>
                  </a:cubicBezTo>
                  <a:cubicBezTo>
                    <a:pt x="108385" y="144749"/>
                    <a:pt x="88711" y="144749"/>
                    <a:pt x="64820" y="172855"/>
                  </a:cubicBezTo>
                  <a:cubicBezTo>
                    <a:pt x="57091" y="181990"/>
                    <a:pt x="50767" y="196043"/>
                    <a:pt x="34606" y="189719"/>
                  </a:cubicBezTo>
                  <a:cubicBezTo>
                    <a:pt x="17742" y="183395"/>
                    <a:pt x="3689" y="170747"/>
                    <a:pt x="2986" y="152478"/>
                  </a:cubicBezTo>
                  <a:cubicBezTo>
                    <a:pt x="1580" y="106102"/>
                    <a:pt x="2283" y="59726"/>
                    <a:pt x="2283" y="12648"/>
                  </a:cubicBezTo>
                  <a:cubicBezTo>
                    <a:pt x="2283" y="703"/>
                    <a:pt x="8607" y="0"/>
                    <a:pt x="17742" y="0"/>
                  </a:cubicBezTo>
                  <a:cubicBezTo>
                    <a:pt x="60604" y="0"/>
                    <a:pt x="103467" y="0"/>
                    <a:pt x="146329" y="0"/>
                  </a:cubicBezTo>
                  <a:cubicBezTo>
                    <a:pt x="163193" y="0"/>
                    <a:pt x="175139" y="9135"/>
                    <a:pt x="184976" y="22485"/>
                  </a:cubicBezTo>
                  <a:cubicBezTo>
                    <a:pt x="195516" y="36539"/>
                    <a:pt x="195516" y="47781"/>
                    <a:pt x="180760" y="59726"/>
                  </a:cubicBezTo>
                  <a:cubicBezTo>
                    <a:pt x="166004" y="70969"/>
                    <a:pt x="147032" y="82212"/>
                    <a:pt x="155464" y="105400"/>
                  </a:cubicBezTo>
                  <a:cubicBezTo>
                    <a:pt x="165301" y="131398"/>
                    <a:pt x="183570" y="146857"/>
                    <a:pt x="212380" y="148262"/>
                  </a:cubicBezTo>
                  <a:cubicBezTo>
                    <a:pt x="239081" y="149668"/>
                    <a:pt x="262972" y="146857"/>
                    <a:pt x="281241" y="123669"/>
                  </a:cubicBezTo>
                  <a:cubicBezTo>
                    <a:pt x="298807" y="100481"/>
                    <a:pt x="298105" y="87131"/>
                    <a:pt x="276322" y="67456"/>
                  </a:cubicBezTo>
                  <a:cubicBezTo>
                    <a:pt x="265079" y="57619"/>
                    <a:pt x="246810" y="50592"/>
                    <a:pt x="256648" y="30917"/>
                  </a:cubicBezTo>
                  <a:cubicBezTo>
                    <a:pt x="265079" y="12648"/>
                    <a:pt x="279835" y="0"/>
                    <a:pt x="300915" y="0"/>
                  </a:cubicBezTo>
                  <a:cubicBezTo>
                    <a:pt x="343778" y="0"/>
                    <a:pt x="386640" y="0"/>
                    <a:pt x="429503" y="0"/>
                  </a:cubicBezTo>
                  <a:cubicBezTo>
                    <a:pt x="441448" y="0"/>
                    <a:pt x="445664" y="2811"/>
                    <a:pt x="445664" y="15459"/>
                  </a:cubicBezTo>
                  <a:cubicBezTo>
                    <a:pt x="444961" y="58321"/>
                    <a:pt x="445664" y="101184"/>
                    <a:pt x="444961" y="144046"/>
                  </a:cubicBezTo>
                  <a:cubicBezTo>
                    <a:pt x="444961" y="159505"/>
                    <a:pt x="437232" y="171450"/>
                    <a:pt x="425287" y="181990"/>
                  </a:cubicBezTo>
                  <a:cubicBezTo>
                    <a:pt x="409828" y="194638"/>
                    <a:pt x="397180" y="196043"/>
                    <a:pt x="383830" y="177774"/>
                  </a:cubicBezTo>
                  <a:cubicBezTo>
                    <a:pt x="373290" y="163018"/>
                    <a:pt x="361345" y="145452"/>
                    <a:pt x="339562" y="153884"/>
                  </a:cubicBezTo>
                  <a:cubicBezTo>
                    <a:pt x="316374" y="162315"/>
                    <a:pt x="299510" y="178477"/>
                    <a:pt x="296699" y="205881"/>
                  </a:cubicBezTo>
                  <a:cubicBezTo>
                    <a:pt x="293186" y="233987"/>
                    <a:pt x="295294" y="260688"/>
                    <a:pt x="319887" y="279660"/>
                  </a:cubicBezTo>
                  <a:cubicBezTo>
                    <a:pt x="343075" y="297930"/>
                    <a:pt x="355723" y="296524"/>
                    <a:pt x="376100" y="276147"/>
                  </a:cubicBezTo>
                  <a:cubicBezTo>
                    <a:pt x="385235" y="267012"/>
                    <a:pt x="390154" y="248041"/>
                    <a:pt x="409126" y="254364"/>
                  </a:cubicBezTo>
                  <a:cubicBezTo>
                    <a:pt x="429503" y="261391"/>
                    <a:pt x="442854" y="276850"/>
                    <a:pt x="443556" y="298632"/>
                  </a:cubicBezTo>
                  <a:cubicBezTo>
                    <a:pt x="444961" y="342197"/>
                    <a:pt x="443556" y="386465"/>
                    <a:pt x="444259" y="430030"/>
                  </a:cubicBezTo>
                  <a:cubicBezTo>
                    <a:pt x="444259" y="444786"/>
                    <a:pt x="435124" y="442678"/>
                    <a:pt x="425989" y="442678"/>
                  </a:cubicBezTo>
                  <a:cubicBezTo>
                    <a:pt x="386640" y="442678"/>
                    <a:pt x="347291" y="442678"/>
                    <a:pt x="307942" y="442678"/>
                  </a:cubicBezTo>
                  <a:cubicBezTo>
                    <a:pt x="297402" y="442678"/>
                    <a:pt x="288268" y="443381"/>
                    <a:pt x="279835" y="450408"/>
                  </a:cubicBezTo>
                  <a:cubicBezTo>
                    <a:pt x="265782" y="461650"/>
                    <a:pt x="259458" y="470785"/>
                    <a:pt x="278430" y="486244"/>
                  </a:cubicBezTo>
                  <a:cubicBezTo>
                    <a:pt x="312158" y="512945"/>
                    <a:pt x="312158" y="541051"/>
                    <a:pt x="281241" y="571266"/>
                  </a:cubicBezTo>
                  <a:cubicBezTo>
                    <a:pt x="245405" y="606399"/>
                    <a:pt x="180057" y="600075"/>
                    <a:pt x="150545" y="558618"/>
                  </a:cubicBezTo>
                  <a:cubicBezTo>
                    <a:pt x="132276" y="532619"/>
                    <a:pt x="134384" y="513647"/>
                    <a:pt x="157572" y="491162"/>
                  </a:cubicBezTo>
                  <a:cubicBezTo>
                    <a:pt x="165301" y="483433"/>
                    <a:pt x="182868" y="479920"/>
                    <a:pt x="175139" y="464461"/>
                  </a:cubicBezTo>
                  <a:cubicBezTo>
                    <a:pt x="168112" y="449705"/>
                    <a:pt x="154761" y="442678"/>
                    <a:pt x="137195" y="443381"/>
                  </a:cubicBezTo>
                  <a:cubicBezTo>
                    <a:pt x="98548" y="444084"/>
                    <a:pt x="60604" y="442678"/>
                    <a:pt x="21958" y="444084"/>
                  </a:cubicBezTo>
                  <a:cubicBezTo>
                    <a:pt x="5797" y="444786"/>
                    <a:pt x="-1230" y="441976"/>
                    <a:pt x="175" y="423706"/>
                  </a:cubicBezTo>
                  <a:cubicBezTo>
                    <a:pt x="2986" y="402627"/>
                    <a:pt x="1580" y="382249"/>
                    <a:pt x="1580" y="36257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66787D42-C34B-4E66-9065-F0D8B385BC93}"/>
                </a:ext>
              </a:extLst>
            </p:cNvPr>
            <p:cNvSpPr/>
            <p:nvPr/>
          </p:nvSpPr>
          <p:spPr>
            <a:xfrm>
              <a:off x="9920023" y="-19923"/>
              <a:ext cx="757423" cy="769640"/>
            </a:xfrm>
            <a:custGeom>
              <a:avLst/>
              <a:gdLst>
                <a:gd name="connsiteX0" fmla="*/ 222042 w 435651"/>
                <a:gd name="connsiteY0" fmla="*/ 755 h 442678"/>
                <a:gd name="connsiteX1" fmla="*/ 418788 w 435651"/>
                <a:gd name="connsiteY1" fmla="*/ 52 h 442678"/>
                <a:gd name="connsiteX2" fmla="*/ 441976 w 435651"/>
                <a:gd name="connsiteY2" fmla="*/ 24645 h 442678"/>
                <a:gd name="connsiteX3" fmla="*/ 441976 w 435651"/>
                <a:gd name="connsiteY3" fmla="*/ 139882 h 442678"/>
                <a:gd name="connsiteX4" fmla="*/ 423706 w 435651"/>
                <a:gd name="connsiteY4" fmla="*/ 180637 h 442678"/>
                <a:gd name="connsiteX5" fmla="*/ 380844 w 435651"/>
                <a:gd name="connsiteY5" fmla="*/ 177123 h 442678"/>
                <a:gd name="connsiteX6" fmla="*/ 339387 w 435651"/>
                <a:gd name="connsiteY6" fmla="*/ 153233 h 442678"/>
                <a:gd name="connsiteX7" fmla="*/ 296524 w 435651"/>
                <a:gd name="connsiteY7" fmla="*/ 195393 h 442678"/>
                <a:gd name="connsiteX8" fmla="*/ 318307 w 435651"/>
                <a:gd name="connsiteY8" fmla="*/ 279712 h 442678"/>
                <a:gd name="connsiteX9" fmla="*/ 374520 w 435651"/>
                <a:gd name="connsiteY9" fmla="*/ 274794 h 442678"/>
                <a:gd name="connsiteX10" fmla="*/ 411058 w 435651"/>
                <a:gd name="connsiteY10" fmla="*/ 254416 h 442678"/>
                <a:gd name="connsiteX11" fmla="*/ 441976 w 435651"/>
                <a:gd name="connsiteY11" fmla="*/ 302198 h 442678"/>
                <a:gd name="connsiteX12" fmla="*/ 441976 w 435651"/>
                <a:gd name="connsiteY12" fmla="*/ 425164 h 442678"/>
                <a:gd name="connsiteX13" fmla="*/ 423706 w 435651"/>
                <a:gd name="connsiteY13" fmla="*/ 444136 h 442678"/>
                <a:gd name="connsiteX14" fmla="*/ 300740 w 435651"/>
                <a:gd name="connsiteY14" fmla="*/ 444136 h 442678"/>
                <a:gd name="connsiteX15" fmla="*/ 262796 w 435651"/>
                <a:gd name="connsiteY15" fmla="*/ 426569 h 442678"/>
                <a:gd name="connsiteX16" fmla="*/ 265607 w 435651"/>
                <a:gd name="connsiteY16" fmla="*/ 383707 h 442678"/>
                <a:gd name="connsiteX17" fmla="*/ 288795 w 435651"/>
                <a:gd name="connsiteY17" fmla="*/ 336628 h 442678"/>
                <a:gd name="connsiteX18" fmla="*/ 235392 w 435651"/>
                <a:gd name="connsiteY18" fmla="*/ 296576 h 442678"/>
                <a:gd name="connsiteX19" fmla="*/ 167937 w 435651"/>
                <a:gd name="connsiteY19" fmla="*/ 316251 h 442678"/>
                <a:gd name="connsiteX20" fmla="*/ 171450 w 435651"/>
                <a:gd name="connsiteY20" fmla="*/ 378788 h 442678"/>
                <a:gd name="connsiteX21" fmla="*/ 190422 w 435651"/>
                <a:gd name="connsiteY21" fmla="*/ 411110 h 442678"/>
                <a:gd name="connsiteX22" fmla="*/ 150370 w 435651"/>
                <a:gd name="connsiteY22" fmla="*/ 444136 h 442678"/>
                <a:gd name="connsiteX23" fmla="*/ 13351 w 435651"/>
                <a:gd name="connsiteY23" fmla="*/ 444838 h 442678"/>
                <a:gd name="connsiteX24" fmla="*/ 703 w 435651"/>
                <a:gd name="connsiteY24" fmla="*/ 429380 h 442678"/>
                <a:gd name="connsiteX25" fmla="*/ 703 w 435651"/>
                <a:gd name="connsiteY25" fmla="*/ 300792 h 442678"/>
                <a:gd name="connsiteX26" fmla="*/ 18269 w 435651"/>
                <a:gd name="connsiteY26" fmla="*/ 264956 h 442678"/>
                <a:gd name="connsiteX27" fmla="*/ 61835 w 435651"/>
                <a:gd name="connsiteY27" fmla="*/ 267064 h 442678"/>
                <a:gd name="connsiteX28" fmla="*/ 108210 w 435651"/>
                <a:gd name="connsiteY28" fmla="*/ 290252 h 442678"/>
                <a:gd name="connsiteX29" fmla="*/ 148965 w 435651"/>
                <a:gd name="connsiteY29" fmla="*/ 234039 h 442678"/>
                <a:gd name="connsiteX30" fmla="*/ 127182 w 435651"/>
                <a:gd name="connsiteY30" fmla="*/ 167286 h 442678"/>
                <a:gd name="connsiteX31" fmla="*/ 66753 w 435651"/>
                <a:gd name="connsiteY31" fmla="*/ 171502 h 442678"/>
                <a:gd name="connsiteX32" fmla="*/ 35133 w 435651"/>
                <a:gd name="connsiteY32" fmla="*/ 191177 h 442678"/>
                <a:gd name="connsiteX33" fmla="*/ 703 w 435651"/>
                <a:gd name="connsiteY33" fmla="*/ 149017 h 442678"/>
                <a:gd name="connsiteX34" fmla="*/ 0 w 435651"/>
                <a:gd name="connsiteY34" fmla="*/ 14808 h 442678"/>
                <a:gd name="connsiteX35" fmla="*/ 21080 w 435651"/>
                <a:gd name="connsiteY35" fmla="*/ 2160 h 442678"/>
                <a:gd name="connsiteX36" fmla="*/ 222042 w 435651"/>
                <a:gd name="connsiteY36" fmla="*/ 75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5651" h="442678">
                  <a:moveTo>
                    <a:pt x="222042" y="755"/>
                  </a:moveTo>
                  <a:cubicBezTo>
                    <a:pt x="287390" y="755"/>
                    <a:pt x="353440" y="1457"/>
                    <a:pt x="418788" y="52"/>
                  </a:cubicBezTo>
                  <a:cubicBezTo>
                    <a:pt x="438462" y="-651"/>
                    <a:pt x="442678" y="5673"/>
                    <a:pt x="441976" y="24645"/>
                  </a:cubicBezTo>
                  <a:cubicBezTo>
                    <a:pt x="440570" y="62589"/>
                    <a:pt x="441273" y="101236"/>
                    <a:pt x="441976" y="139882"/>
                  </a:cubicBezTo>
                  <a:cubicBezTo>
                    <a:pt x="441976" y="156746"/>
                    <a:pt x="436354" y="170097"/>
                    <a:pt x="423706" y="180637"/>
                  </a:cubicBezTo>
                  <a:cubicBezTo>
                    <a:pt x="408248" y="193987"/>
                    <a:pt x="394195" y="196798"/>
                    <a:pt x="380844" y="177123"/>
                  </a:cubicBezTo>
                  <a:cubicBezTo>
                    <a:pt x="371007" y="163070"/>
                    <a:pt x="359764" y="147611"/>
                    <a:pt x="339387" y="153233"/>
                  </a:cubicBezTo>
                  <a:cubicBezTo>
                    <a:pt x="318307" y="159557"/>
                    <a:pt x="303551" y="173610"/>
                    <a:pt x="296524" y="195393"/>
                  </a:cubicBezTo>
                  <a:cubicBezTo>
                    <a:pt x="285984" y="227715"/>
                    <a:pt x="294416" y="260740"/>
                    <a:pt x="318307" y="279712"/>
                  </a:cubicBezTo>
                  <a:cubicBezTo>
                    <a:pt x="340792" y="297981"/>
                    <a:pt x="354845" y="296576"/>
                    <a:pt x="374520" y="274794"/>
                  </a:cubicBezTo>
                  <a:cubicBezTo>
                    <a:pt x="384357" y="264254"/>
                    <a:pt x="391384" y="244579"/>
                    <a:pt x="411058" y="254416"/>
                  </a:cubicBezTo>
                  <a:cubicBezTo>
                    <a:pt x="430030" y="263551"/>
                    <a:pt x="441976" y="279010"/>
                    <a:pt x="441976" y="302198"/>
                  </a:cubicBezTo>
                  <a:cubicBezTo>
                    <a:pt x="441273" y="342952"/>
                    <a:pt x="441273" y="384409"/>
                    <a:pt x="441976" y="425164"/>
                  </a:cubicBezTo>
                  <a:cubicBezTo>
                    <a:pt x="441976" y="439217"/>
                    <a:pt x="438462" y="444136"/>
                    <a:pt x="423706" y="444136"/>
                  </a:cubicBezTo>
                  <a:cubicBezTo>
                    <a:pt x="382952" y="443433"/>
                    <a:pt x="341495" y="443433"/>
                    <a:pt x="300740" y="444136"/>
                  </a:cubicBezTo>
                  <a:cubicBezTo>
                    <a:pt x="285282" y="444136"/>
                    <a:pt x="272634" y="437812"/>
                    <a:pt x="262796" y="426569"/>
                  </a:cubicBezTo>
                  <a:cubicBezTo>
                    <a:pt x="250148" y="411813"/>
                    <a:pt x="245230" y="397760"/>
                    <a:pt x="265607" y="383707"/>
                  </a:cubicBezTo>
                  <a:cubicBezTo>
                    <a:pt x="281066" y="372464"/>
                    <a:pt x="298632" y="359816"/>
                    <a:pt x="288795" y="336628"/>
                  </a:cubicBezTo>
                  <a:cubicBezTo>
                    <a:pt x="278958" y="314143"/>
                    <a:pt x="262094" y="297981"/>
                    <a:pt x="235392" y="296576"/>
                  </a:cubicBezTo>
                  <a:cubicBezTo>
                    <a:pt x="210096" y="295171"/>
                    <a:pt x="186206" y="295171"/>
                    <a:pt x="167937" y="316251"/>
                  </a:cubicBezTo>
                  <a:cubicBezTo>
                    <a:pt x="146154" y="340844"/>
                    <a:pt x="146857" y="357005"/>
                    <a:pt x="171450" y="378788"/>
                  </a:cubicBezTo>
                  <a:cubicBezTo>
                    <a:pt x="181287" y="387220"/>
                    <a:pt x="196746" y="393544"/>
                    <a:pt x="190422" y="411110"/>
                  </a:cubicBezTo>
                  <a:cubicBezTo>
                    <a:pt x="183395" y="429380"/>
                    <a:pt x="169342" y="443433"/>
                    <a:pt x="150370" y="444136"/>
                  </a:cubicBezTo>
                  <a:cubicBezTo>
                    <a:pt x="104697" y="446244"/>
                    <a:pt x="59024" y="444838"/>
                    <a:pt x="13351" y="444838"/>
                  </a:cubicBezTo>
                  <a:cubicBezTo>
                    <a:pt x="1405" y="444838"/>
                    <a:pt x="703" y="438514"/>
                    <a:pt x="703" y="429380"/>
                  </a:cubicBezTo>
                  <a:cubicBezTo>
                    <a:pt x="703" y="386517"/>
                    <a:pt x="703" y="343655"/>
                    <a:pt x="703" y="300792"/>
                  </a:cubicBezTo>
                  <a:cubicBezTo>
                    <a:pt x="703" y="286739"/>
                    <a:pt x="7729" y="274794"/>
                    <a:pt x="18269" y="264956"/>
                  </a:cubicBezTo>
                  <a:cubicBezTo>
                    <a:pt x="33728" y="250903"/>
                    <a:pt x="47079" y="248093"/>
                    <a:pt x="61835" y="267064"/>
                  </a:cubicBezTo>
                  <a:cubicBezTo>
                    <a:pt x="73077" y="282523"/>
                    <a:pt x="85725" y="300792"/>
                    <a:pt x="108210" y="290252"/>
                  </a:cubicBezTo>
                  <a:cubicBezTo>
                    <a:pt x="131398" y="279712"/>
                    <a:pt x="148262" y="262848"/>
                    <a:pt x="148965" y="234039"/>
                  </a:cubicBezTo>
                  <a:cubicBezTo>
                    <a:pt x="149668" y="208743"/>
                    <a:pt x="149668" y="184853"/>
                    <a:pt x="127182" y="167286"/>
                  </a:cubicBezTo>
                  <a:cubicBezTo>
                    <a:pt x="102589" y="146909"/>
                    <a:pt x="88536" y="148314"/>
                    <a:pt x="66753" y="171502"/>
                  </a:cubicBezTo>
                  <a:cubicBezTo>
                    <a:pt x="58321" y="180637"/>
                    <a:pt x="53403" y="197501"/>
                    <a:pt x="35133" y="191177"/>
                  </a:cubicBezTo>
                  <a:cubicBezTo>
                    <a:pt x="15459" y="184150"/>
                    <a:pt x="1405" y="170097"/>
                    <a:pt x="703" y="149017"/>
                  </a:cubicBezTo>
                  <a:cubicBezTo>
                    <a:pt x="-703" y="104046"/>
                    <a:pt x="703" y="59778"/>
                    <a:pt x="0" y="14808"/>
                  </a:cubicBezTo>
                  <a:cubicBezTo>
                    <a:pt x="0" y="-2759"/>
                    <a:pt x="11945" y="2160"/>
                    <a:pt x="21080" y="2160"/>
                  </a:cubicBezTo>
                  <a:cubicBezTo>
                    <a:pt x="87130" y="755"/>
                    <a:pt x="154586" y="755"/>
                    <a:pt x="222042" y="75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2A3564C6-B406-4049-AC10-460E65870078}"/>
                </a:ext>
              </a:extLst>
            </p:cNvPr>
            <p:cNvSpPr/>
            <p:nvPr/>
          </p:nvSpPr>
          <p:spPr>
            <a:xfrm flipH="1">
              <a:off x="9671317" y="1243216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0D9D5B23-2631-40D1-A6D4-70E77FEBD321}"/>
                </a:ext>
              </a:extLst>
            </p:cNvPr>
            <p:cNvSpPr/>
            <p:nvPr/>
          </p:nvSpPr>
          <p:spPr>
            <a:xfrm flipH="1">
              <a:off x="9673981" y="3039937"/>
              <a:ext cx="1026185" cy="1026186"/>
            </a:xfrm>
            <a:custGeom>
              <a:avLst/>
              <a:gdLst>
                <a:gd name="connsiteX0" fmla="*/ 527 w 590237"/>
                <a:gd name="connsiteY0" fmla="*/ 78746 h 590237"/>
                <a:gd name="connsiteX1" fmla="*/ 527 w 590237"/>
                <a:gd name="connsiteY1" fmla="*/ 21128 h 590237"/>
                <a:gd name="connsiteX2" fmla="*/ 19499 w 590237"/>
                <a:gd name="connsiteY2" fmla="*/ 751 h 590237"/>
                <a:gd name="connsiteX3" fmla="*/ 139654 w 590237"/>
                <a:gd name="connsiteY3" fmla="*/ 751 h 590237"/>
                <a:gd name="connsiteX4" fmla="*/ 181814 w 590237"/>
                <a:gd name="connsiteY4" fmla="*/ 21128 h 590237"/>
                <a:gd name="connsiteX5" fmla="*/ 179004 w 590237"/>
                <a:gd name="connsiteY5" fmla="*/ 60477 h 590237"/>
                <a:gd name="connsiteX6" fmla="*/ 153708 w 590237"/>
                <a:gd name="connsiteY6" fmla="*/ 106150 h 590237"/>
                <a:gd name="connsiteX7" fmla="*/ 211326 w 590237"/>
                <a:gd name="connsiteY7" fmla="*/ 149013 h 590237"/>
                <a:gd name="connsiteX8" fmla="*/ 278079 w 590237"/>
                <a:gd name="connsiteY8" fmla="*/ 126528 h 590237"/>
                <a:gd name="connsiteX9" fmla="*/ 274566 w 590237"/>
                <a:gd name="connsiteY9" fmla="*/ 68206 h 590237"/>
                <a:gd name="connsiteX10" fmla="*/ 254188 w 590237"/>
                <a:gd name="connsiteY10" fmla="*/ 34479 h 590237"/>
                <a:gd name="connsiteX11" fmla="*/ 301970 w 590237"/>
                <a:gd name="connsiteY11" fmla="*/ 751 h 590237"/>
                <a:gd name="connsiteX12" fmla="*/ 424936 w 590237"/>
                <a:gd name="connsiteY12" fmla="*/ 48 h 590237"/>
                <a:gd name="connsiteX13" fmla="*/ 442503 w 590237"/>
                <a:gd name="connsiteY13" fmla="*/ 19723 h 590237"/>
                <a:gd name="connsiteX14" fmla="*/ 442503 w 590237"/>
                <a:gd name="connsiteY14" fmla="*/ 134959 h 590237"/>
                <a:gd name="connsiteX15" fmla="*/ 450934 w 590237"/>
                <a:gd name="connsiteY15" fmla="*/ 165877 h 590237"/>
                <a:gd name="connsiteX16" fmla="*/ 484663 w 590237"/>
                <a:gd name="connsiteY16" fmla="*/ 167282 h 590237"/>
                <a:gd name="connsiteX17" fmla="*/ 574603 w 590237"/>
                <a:gd name="connsiteY17" fmla="*/ 167985 h 590237"/>
                <a:gd name="connsiteX18" fmla="*/ 559145 w 590237"/>
                <a:gd name="connsiteY18" fmla="*/ 292356 h 590237"/>
                <a:gd name="connsiteX19" fmla="*/ 489581 w 590237"/>
                <a:gd name="connsiteY19" fmla="*/ 286032 h 590237"/>
                <a:gd name="connsiteX20" fmla="*/ 462880 w 590237"/>
                <a:gd name="connsiteY20" fmla="*/ 269168 h 590237"/>
                <a:gd name="connsiteX21" fmla="*/ 442503 w 590237"/>
                <a:gd name="connsiteY21" fmla="*/ 305004 h 590237"/>
                <a:gd name="connsiteX22" fmla="*/ 442503 w 590237"/>
                <a:gd name="connsiteY22" fmla="*/ 406188 h 590237"/>
                <a:gd name="connsiteX23" fmla="*/ 404559 w 590237"/>
                <a:gd name="connsiteY23" fmla="*/ 442726 h 590237"/>
                <a:gd name="connsiteX24" fmla="*/ 308997 w 590237"/>
                <a:gd name="connsiteY24" fmla="*/ 442726 h 590237"/>
                <a:gd name="connsiteX25" fmla="*/ 278079 w 590237"/>
                <a:gd name="connsiteY25" fmla="*/ 451158 h 590237"/>
                <a:gd name="connsiteX26" fmla="*/ 276674 w 590237"/>
                <a:gd name="connsiteY26" fmla="*/ 483481 h 590237"/>
                <a:gd name="connsiteX27" fmla="*/ 301267 w 590237"/>
                <a:gd name="connsiteY27" fmla="*/ 541099 h 590237"/>
                <a:gd name="connsiteX28" fmla="*/ 235919 w 590237"/>
                <a:gd name="connsiteY28" fmla="*/ 590988 h 590237"/>
                <a:gd name="connsiteX29" fmla="*/ 153005 w 590237"/>
                <a:gd name="connsiteY29" fmla="*/ 560774 h 590237"/>
                <a:gd name="connsiteX30" fmla="*/ 160032 w 590237"/>
                <a:gd name="connsiteY30" fmla="*/ 489102 h 590237"/>
                <a:gd name="connsiteX31" fmla="*/ 176193 w 590237"/>
                <a:gd name="connsiteY31" fmla="*/ 465211 h 590237"/>
                <a:gd name="connsiteX32" fmla="*/ 141060 w 590237"/>
                <a:gd name="connsiteY32" fmla="*/ 443429 h 590237"/>
                <a:gd name="connsiteX33" fmla="*/ 20904 w 590237"/>
                <a:gd name="connsiteY33" fmla="*/ 444132 h 590237"/>
                <a:gd name="connsiteX34" fmla="*/ 527 w 590237"/>
                <a:gd name="connsiteY34" fmla="*/ 423052 h 590237"/>
                <a:gd name="connsiteX35" fmla="*/ 527 w 590237"/>
                <a:gd name="connsiteY35" fmla="*/ 307815 h 590237"/>
                <a:gd name="connsiteX36" fmla="*/ 14580 w 590237"/>
                <a:gd name="connsiteY36" fmla="*/ 267763 h 590237"/>
                <a:gd name="connsiteX37" fmla="*/ 61659 w 590237"/>
                <a:gd name="connsiteY37" fmla="*/ 268466 h 590237"/>
                <a:gd name="connsiteX38" fmla="*/ 103819 w 590237"/>
                <a:gd name="connsiteY38" fmla="*/ 291654 h 590237"/>
                <a:gd name="connsiteX39" fmla="*/ 147384 w 590237"/>
                <a:gd name="connsiteY39" fmla="*/ 243872 h 590237"/>
                <a:gd name="connsiteX40" fmla="*/ 123493 w 590237"/>
                <a:gd name="connsiteY40" fmla="*/ 165174 h 590237"/>
                <a:gd name="connsiteX41" fmla="*/ 67280 w 590237"/>
                <a:gd name="connsiteY41" fmla="*/ 170795 h 590237"/>
                <a:gd name="connsiteX42" fmla="*/ 32849 w 590237"/>
                <a:gd name="connsiteY42" fmla="*/ 191173 h 590237"/>
                <a:gd name="connsiteX43" fmla="*/ 527 w 590237"/>
                <a:gd name="connsiteY43" fmla="*/ 147607 h 590237"/>
                <a:gd name="connsiteX44" fmla="*/ 527 w 590237"/>
                <a:gd name="connsiteY44" fmla="*/ 111772 h 590237"/>
                <a:gd name="connsiteX45" fmla="*/ 527 w 590237"/>
                <a:gd name="connsiteY45" fmla="*/ 78746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90237">
                  <a:moveTo>
                    <a:pt x="527" y="78746"/>
                  </a:moveTo>
                  <a:cubicBezTo>
                    <a:pt x="527" y="59774"/>
                    <a:pt x="1229" y="40100"/>
                    <a:pt x="527" y="21128"/>
                  </a:cubicBezTo>
                  <a:cubicBezTo>
                    <a:pt x="-176" y="7075"/>
                    <a:pt x="2635" y="48"/>
                    <a:pt x="19499" y="751"/>
                  </a:cubicBezTo>
                  <a:cubicBezTo>
                    <a:pt x="59551" y="2156"/>
                    <a:pt x="99602" y="1453"/>
                    <a:pt x="139654" y="751"/>
                  </a:cubicBezTo>
                  <a:cubicBezTo>
                    <a:pt x="157924" y="751"/>
                    <a:pt x="171274" y="7777"/>
                    <a:pt x="181814" y="21128"/>
                  </a:cubicBezTo>
                  <a:cubicBezTo>
                    <a:pt x="193057" y="35181"/>
                    <a:pt x="195165" y="47829"/>
                    <a:pt x="179004" y="60477"/>
                  </a:cubicBezTo>
                  <a:cubicBezTo>
                    <a:pt x="164247" y="71720"/>
                    <a:pt x="144573" y="82962"/>
                    <a:pt x="153708" y="106150"/>
                  </a:cubicBezTo>
                  <a:cubicBezTo>
                    <a:pt x="163545" y="131446"/>
                    <a:pt x="181814" y="147607"/>
                    <a:pt x="211326" y="149013"/>
                  </a:cubicBezTo>
                  <a:cubicBezTo>
                    <a:pt x="236622" y="149715"/>
                    <a:pt x="260513" y="148310"/>
                    <a:pt x="278079" y="126528"/>
                  </a:cubicBezTo>
                  <a:cubicBezTo>
                    <a:pt x="297051" y="102637"/>
                    <a:pt x="296348" y="88584"/>
                    <a:pt x="274566" y="68206"/>
                  </a:cubicBezTo>
                  <a:cubicBezTo>
                    <a:pt x="264728" y="59072"/>
                    <a:pt x="246459" y="54153"/>
                    <a:pt x="254188" y="34479"/>
                  </a:cubicBezTo>
                  <a:cubicBezTo>
                    <a:pt x="262620" y="13399"/>
                    <a:pt x="278079" y="751"/>
                    <a:pt x="301970" y="751"/>
                  </a:cubicBezTo>
                  <a:cubicBezTo>
                    <a:pt x="342724" y="751"/>
                    <a:pt x="384181" y="1453"/>
                    <a:pt x="424936" y="48"/>
                  </a:cubicBezTo>
                  <a:cubicBezTo>
                    <a:pt x="441097" y="-655"/>
                    <a:pt x="442503" y="6372"/>
                    <a:pt x="442503" y="19723"/>
                  </a:cubicBezTo>
                  <a:cubicBezTo>
                    <a:pt x="441800" y="58369"/>
                    <a:pt x="442503" y="96313"/>
                    <a:pt x="442503" y="134959"/>
                  </a:cubicBezTo>
                  <a:cubicBezTo>
                    <a:pt x="442503" y="146202"/>
                    <a:pt x="443205" y="156742"/>
                    <a:pt x="450934" y="165877"/>
                  </a:cubicBezTo>
                  <a:cubicBezTo>
                    <a:pt x="461474" y="179227"/>
                    <a:pt x="470609" y="184849"/>
                    <a:pt x="484663" y="167282"/>
                  </a:cubicBezTo>
                  <a:cubicBezTo>
                    <a:pt x="513472" y="131446"/>
                    <a:pt x="545091" y="132149"/>
                    <a:pt x="574603" y="167985"/>
                  </a:cubicBezTo>
                  <a:cubicBezTo>
                    <a:pt x="604115" y="203118"/>
                    <a:pt x="595683" y="265655"/>
                    <a:pt x="559145" y="292356"/>
                  </a:cubicBezTo>
                  <a:cubicBezTo>
                    <a:pt x="531741" y="312031"/>
                    <a:pt x="512769" y="309923"/>
                    <a:pt x="489581" y="286032"/>
                  </a:cubicBezTo>
                  <a:cubicBezTo>
                    <a:pt x="482554" y="278303"/>
                    <a:pt x="479041" y="260736"/>
                    <a:pt x="462880" y="269168"/>
                  </a:cubicBezTo>
                  <a:cubicBezTo>
                    <a:pt x="449529" y="276195"/>
                    <a:pt x="442503" y="288843"/>
                    <a:pt x="442503" y="305004"/>
                  </a:cubicBezTo>
                  <a:cubicBezTo>
                    <a:pt x="442503" y="338732"/>
                    <a:pt x="442503" y="372460"/>
                    <a:pt x="442503" y="406188"/>
                  </a:cubicBezTo>
                  <a:cubicBezTo>
                    <a:pt x="442503" y="442726"/>
                    <a:pt x="442503" y="442726"/>
                    <a:pt x="404559" y="442726"/>
                  </a:cubicBezTo>
                  <a:cubicBezTo>
                    <a:pt x="372939" y="442726"/>
                    <a:pt x="340616" y="442726"/>
                    <a:pt x="308997" y="442726"/>
                  </a:cubicBezTo>
                  <a:cubicBezTo>
                    <a:pt x="297754" y="442726"/>
                    <a:pt x="287214" y="443429"/>
                    <a:pt x="278079" y="451158"/>
                  </a:cubicBezTo>
                  <a:cubicBezTo>
                    <a:pt x="266837" y="460995"/>
                    <a:pt x="259107" y="470130"/>
                    <a:pt x="276674" y="483481"/>
                  </a:cubicBezTo>
                  <a:cubicBezTo>
                    <a:pt x="295646" y="497534"/>
                    <a:pt x="312510" y="514398"/>
                    <a:pt x="301267" y="541099"/>
                  </a:cubicBezTo>
                  <a:cubicBezTo>
                    <a:pt x="289322" y="569206"/>
                    <a:pt x="268945" y="588880"/>
                    <a:pt x="235919" y="590988"/>
                  </a:cubicBezTo>
                  <a:cubicBezTo>
                    <a:pt x="203597" y="593096"/>
                    <a:pt x="174085" y="588880"/>
                    <a:pt x="153005" y="560774"/>
                  </a:cubicBezTo>
                  <a:cubicBezTo>
                    <a:pt x="132628" y="533370"/>
                    <a:pt x="134736" y="512290"/>
                    <a:pt x="160032" y="489102"/>
                  </a:cubicBezTo>
                  <a:cubicBezTo>
                    <a:pt x="167058" y="482778"/>
                    <a:pt x="183219" y="479967"/>
                    <a:pt x="176193" y="465211"/>
                  </a:cubicBezTo>
                  <a:cubicBezTo>
                    <a:pt x="169869" y="451861"/>
                    <a:pt x="157924" y="443429"/>
                    <a:pt x="141060" y="443429"/>
                  </a:cubicBezTo>
                  <a:cubicBezTo>
                    <a:pt x="101008" y="443429"/>
                    <a:pt x="60956" y="442726"/>
                    <a:pt x="20904" y="444132"/>
                  </a:cubicBezTo>
                  <a:cubicBezTo>
                    <a:pt x="3338" y="444834"/>
                    <a:pt x="-176" y="439213"/>
                    <a:pt x="527" y="423052"/>
                  </a:cubicBezTo>
                  <a:cubicBezTo>
                    <a:pt x="1932" y="385108"/>
                    <a:pt x="1229" y="346461"/>
                    <a:pt x="527" y="307815"/>
                  </a:cubicBezTo>
                  <a:cubicBezTo>
                    <a:pt x="527" y="292356"/>
                    <a:pt x="3338" y="279006"/>
                    <a:pt x="14580" y="267763"/>
                  </a:cubicBezTo>
                  <a:cubicBezTo>
                    <a:pt x="33552" y="249494"/>
                    <a:pt x="44092" y="249494"/>
                    <a:pt x="61659" y="268466"/>
                  </a:cubicBezTo>
                  <a:cubicBezTo>
                    <a:pt x="72901" y="281114"/>
                    <a:pt x="82739" y="297978"/>
                    <a:pt x="103819" y="291654"/>
                  </a:cubicBezTo>
                  <a:cubicBezTo>
                    <a:pt x="126304" y="283924"/>
                    <a:pt x="143168" y="269168"/>
                    <a:pt x="147384" y="243872"/>
                  </a:cubicBezTo>
                  <a:cubicBezTo>
                    <a:pt x="153005" y="213658"/>
                    <a:pt x="150897" y="185551"/>
                    <a:pt x="123493" y="165174"/>
                  </a:cubicBezTo>
                  <a:cubicBezTo>
                    <a:pt x="101008" y="147607"/>
                    <a:pt x="86954" y="149013"/>
                    <a:pt x="67280" y="170795"/>
                  </a:cubicBezTo>
                  <a:cubicBezTo>
                    <a:pt x="58145" y="181335"/>
                    <a:pt x="51821" y="198902"/>
                    <a:pt x="32849" y="191173"/>
                  </a:cubicBezTo>
                  <a:cubicBezTo>
                    <a:pt x="13878" y="183443"/>
                    <a:pt x="1932" y="168687"/>
                    <a:pt x="527" y="147607"/>
                  </a:cubicBezTo>
                  <a:cubicBezTo>
                    <a:pt x="-176" y="135662"/>
                    <a:pt x="527" y="123717"/>
                    <a:pt x="527" y="111772"/>
                  </a:cubicBezTo>
                  <a:cubicBezTo>
                    <a:pt x="-176" y="100529"/>
                    <a:pt x="-176" y="89989"/>
                    <a:pt x="527" y="787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BFF03ACA-9046-412B-B65B-A721B010E1EA}"/>
                </a:ext>
              </a:extLst>
            </p:cNvPr>
            <p:cNvSpPr/>
            <p:nvPr/>
          </p:nvSpPr>
          <p:spPr>
            <a:xfrm flipH="1">
              <a:off x="9674739" y="5080001"/>
              <a:ext cx="1026185" cy="1013970"/>
            </a:xfrm>
            <a:custGeom>
              <a:avLst/>
              <a:gdLst>
                <a:gd name="connsiteX0" fmla="*/ 710 w 590237"/>
                <a:gd name="connsiteY0" fmla="*/ 508487 h 583211"/>
                <a:gd name="connsiteX1" fmla="*/ 710 w 590237"/>
                <a:gd name="connsiteY1" fmla="*/ 448058 h 583211"/>
                <a:gd name="connsiteX2" fmla="*/ 16168 w 590237"/>
                <a:gd name="connsiteY2" fmla="*/ 411520 h 583211"/>
                <a:gd name="connsiteX3" fmla="*/ 61841 w 590237"/>
                <a:gd name="connsiteY3" fmla="*/ 413628 h 583211"/>
                <a:gd name="connsiteX4" fmla="*/ 103298 w 590237"/>
                <a:gd name="connsiteY4" fmla="*/ 437518 h 583211"/>
                <a:gd name="connsiteX5" fmla="*/ 146864 w 590237"/>
                <a:gd name="connsiteY5" fmla="*/ 389737 h 583211"/>
                <a:gd name="connsiteX6" fmla="*/ 125081 w 590237"/>
                <a:gd name="connsiteY6" fmla="*/ 312444 h 583211"/>
                <a:gd name="connsiteX7" fmla="*/ 66760 w 590237"/>
                <a:gd name="connsiteY7" fmla="*/ 316660 h 583211"/>
                <a:gd name="connsiteX8" fmla="*/ 33032 w 590237"/>
                <a:gd name="connsiteY8" fmla="*/ 336335 h 583211"/>
                <a:gd name="connsiteX9" fmla="*/ 710 w 590237"/>
                <a:gd name="connsiteY9" fmla="*/ 290661 h 583211"/>
                <a:gd name="connsiteX10" fmla="*/ 710 w 590237"/>
                <a:gd name="connsiteY10" fmla="*/ 164884 h 583211"/>
                <a:gd name="connsiteX11" fmla="*/ 17574 w 590237"/>
                <a:gd name="connsiteY11" fmla="*/ 148021 h 583211"/>
                <a:gd name="connsiteX12" fmla="*/ 135621 w 590237"/>
                <a:gd name="connsiteY12" fmla="*/ 148723 h 583211"/>
                <a:gd name="connsiteX13" fmla="*/ 165836 w 590237"/>
                <a:gd name="connsiteY13" fmla="*/ 139589 h 583211"/>
                <a:gd name="connsiteX14" fmla="*/ 167241 w 590237"/>
                <a:gd name="connsiteY14" fmla="*/ 107969 h 583211"/>
                <a:gd name="connsiteX15" fmla="*/ 141242 w 590237"/>
                <a:gd name="connsiteY15" fmla="*/ 52458 h 583211"/>
                <a:gd name="connsiteX16" fmla="*/ 203077 w 590237"/>
                <a:gd name="connsiteY16" fmla="*/ 1164 h 583211"/>
                <a:gd name="connsiteX17" fmla="*/ 293018 w 590237"/>
                <a:gd name="connsiteY17" fmla="*/ 32784 h 583211"/>
                <a:gd name="connsiteX18" fmla="*/ 286694 w 590237"/>
                <a:gd name="connsiteY18" fmla="*/ 100239 h 583211"/>
                <a:gd name="connsiteX19" fmla="*/ 268424 w 590237"/>
                <a:gd name="connsiteY19" fmla="*/ 126238 h 583211"/>
                <a:gd name="connsiteX20" fmla="*/ 306368 w 590237"/>
                <a:gd name="connsiteY20" fmla="*/ 148021 h 583211"/>
                <a:gd name="connsiteX21" fmla="*/ 421605 w 590237"/>
                <a:gd name="connsiteY21" fmla="*/ 147318 h 583211"/>
                <a:gd name="connsiteX22" fmla="*/ 443388 w 590237"/>
                <a:gd name="connsiteY22" fmla="*/ 169803 h 583211"/>
                <a:gd name="connsiteX23" fmla="*/ 442685 w 590237"/>
                <a:gd name="connsiteY23" fmla="*/ 282229 h 583211"/>
                <a:gd name="connsiteX24" fmla="*/ 453928 w 590237"/>
                <a:gd name="connsiteY24" fmla="*/ 314552 h 583211"/>
                <a:gd name="connsiteX25" fmla="*/ 482737 w 590237"/>
                <a:gd name="connsiteY25" fmla="*/ 314552 h 583211"/>
                <a:gd name="connsiteX26" fmla="*/ 539653 w 590237"/>
                <a:gd name="connsiteY26" fmla="*/ 288554 h 583211"/>
                <a:gd name="connsiteX27" fmla="*/ 590947 w 590237"/>
                <a:gd name="connsiteY27" fmla="*/ 353198 h 583211"/>
                <a:gd name="connsiteX28" fmla="*/ 560030 w 590237"/>
                <a:gd name="connsiteY28" fmla="*/ 438221 h 583211"/>
                <a:gd name="connsiteX29" fmla="*/ 489763 w 590237"/>
                <a:gd name="connsiteY29" fmla="*/ 431897 h 583211"/>
                <a:gd name="connsiteX30" fmla="*/ 465873 w 590237"/>
                <a:gd name="connsiteY30" fmla="*/ 414330 h 583211"/>
                <a:gd name="connsiteX31" fmla="*/ 441982 w 590237"/>
                <a:gd name="connsiteY31" fmla="*/ 450869 h 583211"/>
                <a:gd name="connsiteX32" fmla="*/ 442685 w 590237"/>
                <a:gd name="connsiteY32" fmla="*/ 568214 h 583211"/>
                <a:gd name="connsiteX33" fmla="*/ 419497 w 590237"/>
                <a:gd name="connsiteY33" fmla="*/ 589996 h 583211"/>
                <a:gd name="connsiteX34" fmla="*/ 307071 w 590237"/>
                <a:gd name="connsiteY34" fmla="*/ 589996 h 583211"/>
                <a:gd name="connsiteX35" fmla="*/ 263506 w 590237"/>
                <a:gd name="connsiteY35" fmla="*/ 572430 h 583211"/>
                <a:gd name="connsiteX36" fmla="*/ 266316 w 590237"/>
                <a:gd name="connsiteY36" fmla="*/ 528864 h 583211"/>
                <a:gd name="connsiteX37" fmla="*/ 289504 w 590237"/>
                <a:gd name="connsiteY37" fmla="*/ 485299 h 583211"/>
                <a:gd name="connsiteX38" fmla="*/ 237507 w 590237"/>
                <a:gd name="connsiteY38" fmla="*/ 442437 h 583211"/>
                <a:gd name="connsiteX39" fmla="*/ 167241 w 590237"/>
                <a:gd name="connsiteY39" fmla="*/ 462111 h 583211"/>
                <a:gd name="connsiteX40" fmla="*/ 170051 w 590237"/>
                <a:gd name="connsiteY40" fmla="*/ 523946 h 583211"/>
                <a:gd name="connsiteX41" fmla="*/ 189023 w 590237"/>
                <a:gd name="connsiteY41" fmla="*/ 555566 h 583211"/>
                <a:gd name="connsiteX42" fmla="*/ 148971 w 590237"/>
                <a:gd name="connsiteY42" fmla="*/ 587888 h 583211"/>
                <a:gd name="connsiteX43" fmla="*/ 11952 w 590237"/>
                <a:gd name="connsiteY43" fmla="*/ 589294 h 583211"/>
                <a:gd name="connsiteX44" fmla="*/ 7 w 590237"/>
                <a:gd name="connsiteY44" fmla="*/ 573132 h 583211"/>
                <a:gd name="connsiteX45" fmla="*/ 710 w 590237"/>
                <a:gd name="connsiteY45" fmla="*/ 508487 h 58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83211">
                  <a:moveTo>
                    <a:pt x="710" y="508487"/>
                  </a:moveTo>
                  <a:cubicBezTo>
                    <a:pt x="710" y="488110"/>
                    <a:pt x="1412" y="468435"/>
                    <a:pt x="710" y="448058"/>
                  </a:cubicBezTo>
                  <a:cubicBezTo>
                    <a:pt x="7" y="433302"/>
                    <a:pt x="5628" y="421357"/>
                    <a:pt x="16168" y="411520"/>
                  </a:cubicBezTo>
                  <a:cubicBezTo>
                    <a:pt x="32329" y="396764"/>
                    <a:pt x="47085" y="393250"/>
                    <a:pt x="61841" y="413628"/>
                  </a:cubicBezTo>
                  <a:cubicBezTo>
                    <a:pt x="71678" y="427681"/>
                    <a:pt x="83624" y="444545"/>
                    <a:pt x="103298" y="437518"/>
                  </a:cubicBezTo>
                  <a:cubicBezTo>
                    <a:pt x="125081" y="429789"/>
                    <a:pt x="142648" y="415033"/>
                    <a:pt x="146864" y="389737"/>
                  </a:cubicBezTo>
                  <a:cubicBezTo>
                    <a:pt x="151782" y="360928"/>
                    <a:pt x="150377" y="333524"/>
                    <a:pt x="125081" y="312444"/>
                  </a:cubicBezTo>
                  <a:cubicBezTo>
                    <a:pt x="101893" y="293472"/>
                    <a:pt x="87840" y="294877"/>
                    <a:pt x="66760" y="316660"/>
                  </a:cubicBezTo>
                  <a:cubicBezTo>
                    <a:pt x="57625" y="325795"/>
                    <a:pt x="53409" y="345469"/>
                    <a:pt x="33032" y="336335"/>
                  </a:cubicBezTo>
                  <a:cubicBezTo>
                    <a:pt x="13357" y="327903"/>
                    <a:pt x="710" y="313849"/>
                    <a:pt x="710" y="290661"/>
                  </a:cubicBezTo>
                  <a:cubicBezTo>
                    <a:pt x="710" y="248502"/>
                    <a:pt x="1412" y="207044"/>
                    <a:pt x="710" y="164884"/>
                  </a:cubicBezTo>
                  <a:cubicBezTo>
                    <a:pt x="710" y="151534"/>
                    <a:pt x="4223" y="148021"/>
                    <a:pt x="17574" y="148021"/>
                  </a:cubicBezTo>
                  <a:cubicBezTo>
                    <a:pt x="56923" y="148723"/>
                    <a:pt x="96272" y="148021"/>
                    <a:pt x="135621" y="148723"/>
                  </a:cubicBezTo>
                  <a:cubicBezTo>
                    <a:pt x="146864" y="148723"/>
                    <a:pt x="157404" y="147318"/>
                    <a:pt x="165836" y="139589"/>
                  </a:cubicBezTo>
                  <a:cubicBezTo>
                    <a:pt x="177781" y="129049"/>
                    <a:pt x="184808" y="119914"/>
                    <a:pt x="167241" y="107969"/>
                  </a:cubicBezTo>
                  <a:cubicBezTo>
                    <a:pt x="148269" y="95321"/>
                    <a:pt x="134216" y="77754"/>
                    <a:pt x="141242" y="52458"/>
                  </a:cubicBezTo>
                  <a:cubicBezTo>
                    <a:pt x="147566" y="27865"/>
                    <a:pt x="177078" y="3974"/>
                    <a:pt x="203077" y="1164"/>
                  </a:cubicBezTo>
                  <a:cubicBezTo>
                    <a:pt x="238210" y="-2349"/>
                    <a:pt x="270533" y="461"/>
                    <a:pt x="293018" y="32784"/>
                  </a:cubicBezTo>
                  <a:cubicBezTo>
                    <a:pt x="311287" y="58782"/>
                    <a:pt x="308476" y="78457"/>
                    <a:pt x="286694" y="100239"/>
                  </a:cubicBezTo>
                  <a:cubicBezTo>
                    <a:pt x="279667" y="107969"/>
                    <a:pt x="261398" y="110779"/>
                    <a:pt x="268424" y="126238"/>
                  </a:cubicBezTo>
                  <a:cubicBezTo>
                    <a:pt x="275451" y="140994"/>
                    <a:pt x="288802" y="148021"/>
                    <a:pt x="306368" y="148021"/>
                  </a:cubicBezTo>
                  <a:cubicBezTo>
                    <a:pt x="345015" y="147318"/>
                    <a:pt x="382959" y="148723"/>
                    <a:pt x="421605" y="147318"/>
                  </a:cubicBezTo>
                  <a:cubicBezTo>
                    <a:pt x="440577" y="146615"/>
                    <a:pt x="444090" y="152939"/>
                    <a:pt x="443388" y="169803"/>
                  </a:cubicBezTo>
                  <a:cubicBezTo>
                    <a:pt x="441982" y="207044"/>
                    <a:pt x="443388" y="244285"/>
                    <a:pt x="442685" y="282229"/>
                  </a:cubicBezTo>
                  <a:cubicBezTo>
                    <a:pt x="442685" y="294877"/>
                    <a:pt x="445496" y="305417"/>
                    <a:pt x="453928" y="314552"/>
                  </a:cubicBezTo>
                  <a:cubicBezTo>
                    <a:pt x="463765" y="324389"/>
                    <a:pt x="472197" y="328605"/>
                    <a:pt x="482737" y="314552"/>
                  </a:cubicBezTo>
                  <a:cubicBezTo>
                    <a:pt x="496790" y="295580"/>
                    <a:pt x="512952" y="278014"/>
                    <a:pt x="539653" y="288554"/>
                  </a:cubicBezTo>
                  <a:cubicBezTo>
                    <a:pt x="568462" y="299796"/>
                    <a:pt x="588136" y="320173"/>
                    <a:pt x="590947" y="353198"/>
                  </a:cubicBezTo>
                  <a:cubicBezTo>
                    <a:pt x="593758" y="386927"/>
                    <a:pt x="589542" y="416438"/>
                    <a:pt x="560030" y="438221"/>
                  </a:cubicBezTo>
                  <a:cubicBezTo>
                    <a:pt x="534032" y="457193"/>
                    <a:pt x="512952" y="455085"/>
                    <a:pt x="489763" y="431897"/>
                  </a:cubicBezTo>
                  <a:cubicBezTo>
                    <a:pt x="482737" y="424870"/>
                    <a:pt x="479224" y="408709"/>
                    <a:pt x="465873" y="414330"/>
                  </a:cubicBezTo>
                  <a:cubicBezTo>
                    <a:pt x="451117" y="420654"/>
                    <a:pt x="441982" y="433302"/>
                    <a:pt x="441982" y="450869"/>
                  </a:cubicBezTo>
                  <a:cubicBezTo>
                    <a:pt x="441982" y="490218"/>
                    <a:pt x="440577" y="529567"/>
                    <a:pt x="442685" y="568214"/>
                  </a:cubicBezTo>
                  <a:cubicBezTo>
                    <a:pt x="443388" y="587186"/>
                    <a:pt x="437064" y="590699"/>
                    <a:pt x="419497" y="589996"/>
                  </a:cubicBezTo>
                  <a:cubicBezTo>
                    <a:pt x="382256" y="588591"/>
                    <a:pt x="345015" y="589294"/>
                    <a:pt x="307071" y="589996"/>
                  </a:cubicBezTo>
                  <a:cubicBezTo>
                    <a:pt x="289504" y="589996"/>
                    <a:pt x="274748" y="586483"/>
                    <a:pt x="263506" y="572430"/>
                  </a:cubicBezTo>
                  <a:cubicBezTo>
                    <a:pt x="250155" y="556971"/>
                    <a:pt x="247344" y="543621"/>
                    <a:pt x="266316" y="528864"/>
                  </a:cubicBezTo>
                  <a:cubicBezTo>
                    <a:pt x="280370" y="518324"/>
                    <a:pt x="297936" y="507082"/>
                    <a:pt x="289504" y="485299"/>
                  </a:cubicBezTo>
                  <a:cubicBezTo>
                    <a:pt x="280370" y="462111"/>
                    <a:pt x="264911" y="445248"/>
                    <a:pt x="237507" y="442437"/>
                  </a:cubicBezTo>
                  <a:cubicBezTo>
                    <a:pt x="211509" y="439626"/>
                    <a:pt x="186915" y="440329"/>
                    <a:pt x="167241" y="462111"/>
                  </a:cubicBezTo>
                  <a:cubicBezTo>
                    <a:pt x="144756" y="487407"/>
                    <a:pt x="145458" y="502163"/>
                    <a:pt x="170051" y="523946"/>
                  </a:cubicBezTo>
                  <a:cubicBezTo>
                    <a:pt x="179186" y="532378"/>
                    <a:pt x="196050" y="537296"/>
                    <a:pt x="189023" y="555566"/>
                  </a:cubicBezTo>
                  <a:cubicBezTo>
                    <a:pt x="181997" y="573835"/>
                    <a:pt x="168646" y="587186"/>
                    <a:pt x="148971" y="587888"/>
                  </a:cubicBezTo>
                  <a:cubicBezTo>
                    <a:pt x="103298" y="589294"/>
                    <a:pt x="57625" y="588591"/>
                    <a:pt x="11952" y="589294"/>
                  </a:cubicBezTo>
                  <a:cubicBezTo>
                    <a:pt x="-696" y="589294"/>
                    <a:pt x="7" y="581564"/>
                    <a:pt x="7" y="573132"/>
                  </a:cubicBezTo>
                  <a:cubicBezTo>
                    <a:pt x="1412" y="552053"/>
                    <a:pt x="1412" y="530270"/>
                    <a:pt x="710" y="50848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963C4302-B9AF-4AE5-960C-0F144FF8171B}"/>
                </a:ext>
              </a:extLst>
            </p:cNvPr>
            <p:cNvSpPr/>
            <p:nvPr/>
          </p:nvSpPr>
          <p:spPr>
            <a:xfrm>
              <a:off x="10440107" y="4570484"/>
              <a:ext cx="1282731" cy="769640"/>
            </a:xfrm>
            <a:custGeom>
              <a:avLst/>
              <a:gdLst>
                <a:gd name="connsiteX0" fmla="*/ 220814 w 737797"/>
                <a:gd name="connsiteY0" fmla="*/ 442759 h 442678"/>
                <a:gd name="connsiteX1" fmla="*/ 153359 w 737797"/>
                <a:gd name="connsiteY1" fmla="*/ 437841 h 442678"/>
                <a:gd name="connsiteX2" fmla="*/ 149143 w 737797"/>
                <a:gd name="connsiteY2" fmla="*/ 366169 h 442678"/>
                <a:gd name="connsiteX3" fmla="*/ 149143 w 737797"/>
                <a:gd name="connsiteY3" fmla="*/ 302929 h 442678"/>
                <a:gd name="connsiteX4" fmla="*/ 127360 w 737797"/>
                <a:gd name="connsiteY4" fmla="*/ 267796 h 442678"/>
                <a:gd name="connsiteX5" fmla="*/ 103470 w 737797"/>
                <a:gd name="connsiteY5" fmla="*/ 283957 h 442678"/>
                <a:gd name="connsiteX6" fmla="*/ 31095 w 737797"/>
                <a:gd name="connsiteY6" fmla="*/ 290984 h 442678"/>
                <a:gd name="connsiteX7" fmla="*/ 28987 w 737797"/>
                <a:gd name="connsiteY7" fmla="*/ 153965 h 442678"/>
                <a:gd name="connsiteX8" fmla="*/ 102767 w 737797"/>
                <a:gd name="connsiteY8" fmla="*/ 160288 h 442678"/>
                <a:gd name="connsiteX9" fmla="*/ 127360 w 737797"/>
                <a:gd name="connsiteY9" fmla="*/ 175747 h 442678"/>
                <a:gd name="connsiteX10" fmla="*/ 148440 w 737797"/>
                <a:gd name="connsiteY10" fmla="*/ 142722 h 442678"/>
                <a:gd name="connsiteX11" fmla="*/ 147738 w 737797"/>
                <a:gd name="connsiteY11" fmla="*/ 24674 h 442678"/>
                <a:gd name="connsiteX12" fmla="*/ 173736 w 737797"/>
                <a:gd name="connsiteY12" fmla="*/ 81 h 442678"/>
                <a:gd name="connsiteX13" fmla="*/ 288973 w 737797"/>
                <a:gd name="connsiteY13" fmla="*/ 81 h 442678"/>
                <a:gd name="connsiteX14" fmla="*/ 325511 w 737797"/>
                <a:gd name="connsiteY14" fmla="*/ 14134 h 442678"/>
                <a:gd name="connsiteX15" fmla="*/ 323404 w 737797"/>
                <a:gd name="connsiteY15" fmla="*/ 60510 h 442678"/>
                <a:gd name="connsiteX16" fmla="*/ 300918 w 737797"/>
                <a:gd name="connsiteY16" fmla="*/ 100562 h 442678"/>
                <a:gd name="connsiteX17" fmla="*/ 342376 w 737797"/>
                <a:gd name="connsiteY17" fmla="*/ 144127 h 442678"/>
                <a:gd name="connsiteX18" fmla="*/ 425290 w 737797"/>
                <a:gd name="connsiteY18" fmla="*/ 125155 h 442678"/>
                <a:gd name="connsiteX19" fmla="*/ 421074 w 737797"/>
                <a:gd name="connsiteY19" fmla="*/ 64726 h 442678"/>
                <a:gd name="connsiteX20" fmla="*/ 401399 w 737797"/>
                <a:gd name="connsiteY20" fmla="*/ 33106 h 442678"/>
                <a:gd name="connsiteX21" fmla="*/ 441451 w 737797"/>
                <a:gd name="connsiteY21" fmla="*/ 783 h 442678"/>
                <a:gd name="connsiteX22" fmla="*/ 578470 w 737797"/>
                <a:gd name="connsiteY22" fmla="*/ 81 h 442678"/>
                <a:gd name="connsiteX23" fmla="*/ 591821 w 737797"/>
                <a:gd name="connsiteY23" fmla="*/ 17648 h 442678"/>
                <a:gd name="connsiteX24" fmla="*/ 591821 w 737797"/>
                <a:gd name="connsiteY24" fmla="*/ 135695 h 442678"/>
                <a:gd name="connsiteX25" fmla="*/ 602361 w 737797"/>
                <a:gd name="connsiteY25" fmla="*/ 168018 h 442678"/>
                <a:gd name="connsiteX26" fmla="*/ 631170 w 737797"/>
                <a:gd name="connsiteY26" fmla="*/ 166612 h 442678"/>
                <a:gd name="connsiteX27" fmla="*/ 683168 w 737797"/>
                <a:gd name="connsiteY27" fmla="*/ 139208 h 442678"/>
                <a:gd name="connsiteX28" fmla="*/ 737975 w 737797"/>
                <a:gd name="connsiteY28" fmla="*/ 194719 h 442678"/>
                <a:gd name="connsiteX29" fmla="*/ 711977 w 737797"/>
                <a:gd name="connsiteY29" fmla="*/ 286768 h 442678"/>
                <a:gd name="connsiteX30" fmla="*/ 636089 w 737797"/>
                <a:gd name="connsiteY30" fmla="*/ 281849 h 442678"/>
                <a:gd name="connsiteX31" fmla="*/ 614306 w 737797"/>
                <a:gd name="connsiteY31" fmla="*/ 266391 h 442678"/>
                <a:gd name="connsiteX32" fmla="*/ 592524 w 737797"/>
                <a:gd name="connsiteY32" fmla="*/ 298011 h 442678"/>
                <a:gd name="connsiteX33" fmla="*/ 593226 w 737797"/>
                <a:gd name="connsiteY33" fmla="*/ 418166 h 442678"/>
                <a:gd name="connsiteX34" fmla="*/ 571444 w 737797"/>
                <a:gd name="connsiteY34" fmla="*/ 441354 h 442678"/>
                <a:gd name="connsiteX35" fmla="*/ 453396 w 737797"/>
                <a:gd name="connsiteY35" fmla="*/ 441354 h 442678"/>
                <a:gd name="connsiteX36" fmla="*/ 411939 w 737797"/>
                <a:gd name="connsiteY36" fmla="*/ 424490 h 442678"/>
                <a:gd name="connsiteX37" fmla="*/ 415452 w 737797"/>
                <a:gd name="connsiteY37" fmla="*/ 380925 h 442678"/>
                <a:gd name="connsiteX38" fmla="*/ 439343 w 737797"/>
                <a:gd name="connsiteY38" fmla="*/ 338765 h 442678"/>
                <a:gd name="connsiteX39" fmla="*/ 394372 w 737797"/>
                <a:gd name="connsiteY39" fmla="*/ 295902 h 442678"/>
                <a:gd name="connsiteX40" fmla="*/ 318485 w 737797"/>
                <a:gd name="connsiteY40" fmla="*/ 312766 h 442678"/>
                <a:gd name="connsiteX41" fmla="*/ 320593 w 737797"/>
                <a:gd name="connsiteY41" fmla="*/ 377412 h 442678"/>
                <a:gd name="connsiteX42" fmla="*/ 338862 w 737797"/>
                <a:gd name="connsiteY42" fmla="*/ 409032 h 442678"/>
                <a:gd name="connsiteX43" fmla="*/ 298107 w 737797"/>
                <a:gd name="connsiteY43" fmla="*/ 440651 h 442678"/>
                <a:gd name="connsiteX44" fmla="*/ 220814 w 737797"/>
                <a:gd name="connsiteY44" fmla="*/ 44275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37797" h="442678">
                  <a:moveTo>
                    <a:pt x="220814" y="442759"/>
                  </a:moveTo>
                  <a:cubicBezTo>
                    <a:pt x="201140" y="440651"/>
                    <a:pt x="167412" y="454002"/>
                    <a:pt x="153359" y="437841"/>
                  </a:cubicBezTo>
                  <a:cubicBezTo>
                    <a:pt x="140711" y="423787"/>
                    <a:pt x="149845" y="390762"/>
                    <a:pt x="149143" y="366169"/>
                  </a:cubicBezTo>
                  <a:cubicBezTo>
                    <a:pt x="149143" y="345089"/>
                    <a:pt x="148440" y="324009"/>
                    <a:pt x="149143" y="302929"/>
                  </a:cubicBezTo>
                  <a:cubicBezTo>
                    <a:pt x="149845" y="286065"/>
                    <a:pt x="141413" y="274120"/>
                    <a:pt x="127360" y="267796"/>
                  </a:cubicBezTo>
                  <a:cubicBezTo>
                    <a:pt x="112604" y="260769"/>
                    <a:pt x="109794" y="276931"/>
                    <a:pt x="103470" y="283957"/>
                  </a:cubicBezTo>
                  <a:cubicBezTo>
                    <a:pt x="79579" y="309253"/>
                    <a:pt x="59905" y="309956"/>
                    <a:pt x="31095" y="290984"/>
                  </a:cubicBezTo>
                  <a:cubicBezTo>
                    <a:pt x="-10362" y="263580"/>
                    <a:pt x="-9659" y="181368"/>
                    <a:pt x="28987" y="153965"/>
                  </a:cubicBezTo>
                  <a:cubicBezTo>
                    <a:pt x="58499" y="133587"/>
                    <a:pt x="78174" y="133587"/>
                    <a:pt x="102767" y="160288"/>
                  </a:cubicBezTo>
                  <a:cubicBezTo>
                    <a:pt x="109091" y="167315"/>
                    <a:pt x="112604" y="183476"/>
                    <a:pt x="127360" y="175747"/>
                  </a:cubicBezTo>
                  <a:cubicBezTo>
                    <a:pt x="140008" y="169423"/>
                    <a:pt x="148440" y="158883"/>
                    <a:pt x="148440" y="142722"/>
                  </a:cubicBezTo>
                  <a:cubicBezTo>
                    <a:pt x="148440" y="103373"/>
                    <a:pt x="149845" y="64023"/>
                    <a:pt x="147738" y="24674"/>
                  </a:cubicBezTo>
                  <a:cubicBezTo>
                    <a:pt x="146332" y="2892"/>
                    <a:pt x="154061" y="-621"/>
                    <a:pt x="173736" y="81"/>
                  </a:cubicBezTo>
                  <a:cubicBezTo>
                    <a:pt x="211680" y="1486"/>
                    <a:pt x="250326" y="783"/>
                    <a:pt x="288973" y="81"/>
                  </a:cubicBezTo>
                  <a:cubicBezTo>
                    <a:pt x="303729" y="81"/>
                    <a:pt x="315674" y="3594"/>
                    <a:pt x="325511" y="14134"/>
                  </a:cubicBezTo>
                  <a:cubicBezTo>
                    <a:pt x="343781" y="33106"/>
                    <a:pt x="343781" y="42943"/>
                    <a:pt x="323404" y="60510"/>
                  </a:cubicBezTo>
                  <a:cubicBezTo>
                    <a:pt x="310756" y="71050"/>
                    <a:pt x="295999" y="80887"/>
                    <a:pt x="300918" y="100562"/>
                  </a:cubicBezTo>
                  <a:cubicBezTo>
                    <a:pt x="306539" y="122345"/>
                    <a:pt x="320593" y="137803"/>
                    <a:pt x="342376" y="144127"/>
                  </a:cubicBezTo>
                  <a:cubicBezTo>
                    <a:pt x="373292" y="152559"/>
                    <a:pt x="402102" y="151154"/>
                    <a:pt x="425290" y="125155"/>
                  </a:cubicBezTo>
                  <a:cubicBezTo>
                    <a:pt x="446370" y="101967"/>
                    <a:pt x="444964" y="85103"/>
                    <a:pt x="421074" y="64726"/>
                  </a:cubicBezTo>
                  <a:cubicBezTo>
                    <a:pt x="411237" y="56294"/>
                    <a:pt x="395075" y="49970"/>
                    <a:pt x="401399" y="33106"/>
                  </a:cubicBezTo>
                  <a:cubicBezTo>
                    <a:pt x="408426" y="14837"/>
                    <a:pt x="421074" y="783"/>
                    <a:pt x="441451" y="783"/>
                  </a:cubicBezTo>
                  <a:cubicBezTo>
                    <a:pt x="487124" y="81"/>
                    <a:pt x="532797" y="783"/>
                    <a:pt x="578470" y="81"/>
                  </a:cubicBezTo>
                  <a:cubicBezTo>
                    <a:pt x="592524" y="81"/>
                    <a:pt x="591821" y="8513"/>
                    <a:pt x="591821" y="17648"/>
                  </a:cubicBezTo>
                  <a:cubicBezTo>
                    <a:pt x="591821" y="56997"/>
                    <a:pt x="591821" y="96346"/>
                    <a:pt x="591821" y="135695"/>
                  </a:cubicBezTo>
                  <a:cubicBezTo>
                    <a:pt x="591821" y="147640"/>
                    <a:pt x="592524" y="158883"/>
                    <a:pt x="602361" y="168018"/>
                  </a:cubicBezTo>
                  <a:cubicBezTo>
                    <a:pt x="612901" y="177855"/>
                    <a:pt x="621333" y="180666"/>
                    <a:pt x="631170" y="166612"/>
                  </a:cubicBezTo>
                  <a:cubicBezTo>
                    <a:pt x="643818" y="149046"/>
                    <a:pt x="659277" y="132182"/>
                    <a:pt x="683168" y="139208"/>
                  </a:cubicBezTo>
                  <a:cubicBezTo>
                    <a:pt x="710571" y="146938"/>
                    <a:pt x="731651" y="165207"/>
                    <a:pt x="737975" y="194719"/>
                  </a:cubicBezTo>
                  <a:cubicBezTo>
                    <a:pt x="745002" y="229149"/>
                    <a:pt x="742191" y="261472"/>
                    <a:pt x="711977" y="286768"/>
                  </a:cubicBezTo>
                  <a:cubicBezTo>
                    <a:pt x="683168" y="309956"/>
                    <a:pt x="660682" y="308551"/>
                    <a:pt x="636089" y="281849"/>
                  </a:cubicBezTo>
                  <a:cubicBezTo>
                    <a:pt x="629765" y="275525"/>
                    <a:pt x="626954" y="260769"/>
                    <a:pt x="614306" y="266391"/>
                  </a:cubicBezTo>
                  <a:cubicBezTo>
                    <a:pt x="601658" y="272012"/>
                    <a:pt x="592524" y="282552"/>
                    <a:pt x="592524" y="298011"/>
                  </a:cubicBezTo>
                  <a:cubicBezTo>
                    <a:pt x="592524" y="338062"/>
                    <a:pt x="591821" y="378114"/>
                    <a:pt x="593226" y="418166"/>
                  </a:cubicBezTo>
                  <a:cubicBezTo>
                    <a:pt x="593929" y="435030"/>
                    <a:pt x="590416" y="442057"/>
                    <a:pt x="571444" y="441354"/>
                  </a:cubicBezTo>
                  <a:cubicBezTo>
                    <a:pt x="532095" y="439948"/>
                    <a:pt x="492745" y="440651"/>
                    <a:pt x="453396" y="441354"/>
                  </a:cubicBezTo>
                  <a:cubicBezTo>
                    <a:pt x="436532" y="441354"/>
                    <a:pt x="423182" y="437138"/>
                    <a:pt x="411939" y="424490"/>
                  </a:cubicBezTo>
                  <a:cubicBezTo>
                    <a:pt x="397886" y="408329"/>
                    <a:pt x="396480" y="394275"/>
                    <a:pt x="415452" y="380925"/>
                  </a:cubicBezTo>
                  <a:cubicBezTo>
                    <a:pt x="429506" y="371087"/>
                    <a:pt x="445667" y="359142"/>
                    <a:pt x="439343" y="338765"/>
                  </a:cubicBezTo>
                  <a:cubicBezTo>
                    <a:pt x="432316" y="316982"/>
                    <a:pt x="417560" y="301524"/>
                    <a:pt x="394372" y="295902"/>
                  </a:cubicBezTo>
                  <a:cubicBezTo>
                    <a:pt x="366266" y="289579"/>
                    <a:pt x="340267" y="290984"/>
                    <a:pt x="318485" y="312766"/>
                  </a:cubicBezTo>
                  <a:cubicBezTo>
                    <a:pt x="294594" y="336657"/>
                    <a:pt x="295999" y="354224"/>
                    <a:pt x="320593" y="377412"/>
                  </a:cubicBezTo>
                  <a:cubicBezTo>
                    <a:pt x="329727" y="385844"/>
                    <a:pt x="347294" y="390060"/>
                    <a:pt x="338862" y="409032"/>
                  </a:cubicBezTo>
                  <a:cubicBezTo>
                    <a:pt x="330430" y="426598"/>
                    <a:pt x="319187" y="439948"/>
                    <a:pt x="298107" y="440651"/>
                  </a:cubicBezTo>
                  <a:cubicBezTo>
                    <a:pt x="274217" y="443462"/>
                    <a:pt x="250326" y="442759"/>
                    <a:pt x="220814" y="44275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2C38E2D1-91F4-4E51-82A2-50B899C3D6A8}"/>
                </a:ext>
              </a:extLst>
            </p:cNvPr>
            <p:cNvSpPr/>
            <p:nvPr/>
          </p:nvSpPr>
          <p:spPr>
            <a:xfrm flipH="1">
              <a:off x="10427883" y="2789016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D5C322F3-BE23-4D49-8B11-B4DECA7FC6DF}"/>
                </a:ext>
              </a:extLst>
            </p:cNvPr>
            <p:cNvSpPr/>
            <p:nvPr/>
          </p:nvSpPr>
          <p:spPr>
            <a:xfrm flipH="1">
              <a:off x="10431450" y="5073577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F652F72D-B42A-46EF-8728-B2DE0935D3E1}"/>
                </a:ext>
              </a:extLst>
            </p:cNvPr>
            <p:cNvSpPr/>
            <p:nvPr/>
          </p:nvSpPr>
          <p:spPr>
            <a:xfrm>
              <a:off x="9929601" y="4307338"/>
              <a:ext cx="769640" cy="1026186"/>
            </a:xfrm>
            <a:custGeom>
              <a:avLst/>
              <a:gdLst>
                <a:gd name="connsiteX0" fmla="*/ 363277 w 442678"/>
                <a:gd name="connsiteY0" fmla="*/ 590663 h 590237"/>
                <a:gd name="connsiteX1" fmla="*/ 300037 w 442678"/>
                <a:gd name="connsiteY1" fmla="*/ 590663 h 590237"/>
                <a:gd name="connsiteX2" fmla="*/ 262094 w 442678"/>
                <a:gd name="connsiteY2" fmla="*/ 572393 h 590237"/>
                <a:gd name="connsiteX3" fmla="*/ 266310 w 442678"/>
                <a:gd name="connsiteY3" fmla="*/ 530937 h 590237"/>
                <a:gd name="connsiteX4" fmla="*/ 290200 w 442678"/>
                <a:gd name="connsiteY4" fmla="*/ 486669 h 590237"/>
                <a:gd name="connsiteX5" fmla="*/ 241014 w 442678"/>
                <a:gd name="connsiteY5" fmla="*/ 444509 h 590237"/>
                <a:gd name="connsiteX6" fmla="*/ 167937 w 442678"/>
                <a:gd name="connsiteY6" fmla="*/ 464183 h 590237"/>
                <a:gd name="connsiteX7" fmla="*/ 170747 w 442678"/>
                <a:gd name="connsiteY7" fmla="*/ 526720 h 590237"/>
                <a:gd name="connsiteX8" fmla="*/ 189719 w 442678"/>
                <a:gd name="connsiteY8" fmla="*/ 558340 h 590237"/>
                <a:gd name="connsiteX9" fmla="*/ 146857 w 442678"/>
                <a:gd name="connsiteY9" fmla="*/ 591365 h 590237"/>
                <a:gd name="connsiteX10" fmla="*/ 15458 w 442678"/>
                <a:gd name="connsiteY10" fmla="*/ 592068 h 590237"/>
                <a:gd name="connsiteX11" fmla="*/ 702 w 442678"/>
                <a:gd name="connsiteY11" fmla="*/ 576610 h 590237"/>
                <a:gd name="connsiteX12" fmla="*/ 702 w 442678"/>
                <a:gd name="connsiteY12" fmla="*/ 448022 h 590237"/>
                <a:gd name="connsiteX13" fmla="*/ 26701 w 442678"/>
                <a:gd name="connsiteY13" fmla="*/ 405862 h 590237"/>
                <a:gd name="connsiteX14" fmla="*/ 55510 w 442678"/>
                <a:gd name="connsiteY14" fmla="*/ 410078 h 590237"/>
                <a:gd name="connsiteX15" fmla="*/ 127885 w 442678"/>
                <a:gd name="connsiteY15" fmla="*/ 424834 h 590237"/>
                <a:gd name="connsiteX16" fmla="*/ 132803 w 442678"/>
                <a:gd name="connsiteY16" fmla="*/ 322948 h 590237"/>
                <a:gd name="connsiteX17" fmla="*/ 63240 w 442678"/>
                <a:gd name="connsiteY17" fmla="*/ 322245 h 590237"/>
                <a:gd name="connsiteX18" fmla="*/ 33025 w 442678"/>
                <a:gd name="connsiteY18" fmla="*/ 338406 h 590237"/>
                <a:gd name="connsiteX19" fmla="*/ 1405 w 442678"/>
                <a:gd name="connsiteY19" fmla="*/ 301165 h 590237"/>
                <a:gd name="connsiteX20" fmla="*/ 0 w 442678"/>
                <a:gd name="connsiteY20" fmla="*/ 161335 h 590237"/>
                <a:gd name="connsiteX21" fmla="*/ 16161 w 442678"/>
                <a:gd name="connsiteY21" fmla="*/ 150093 h 590237"/>
                <a:gd name="connsiteX22" fmla="*/ 131398 w 442678"/>
                <a:gd name="connsiteY22" fmla="*/ 150093 h 590237"/>
                <a:gd name="connsiteX23" fmla="*/ 158099 w 442678"/>
                <a:gd name="connsiteY23" fmla="*/ 145877 h 590237"/>
                <a:gd name="connsiteX24" fmla="*/ 163018 w 442678"/>
                <a:gd name="connsiteY24" fmla="*/ 107230 h 590237"/>
                <a:gd name="connsiteX25" fmla="*/ 160910 w 442678"/>
                <a:gd name="connsiteY25" fmla="*/ 22208 h 590237"/>
                <a:gd name="connsiteX26" fmla="*/ 289497 w 442678"/>
                <a:gd name="connsiteY26" fmla="*/ 32748 h 590237"/>
                <a:gd name="connsiteX27" fmla="*/ 283876 w 442678"/>
                <a:gd name="connsiteY27" fmla="*/ 103014 h 590237"/>
                <a:gd name="connsiteX28" fmla="*/ 267012 w 442678"/>
                <a:gd name="connsiteY28" fmla="*/ 129013 h 590237"/>
                <a:gd name="connsiteX29" fmla="*/ 304956 w 442678"/>
                <a:gd name="connsiteY29" fmla="*/ 150795 h 590237"/>
                <a:gd name="connsiteX30" fmla="*/ 420193 w 442678"/>
                <a:gd name="connsiteY30" fmla="*/ 150093 h 590237"/>
                <a:gd name="connsiteX31" fmla="*/ 443381 w 442678"/>
                <a:gd name="connsiteY31" fmla="*/ 172578 h 590237"/>
                <a:gd name="connsiteX32" fmla="*/ 442678 w 442678"/>
                <a:gd name="connsiteY32" fmla="*/ 285004 h 590237"/>
                <a:gd name="connsiteX33" fmla="*/ 427220 w 442678"/>
                <a:gd name="connsiteY33" fmla="*/ 327164 h 590237"/>
                <a:gd name="connsiteX34" fmla="*/ 380844 w 442678"/>
                <a:gd name="connsiteY34" fmla="*/ 325056 h 590237"/>
                <a:gd name="connsiteX35" fmla="*/ 338684 w 442678"/>
                <a:gd name="connsiteY35" fmla="*/ 302571 h 590237"/>
                <a:gd name="connsiteX36" fmla="*/ 295821 w 442678"/>
                <a:gd name="connsiteY36" fmla="*/ 351054 h 590237"/>
                <a:gd name="connsiteX37" fmla="*/ 320415 w 442678"/>
                <a:gd name="connsiteY37" fmla="*/ 429753 h 590237"/>
                <a:gd name="connsiteX38" fmla="*/ 374520 w 442678"/>
                <a:gd name="connsiteY38" fmla="*/ 424834 h 590237"/>
                <a:gd name="connsiteX39" fmla="*/ 410356 w 442678"/>
                <a:gd name="connsiteY39" fmla="*/ 403754 h 590237"/>
                <a:gd name="connsiteX40" fmla="*/ 442678 w 442678"/>
                <a:gd name="connsiteY40" fmla="*/ 450130 h 590237"/>
                <a:gd name="connsiteX41" fmla="*/ 443381 w 442678"/>
                <a:gd name="connsiteY41" fmla="*/ 575907 h 590237"/>
                <a:gd name="connsiteX42" fmla="*/ 427922 w 442678"/>
                <a:gd name="connsiteY42" fmla="*/ 591365 h 590237"/>
                <a:gd name="connsiteX43" fmla="*/ 363277 w 442678"/>
                <a:gd name="connsiteY43" fmla="*/ 590663 h 590237"/>
                <a:gd name="connsiteX44" fmla="*/ 363277 w 442678"/>
                <a:gd name="connsiteY44" fmla="*/ 59066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42678" h="590237">
                  <a:moveTo>
                    <a:pt x="363277" y="590663"/>
                  </a:moveTo>
                  <a:cubicBezTo>
                    <a:pt x="342197" y="590663"/>
                    <a:pt x="321117" y="590663"/>
                    <a:pt x="300037" y="590663"/>
                  </a:cubicBezTo>
                  <a:cubicBezTo>
                    <a:pt x="283876" y="590663"/>
                    <a:pt x="271931" y="583636"/>
                    <a:pt x="262094" y="572393"/>
                  </a:cubicBezTo>
                  <a:cubicBezTo>
                    <a:pt x="249446" y="556935"/>
                    <a:pt x="248743" y="543584"/>
                    <a:pt x="266310" y="530937"/>
                  </a:cubicBezTo>
                  <a:cubicBezTo>
                    <a:pt x="281066" y="520397"/>
                    <a:pt x="298632" y="508451"/>
                    <a:pt x="290200" y="486669"/>
                  </a:cubicBezTo>
                  <a:cubicBezTo>
                    <a:pt x="281768" y="464886"/>
                    <a:pt x="266310" y="448022"/>
                    <a:pt x="241014" y="444509"/>
                  </a:cubicBezTo>
                  <a:cubicBezTo>
                    <a:pt x="214313" y="440996"/>
                    <a:pt x="188314" y="440996"/>
                    <a:pt x="167937" y="464183"/>
                  </a:cubicBezTo>
                  <a:cubicBezTo>
                    <a:pt x="146154" y="488777"/>
                    <a:pt x="146857" y="504235"/>
                    <a:pt x="170747" y="526720"/>
                  </a:cubicBezTo>
                  <a:cubicBezTo>
                    <a:pt x="179882" y="535152"/>
                    <a:pt x="197448" y="540071"/>
                    <a:pt x="189719" y="558340"/>
                  </a:cubicBezTo>
                  <a:cubicBezTo>
                    <a:pt x="181990" y="577312"/>
                    <a:pt x="169342" y="591365"/>
                    <a:pt x="146857" y="591365"/>
                  </a:cubicBezTo>
                  <a:cubicBezTo>
                    <a:pt x="103291" y="592068"/>
                    <a:pt x="59024" y="591365"/>
                    <a:pt x="15458" y="592068"/>
                  </a:cubicBezTo>
                  <a:cubicBezTo>
                    <a:pt x="2811" y="592068"/>
                    <a:pt x="0" y="587852"/>
                    <a:pt x="702" y="576610"/>
                  </a:cubicBezTo>
                  <a:cubicBezTo>
                    <a:pt x="1405" y="533747"/>
                    <a:pt x="1405" y="490885"/>
                    <a:pt x="702" y="448022"/>
                  </a:cubicBezTo>
                  <a:cubicBezTo>
                    <a:pt x="702" y="428347"/>
                    <a:pt x="11945" y="415699"/>
                    <a:pt x="26701" y="405862"/>
                  </a:cubicBezTo>
                  <a:cubicBezTo>
                    <a:pt x="36538" y="399538"/>
                    <a:pt x="45673" y="400241"/>
                    <a:pt x="55510" y="410078"/>
                  </a:cubicBezTo>
                  <a:cubicBezTo>
                    <a:pt x="93454" y="448022"/>
                    <a:pt x="101886" y="449427"/>
                    <a:pt x="127885" y="424834"/>
                  </a:cubicBezTo>
                  <a:cubicBezTo>
                    <a:pt x="154586" y="399538"/>
                    <a:pt x="157397" y="350352"/>
                    <a:pt x="132803" y="322948"/>
                  </a:cubicBezTo>
                  <a:cubicBezTo>
                    <a:pt x="106805" y="293436"/>
                    <a:pt x="89238" y="293436"/>
                    <a:pt x="63240" y="322245"/>
                  </a:cubicBezTo>
                  <a:cubicBezTo>
                    <a:pt x="55510" y="330677"/>
                    <a:pt x="50592" y="345433"/>
                    <a:pt x="33025" y="338406"/>
                  </a:cubicBezTo>
                  <a:cubicBezTo>
                    <a:pt x="15458" y="331380"/>
                    <a:pt x="2108" y="320137"/>
                    <a:pt x="1405" y="301165"/>
                  </a:cubicBezTo>
                  <a:cubicBezTo>
                    <a:pt x="0" y="254790"/>
                    <a:pt x="702" y="208414"/>
                    <a:pt x="0" y="161335"/>
                  </a:cubicBezTo>
                  <a:cubicBezTo>
                    <a:pt x="0" y="147985"/>
                    <a:pt x="8432" y="150093"/>
                    <a:pt x="16161" y="150093"/>
                  </a:cubicBezTo>
                  <a:cubicBezTo>
                    <a:pt x="54808" y="150093"/>
                    <a:pt x="92752" y="150093"/>
                    <a:pt x="131398" y="150093"/>
                  </a:cubicBezTo>
                  <a:cubicBezTo>
                    <a:pt x="140533" y="150093"/>
                    <a:pt x="149667" y="150795"/>
                    <a:pt x="158099" y="145877"/>
                  </a:cubicBezTo>
                  <a:cubicBezTo>
                    <a:pt x="179179" y="133931"/>
                    <a:pt x="180585" y="122689"/>
                    <a:pt x="163018" y="107230"/>
                  </a:cubicBezTo>
                  <a:cubicBezTo>
                    <a:pt x="129993" y="77718"/>
                    <a:pt x="129290" y="52422"/>
                    <a:pt x="160910" y="22208"/>
                  </a:cubicBezTo>
                  <a:cubicBezTo>
                    <a:pt x="196043" y="-11520"/>
                    <a:pt x="260688" y="-5899"/>
                    <a:pt x="289497" y="32748"/>
                  </a:cubicBezTo>
                  <a:cubicBezTo>
                    <a:pt x="309172" y="58746"/>
                    <a:pt x="306361" y="80529"/>
                    <a:pt x="283876" y="103014"/>
                  </a:cubicBezTo>
                  <a:cubicBezTo>
                    <a:pt x="276850" y="110041"/>
                    <a:pt x="257878" y="112149"/>
                    <a:pt x="267012" y="129013"/>
                  </a:cubicBezTo>
                  <a:cubicBezTo>
                    <a:pt x="274741" y="143769"/>
                    <a:pt x="287390" y="150795"/>
                    <a:pt x="304956" y="150795"/>
                  </a:cubicBezTo>
                  <a:cubicBezTo>
                    <a:pt x="343603" y="150093"/>
                    <a:pt x="381546" y="151498"/>
                    <a:pt x="420193" y="150093"/>
                  </a:cubicBezTo>
                  <a:cubicBezTo>
                    <a:pt x="437760" y="149390"/>
                    <a:pt x="444083" y="153606"/>
                    <a:pt x="443381" y="172578"/>
                  </a:cubicBezTo>
                  <a:cubicBezTo>
                    <a:pt x="441976" y="209819"/>
                    <a:pt x="442678" y="247763"/>
                    <a:pt x="442678" y="285004"/>
                  </a:cubicBezTo>
                  <a:cubicBezTo>
                    <a:pt x="442678" y="301165"/>
                    <a:pt x="439165" y="315219"/>
                    <a:pt x="427220" y="327164"/>
                  </a:cubicBezTo>
                  <a:cubicBezTo>
                    <a:pt x="408950" y="345433"/>
                    <a:pt x="397708" y="344731"/>
                    <a:pt x="380844" y="325056"/>
                  </a:cubicBezTo>
                  <a:cubicBezTo>
                    <a:pt x="369601" y="312408"/>
                    <a:pt x="359061" y="294841"/>
                    <a:pt x="338684" y="302571"/>
                  </a:cubicBezTo>
                  <a:cubicBezTo>
                    <a:pt x="316199" y="311003"/>
                    <a:pt x="299335" y="325759"/>
                    <a:pt x="295821" y="351054"/>
                  </a:cubicBezTo>
                  <a:cubicBezTo>
                    <a:pt x="291606" y="381269"/>
                    <a:pt x="293011" y="409376"/>
                    <a:pt x="320415" y="429753"/>
                  </a:cubicBezTo>
                  <a:cubicBezTo>
                    <a:pt x="342900" y="446617"/>
                    <a:pt x="355548" y="445211"/>
                    <a:pt x="374520" y="424834"/>
                  </a:cubicBezTo>
                  <a:cubicBezTo>
                    <a:pt x="384357" y="414294"/>
                    <a:pt x="389978" y="394620"/>
                    <a:pt x="410356" y="403754"/>
                  </a:cubicBezTo>
                  <a:cubicBezTo>
                    <a:pt x="430030" y="412186"/>
                    <a:pt x="441976" y="428347"/>
                    <a:pt x="442678" y="450130"/>
                  </a:cubicBezTo>
                  <a:cubicBezTo>
                    <a:pt x="443381" y="492290"/>
                    <a:pt x="442678" y="534450"/>
                    <a:pt x="443381" y="575907"/>
                  </a:cubicBezTo>
                  <a:cubicBezTo>
                    <a:pt x="443381" y="587852"/>
                    <a:pt x="439867" y="592068"/>
                    <a:pt x="427922" y="591365"/>
                  </a:cubicBezTo>
                  <a:cubicBezTo>
                    <a:pt x="406842" y="589960"/>
                    <a:pt x="385060" y="590663"/>
                    <a:pt x="363277" y="590663"/>
                  </a:cubicBezTo>
                  <a:cubicBezTo>
                    <a:pt x="363277" y="590663"/>
                    <a:pt x="363277" y="590663"/>
                    <a:pt x="363277" y="59066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5F7A4234-2E67-4E35-96EE-D21AFEE63CAC}"/>
                </a:ext>
              </a:extLst>
            </p:cNvPr>
            <p:cNvSpPr/>
            <p:nvPr/>
          </p:nvSpPr>
          <p:spPr>
            <a:xfrm>
              <a:off x="10684355" y="2274241"/>
              <a:ext cx="769640" cy="769640"/>
            </a:xfrm>
            <a:custGeom>
              <a:avLst/>
              <a:gdLst>
                <a:gd name="connsiteX0" fmla="*/ 441372 w 442678"/>
                <a:gd name="connsiteY0" fmla="*/ 81509 h 442678"/>
                <a:gd name="connsiteX1" fmla="*/ 441372 w 442678"/>
                <a:gd name="connsiteY1" fmla="*/ 144749 h 442678"/>
                <a:gd name="connsiteX2" fmla="*/ 422400 w 442678"/>
                <a:gd name="connsiteY2" fmla="*/ 181990 h 442678"/>
                <a:gd name="connsiteX3" fmla="*/ 380943 w 442678"/>
                <a:gd name="connsiteY3" fmla="*/ 179179 h 442678"/>
                <a:gd name="connsiteX4" fmla="*/ 334567 w 442678"/>
                <a:gd name="connsiteY4" fmla="*/ 155289 h 442678"/>
                <a:gd name="connsiteX5" fmla="*/ 293110 w 442678"/>
                <a:gd name="connsiteY5" fmla="*/ 211502 h 442678"/>
                <a:gd name="connsiteX6" fmla="*/ 315595 w 442678"/>
                <a:gd name="connsiteY6" fmla="*/ 278255 h 442678"/>
                <a:gd name="connsiteX7" fmla="*/ 376024 w 442678"/>
                <a:gd name="connsiteY7" fmla="*/ 274741 h 442678"/>
                <a:gd name="connsiteX8" fmla="*/ 409752 w 442678"/>
                <a:gd name="connsiteY8" fmla="*/ 255770 h 442678"/>
                <a:gd name="connsiteX9" fmla="*/ 441372 w 442678"/>
                <a:gd name="connsiteY9" fmla="*/ 299335 h 442678"/>
                <a:gd name="connsiteX10" fmla="*/ 442074 w 442678"/>
                <a:gd name="connsiteY10" fmla="*/ 427922 h 442678"/>
                <a:gd name="connsiteX11" fmla="*/ 424508 w 442678"/>
                <a:gd name="connsiteY11" fmla="*/ 444083 h 442678"/>
                <a:gd name="connsiteX12" fmla="*/ 298731 w 442678"/>
                <a:gd name="connsiteY12" fmla="*/ 444083 h 442678"/>
                <a:gd name="connsiteX13" fmla="*/ 261490 w 442678"/>
                <a:gd name="connsiteY13" fmla="*/ 425112 h 442678"/>
                <a:gd name="connsiteX14" fmla="*/ 265003 w 442678"/>
                <a:gd name="connsiteY14" fmla="*/ 384357 h 442678"/>
                <a:gd name="connsiteX15" fmla="*/ 288191 w 442678"/>
                <a:gd name="connsiteY15" fmla="*/ 337981 h 442678"/>
                <a:gd name="connsiteX16" fmla="*/ 235491 w 442678"/>
                <a:gd name="connsiteY16" fmla="*/ 296524 h 442678"/>
                <a:gd name="connsiteX17" fmla="*/ 165927 w 442678"/>
                <a:gd name="connsiteY17" fmla="*/ 318307 h 442678"/>
                <a:gd name="connsiteX18" fmla="*/ 170143 w 442678"/>
                <a:gd name="connsiteY18" fmla="*/ 378736 h 442678"/>
                <a:gd name="connsiteX19" fmla="*/ 189115 w 442678"/>
                <a:gd name="connsiteY19" fmla="*/ 413166 h 442678"/>
                <a:gd name="connsiteX20" fmla="*/ 144848 w 442678"/>
                <a:gd name="connsiteY20" fmla="*/ 444083 h 442678"/>
                <a:gd name="connsiteX21" fmla="*/ 16260 w 442678"/>
                <a:gd name="connsiteY21" fmla="*/ 444083 h 442678"/>
                <a:gd name="connsiteX22" fmla="*/ 99 w 442678"/>
                <a:gd name="connsiteY22" fmla="*/ 426517 h 442678"/>
                <a:gd name="connsiteX23" fmla="*/ 99 w 442678"/>
                <a:gd name="connsiteY23" fmla="*/ 303551 h 442678"/>
                <a:gd name="connsiteX24" fmla="*/ 19773 w 442678"/>
                <a:gd name="connsiteY24" fmla="*/ 263499 h 442678"/>
                <a:gd name="connsiteX25" fmla="*/ 61231 w 442678"/>
                <a:gd name="connsiteY25" fmla="*/ 267012 h 442678"/>
                <a:gd name="connsiteX26" fmla="*/ 107606 w 442678"/>
                <a:gd name="connsiteY26" fmla="*/ 290200 h 442678"/>
                <a:gd name="connsiteX27" fmla="*/ 148361 w 442678"/>
                <a:gd name="connsiteY27" fmla="*/ 234690 h 442678"/>
                <a:gd name="connsiteX28" fmla="*/ 127281 w 442678"/>
                <a:gd name="connsiteY28" fmla="*/ 167234 h 442678"/>
                <a:gd name="connsiteX29" fmla="*/ 66852 w 442678"/>
                <a:gd name="connsiteY29" fmla="*/ 171450 h 442678"/>
                <a:gd name="connsiteX30" fmla="*/ 31719 w 442678"/>
                <a:gd name="connsiteY30" fmla="*/ 189719 h 442678"/>
                <a:gd name="connsiteX31" fmla="*/ 801 w 442678"/>
                <a:gd name="connsiteY31" fmla="*/ 148262 h 442678"/>
                <a:gd name="connsiteX32" fmla="*/ 99 w 442678"/>
                <a:gd name="connsiteY32" fmla="*/ 14053 h 442678"/>
                <a:gd name="connsiteX33" fmla="*/ 14855 w 442678"/>
                <a:gd name="connsiteY33" fmla="*/ 702 h 442678"/>
                <a:gd name="connsiteX34" fmla="*/ 143442 w 442678"/>
                <a:gd name="connsiteY34" fmla="*/ 702 h 442678"/>
                <a:gd name="connsiteX35" fmla="*/ 181386 w 442678"/>
                <a:gd name="connsiteY35" fmla="*/ 19675 h 442678"/>
                <a:gd name="connsiteX36" fmla="*/ 177873 w 442678"/>
                <a:gd name="connsiteY36" fmla="*/ 61132 h 442678"/>
                <a:gd name="connsiteX37" fmla="*/ 153982 w 442678"/>
                <a:gd name="connsiteY37" fmla="*/ 107508 h 442678"/>
                <a:gd name="connsiteX38" fmla="*/ 207385 w 442678"/>
                <a:gd name="connsiteY38" fmla="*/ 148262 h 442678"/>
                <a:gd name="connsiteX39" fmla="*/ 280462 w 442678"/>
                <a:gd name="connsiteY39" fmla="*/ 122966 h 442678"/>
                <a:gd name="connsiteX40" fmla="*/ 275543 w 442678"/>
                <a:gd name="connsiteY40" fmla="*/ 68158 h 442678"/>
                <a:gd name="connsiteX41" fmla="*/ 253760 w 442678"/>
                <a:gd name="connsiteY41" fmla="*/ 35133 h 442678"/>
                <a:gd name="connsiteX42" fmla="*/ 298028 w 442678"/>
                <a:gd name="connsiteY42" fmla="*/ 702 h 442678"/>
                <a:gd name="connsiteX43" fmla="*/ 429426 w 442678"/>
                <a:gd name="connsiteY43" fmla="*/ 0 h 442678"/>
                <a:gd name="connsiteX44" fmla="*/ 442777 w 442678"/>
                <a:gd name="connsiteY44" fmla="*/ 14756 h 442678"/>
                <a:gd name="connsiteX45" fmla="*/ 441372 w 442678"/>
                <a:gd name="connsiteY45" fmla="*/ 8150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2678" h="442678">
                  <a:moveTo>
                    <a:pt x="441372" y="81509"/>
                  </a:moveTo>
                  <a:cubicBezTo>
                    <a:pt x="441372" y="102589"/>
                    <a:pt x="440669" y="123669"/>
                    <a:pt x="441372" y="144749"/>
                  </a:cubicBezTo>
                  <a:cubicBezTo>
                    <a:pt x="442074" y="160910"/>
                    <a:pt x="434345" y="172153"/>
                    <a:pt x="422400" y="181990"/>
                  </a:cubicBezTo>
                  <a:cubicBezTo>
                    <a:pt x="407644" y="194638"/>
                    <a:pt x="394293" y="196746"/>
                    <a:pt x="380943" y="179179"/>
                  </a:cubicBezTo>
                  <a:cubicBezTo>
                    <a:pt x="369700" y="164423"/>
                    <a:pt x="357755" y="145451"/>
                    <a:pt x="334567" y="155289"/>
                  </a:cubicBezTo>
                  <a:cubicBezTo>
                    <a:pt x="310676" y="165829"/>
                    <a:pt x="294515" y="183395"/>
                    <a:pt x="293110" y="211502"/>
                  </a:cubicBezTo>
                  <a:cubicBezTo>
                    <a:pt x="291704" y="236798"/>
                    <a:pt x="293812" y="260688"/>
                    <a:pt x="315595" y="278255"/>
                  </a:cubicBezTo>
                  <a:cubicBezTo>
                    <a:pt x="339485" y="298632"/>
                    <a:pt x="354944" y="297227"/>
                    <a:pt x="376024" y="274741"/>
                  </a:cubicBezTo>
                  <a:cubicBezTo>
                    <a:pt x="385158" y="264904"/>
                    <a:pt x="390077" y="245932"/>
                    <a:pt x="409752" y="255770"/>
                  </a:cubicBezTo>
                  <a:cubicBezTo>
                    <a:pt x="428021" y="264904"/>
                    <a:pt x="441372" y="277552"/>
                    <a:pt x="441372" y="299335"/>
                  </a:cubicBezTo>
                  <a:cubicBezTo>
                    <a:pt x="441372" y="342197"/>
                    <a:pt x="440669" y="385060"/>
                    <a:pt x="442074" y="427922"/>
                  </a:cubicBezTo>
                  <a:cubicBezTo>
                    <a:pt x="442074" y="441976"/>
                    <a:pt x="436453" y="444083"/>
                    <a:pt x="424508" y="444083"/>
                  </a:cubicBezTo>
                  <a:cubicBezTo>
                    <a:pt x="382348" y="443381"/>
                    <a:pt x="340891" y="443381"/>
                    <a:pt x="298731" y="444083"/>
                  </a:cubicBezTo>
                  <a:cubicBezTo>
                    <a:pt x="282570" y="444083"/>
                    <a:pt x="270624" y="437057"/>
                    <a:pt x="261490" y="425112"/>
                  </a:cubicBezTo>
                  <a:cubicBezTo>
                    <a:pt x="249544" y="410356"/>
                    <a:pt x="246734" y="397005"/>
                    <a:pt x="265003" y="384357"/>
                  </a:cubicBezTo>
                  <a:cubicBezTo>
                    <a:pt x="280462" y="373114"/>
                    <a:pt x="298028" y="361169"/>
                    <a:pt x="288191" y="337981"/>
                  </a:cubicBezTo>
                  <a:cubicBezTo>
                    <a:pt x="279056" y="314793"/>
                    <a:pt x="261490" y="299335"/>
                    <a:pt x="235491" y="296524"/>
                  </a:cubicBezTo>
                  <a:cubicBezTo>
                    <a:pt x="209493" y="294416"/>
                    <a:pt x="184197" y="295821"/>
                    <a:pt x="165927" y="318307"/>
                  </a:cubicBezTo>
                  <a:cubicBezTo>
                    <a:pt x="145550" y="342197"/>
                    <a:pt x="146955" y="357656"/>
                    <a:pt x="170143" y="378736"/>
                  </a:cubicBezTo>
                  <a:cubicBezTo>
                    <a:pt x="180683" y="387870"/>
                    <a:pt x="197547" y="394897"/>
                    <a:pt x="189115" y="413166"/>
                  </a:cubicBezTo>
                  <a:cubicBezTo>
                    <a:pt x="180683" y="430733"/>
                    <a:pt x="166630" y="444083"/>
                    <a:pt x="144848" y="444083"/>
                  </a:cubicBezTo>
                  <a:cubicBezTo>
                    <a:pt x="101985" y="444083"/>
                    <a:pt x="59122" y="443381"/>
                    <a:pt x="16260" y="444083"/>
                  </a:cubicBezTo>
                  <a:cubicBezTo>
                    <a:pt x="2207" y="444083"/>
                    <a:pt x="-604" y="439165"/>
                    <a:pt x="99" y="426517"/>
                  </a:cubicBezTo>
                  <a:cubicBezTo>
                    <a:pt x="801" y="385762"/>
                    <a:pt x="801" y="344305"/>
                    <a:pt x="99" y="303551"/>
                  </a:cubicBezTo>
                  <a:cubicBezTo>
                    <a:pt x="99" y="286687"/>
                    <a:pt x="7125" y="274039"/>
                    <a:pt x="19773" y="263499"/>
                  </a:cubicBezTo>
                  <a:cubicBezTo>
                    <a:pt x="34529" y="251554"/>
                    <a:pt x="47880" y="248743"/>
                    <a:pt x="61231" y="267012"/>
                  </a:cubicBezTo>
                  <a:cubicBezTo>
                    <a:pt x="72473" y="282471"/>
                    <a:pt x="84418" y="300740"/>
                    <a:pt x="107606" y="290200"/>
                  </a:cubicBezTo>
                  <a:cubicBezTo>
                    <a:pt x="131497" y="279660"/>
                    <a:pt x="147658" y="262796"/>
                    <a:pt x="148361" y="234690"/>
                  </a:cubicBezTo>
                  <a:cubicBezTo>
                    <a:pt x="149064" y="209394"/>
                    <a:pt x="149064" y="185503"/>
                    <a:pt x="127281" y="167234"/>
                  </a:cubicBezTo>
                  <a:cubicBezTo>
                    <a:pt x="103390" y="147559"/>
                    <a:pt x="87932" y="147559"/>
                    <a:pt x="66852" y="171450"/>
                  </a:cubicBezTo>
                  <a:cubicBezTo>
                    <a:pt x="57717" y="181990"/>
                    <a:pt x="50691" y="198854"/>
                    <a:pt x="31719" y="189719"/>
                  </a:cubicBezTo>
                  <a:cubicBezTo>
                    <a:pt x="14855" y="181990"/>
                    <a:pt x="801" y="167937"/>
                    <a:pt x="801" y="148262"/>
                  </a:cubicBezTo>
                  <a:cubicBezTo>
                    <a:pt x="99" y="103291"/>
                    <a:pt x="801" y="59024"/>
                    <a:pt x="99" y="14053"/>
                  </a:cubicBezTo>
                  <a:cubicBezTo>
                    <a:pt x="99" y="2811"/>
                    <a:pt x="5017" y="702"/>
                    <a:pt x="14855" y="702"/>
                  </a:cubicBezTo>
                  <a:cubicBezTo>
                    <a:pt x="57717" y="1405"/>
                    <a:pt x="100580" y="702"/>
                    <a:pt x="143442" y="702"/>
                  </a:cubicBezTo>
                  <a:cubicBezTo>
                    <a:pt x="158901" y="702"/>
                    <a:pt x="170846" y="7729"/>
                    <a:pt x="181386" y="19675"/>
                  </a:cubicBezTo>
                  <a:cubicBezTo>
                    <a:pt x="194034" y="34430"/>
                    <a:pt x="196142" y="47781"/>
                    <a:pt x="177873" y="61132"/>
                  </a:cubicBezTo>
                  <a:cubicBezTo>
                    <a:pt x="162414" y="72374"/>
                    <a:pt x="144145" y="85022"/>
                    <a:pt x="153982" y="107508"/>
                  </a:cubicBezTo>
                  <a:cubicBezTo>
                    <a:pt x="163819" y="129993"/>
                    <a:pt x="179981" y="146154"/>
                    <a:pt x="207385" y="148262"/>
                  </a:cubicBezTo>
                  <a:cubicBezTo>
                    <a:pt x="236194" y="150370"/>
                    <a:pt x="262192" y="148262"/>
                    <a:pt x="280462" y="122966"/>
                  </a:cubicBezTo>
                  <a:cubicBezTo>
                    <a:pt x="295218" y="102589"/>
                    <a:pt x="295218" y="85725"/>
                    <a:pt x="275543" y="68158"/>
                  </a:cubicBezTo>
                  <a:cubicBezTo>
                    <a:pt x="265706" y="59726"/>
                    <a:pt x="246734" y="54808"/>
                    <a:pt x="253760" y="35133"/>
                  </a:cubicBezTo>
                  <a:cubicBezTo>
                    <a:pt x="260787" y="14053"/>
                    <a:pt x="276246" y="1405"/>
                    <a:pt x="298028" y="702"/>
                  </a:cubicBezTo>
                  <a:cubicBezTo>
                    <a:pt x="341593" y="-703"/>
                    <a:pt x="385861" y="702"/>
                    <a:pt x="429426" y="0"/>
                  </a:cubicBezTo>
                  <a:cubicBezTo>
                    <a:pt x="441372" y="0"/>
                    <a:pt x="442777" y="5621"/>
                    <a:pt x="442777" y="14756"/>
                  </a:cubicBezTo>
                  <a:cubicBezTo>
                    <a:pt x="441372" y="37241"/>
                    <a:pt x="441372" y="59024"/>
                    <a:pt x="441372" y="8150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371F1326-F2D2-45CE-A1D2-64B23A0811A1}"/>
                </a:ext>
              </a:extLst>
            </p:cNvPr>
            <p:cNvSpPr/>
            <p:nvPr/>
          </p:nvSpPr>
          <p:spPr>
            <a:xfrm>
              <a:off x="10435621" y="3804605"/>
              <a:ext cx="1282731" cy="1026186"/>
            </a:xfrm>
            <a:custGeom>
              <a:avLst/>
              <a:gdLst>
                <a:gd name="connsiteX0" fmla="*/ 230901 w 737797"/>
                <a:gd name="connsiteY0" fmla="*/ 1565 h 590237"/>
                <a:gd name="connsiteX1" fmla="*/ 291330 w 737797"/>
                <a:gd name="connsiteY1" fmla="*/ 1565 h 590237"/>
                <a:gd name="connsiteX2" fmla="*/ 336300 w 737797"/>
                <a:gd name="connsiteY2" fmla="*/ 31077 h 590237"/>
                <a:gd name="connsiteX3" fmla="*/ 317328 w 737797"/>
                <a:gd name="connsiteY3" fmla="*/ 68318 h 590237"/>
                <a:gd name="connsiteX4" fmla="*/ 313815 w 737797"/>
                <a:gd name="connsiteY4" fmla="*/ 126639 h 590237"/>
                <a:gd name="connsiteX5" fmla="*/ 417107 w 737797"/>
                <a:gd name="connsiteY5" fmla="*/ 135071 h 590237"/>
                <a:gd name="connsiteX6" fmla="*/ 417809 w 737797"/>
                <a:gd name="connsiteY6" fmla="*/ 64102 h 590237"/>
                <a:gd name="connsiteX7" fmla="*/ 401648 w 737797"/>
                <a:gd name="connsiteY7" fmla="*/ 36698 h 590237"/>
                <a:gd name="connsiteX8" fmla="*/ 437484 w 737797"/>
                <a:gd name="connsiteY8" fmla="*/ 3673 h 590237"/>
                <a:gd name="connsiteX9" fmla="*/ 579422 w 737797"/>
                <a:gd name="connsiteY9" fmla="*/ 2268 h 590237"/>
                <a:gd name="connsiteX10" fmla="*/ 589962 w 737797"/>
                <a:gd name="connsiteY10" fmla="*/ 19132 h 590237"/>
                <a:gd name="connsiteX11" fmla="*/ 589962 w 737797"/>
                <a:gd name="connsiteY11" fmla="*/ 134369 h 590237"/>
                <a:gd name="connsiteX12" fmla="*/ 599799 w 737797"/>
                <a:gd name="connsiteY12" fmla="*/ 167394 h 590237"/>
                <a:gd name="connsiteX13" fmla="*/ 632122 w 737797"/>
                <a:gd name="connsiteY13" fmla="*/ 167394 h 590237"/>
                <a:gd name="connsiteX14" fmla="*/ 729089 w 737797"/>
                <a:gd name="connsiteY14" fmla="*/ 176528 h 590237"/>
                <a:gd name="connsiteX15" fmla="*/ 708009 w 737797"/>
                <a:gd name="connsiteY15" fmla="*/ 292468 h 590237"/>
                <a:gd name="connsiteX16" fmla="*/ 638446 w 737797"/>
                <a:gd name="connsiteY16" fmla="*/ 286144 h 590237"/>
                <a:gd name="connsiteX17" fmla="*/ 612447 w 737797"/>
                <a:gd name="connsiteY17" fmla="*/ 269280 h 590237"/>
                <a:gd name="connsiteX18" fmla="*/ 591367 w 737797"/>
                <a:gd name="connsiteY18" fmla="*/ 305116 h 590237"/>
                <a:gd name="connsiteX19" fmla="*/ 592070 w 737797"/>
                <a:gd name="connsiteY19" fmla="*/ 420353 h 590237"/>
                <a:gd name="connsiteX20" fmla="*/ 568882 w 737797"/>
                <a:gd name="connsiteY20" fmla="*/ 444243 h 590237"/>
                <a:gd name="connsiteX21" fmla="*/ 459267 w 737797"/>
                <a:gd name="connsiteY21" fmla="*/ 443541 h 590237"/>
                <a:gd name="connsiteX22" fmla="*/ 428349 w 737797"/>
                <a:gd name="connsiteY22" fmla="*/ 451270 h 590237"/>
                <a:gd name="connsiteX23" fmla="*/ 426944 w 737797"/>
                <a:gd name="connsiteY23" fmla="*/ 484998 h 590237"/>
                <a:gd name="connsiteX24" fmla="*/ 425539 w 737797"/>
                <a:gd name="connsiteY24" fmla="*/ 574939 h 590237"/>
                <a:gd name="connsiteX25" fmla="*/ 302573 w 737797"/>
                <a:gd name="connsiteY25" fmla="*/ 561588 h 590237"/>
                <a:gd name="connsiteX26" fmla="*/ 308194 w 737797"/>
                <a:gd name="connsiteY26" fmla="*/ 489214 h 590237"/>
                <a:gd name="connsiteX27" fmla="*/ 325760 w 737797"/>
                <a:gd name="connsiteY27" fmla="*/ 465323 h 590237"/>
                <a:gd name="connsiteX28" fmla="*/ 288519 w 737797"/>
                <a:gd name="connsiteY28" fmla="*/ 442838 h 590237"/>
                <a:gd name="connsiteX29" fmla="*/ 173282 w 737797"/>
                <a:gd name="connsiteY29" fmla="*/ 443541 h 590237"/>
                <a:gd name="connsiteX30" fmla="*/ 150094 w 737797"/>
                <a:gd name="connsiteY30" fmla="*/ 418947 h 590237"/>
                <a:gd name="connsiteX31" fmla="*/ 150797 w 737797"/>
                <a:gd name="connsiteY31" fmla="*/ 309332 h 590237"/>
                <a:gd name="connsiteX32" fmla="*/ 143770 w 737797"/>
                <a:gd name="connsiteY32" fmla="*/ 280523 h 590237"/>
                <a:gd name="connsiteX33" fmla="*/ 107935 w 737797"/>
                <a:gd name="connsiteY33" fmla="*/ 278415 h 590237"/>
                <a:gd name="connsiteX34" fmla="*/ 10967 w 737797"/>
                <a:gd name="connsiteY34" fmla="*/ 267172 h 590237"/>
                <a:gd name="connsiteX35" fmla="*/ 32047 w 737797"/>
                <a:gd name="connsiteY35" fmla="*/ 153341 h 590237"/>
                <a:gd name="connsiteX36" fmla="*/ 103718 w 737797"/>
                <a:gd name="connsiteY36" fmla="*/ 159664 h 590237"/>
                <a:gd name="connsiteX37" fmla="*/ 127609 w 737797"/>
                <a:gd name="connsiteY37" fmla="*/ 176528 h 590237"/>
                <a:gd name="connsiteX38" fmla="*/ 149391 w 737797"/>
                <a:gd name="connsiteY38" fmla="*/ 141395 h 590237"/>
                <a:gd name="connsiteX39" fmla="*/ 148689 w 737797"/>
                <a:gd name="connsiteY39" fmla="*/ 34590 h 590237"/>
                <a:gd name="connsiteX40" fmla="*/ 181714 w 737797"/>
                <a:gd name="connsiteY40" fmla="*/ 862 h 590237"/>
                <a:gd name="connsiteX41" fmla="*/ 230901 w 737797"/>
                <a:gd name="connsiteY41" fmla="*/ 156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37797" h="590237">
                  <a:moveTo>
                    <a:pt x="230901" y="1565"/>
                  </a:moveTo>
                  <a:cubicBezTo>
                    <a:pt x="251278" y="1565"/>
                    <a:pt x="270953" y="2268"/>
                    <a:pt x="291330" y="1565"/>
                  </a:cubicBezTo>
                  <a:cubicBezTo>
                    <a:pt x="313113" y="862"/>
                    <a:pt x="327868" y="12808"/>
                    <a:pt x="336300" y="31077"/>
                  </a:cubicBezTo>
                  <a:cubicBezTo>
                    <a:pt x="346137" y="50751"/>
                    <a:pt x="327868" y="57778"/>
                    <a:pt x="317328" y="68318"/>
                  </a:cubicBezTo>
                  <a:cubicBezTo>
                    <a:pt x="294843" y="89398"/>
                    <a:pt x="293438" y="102749"/>
                    <a:pt x="313815" y="126639"/>
                  </a:cubicBezTo>
                  <a:cubicBezTo>
                    <a:pt x="338408" y="155449"/>
                    <a:pt x="389703" y="159664"/>
                    <a:pt x="417107" y="135071"/>
                  </a:cubicBezTo>
                  <a:cubicBezTo>
                    <a:pt x="448024" y="108370"/>
                    <a:pt x="448024" y="90803"/>
                    <a:pt x="417809" y="64102"/>
                  </a:cubicBezTo>
                  <a:cubicBezTo>
                    <a:pt x="410080" y="57076"/>
                    <a:pt x="396027" y="52157"/>
                    <a:pt x="401648" y="36698"/>
                  </a:cubicBezTo>
                  <a:cubicBezTo>
                    <a:pt x="407972" y="19132"/>
                    <a:pt x="419215" y="4376"/>
                    <a:pt x="437484" y="3673"/>
                  </a:cubicBezTo>
                  <a:cubicBezTo>
                    <a:pt x="484562" y="1565"/>
                    <a:pt x="532343" y="2970"/>
                    <a:pt x="579422" y="2268"/>
                  </a:cubicBezTo>
                  <a:cubicBezTo>
                    <a:pt x="593475" y="2268"/>
                    <a:pt x="589962" y="12105"/>
                    <a:pt x="589962" y="19132"/>
                  </a:cubicBezTo>
                  <a:cubicBezTo>
                    <a:pt x="589962" y="57778"/>
                    <a:pt x="589962" y="95722"/>
                    <a:pt x="589962" y="134369"/>
                  </a:cubicBezTo>
                  <a:cubicBezTo>
                    <a:pt x="589962" y="146314"/>
                    <a:pt x="591367" y="157556"/>
                    <a:pt x="599799" y="167394"/>
                  </a:cubicBezTo>
                  <a:cubicBezTo>
                    <a:pt x="611042" y="180042"/>
                    <a:pt x="619474" y="182852"/>
                    <a:pt x="632122" y="167394"/>
                  </a:cubicBezTo>
                  <a:cubicBezTo>
                    <a:pt x="665147" y="128747"/>
                    <a:pt x="700983" y="132261"/>
                    <a:pt x="729089" y="176528"/>
                  </a:cubicBezTo>
                  <a:cubicBezTo>
                    <a:pt x="750872" y="210959"/>
                    <a:pt x="740332" y="268577"/>
                    <a:pt x="708009" y="292468"/>
                  </a:cubicBezTo>
                  <a:cubicBezTo>
                    <a:pt x="681308" y="312142"/>
                    <a:pt x="661634" y="309332"/>
                    <a:pt x="638446" y="286144"/>
                  </a:cubicBezTo>
                  <a:cubicBezTo>
                    <a:pt x="631419" y="279117"/>
                    <a:pt x="628608" y="260848"/>
                    <a:pt x="612447" y="269280"/>
                  </a:cubicBezTo>
                  <a:cubicBezTo>
                    <a:pt x="599096" y="276307"/>
                    <a:pt x="591367" y="288252"/>
                    <a:pt x="591367" y="305116"/>
                  </a:cubicBezTo>
                  <a:cubicBezTo>
                    <a:pt x="592070" y="343762"/>
                    <a:pt x="590665" y="381706"/>
                    <a:pt x="592070" y="420353"/>
                  </a:cubicBezTo>
                  <a:cubicBezTo>
                    <a:pt x="592773" y="438622"/>
                    <a:pt x="589259" y="445649"/>
                    <a:pt x="568882" y="444243"/>
                  </a:cubicBezTo>
                  <a:cubicBezTo>
                    <a:pt x="532343" y="442135"/>
                    <a:pt x="495805" y="443541"/>
                    <a:pt x="459267" y="443541"/>
                  </a:cubicBezTo>
                  <a:cubicBezTo>
                    <a:pt x="448024" y="443541"/>
                    <a:pt x="437484" y="444243"/>
                    <a:pt x="428349" y="451270"/>
                  </a:cubicBezTo>
                  <a:cubicBezTo>
                    <a:pt x="414999" y="462513"/>
                    <a:pt x="410080" y="470944"/>
                    <a:pt x="426944" y="484998"/>
                  </a:cubicBezTo>
                  <a:cubicBezTo>
                    <a:pt x="463482" y="515213"/>
                    <a:pt x="462077" y="544724"/>
                    <a:pt x="425539" y="574939"/>
                  </a:cubicBezTo>
                  <a:cubicBezTo>
                    <a:pt x="391811" y="602343"/>
                    <a:pt x="329274" y="596019"/>
                    <a:pt x="302573" y="561588"/>
                  </a:cubicBezTo>
                  <a:cubicBezTo>
                    <a:pt x="281493" y="534887"/>
                    <a:pt x="283601" y="513104"/>
                    <a:pt x="308194" y="489214"/>
                  </a:cubicBezTo>
                  <a:cubicBezTo>
                    <a:pt x="315220" y="482187"/>
                    <a:pt x="331382" y="479376"/>
                    <a:pt x="325760" y="465323"/>
                  </a:cubicBezTo>
                  <a:cubicBezTo>
                    <a:pt x="319436" y="450567"/>
                    <a:pt x="306086" y="442135"/>
                    <a:pt x="288519" y="442838"/>
                  </a:cubicBezTo>
                  <a:cubicBezTo>
                    <a:pt x="249873" y="443541"/>
                    <a:pt x="211929" y="441433"/>
                    <a:pt x="173282" y="443541"/>
                  </a:cubicBezTo>
                  <a:cubicBezTo>
                    <a:pt x="153608" y="444243"/>
                    <a:pt x="149391" y="437920"/>
                    <a:pt x="150094" y="418947"/>
                  </a:cubicBezTo>
                  <a:cubicBezTo>
                    <a:pt x="151500" y="382409"/>
                    <a:pt x="150797" y="345870"/>
                    <a:pt x="150797" y="309332"/>
                  </a:cubicBezTo>
                  <a:cubicBezTo>
                    <a:pt x="150797" y="299495"/>
                    <a:pt x="150797" y="288955"/>
                    <a:pt x="143770" y="280523"/>
                  </a:cubicBezTo>
                  <a:cubicBezTo>
                    <a:pt x="133230" y="267172"/>
                    <a:pt x="124096" y="258740"/>
                    <a:pt x="107935" y="278415"/>
                  </a:cubicBezTo>
                  <a:cubicBezTo>
                    <a:pt x="76315" y="317061"/>
                    <a:pt x="37668" y="311440"/>
                    <a:pt x="10967" y="267172"/>
                  </a:cubicBezTo>
                  <a:cubicBezTo>
                    <a:pt x="-10113" y="232742"/>
                    <a:pt x="427" y="177934"/>
                    <a:pt x="32047" y="153341"/>
                  </a:cubicBezTo>
                  <a:cubicBezTo>
                    <a:pt x="59451" y="132261"/>
                    <a:pt x="79828" y="135071"/>
                    <a:pt x="103718" y="159664"/>
                  </a:cubicBezTo>
                  <a:cubicBezTo>
                    <a:pt x="110745" y="166691"/>
                    <a:pt x="113556" y="182852"/>
                    <a:pt x="127609" y="176528"/>
                  </a:cubicBezTo>
                  <a:cubicBezTo>
                    <a:pt x="141662" y="170204"/>
                    <a:pt x="149391" y="157556"/>
                    <a:pt x="149391" y="141395"/>
                  </a:cubicBezTo>
                  <a:cubicBezTo>
                    <a:pt x="149391" y="105559"/>
                    <a:pt x="151500" y="70426"/>
                    <a:pt x="148689" y="34590"/>
                  </a:cubicBezTo>
                  <a:cubicBezTo>
                    <a:pt x="146581" y="7889"/>
                    <a:pt x="153608" y="-3354"/>
                    <a:pt x="181714" y="862"/>
                  </a:cubicBezTo>
                  <a:cubicBezTo>
                    <a:pt x="197875" y="3673"/>
                    <a:pt x="214037" y="1565"/>
                    <a:pt x="230901" y="156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3C4E88A3-98EC-4D46-82B2-6A43BA4AE61E}"/>
                </a:ext>
              </a:extLst>
            </p:cNvPr>
            <p:cNvSpPr/>
            <p:nvPr/>
          </p:nvSpPr>
          <p:spPr>
            <a:xfrm>
              <a:off x="10438687" y="6088874"/>
              <a:ext cx="1026185" cy="757423"/>
            </a:xfrm>
            <a:custGeom>
              <a:avLst/>
              <a:gdLst>
                <a:gd name="connsiteX0" fmla="*/ 368817 w 590237"/>
                <a:gd name="connsiteY0" fmla="*/ 441448 h 435651"/>
                <a:gd name="connsiteX1" fmla="*/ 166450 w 590237"/>
                <a:gd name="connsiteY1" fmla="*/ 441448 h 435651"/>
                <a:gd name="connsiteX2" fmla="*/ 148180 w 590237"/>
                <a:gd name="connsiteY2" fmla="*/ 423882 h 435651"/>
                <a:gd name="connsiteX3" fmla="*/ 148883 w 590237"/>
                <a:gd name="connsiteY3" fmla="*/ 308645 h 435651"/>
                <a:gd name="connsiteX4" fmla="*/ 140451 w 590237"/>
                <a:gd name="connsiteY4" fmla="*/ 277728 h 435651"/>
                <a:gd name="connsiteX5" fmla="*/ 106723 w 590237"/>
                <a:gd name="connsiteY5" fmla="*/ 276322 h 435651"/>
                <a:gd name="connsiteX6" fmla="*/ 16782 w 590237"/>
                <a:gd name="connsiteY6" fmla="*/ 274917 h 435651"/>
                <a:gd name="connsiteX7" fmla="*/ 26619 w 590237"/>
                <a:gd name="connsiteY7" fmla="*/ 155465 h 435651"/>
                <a:gd name="connsiteX8" fmla="*/ 102507 w 590237"/>
                <a:gd name="connsiteY8" fmla="*/ 157572 h 435651"/>
                <a:gd name="connsiteX9" fmla="*/ 126398 w 590237"/>
                <a:gd name="connsiteY9" fmla="*/ 175139 h 435651"/>
                <a:gd name="connsiteX10" fmla="*/ 148883 w 590237"/>
                <a:gd name="connsiteY10" fmla="*/ 137898 h 435651"/>
                <a:gd name="connsiteX11" fmla="*/ 148180 w 590237"/>
                <a:gd name="connsiteY11" fmla="*/ 25472 h 435651"/>
                <a:gd name="connsiteX12" fmla="*/ 172773 w 590237"/>
                <a:gd name="connsiteY12" fmla="*/ 176 h 435651"/>
                <a:gd name="connsiteX13" fmla="*/ 290821 w 590237"/>
                <a:gd name="connsiteY13" fmla="*/ 176 h 435651"/>
                <a:gd name="connsiteX14" fmla="*/ 332278 w 590237"/>
                <a:gd name="connsiteY14" fmla="*/ 22661 h 435651"/>
                <a:gd name="connsiteX15" fmla="*/ 328062 w 590237"/>
                <a:gd name="connsiteY15" fmla="*/ 57794 h 435651"/>
                <a:gd name="connsiteX16" fmla="*/ 303469 w 590237"/>
                <a:gd name="connsiteY16" fmla="*/ 111196 h 435651"/>
                <a:gd name="connsiteX17" fmla="*/ 381465 w 590237"/>
                <a:gd name="connsiteY17" fmla="*/ 148438 h 435651"/>
                <a:gd name="connsiteX18" fmla="*/ 439083 w 590237"/>
                <a:gd name="connsiteY18" fmla="*/ 100656 h 435651"/>
                <a:gd name="connsiteX19" fmla="*/ 418706 w 590237"/>
                <a:gd name="connsiteY19" fmla="*/ 64118 h 435651"/>
                <a:gd name="connsiteX20" fmla="*/ 401842 w 590237"/>
                <a:gd name="connsiteY20" fmla="*/ 31093 h 435651"/>
                <a:gd name="connsiteX21" fmla="*/ 437678 w 590237"/>
                <a:gd name="connsiteY21" fmla="*/ 878 h 435651"/>
                <a:gd name="connsiteX22" fmla="*/ 580319 w 590237"/>
                <a:gd name="connsiteY22" fmla="*/ 176 h 435651"/>
                <a:gd name="connsiteX23" fmla="*/ 590859 w 590237"/>
                <a:gd name="connsiteY23" fmla="*/ 14229 h 435651"/>
                <a:gd name="connsiteX24" fmla="*/ 590859 w 590237"/>
                <a:gd name="connsiteY24" fmla="*/ 142816 h 435651"/>
                <a:gd name="connsiteX25" fmla="*/ 569779 w 590237"/>
                <a:gd name="connsiteY25" fmla="*/ 182166 h 435651"/>
                <a:gd name="connsiteX26" fmla="*/ 532537 w 590237"/>
                <a:gd name="connsiteY26" fmla="*/ 178652 h 435651"/>
                <a:gd name="connsiteX27" fmla="*/ 486864 w 590237"/>
                <a:gd name="connsiteY27" fmla="*/ 152654 h 435651"/>
                <a:gd name="connsiteX28" fmla="*/ 442596 w 590237"/>
                <a:gd name="connsiteY28" fmla="*/ 209569 h 435651"/>
                <a:gd name="connsiteX29" fmla="*/ 462271 w 590237"/>
                <a:gd name="connsiteY29" fmla="*/ 274917 h 435651"/>
                <a:gd name="connsiteX30" fmla="*/ 526213 w 590237"/>
                <a:gd name="connsiteY30" fmla="*/ 270701 h 435651"/>
                <a:gd name="connsiteX31" fmla="*/ 556428 w 590237"/>
                <a:gd name="connsiteY31" fmla="*/ 253135 h 435651"/>
                <a:gd name="connsiteX32" fmla="*/ 588048 w 590237"/>
                <a:gd name="connsiteY32" fmla="*/ 287565 h 435651"/>
                <a:gd name="connsiteX33" fmla="*/ 590156 w 590237"/>
                <a:gd name="connsiteY33" fmla="*/ 432314 h 435651"/>
                <a:gd name="connsiteX34" fmla="*/ 569076 w 590237"/>
                <a:gd name="connsiteY34" fmla="*/ 441448 h 435651"/>
                <a:gd name="connsiteX35" fmla="*/ 368817 w 590237"/>
                <a:gd name="connsiteY35" fmla="*/ 441448 h 43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90237" h="435651">
                  <a:moveTo>
                    <a:pt x="368817" y="441448"/>
                  </a:moveTo>
                  <a:cubicBezTo>
                    <a:pt x="301361" y="441448"/>
                    <a:pt x="233905" y="440746"/>
                    <a:pt x="166450" y="441448"/>
                  </a:cubicBezTo>
                  <a:cubicBezTo>
                    <a:pt x="152396" y="441448"/>
                    <a:pt x="147478" y="438638"/>
                    <a:pt x="148180" y="423882"/>
                  </a:cubicBezTo>
                  <a:cubicBezTo>
                    <a:pt x="149586" y="385235"/>
                    <a:pt x="148180" y="347292"/>
                    <a:pt x="148883" y="308645"/>
                  </a:cubicBezTo>
                  <a:cubicBezTo>
                    <a:pt x="148883" y="297402"/>
                    <a:pt x="148180" y="286862"/>
                    <a:pt x="140451" y="277728"/>
                  </a:cubicBezTo>
                  <a:cubicBezTo>
                    <a:pt x="129208" y="264377"/>
                    <a:pt x="120776" y="258756"/>
                    <a:pt x="106723" y="276322"/>
                  </a:cubicBezTo>
                  <a:cubicBezTo>
                    <a:pt x="77211" y="312159"/>
                    <a:pt x="46294" y="310753"/>
                    <a:pt x="16782" y="274917"/>
                  </a:cubicBezTo>
                  <a:cubicBezTo>
                    <a:pt x="-9216" y="243298"/>
                    <a:pt x="-4298" y="182868"/>
                    <a:pt x="26619" y="155465"/>
                  </a:cubicBezTo>
                  <a:cubicBezTo>
                    <a:pt x="54726" y="130871"/>
                    <a:pt x="77914" y="131574"/>
                    <a:pt x="102507" y="157572"/>
                  </a:cubicBezTo>
                  <a:cubicBezTo>
                    <a:pt x="109534" y="164599"/>
                    <a:pt x="112344" y="180760"/>
                    <a:pt x="126398" y="175139"/>
                  </a:cubicBezTo>
                  <a:cubicBezTo>
                    <a:pt x="141154" y="168815"/>
                    <a:pt x="148883" y="155465"/>
                    <a:pt x="148883" y="137898"/>
                  </a:cubicBezTo>
                  <a:cubicBezTo>
                    <a:pt x="148883" y="100656"/>
                    <a:pt x="150288" y="62713"/>
                    <a:pt x="148180" y="25472"/>
                  </a:cubicBezTo>
                  <a:cubicBezTo>
                    <a:pt x="147478" y="5797"/>
                    <a:pt x="151694" y="-1230"/>
                    <a:pt x="172773" y="176"/>
                  </a:cubicBezTo>
                  <a:cubicBezTo>
                    <a:pt x="212123" y="2283"/>
                    <a:pt x="251472" y="1581"/>
                    <a:pt x="290821" y="176"/>
                  </a:cubicBezTo>
                  <a:cubicBezTo>
                    <a:pt x="309793" y="-527"/>
                    <a:pt x="321738" y="8608"/>
                    <a:pt x="332278" y="22661"/>
                  </a:cubicBezTo>
                  <a:cubicBezTo>
                    <a:pt x="341413" y="35309"/>
                    <a:pt x="342116" y="46552"/>
                    <a:pt x="328062" y="57794"/>
                  </a:cubicBezTo>
                  <a:cubicBezTo>
                    <a:pt x="311901" y="71145"/>
                    <a:pt x="289416" y="83090"/>
                    <a:pt x="303469" y="111196"/>
                  </a:cubicBezTo>
                  <a:cubicBezTo>
                    <a:pt x="317522" y="139303"/>
                    <a:pt x="346332" y="152654"/>
                    <a:pt x="381465" y="148438"/>
                  </a:cubicBezTo>
                  <a:cubicBezTo>
                    <a:pt x="408166" y="144925"/>
                    <a:pt x="435570" y="123142"/>
                    <a:pt x="439083" y="100656"/>
                  </a:cubicBezTo>
                  <a:cubicBezTo>
                    <a:pt x="441894" y="83793"/>
                    <a:pt x="429949" y="73955"/>
                    <a:pt x="418706" y="64118"/>
                  </a:cubicBezTo>
                  <a:cubicBezTo>
                    <a:pt x="408869" y="55686"/>
                    <a:pt x="394113" y="48660"/>
                    <a:pt x="401842" y="31093"/>
                  </a:cubicBezTo>
                  <a:cubicBezTo>
                    <a:pt x="408869" y="15634"/>
                    <a:pt x="419409" y="1581"/>
                    <a:pt x="437678" y="878"/>
                  </a:cubicBezTo>
                  <a:cubicBezTo>
                    <a:pt x="485459" y="-527"/>
                    <a:pt x="532537" y="176"/>
                    <a:pt x="580319" y="176"/>
                  </a:cubicBezTo>
                  <a:cubicBezTo>
                    <a:pt x="591561" y="176"/>
                    <a:pt x="590859" y="6500"/>
                    <a:pt x="590859" y="14229"/>
                  </a:cubicBezTo>
                  <a:cubicBezTo>
                    <a:pt x="590859" y="57092"/>
                    <a:pt x="590859" y="99954"/>
                    <a:pt x="590859" y="142816"/>
                  </a:cubicBezTo>
                  <a:cubicBezTo>
                    <a:pt x="590859" y="159680"/>
                    <a:pt x="582427" y="172328"/>
                    <a:pt x="569779" y="182166"/>
                  </a:cubicBezTo>
                  <a:cubicBezTo>
                    <a:pt x="556428" y="192706"/>
                    <a:pt x="544483" y="193408"/>
                    <a:pt x="532537" y="178652"/>
                  </a:cubicBezTo>
                  <a:cubicBezTo>
                    <a:pt x="521295" y="163896"/>
                    <a:pt x="510052" y="144222"/>
                    <a:pt x="486864" y="152654"/>
                  </a:cubicBezTo>
                  <a:cubicBezTo>
                    <a:pt x="460866" y="161788"/>
                    <a:pt x="444704" y="180760"/>
                    <a:pt x="442596" y="209569"/>
                  </a:cubicBezTo>
                  <a:cubicBezTo>
                    <a:pt x="441191" y="234163"/>
                    <a:pt x="442596" y="256648"/>
                    <a:pt x="462271" y="274917"/>
                  </a:cubicBezTo>
                  <a:cubicBezTo>
                    <a:pt x="488270" y="298105"/>
                    <a:pt x="503026" y="297402"/>
                    <a:pt x="526213" y="270701"/>
                  </a:cubicBezTo>
                  <a:cubicBezTo>
                    <a:pt x="533943" y="261567"/>
                    <a:pt x="539564" y="247513"/>
                    <a:pt x="556428" y="253135"/>
                  </a:cubicBezTo>
                  <a:cubicBezTo>
                    <a:pt x="572589" y="258756"/>
                    <a:pt x="587345" y="269999"/>
                    <a:pt x="588048" y="287565"/>
                  </a:cubicBezTo>
                  <a:cubicBezTo>
                    <a:pt x="590156" y="336049"/>
                    <a:pt x="590156" y="384533"/>
                    <a:pt x="590156" y="432314"/>
                  </a:cubicBezTo>
                  <a:cubicBezTo>
                    <a:pt x="590156" y="447773"/>
                    <a:pt x="576805" y="440746"/>
                    <a:pt x="569076" y="441448"/>
                  </a:cubicBezTo>
                  <a:cubicBezTo>
                    <a:pt x="502323" y="441448"/>
                    <a:pt x="435570" y="441448"/>
                    <a:pt x="368817" y="44144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217731C1-5D87-423B-AACE-54CB66372A01}"/>
                </a:ext>
              </a:extLst>
            </p:cNvPr>
            <p:cNvSpPr/>
            <p:nvPr/>
          </p:nvSpPr>
          <p:spPr>
            <a:xfrm>
              <a:off x="-8381" y="2284436"/>
              <a:ext cx="769640" cy="769640"/>
            </a:xfrm>
            <a:custGeom>
              <a:avLst/>
              <a:gdLst>
                <a:gd name="connsiteX0" fmla="*/ 703 w 442678"/>
                <a:gd name="connsiteY0" fmla="*/ 221404 h 442678"/>
                <a:gd name="connsiteX1" fmla="*/ 0 w 442678"/>
                <a:gd name="connsiteY1" fmla="*/ 21144 h 442678"/>
                <a:gd name="connsiteX2" fmla="*/ 21080 w 442678"/>
                <a:gd name="connsiteY2" fmla="*/ 64 h 442678"/>
                <a:gd name="connsiteX3" fmla="*/ 139127 w 442678"/>
                <a:gd name="connsiteY3" fmla="*/ 64 h 442678"/>
                <a:gd name="connsiteX4" fmla="*/ 179882 w 442678"/>
                <a:gd name="connsiteY4" fmla="*/ 17631 h 442678"/>
                <a:gd name="connsiteX5" fmla="*/ 177071 w 442678"/>
                <a:gd name="connsiteY5" fmla="*/ 60494 h 442678"/>
                <a:gd name="connsiteX6" fmla="*/ 153181 w 442678"/>
                <a:gd name="connsiteY6" fmla="*/ 104761 h 442678"/>
                <a:gd name="connsiteX7" fmla="*/ 205178 w 442678"/>
                <a:gd name="connsiteY7" fmla="*/ 147624 h 442678"/>
                <a:gd name="connsiteX8" fmla="*/ 275444 w 442678"/>
                <a:gd name="connsiteY8" fmla="*/ 127949 h 442678"/>
                <a:gd name="connsiteX9" fmla="*/ 271931 w 442678"/>
                <a:gd name="connsiteY9" fmla="*/ 65412 h 442678"/>
                <a:gd name="connsiteX10" fmla="*/ 252959 w 442678"/>
                <a:gd name="connsiteY10" fmla="*/ 33090 h 442678"/>
                <a:gd name="connsiteX11" fmla="*/ 293713 w 442678"/>
                <a:gd name="connsiteY11" fmla="*/ 767 h 442678"/>
                <a:gd name="connsiteX12" fmla="*/ 430733 w 442678"/>
                <a:gd name="connsiteY12" fmla="*/ 64 h 442678"/>
                <a:gd name="connsiteX13" fmla="*/ 443381 w 442678"/>
                <a:gd name="connsiteY13" fmla="*/ 16226 h 442678"/>
                <a:gd name="connsiteX14" fmla="*/ 443381 w 442678"/>
                <a:gd name="connsiteY14" fmla="*/ 144813 h 442678"/>
                <a:gd name="connsiteX15" fmla="*/ 423004 w 442678"/>
                <a:gd name="connsiteY15" fmla="*/ 182054 h 442678"/>
                <a:gd name="connsiteX16" fmla="*/ 383655 w 442678"/>
                <a:gd name="connsiteY16" fmla="*/ 178541 h 442678"/>
                <a:gd name="connsiteX17" fmla="*/ 335171 w 442678"/>
                <a:gd name="connsiteY17" fmla="*/ 153948 h 442678"/>
                <a:gd name="connsiteX18" fmla="*/ 295119 w 442678"/>
                <a:gd name="connsiteY18" fmla="*/ 213674 h 442678"/>
                <a:gd name="connsiteX19" fmla="*/ 318307 w 442678"/>
                <a:gd name="connsiteY19" fmla="*/ 277617 h 442678"/>
                <a:gd name="connsiteX20" fmla="*/ 376628 w 442678"/>
                <a:gd name="connsiteY20" fmla="*/ 273401 h 442678"/>
                <a:gd name="connsiteX21" fmla="*/ 411058 w 442678"/>
                <a:gd name="connsiteY21" fmla="*/ 253726 h 442678"/>
                <a:gd name="connsiteX22" fmla="*/ 443381 w 442678"/>
                <a:gd name="connsiteY22" fmla="*/ 300102 h 442678"/>
                <a:gd name="connsiteX23" fmla="*/ 443381 w 442678"/>
                <a:gd name="connsiteY23" fmla="*/ 425879 h 442678"/>
                <a:gd name="connsiteX24" fmla="*/ 423706 w 442678"/>
                <a:gd name="connsiteY24" fmla="*/ 443445 h 442678"/>
                <a:gd name="connsiteX25" fmla="*/ 303551 w 442678"/>
                <a:gd name="connsiteY25" fmla="*/ 443445 h 442678"/>
                <a:gd name="connsiteX26" fmla="*/ 260689 w 442678"/>
                <a:gd name="connsiteY26" fmla="*/ 423068 h 442678"/>
                <a:gd name="connsiteX27" fmla="*/ 264202 w 442678"/>
                <a:gd name="connsiteY27" fmla="*/ 383719 h 442678"/>
                <a:gd name="connsiteX28" fmla="*/ 289498 w 442678"/>
                <a:gd name="connsiteY28" fmla="*/ 337343 h 442678"/>
                <a:gd name="connsiteX29" fmla="*/ 231879 w 442678"/>
                <a:gd name="connsiteY29" fmla="*/ 295183 h 442678"/>
                <a:gd name="connsiteX30" fmla="*/ 165126 w 442678"/>
                <a:gd name="connsiteY30" fmla="*/ 317669 h 442678"/>
                <a:gd name="connsiteX31" fmla="*/ 169342 w 442678"/>
                <a:gd name="connsiteY31" fmla="*/ 376692 h 442678"/>
                <a:gd name="connsiteX32" fmla="*/ 189017 w 442678"/>
                <a:gd name="connsiteY32" fmla="*/ 410420 h 442678"/>
                <a:gd name="connsiteX33" fmla="*/ 146154 w 442678"/>
                <a:gd name="connsiteY33" fmla="*/ 443445 h 442678"/>
                <a:gd name="connsiteX34" fmla="*/ 14756 w 442678"/>
                <a:gd name="connsiteY34" fmla="*/ 444148 h 442678"/>
                <a:gd name="connsiteX35" fmla="*/ 703 w 442678"/>
                <a:gd name="connsiteY35" fmla="*/ 424473 h 442678"/>
                <a:gd name="connsiteX36" fmla="*/ 703 w 442678"/>
                <a:gd name="connsiteY36" fmla="*/ 221404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42678" h="442678">
                  <a:moveTo>
                    <a:pt x="703" y="221404"/>
                  </a:moveTo>
                  <a:cubicBezTo>
                    <a:pt x="703" y="154650"/>
                    <a:pt x="1405" y="87897"/>
                    <a:pt x="0" y="21144"/>
                  </a:cubicBezTo>
                  <a:cubicBezTo>
                    <a:pt x="0" y="4280"/>
                    <a:pt x="3513" y="-638"/>
                    <a:pt x="21080" y="64"/>
                  </a:cubicBezTo>
                  <a:cubicBezTo>
                    <a:pt x="60429" y="1470"/>
                    <a:pt x="99778" y="767"/>
                    <a:pt x="139127" y="64"/>
                  </a:cubicBezTo>
                  <a:cubicBezTo>
                    <a:pt x="155991" y="64"/>
                    <a:pt x="169342" y="4983"/>
                    <a:pt x="179882" y="17631"/>
                  </a:cubicBezTo>
                  <a:cubicBezTo>
                    <a:pt x="193233" y="32387"/>
                    <a:pt x="197449" y="46440"/>
                    <a:pt x="177071" y="60494"/>
                  </a:cubicBezTo>
                  <a:cubicBezTo>
                    <a:pt x="162316" y="71033"/>
                    <a:pt x="145452" y="82276"/>
                    <a:pt x="153181" y="104761"/>
                  </a:cubicBezTo>
                  <a:cubicBezTo>
                    <a:pt x="161613" y="128652"/>
                    <a:pt x="178477" y="144813"/>
                    <a:pt x="205178" y="147624"/>
                  </a:cubicBezTo>
                  <a:cubicBezTo>
                    <a:pt x="231177" y="150434"/>
                    <a:pt x="256472" y="149732"/>
                    <a:pt x="275444" y="127949"/>
                  </a:cubicBezTo>
                  <a:cubicBezTo>
                    <a:pt x="297227" y="103356"/>
                    <a:pt x="296524" y="87897"/>
                    <a:pt x="271931" y="65412"/>
                  </a:cubicBezTo>
                  <a:cubicBezTo>
                    <a:pt x="262094" y="56980"/>
                    <a:pt x="245932" y="50656"/>
                    <a:pt x="252959" y="33090"/>
                  </a:cubicBezTo>
                  <a:cubicBezTo>
                    <a:pt x="259986" y="15523"/>
                    <a:pt x="273336" y="1470"/>
                    <a:pt x="293713" y="767"/>
                  </a:cubicBezTo>
                  <a:cubicBezTo>
                    <a:pt x="339387" y="-638"/>
                    <a:pt x="385060" y="767"/>
                    <a:pt x="430733" y="64"/>
                  </a:cubicBezTo>
                  <a:cubicBezTo>
                    <a:pt x="443381" y="64"/>
                    <a:pt x="443381" y="7091"/>
                    <a:pt x="443381" y="16226"/>
                  </a:cubicBezTo>
                  <a:cubicBezTo>
                    <a:pt x="443381" y="59088"/>
                    <a:pt x="443381" y="101951"/>
                    <a:pt x="443381" y="144813"/>
                  </a:cubicBezTo>
                  <a:cubicBezTo>
                    <a:pt x="443381" y="160272"/>
                    <a:pt x="434949" y="172217"/>
                    <a:pt x="423004" y="182054"/>
                  </a:cubicBezTo>
                  <a:cubicBezTo>
                    <a:pt x="408951" y="193297"/>
                    <a:pt x="396303" y="195405"/>
                    <a:pt x="383655" y="178541"/>
                  </a:cubicBezTo>
                  <a:cubicBezTo>
                    <a:pt x="371709" y="163082"/>
                    <a:pt x="359764" y="143408"/>
                    <a:pt x="335171" y="153948"/>
                  </a:cubicBezTo>
                  <a:cubicBezTo>
                    <a:pt x="310578" y="165190"/>
                    <a:pt x="295119" y="183460"/>
                    <a:pt x="295119" y="213674"/>
                  </a:cubicBezTo>
                  <a:cubicBezTo>
                    <a:pt x="295119" y="238267"/>
                    <a:pt x="297227" y="260753"/>
                    <a:pt x="318307" y="277617"/>
                  </a:cubicBezTo>
                  <a:cubicBezTo>
                    <a:pt x="341495" y="296589"/>
                    <a:pt x="356251" y="295183"/>
                    <a:pt x="376628" y="273401"/>
                  </a:cubicBezTo>
                  <a:cubicBezTo>
                    <a:pt x="385763" y="263563"/>
                    <a:pt x="392789" y="245294"/>
                    <a:pt x="411058" y="253726"/>
                  </a:cubicBezTo>
                  <a:cubicBezTo>
                    <a:pt x="430030" y="262158"/>
                    <a:pt x="443381" y="276914"/>
                    <a:pt x="443381" y="300102"/>
                  </a:cubicBezTo>
                  <a:cubicBezTo>
                    <a:pt x="443381" y="342262"/>
                    <a:pt x="442678" y="384422"/>
                    <a:pt x="443381" y="425879"/>
                  </a:cubicBezTo>
                  <a:cubicBezTo>
                    <a:pt x="444084" y="441337"/>
                    <a:pt x="437057" y="443445"/>
                    <a:pt x="423706" y="443445"/>
                  </a:cubicBezTo>
                  <a:cubicBezTo>
                    <a:pt x="383655" y="442743"/>
                    <a:pt x="343603" y="442743"/>
                    <a:pt x="303551" y="443445"/>
                  </a:cubicBezTo>
                  <a:cubicBezTo>
                    <a:pt x="285984" y="443445"/>
                    <a:pt x="271931" y="436419"/>
                    <a:pt x="260689" y="423068"/>
                  </a:cubicBezTo>
                  <a:cubicBezTo>
                    <a:pt x="248743" y="409015"/>
                    <a:pt x="247338" y="396367"/>
                    <a:pt x="264202" y="383719"/>
                  </a:cubicBezTo>
                  <a:cubicBezTo>
                    <a:pt x="279660" y="372476"/>
                    <a:pt x="298632" y="359828"/>
                    <a:pt x="289498" y="337343"/>
                  </a:cubicBezTo>
                  <a:cubicBezTo>
                    <a:pt x="279660" y="312750"/>
                    <a:pt x="261391" y="295886"/>
                    <a:pt x="231879" y="295183"/>
                  </a:cubicBezTo>
                  <a:cubicBezTo>
                    <a:pt x="206583" y="294481"/>
                    <a:pt x="182693" y="295886"/>
                    <a:pt x="165126" y="317669"/>
                  </a:cubicBezTo>
                  <a:cubicBezTo>
                    <a:pt x="146154" y="340856"/>
                    <a:pt x="147559" y="355612"/>
                    <a:pt x="169342" y="376692"/>
                  </a:cubicBezTo>
                  <a:cubicBezTo>
                    <a:pt x="178477" y="385827"/>
                    <a:pt x="197449" y="390043"/>
                    <a:pt x="189017" y="410420"/>
                  </a:cubicBezTo>
                  <a:cubicBezTo>
                    <a:pt x="180585" y="430095"/>
                    <a:pt x="166531" y="442743"/>
                    <a:pt x="146154" y="443445"/>
                  </a:cubicBezTo>
                  <a:cubicBezTo>
                    <a:pt x="102589" y="444851"/>
                    <a:pt x="58321" y="443445"/>
                    <a:pt x="14756" y="444148"/>
                  </a:cubicBezTo>
                  <a:cubicBezTo>
                    <a:pt x="-2108" y="444148"/>
                    <a:pt x="703" y="434311"/>
                    <a:pt x="703" y="424473"/>
                  </a:cubicBezTo>
                  <a:cubicBezTo>
                    <a:pt x="703" y="356315"/>
                    <a:pt x="703" y="288859"/>
                    <a:pt x="703" y="22140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423C308B-9FBE-4C5C-AA05-F261852EC977}"/>
                </a:ext>
              </a:extLst>
            </p:cNvPr>
            <p:cNvSpPr/>
            <p:nvPr/>
          </p:nvSpPr>
          <p:spPr>
            <a:xfrm>
              <a:off x="1505534" y="1527776"/>
              <a:ext cx="1026185" cy="1026186"/>
            </a:xfrm>
            <a:custGeom>
              <a:avLst/>
              <a:gdLst>
                <a:gd name="connsiteX0" fmla="*/ 527 w 590237"/>
                <a:gd name="connsiteY0" fmla="*/ 78746 h 590237"/>
                <a:gd name="connsiteX1" fmla="*/ 527 w 590237"/>
                <a:gd name="connsiteY1" fmla="*/ 21128 h 590237"/>
                <a:gd name="connsiteX2" fmla="*/ 19499 w 590237"/>
                <a:gd name="connsiteY2" fmla="*/ 751 h 590237"/>
                <a:gd name="connsiteX3" fmla="*/ 139654 w 590237"/>
                <a:gd name="connsiteY3" fmla="*/ 751 h 590237"/>
                <a:gd name="connsiteX4" fmla="*/ 181814 w 590237"/>
                <a:gd name="connsiteY4" fmla="*/ 21128 h 590237"/>
                <a:gd name="connsiteX5" fmla="*/ 179004 w 590237"/>
                <a:gd name="connsiteY5" fmla="*/ 60477 h 590237"/>
                <a:gd name="connsiteX6" fmla="*/ 153708 w 590237"/>
                <a:gd name="connsiteY6" fmla="*/ 106150 h 590237"/>
                <a:gd name="connsiteX7" fmla="*/ 211326 w 590237"/>
                <a:gd name="connsiteY7" fmla="*/ 149013 h 590237"/>
                <a:gd name="connsiteX8" fmla="*/ 278079 w 590237"/>
                <a:gd name="connsiteY8" fmla="*/ 126528 h 590237"/>
                <a:gd name="connsiteX9" fmla="*/ 274566 w 590237"/>
                <a:gd name="connsiteY9" fmla="*/ 68206 h 590237"/>
                <a:gd name="connsiteX10" fmla="*/ 254188 w 590237"/>
                <a:gd name="connsiteY10" fmla="*/ 34479 h 590237"/>
                <a:gd name="connsiteX11" fmla="*/ 301970 w 590237"/>
                <a:gd name="connsiteY11" fmla="*/ 751 h 590237"/>
                <a:gd name="connsiteX12" fmla="*/ 424936 w 590237"/>
                <a:gd name="connsiteY12" fmla="*/ 48 h 590237"/>
                <a:gd name="connsiteX13" fmla="*/ 442503 w 590237"/>
                <a:gd name="connsiteY13" fmla="*/ 19723 h 590237"/>
                <a:gd name="connsiteX14" fmla="*/ 442503 w 590237"/>
                <a:gd name="connsiteY14" fmla="*/ 134959 h 590237"/>
                <a:gd name="connsiteX15" fmla="*/ 450934 w 590237"/>
                <a:gd name="connsiteY15" fmla="*/ 165877 h 590237"/>
                <a:gd name="connsiteX16" fmla="*/ 484663 w 590237"/>
                <a:gd name="connsiteY16" fmla="*/ 167282 h 590237"/>
                <a:gd name="connsiteX17" fmla="*/ 574603 w 590237"/>
                <a:gd name="connsiteY17" fmla="*/ 167985 h 590237"/>
                <a:gd name="connsiteX18" fmla="*/ 559145 w 590237"/>
                <a:gd name="connsiteY18" fmla="*/ 292356 h 590237"/>
                <a:gd name="connsiteX19" fmla="*/ 489581 w 590237"/>
                <a:gd name="connsiteY19" fmla="*/ 286032 h 590237"/>
                <a:gd name="connsiteX20" fmla="*/ 462880 w 590237"/>
                <a:gd name="connsiteY20" fmla="*/ 269168 h 590237"/>
                <a:gd name="connsiteX21" fmla="*/ 442503 w 590237"/>
                <a:gd name="connsiteY21" fmla="*/ 305004 h 590237"/>
                <a:gd name="connsiteX22" fmla="*/ 442503 w 590237"/>
                <a:gd name="connsiteY22" fmla="*/ 406188 h 590237"/>
                <a:gd name="connsiteX23" fmla="*/ 404559 w 590237"/>
                <a:gd name="connsiteY23" fmla="*/ 442726 h 590237"/>
                <a:gd name="connsiteX24" fmla="*/ 308997 w 590237"/>
                <a:gd name="connsiteY24" fmla="*/ 442726 h 590237"/>
                <a:gd name="connsiteX25" fmla="*/ 278079 w 590237"/>
                <a:gd name="connsiteY25" fmla="*/ 451158 h 590237"/>
                <a:gd name="connsiteX26" fmla="*/ 276674 w 590237"/>
                <a:gd name="connsiteY26" fmla="*/ 483481 h 590237"/>
                <a:gd name="connsiteX27" fmla="*/ 301267 w 590237"/>
                <a:gd name="connsiteY27" fmla="*/ 541099 h 590237"/>
                <a:gd name="connsiteX28" fmla="*/ 235919 w 590237"/>
                <a:gd name="connsiteY28" fmla="*/ 590988 h 590237"/>
                <a:gd name="connsiteX29" fmla="*/ 153005 w 590237"/>
                <a:gd name="connsiteY29" fmla="*/ 560774 h 590237"/>
                <a:gd name="connsiteX30" fmla="*/ 160032 w 590237"/>
                <a:gd name="connsiteY30" fmla="*/ 489102 h 590237"/>
                <a:gd name="connsiteX31" fmla="*/ 176193 w 590237"/>
                <a:gd name="connsiteY31" fmla="*/ 465211 h 590237"/>
                <a:gd name="connsiteX32" fmla="*/ 141060 w 590237"/>
                <a:gd name="connsiteY32" fmla="*/ 443429 h 590237"/>
                <a:gd name="connsiteX33" fmla="*/ 20904 w 590237"/>
                <a:gd name="connsiteY33" fmla="*/ 444132 h 590237"/>
                <a:gd name="connsiteX34" fmla="*/ 527 w 590237"/>
                <a:gd name="connsiteY34" fmla="*/ 423052 h 590237"/>
                <a:gd name="connsiteX35" fmla="*/ 527 w 590237"/>
                <a:gd name="connsiteY35" fmla="*/ 307815 h 590237"/>
                <a:gd name="connsiteX36" fmla="*/ 14580 w 590237"/>
                <a:gd name="connsiteY36" fmla="*/ 267763 h 590237"/>
                <a:gd name="connsiteX37" fmla="*/ 61659 w 590237"/>
                <a:gd name="connsiteY37" fmla="*/ 268466 h 590237"/>
                <a:gd name="connsiteX38" fmla="*/ 103819 w 590237"/>
                <a:gd name="connsiteY38" fmla="*/ 291654 h 590237"/>
                <a:gd name="connsiteX39" fmla="*/ 147384 w 590237"/>
                <a:gd name="connsiteY39" fmla="*/ 243872 h 590237"/>
                <a:gd name="connsiteX40" fmla="*/ 123493 w 590237"/>
                <a:gd name="connsiteY40" fmla="*/ 165174 h 590237"/>
                <a:gd name="connsiteX41" fmla="*/ 67280 w 590237"/>
                <a:gd name="connsiteY41" fmla="*/ 170795 h 590237"/>
                <a:gd name="connsiteX42" fmla="*/ 32849 w 590237"/>
                <a:gd name="connsiteY42" fmla="*/ 191173 h 590237"/>
                <a:gd name="connsiteX43" fmla="*/ 527 w 590237"/>
                <a:gd name="connsiteY43" fmla="*/ 147607 h 590237"/>
                <a:gd name="connsiteX44" fmla="*/ 527 w 590237"/>
                <a:gd name="connsiteY44" fmla="*/ 111772 h 590237"/>
                <a:gd name="connsiteX45" fmla="*/ 527 w 590237"/>
                <a:gd name="connsiteY45" fmla="*/ 78746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90237">
                  <a:moveTo>
                    <a:pt x="527" y="78746"/>
                  </a:moveTo>
                  <a:cubicBezTo>
                    <a:pt x="527" y="59774"/>
                    <a:pt x="1229" y="40100"/>
                    <a:pt x="527" y="21128"/>
                  </a:cubicBezTo>
                  <a:cubicBezTo>
                    <a:pt x="-176" y="7075"/>
                    <a:pt x="2635" y="48"/>
                    <a:pt x="19499" y="751"/>
                  </a:cubicBezTo>
                  <a:cubicBezTo>
                    <a:pt x="59551" y="2156"/>
                    <a:pt x="99602" y="1453"/>
                    <a:pt x="139654" y="751"/>
                  </a:cubicBezTo>
                  <a:cubicBezTo>
                    <a:pt x="157924" y="751"/>
                    <a:pt x="171274" y="7777"/>
                    <a:pt x="181814" y="21128"/>
                  </a:cubicBezTo>
                  <a:cubicBezTo>
                    <a:pt x="193057" y="35181"/>
                    <a:pt x="195165" y="47829"/>
                    <a:pt x="179004" y="60477"/>
                  </a:cubicBezTo>
                  <a:cubicBezTo>
                    <a:pt x="164247" y="71720"/>
                    <a:pt x="144573" y="82962"/>
                    <a:pt x="153708" y="106150"/>
                  </a:cubicBezTo>
                  <a:cubicBezTo>
                    <a:pt x="163545" y="131446"/>
                    <a:pt x="181814" y="147607"/>
                    <a:pt x="211326" y="149013"/>
                  </a:cubicBezTo>
                  <a:cubicBezTo>
                    <a:pt x="236622" y="149715"/>
                    <a:pt x="260513" y="148310"/>
                    <a:pt x="278079" y="126528"/>
                  </a:cubicBezTo>
                  <a:cubicBezTo>
                    <a:pt x="297051" y="102637"/>
                    <a:pt x="296348" y="88584"/>
                    <a:pt x="274566" y="68206"/>
                  </a:cubicBezTo>
                  <a:cubicBezTo>
                    <a:pt x="264728" y="59072"/>
                    <a:pt x="246459" y="54153"/>
                    <a:pt x="254188" y="34479"/>
                  </a:cubicBezTo>
                  <a:cubicBezTo>
                    <a:pt x="262620" y="13399"/>
                    <a:pt x="278079" y="751"/>
                    <a:pt x="301970" y="751"/>
                  </a:cubicBezTo>
                  <a:cubicBezTo>
                    <a:pt x="342724" y="751"/>
                    <a:pt x="384181" y="1453"/>
                    <a:pt x="424936" y="48"/>
                  </a:cubicBezTo>
                  <a:cubicBezTo>
                    <a:pt x="441097" y="-655"/>
                    <a:pt x="442503" y="6372"/>
                    <a:pt x="442503" y="19723"/>
                  </a:cubicBezTo>
                  <a:cubicBezTo>
                    <a:pt x="441800" y="58369"/>
                    <a:pt x="442503" y="96313"/>
                    <a:pt x="442503" y="134959"/>
                  </a:cubicBezTo>
                  <a:cubicBezTo>
                    <a:pt x="442503" y="146202"/>
                    <a:pt x="443205" y="156742"/>
                    <a:pt x="450934" y="165877"/>
                  </a:cubicBezTo>
                  <a:cubicBezTo>
                    <a:pt x="461474" y="179227"/>
                    <a:pt x="470609" y="184849"/>
                    <a:pt x="484663" y="167282"/>
                  </a:cubicBezTo>
                  <a:cubicBezTo>
                    <a:pt x="513472" y="131446"/>
                    <a:pt x="545091" y="132149"/>
                    <a:pt x="574603" y="167985"/>
                  </a:cubicBezTo>
                  <a:cubicBezTo>
                    <a:pt x="604115" y="203118"/>
                    <a:pt x="595683" y="265655"/>
                    <a:pt x="559145" y="292356"/>
                  </a:cubicBezTo>
                  <a:cubicBezTo>
                    <a:pt x="531741" y="312031"/>
                    <a:pt x="512769" y="309923"/>
                    <a:pt x="489581" y="286032"/>
                  </a:cubicBezTo>
                  <a:cubicBezTo>
                    <a:pt x="482554" y="278303"/>
                    <a:pt x="479041" y="260736"/>
                    <a:pt x="462880" y="269168"/>
                  </a:cubicBezTo>
                  <a:cubicBezTo>
                    <a:pt x="449529" y="276195"/>
                    <a:pt x="442503" y="288843"/>
                    <a:pt x="442503" y="305004"/>
                  </a:cubicBezTo>
                  <a:cubicBezTo>
                    <a:pt x="442503" y="338732"/>
                    <a:pt x="442503" y="372460"/>
                    <a:pt x="442503" y="406188"/>
                  </a:cubicBezTo>
                  <a:cubicBezTo>
                    <a:pt x="442503" y="442726"/>
                    <a:pt x="442503" y="442726"/>
                    <a:pt x="404559" y="442726"/>
                  </a:cubicBezTo>
                  <a:cubicBezTo>
                    <a:pt x="372939" y="442726"/>
                    <a:pt x="340616" y="442726"/>
                    <a:pt x="308997" y="442726"/>
                  </a:cubicBezTo>
                  <a:cubicBezTo>
                    <a:pt x="297754" y="442726"/>
                    <a:pt x="287214" y="443429"/>
                    <a:pt x="278079" y="451158"/>
                  </a:cubicBezTo>
                  <a:cubicBezTo>
                    <a:pt x="266837" y="460995"/>
                    <a:pt x="259107" y="470130"/>
                    <a:pt x="276674" y="483481"/>
                  </a:cubicBezTo>
                  <a:cubicBezTo>
                    <a:pt x="295646" y="497534"/>
                    <a:pt x="312510" y="514398"/>
                    <a:pt x="301267" y="541099"/>
                  </a:cubicBezTo>
                  <a:cubicBezTo>
                    <a:pt x="289322" y="569206"/>
                    <a:pt x="268945" y="588880"/>
                    <a:pt x="235919" y="590988"/>
                  </a:cubicBezTo>
                  <a:cubicBezTo>
                    <a:pt x="203597" y="593096"/>
                    <a:pt x="174085" y="588880"/>
                    <a:pt x="153005" y="560774"/>
                  </a:cubicBezTo>
                  <a:cubicBezTo>
                    <a:pt x="132628" y="533370"/>
                    <a:pt x="134736" y="512290"/>
                    <a:pt x="160032" y="489102"/>
                  </a:cubicBezTo>
                  <a:cubicBezTo>
                    <a:pt x="167058" y="482778"/>
                    <a:pt x="183219" y="479967"/>
                    <a:pt x="176193" y="465211"/>
                  </a:cubicBezTo>
                  <a:cubicBezTo>
                    <a:pt x="169869" y="451861"/>
                    <a:pt x="157924" y="443429"/>
                    <a:pt x="141060" y="443429"/>
                  </a:cubicBezTo>
                  <a:cubicBezTo>
                    <a:pt x="101008" y="443429"/>
                    <a:pt x="60956" y="442726"/>
                    <a:pt x="20904" y="444132"/>
                  </a:cubicBezTo>
                  <a:cubicBezTo>
                    <a:pt x="3338" y="444834"/>
                    <a:pt x="-176" y="439213"/>
                    <a:pt x="527" y="423052"/>
                  </a:cubicBezTo>
                  <a:cubicBezTo>
                    <a:pt x="1932" y="385108"/>
                    <a:pt x="1229" y="346461"/>
                    <a:pt x="527" y="307815"/>
                  </a:cubicBezTo>
                  <a:cubicBezTo>
                    <a:pt x="527" y="292356"/>
                    <a:pt x="3338" y="279006"/>
                    <a:pt x="14580" y="267763"/>
                  </a:cubicBezTo>
                  <a:cubicBezTo>
                    <a:pt x="33552" y="249494"/>
                    <a:pt x="44092" y="249494"/>
                    <a:pt x="61659" y="268466"/>
                  </a:cubicBezTo>
                  <a:cubicBezTo>
                    <a:pt x="72901" y="281114"/>
                    <a:pt x="82739" y="297978"/>
                    <a:pt x="103819" y="291654"/>
                  </a:cubicBezTo>
                  <a:cubicBezTo>
                    <a:pt x="126304" y="283924"/>
                    <a:pt x="143168" y="269168"/>
                    <a:pt x="147384" y="243872"/>
                  </a:cubicBezTo>
                  <a:cubicBezTo>
                    <a:pt x="153005" y="213658"/>
                    <a:pt x="150897" y="185551"/>
                    <a:pt x="123493" y="165174"/>
                  </a:cubicBezTo>
                  <a:cubicBezTo>
                    <a:pt x="101008" y="147607"/>
                    <a:pt x="86954" y="149013"/>
                    <a:pt x="67280" y="170795"/>
                  </a:cubicBezTo>
                  <a:cubicBezTo>
                    <a:pt x="58145" y="181335"/>
                    <a:pt x="51821" y="198902"/>
                    <a:pt x="32849" y="191173"/>
                  </a:cubicBezTo>
                  <a:cubicBezTo>
                    <a:pt x="13878" y="183443"/>
                    <a:pt x="1932" y="168687"/>
                    <a:pt x="527" y="147607"/>
                  </a:cubicBezTo>
                  <a:cubicBezTo>
                    <a:pt x="-176" y="135662"/>
                    <a:pt x="527" y="123717"/>
                    <a:pt x="527" y="111772"/>
                  </a:cubicBezTo>
                  <a:cubicBezTo>
                    <a:pt x="-176" y="100529"/>
                    <a:pt x="-176" y="89989"/>
                    <a:pt x="527" y="787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976AAD4D-E1A7-4EDC-89BE-4096C232DB30}"/>
                </a:ext>
              </a:extLst>
            </p:cNvPr>
            <p:cNvSpPr/>
            <p:nvPr/>
          </p:nvSpPr>
          <p:spPr>
            <a:xfrm>
              <a:off x="3040699" y="1250243"/>
              <a:ext cx="769640" cy="1282732"/>
            </a:xfrm>
            <a:custGeom>
              <a:avLst/>
              <a:gdLst>
                <a:gd name="connsiteX0" fmla="*/ 443445 w 442678"/>
                <a:gd name="connsiteY0" fmla="*/ 516659 h 737797"/>
                <a:gd name="connsiteX1" fmla="*/ 438526 w 442678"/>
                <a:gd name="connsiteY1" fmla="*/ 588331 h 737797"/>
                <a:gd name="connsiteX2" fmla="*/ 364746 w 442678"/>
                <a:gd name="connsiteY2" fmla="*/ 591844 h 737797"/>
                <a:gd name="connsiteX3" fmla="*/ 301506 w 442678"/>
                <a:gd name="connsiteY3" fmla="*/ 591844 h 737797"/>
                <a:gd name="connsiteX4" fmla="*/ 269184 w 442678"/>
                <a:gd name="connsiteY4" fmla="*/ 612924 h 737797"/>
                <a:gd name="connsiteX5" fmla="*/ 285345 w 442678"/>
                <a:gd name="connsiteY5" fmla="*/ 637517 h 737797"/>
                <a:gd name="connsiteX6" fmla="*/ 264968 w 442678"/>
                <a:gd name="connsiteY6" fmla="*/ 732377 h 737797"/>
                <a:gd name="connsiteX7" fmla="*/ 153947 w 442678"/>
                <a:gd name="connsiteY7" fmla="*/ 708486 h 737797"/>
                <a:gd name="connsiteX8" fmla="*/ 159569 w 442678"/>
                <a:gd name="connsiteY8" fmla="*/ 638220 h 737797"/>
                <a:gd name="connsiteX9" fmla="*/ 177135 w 442678"/>
                <a:gd name="connsiteY9" fmla="*/ 612221 h 737797"/>
                <a:gd name="connsiteX10" fmla="*/ 139191 w 442678"/>
                <a:gd name="connsiteY10" fmla="*/ 591141 h 737797"/>
                <a:gd name="connsiteX11" fmla="*/ 23954 w 442678"/>
                <a:gd name="connsiteY11" fmla="*/ 591844 h 737797"/>
                <a:gd name="connsiteX12" fmla="*/ 64 w 442678"/>
                <a:gd name="connsiteY12" fmla="*/ 567251 h 737797"/>
                <a:gd name="connsiteX13" fmla="*/ 64 w 442678"/>
                <a:gd name="connsiteY13" fmla="*/ 454824 h 737797"/>
                <a:gd name="connsiteX14" fmla="*/ 20441 w 442678"/>
                <a:gd name="connsiteY14" fmla="*/ 409151 h 737797"/>
                <a:gd name="connsiteX15" fmla="*/ 59790 w 442678"/>
                <a:gd name="connsiteY15" fmla="*/ 412665 h 737797"/>
                <a:gd name="connsiteX16" fmla="*/ 106166 w 442678"/>
                <a:gd name="connsiteY16" fmla="*/ 437258 h 737797"/>
                <a:gd name="connsiteX17" fmla="*/ 149029 w 442678"/>
                <a:gd name="connsiteY17" fmla="*/ 382450 h 737797"/>
                <a:gd name="connsiteX18" fmla="*/ 125840 w 442678"/>
                <a:gd name="connsiteY18" fmla="*/ 313589 h 737797"/>
                <a:gd name="connsiteX19" fmla="*/ 67519 w 442678"/>
                <a:gd name="connsiteY19" fmla="*/ 317102 h 737797"/>
                <a:gd name="connsiteX20" fmla="*/ 34494 w 442678"/>
                <a:gd name="connsiteY20" fmla="*/ 337480 h 737797"/>
                <a:gd name="connsiteX21" fmla="*/ 766 w 442678"/>
                <a:gd name="connsiteY21" fmla="*/ 292509 h 737797"/>
                <a:gd name="connsiteX22" fmla="*/ 64 w 442678"/>
                <a:gd name="connsiteY22" fmla="*/ 163921 h 737797"/>
                <a:gd name="connsiteX23" fmla="*/ 19036 w 442678"/>
                <a:gd name="connsiteY23" fmla="*/ 149166 h 737797"/>
                <a:gd name="connsiteX24" fmla="*/ 137083 w 442678"/>
                <a:gd name="connsiteY24" fmla="*/ 149166 h 737797"/>
                <a:gd name="connsiteX25" fmla="*/ 167298 w 442678"/>
                <a:gd name="connsiteY25" fmla="*/ 139328 h 737797"/>
                <a:gd name="connsiteX26" fmla="*/ 167298 w 442678"/>
                <a:gd name="connsiteY26" fmla="*/ 107708 h 737797"/>
                <a:gd name="connsiteX27" fmla="*/ 142705 w 442678"/>
                <a:gd name="connsiteY27" fmla="*/ 52198 h 737797"/>
                <a:gd name="connsiteX28" fmla="*/ 201728 w 442678"/>
                <a:gd name="connsiteY28" fmla="*/ 1606 h 737797"/>
                <a:gd name="connsiteX29" fmla="*/ 292372 w 442678"/>
                <a:gd name="connsiteY29" fmla="*/ 32523 h 737797"/>
                <a:gd name="connsiteX30" fmla="*/ 286048 w 442678"/>
                <a:gd name="connsiteY30" fmla="*/ 102087 h 737797"/>
                <a:gd name="connsiteX31" fmla="*/ 269887 w 442678"/>
                <a:gd name="connsiteY31" fmla="*/ 128788 h 737797"/>
                <a:gd name="connsiteX32" fmla="*/ 305723 w 442678"/>
                <a:gd name="connsiteY32" fmla="*/ 149166 h 737797"/>
                <a:gd name="connsiteX33" fmla="*/ 420959 w 442678"/>
                <a:gd name="connsiteY33" fmla="*/ 148463 h 737797"/>
                <a:gd name="connsiteX34" fmla="*/ 444148 w 442678"/>
                <a:gd name="connsiteY34" fmla="*/ 173056 h 737797"/>
                <a:gd name="connsiteX35" fmla="*/ 444148 w 442678"/>
                <a:gd name="connsiteY35" fmla="*/ 291104 h 737797"/>
                <a:gd name="connsiteX36" fmla="*/ 424473 w 442678"/>
                <a:gd name="connsiteY36" fmla="*/ 331155 h 737797"/>
                <a:gd name="connsiteX37" fmla="*/ 385826 w 442678"/>
                <a:gd name="connsiteY37" fmla="*/ 327642 h 737797"/>
                <a:gd name="connsiteX38" fmla="*/ 340153 w 442678"/>
                <a:gd name="connsiteY38" fmla="*/ 302346 h 737797"/>
                <a:gd name="connsiteX39" fmla="*/ 296588 w 442678"/>
                <a:gd name="connsiteY39" fmla="*/ 359965 h 737797"/>
                <a:gd name="connsiteX40" fmla="*/ 321884 w 442678"/>
                <a:gd name="connsiteY40" fmla="*/ 428123 h 737797"/>
                <a:gd name="connsiteX41" fmla="*/ 378097 w 442678"/>
                <a:gd name="connsiteY41" fmla="*/ 423205 h 737797"/>
                <a:gd name="connsiteX42" fmla="*/ 414636 w 442678"/>
                <a:gd name="connsiteY42" fmla="*/ 403530 h 737797"/>
                <a:gd name="connsiteX43" fmla="*/ 444850 w 442678"/>
                <a:gd name="connsiteY43" fmla="*/ 451311 h 737797"/>
                <a:gd name="connsiteX44" fmla="*/ 443445 w 442678"/>
                <a:gd name="connsiteY44" fmla="*/ 516659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42678" h="737797">
                  <a:moveTo>
                    <a:pt x="443445" y="516659"/>
                  </a:moveTo>
                  <a:cubicBezTo>
                    <a:pt x="441337" y="538441"/>
                    <a:pt x="454688" y="573574"/>
                    <a:pt x="438526" y="588331"/>
                  </a:cubicBezTo>
                  <a:cubicBezTo>
                    <a:pt x="424473" y="600979"/>
                    <a:pt x="390042" y="591844"/>
                    <a:pt x="364746" y="591844"/>
                  </a:cubicBezTo>
                  <a:cubicBezTo>
                    <a:pt x="343666" y="591844"/>
                    <a:pt x="322586" y="591844"/>
                    <a:pt x="301506" y="591844"/>
                  </a:cubicBezTo>
                  <a:cubicBezTo>
                    <a:pt x="286751" y="591844"/>
                    <a:pt x="274805" y="599573"/>
                    <a:pt x="269184" y="612924"/>
                  </a:cubicBezTo>
                  <a:cubicBezTo>
                    <a:pt x="262860" y="627680"/>
                    <a:pt x="278319" y="630490"/>
                    <a:pt x="285345" y="637517"/>
                  </a:cubicBezTo>
                  <a:cubicBezTo>
                    <a:pt x="317668" y="667732"/>
                    <a:pt x="309236" y="708486"/>
                    <a:pt x="264968" y="732377"/>
                  </a:cubicBezTo>
                  <a:cubicBezTo>
                    <a:pt x="229835" y="751349"/>
                    <a:pt x="177838" y="740106"/>
                    <a:pt x="153947" y="708486"/>
                  </a:cubicBezTo>
                  <a:cubicBezTo>
                    <a:pt x="134272" y="683190"/>
                    <a:pt x="137083" y="661407"/>
                    <a:pt x="159569" y="638220"/>
                  </a:cubicBezTo>
                  <a:cubicBezTo>
                    <a:pt x="166595" y="631193"/>
                    <a:pt x="184864" y="629085"/>
                    <a:pt x="177135" y="612221"/>
                  </a:cubicBezTo>
                  <a:cubicBezTo>
                    <a:pt x="170109" y="596763"/>
                    <a:pt x="156055" y="590439"/>
                    <a:pt x="139191" y="591141"/>
                  </a:cubicBezTo>
                  <a:cubicBezTo>
                    <a:pt x="100545" y="591844"/>
                    <a:pt x="62601" y="589736"/>
                    <a:pt x="23954" y="591844"/>
                  </a:cubicBezTo>
                  <a:cubicBezTo>
                    <a:pt x="4280" y="592546"/>
                    <a:pt x="-639" y="586223"/>
                    <a:pt x="64" y="567251"/>
                  </a:cubicBezTo>
                  <a:cubicBezTo>
                    <a:pt x="1469" y="530010"/>
                    <a:pt x="766" y="492768"/>
                    <a:pt x="64" y="454824"/>
                  </a:cubicBezTo>
                  <a:cubicBezTo>
                    <a:pt x="64" y="435852"/>
                    <a:pt x="6388" y="421097"/>
                    <a:pt x="20441" y="409151"/>
                  </a:cubicBezTo>
                  <a:cubicBezTo>
                    <a:pt x="34494" y="397908"/>
                    <a:pt x="47142" y="396503"/>
                    <a:pt x="59790" y="412665"/>
                  </a:cubicBezTo>
                  <a:cubicBezTo>
                    <a:pt x="71033" y="427420"/>
                    <a:pt x="82978" y="447095"/>
                    <a:pt x="106166" y="437258"/>
                  </a:cubicBezTo>
                  <a:cubicBezTo>
                    <a:pt x="130057" y="427420"/>
                    <a:pt x="146920" y="410557"/>
                    <a:pt x="149029" y="382450"/>
                  </a:cubicBezTo>
                  <a:cubicBezTo>
                    <a:pt x="151137" y="355749"/>
                    <a:pt x="148326" y="331858"/>
                    <a:pt x="125840" y="313589"/>
                  </a:cubicBezTo>
                  <a:cubicBezTo>
                    <a:pt x="101950" y="293914"/>
                    <a:pt x="88599" y="295320"/>
                    <a:pt x="67519" y="317102"/>
                  </a:cubicBezTo>
                  <a:cubicBezTo>
                    <a:pt x="58385" y="326237"/>
                    <a:pt x="54169" y="345209"/>
                    <a:pt x="34494" y="337480"/>
                  </a:cubicBezTo>
                  <a:cubicBezTo>
                    <a:pt x="14117" y="329750"/>
                    <a:pt x="1469" y="314292"/>
                    <a:pt x="766" y="292509"/>
                  </a:cubicBezTo>
                  <a:cubicBezTo>
                    <a:pt x="-639" y="249647"/>
                    <a:pt x="766" y="206784"/>
                    <a:pt x="64" y="163921"/>
                  </a:cubicBezTo>
                  <a:cubicBezTo>
                    <a:pt x="-639" y="147760"/>
                    <a:pt x="8496" y="149166"/>
                    <a:pt x="19036" y="149166"/>
                  </a:cubicBezTo>
                  <a:cubicBezTo>
                    <a:pt x="58385" y="149166"/>
                    <a:pt x="97734" y="149166"/>
                    <a:pt x="137083" y="149166"/>
                  </a:cubicBezTo>
                  <a:cubicBezTo>
                    <a:pt x="148326" y="149166"/>
                    <a:pt x="158163" y="147760"/>
                    <a:pt x="167298" y="139328"/>
                  </a:cubicBezTo>
                  <a:cubicBezTo>
                    <a:pt x="179243" y="128086"/>
                    <a:pt x="184162" y="118951"/>
                    <a:pt x="167298" y="107708"/>
                  </a:cubicBezTo>
                  <a:cubicBezTo>
                    <a:pt x="148326" y="94358"/>
                    <a:pt x="133570" y="76791"/>
                    <a:pt x="142705" y="52198"/>
                  </a:cubicBezTo>
                  <a:cubicBezTo>
                    <a:pt x="152542" y="25497"/>
                    <a:pt x="171514" y="5120"/>
                    <a:pt x="201728" y="1606"/>
                  </a:cubicBezTo>
                  <a:cubicBezTo>
                    <a:pt x="236159" y="-2610"/>
                    <a:pt x="269184" y="-502"/>
                    <a:pt x="292372" y="32523"/>
                  </a:cubicBezTo>
                  <a:cubicBezTo>
                    <a:pt x="312046" y="59927"/>
                    <a:pt x="309938" y="78899"/>
                    <a:pt x="286048" y="102087"/>
                  </a:cubicBezTo>
                  <a:cubicBezTo>
                    <a:pt x="278319" y="109114"/>
                    <a:pt x="261455" y="113330"/>
                    <a:pt x="269887" y="128788"/>
                  </a:cubicBezTo>
                  <a:cubicBezTo>
                    <a:pt x="276913" y="142139"/>
                    <a:pt x="289561" y="149166"/>
                    <a:pt x="305723" y="149166"/>
                  </a:cubicBezTo>
                  <a:cubicBezTo>
                    <a:pt x="344369" y="148463"/>
                    <a:pt x="382313" y="150571"/>
                    <a:pt x="420959" y="148463"/>
                  </a:cubicBezTo>
                  <a:cubicBezTo>
                    <a:pt x="441337" y="147760"/>
                    <a:pt x="444850" y="154084"/>
                    <a:pt x="444148" y="173056"/>
                  </a:cubicBezTo>
                  <a:cubicBezTo>
                    <a:pt x="442742" y="212405"/>
                    <a:pt x="443445" y="251754"/>
                    <a:pt x="444148" y="291104"/>
                  </a:cubicBezTo>
                  <a:cubicBezTo>
                    <a:pt x="444148" y="308670"/>
                    <a:pt x="437121" y="320615"/>
                    <a:pt x="424473" y="331155"/>
                  </a:cubicBezTo>
                  <a:cubicBezTo>
                    <a:pt x="410419" y="342398"/>
                    <a:pt x="397771" y="344506"/>
                    <a:pt x="385826" y="327642"/>
                  </a:cubicBezTo>
                  <a:cubicBezTo>
                    <a:pt x="374584" y="312886"/>
                    <a:pt x="363341" y="293212"/>
                    <a:pt x="340153" y="302346"/>
                  </a:cubicBezTo>
                  <a:cubicBezTo>
                    <a:pt x="314857" y="312184"/>
                    <a:pt x="298696" y="331155"/>
                    <a:pt x="296588" y="359965"/>
                  </a:cubicBezTo>
                  <a:cubicBezTo>
                    <a:pt x="294480" y="386666"/>
                    <a:pt x="298696" y="410557"/>
                    <a:pt x="321884" y="428123"/>
                  </a:cubicBezTo>
                  <a:cubicBezTo>
                    <a:pt x="345072" y="445690"/>
                    <a:pt x="357720" y="444987"/>
                    <a:pt x="378097" y="423205"/>
                  </a:cubicBezTo>
                  <a:cubicBezTo>
                    <a:pt x="387934" y="412665"/>
                    <a:pt x="394961" y="393693"/>
                    <a:pt x="414636" y="403530"/>
                  </a:cubicBezTo>
                  <a:cubicBezTo>
                    <a:pt x="433608" y="412665"/>
                    <a:pt x="445553" y="428123"/>
                    <a:pt x="444850" y="451311"/>
                  </a:cubicBezTo>
                  <a:cubicBezTo>
                    <a:pt x="442742" y="472391"/>
                    <a:pt x="443445" y="492066"/>
                    <a:pt x="443445" y="51665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AA5C573C-A57E-404C-94F0-F9EF45AE7C0B}"/>
                </a:ext>
              </a:extLst>
            </p:cNvPr>
            <p:cNvSpPr/>
            <p:nvPr/>
          </p:nvSpPr>
          <p:spPr>
            <a:xfrm>
              <a:off x="3556371" y="4307329"/>
              <a:ext cx="1026185" cy="1026186"/>
            </a:xfrm>
            <a:custGeom>
              <a:avLst/>
              <a:gdLst>
                <a:gd name="connsiteX0" fmla="*/ 228795 w 590237"/>
                <a:gd name="connsiteY0" fmla="*/ 149140 h 590237"/>
                <a:gd name="connsiteX1" fmla="*/ 292034 w 590237"/>
                <a:gd name="connsiteY1" fmla="*/ 149140 h 590237"/>
                <a:gd name="connsiteX2" fmla="*/ 323654 w 590237"/>
                <a:gd name="connsiteY2" fmla="*/ 127358 h 590237"/>
                <a:gd name="connsiteX3" fmla="*/ 308898 w 590237"/>
                <a:gd name="connsiteY3" fmla="*/ 104872 h 590237"/>
                <a:gd name="connsiteX4" fmla="*/ 322952 w 590237"/>
                <a:gd name="connsiteY4" fmla="*/ 11418 h 590237"/>
                <a:gd name="connsiteX5" fmla="*/ 438891 w 590237"/>
                <a:gd name="connsiteY5" fmla="*/ 33201 h 590237"/>
                <a:gd name="connsiteX6" fmla="*/ 432567 w 590237"/>
                <a:gd name="connsiteY6" fmla="*/ 103467 h 590237"/>
                <a:gd name="connsiteX7" fmla="*/ 415703 w 590237"/>
                <a:gd name="connsiteY7" fmla="*/ 128763 h 590237"/>
                <a:gd name="connsiteX8" fmla="*/ 451539 w 590237"/>
                <a:gd name="connsiteY8" fmla="*/ 149140 h 590237"/>
                <a:gd name="connsiteX9" fmla="*/ 571695 w 590237"/>
                <a:gd name="connsiteY9" fmla="*/ 148438 h 590237"/>
                <a:gd name="connsiteX10" fmla="*/ 592072 w 590237"/>
                <a:gd name="connsiteY10" fmla="*/ 168112 h 590237"/>
                <a:gd name="connsiteX11" fmla="*/ 591369 w 590237"/>
                <a:gd name="connsiteY11" fmla="*/ 288268 h 590237"/>
                <a:gd name="connsiteX12" fmla="*/ 570289 w 590237"/>
                <a:gd name="connsiteY12" fmla="*/ 330428 h 590237"/>
                <a:gd name="connsiteX13" fmla="*/ 530940 w 590237"/>
                <a:gd name="connsiteY13" fmla="*/ 326915 h 590237"/>
                <a:gd name="connsiteX14" fmla="*/ 484564 w 590237"/>
                <a:gd name="connsiteY14" fmla="*/ 302321 h 590237"/>
                <a:gd name="connsiteX15" fmla="*/ 442405 w 590237"/>
                <a:gd name="connsiteY15" fmla="*/ 357831 h 590237"/>
                <a:gd name="connsiteX16" fmla="*/ 463485 w 590237"/>
                <a:gd name="connsiteY16" fmla="*/ 425287 h 590237"/>
                <a:gd name="connsiteX17" fmla="*/ 523913 w 590237"/>
                <a:gd name="connsiteY17" fmla="*/ 422477 h 590237"/>
                <a:gd name="connsiteX18" fmla="*/ 558344 w 590237"/>
                <a:gd name="connsiteY18" fmla="*/ 402802 h 590237"/>
                <a:gd name="connsiteX19" fmla="*/ 590667 w 590237"/>
                <a:gd name="connsiteY19" fmla="*/ 446367 h 590237"/>
                <a:gd name="connsiteX20" fmla="*/ 591369 w 590237"/>
                <a:gd name="connsiteY20" fmla="*/ 577765 h 590237"/>
                <a:gd name="connsiteX21" fmla="*/ 574505 w 590237"/>
                <a:gd name="connsiteY21" fmla="*/ 592521 h 590237"/>
                <a:gd name="connsiteX22" fmla="*/ 445918 w 590237"/>
                <a:gd name="connsiteY22" fmla="*/ 592521 h 590237"/>
                <a:gd name="connsiteX23" fmla="*/ 410785 w 590237"/>
                <a:gd name="connsiteY23" fmla="*/ 574955 h 590237"/>
                <a:gd name="connsiteX24" fmla="*/ 413595 w 590237"/>
                <a:gd name="connsiteY24" fmla="*/ 531390 h 590237"/>
                <a:gd name="connsiteX25" fmla="*/ 436783 w 590237"/>
                <a:gd name="connsiteY25" fmla="*/ 487122 h 590237"/>
                <a:gd name="connsiteX26" fmla="*/ 381975 w 590237"/>
                <a:gd name="connsiteY26" fmla="*/ 444962 h 590237"/>
                <a:gd name="connsiteX27" fmla="*/ 311006 w 590237"/>
                <a:gd name="connsiteY27" fmla="*/ 469555 h 590237"/>
                <a:gd name="connsiteX28" fmla="*/ 316628 w 590237"/>
                <a:gd name="connsiteY28" fmla="*/ 525768 h 590237"/>
                <a:gd name="connsiteX29" fmla="*/ 337005 w 590237"/>
                <a:gd name="connsiteY29" fmla="*/ 558794 h 590237"/>
                <a:gd name="connsiteX30" fmla="*/ 289224 w 590237"/>
                <a:gd name="connsiteY30" fmla="*/ 592521 h 590237"/>
                <a:gd name="connsiteX31" fmla="*/ 166258 w 590237"/>
                <a:gd name="connsiteY31" fmla="*/ 592521 h 590237"/>
                <a:gd name="connsiteX32" fmla="*/ 148691 w 590237"/>
                <a:gd name="connsiteY32" fmla="*/ 573549 h 590237"/>
                <a:gd name="connsiteX33" fmla="*/ 149394 w 590237"/>
                <a:gd name="connsiteY33" fmla="*/ 458312 h 590237"/>
                <a:gd name="connsiteX34" fmla="*/ 137448 w 590237"/>
                <a:gd name="connsiteY34" fmla="*/ 423179 h 590237"/>
                <a:gd name="connsiteX35" fmla="*/ 109342 w 590237"/>
                <a:gd name="connsiteY35" fmla="*/ 423882 h 590237"/>
                <a:gd name="connsiteX36" fmla="*/ 49615 w 590237"/>
                <a:gd name="connsiteY36" fmla="*/ 449178 h 590237"/>
                <a:gd name="connsiteX37" fmla="*/ 429 w 590237"/>
                <a:gd name="connsiteY37" fmla="*/ 382425 h 590237"/>
                <a:gd name="connsiteX38" fmla="*/ 32049 w 590237"/>
                <a:gd name="connsiteY38" fmla="*/ 300213 h 590237"/>
                <a:gd name="connsiteX39" fmla="*/ 101613 w 590237"/>
                <a:gd name="connsiteY39" fmla="*/ 305835 h 590237"/>
                <a:gd name="connsiteX40" fmla="*/ 128314 w 590237"/>
                <a:gd name="connsiteY40" fmla="*/ 322698 h 590237"/>
                <a:gd name="connsiteX41" fmla="*/ 148691 w 590237"/>
                <a:gd name="connsiteY41" fmla="*/ 286863 h 590237"/>
                <a:gd name="connsiteX42" fmla="*/ 147988 w 590237"/>
                <a:gd name="connsiteY42" fmla="*/ 168815 h 590237"/>
                <a:gd name="connsiteX43" fmla="*/ 168366 w 590237"/>
                <a:gd name="connsiteY43" fmla="*/ 147032 h 590237"/>
                <a:gd name="connsiteX44" fmla="*/ 228795 w 590237"/>
                <a:gd name="connsiteY44" fmla="*/ 14914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90237" h="590237">
                  <a:moveTo>
                    <a:pt x="228795" y="149140"/>
                  </a:moveTo>
                  <a:cubicBezTo>
                    <a:pt x="249874" y="149140"/>
                    <a:pt x="270954" y="148438"/>
                    <a:pt x="292034" y="149140"/>
                  </a:cubicBezTo>
                  <a:cubicBezTo>
                    <a:pt x="308196" y="149843"/>
                    <a:pt x="318033" y="140006"/>
                    <a:pt x="323654" y="127358"/>
                  </a:cubicBezTo>
                  <a:cubicBezTo>
                    <a:pt x="329276" y="114710"/>
                    <a:pt x="315222" y="110494"/>
                    <a:pt x="308898" y="104872"/>
                  </a:cubicBezTo>
                  <a:cubicBezTo>
                    <a:pt x="275873" y="73956"/>
                    <a:pt x="280792" y="38119"/>
                    <a:pt x="322952" y="11418"/>
                  </a:cubicBezTo>
                  <a:cubicBezTo>
                    <a:pt x="358085" y="-10364"/>
                    <a:pt x="413595" y="176"/>
                    <a:pt x="438891" y="33201"/>
                  </a:cubicBezTo>
                  <a:cubicBezTo>
                    <a:pt x="457863" y="59199"/>
                    <a:pt x="455755" y="80982"/>
                    <a:pt x="432567" y="103467"/>
                  </a:cubicBezTo>
                  <a:cubicBezTo>
                    <a:pt x="425540" y="110494"/>
                    <a:pt x="406569" y="111899"/>
                    <a:pt x="415703" y="128763"/>
                  </a:cubicBezTo>
                  <a:cubicBezTo>
                    <a:pt x="422730" y="142816"/>
                    <a:pt x="434675" y="149140"/>
                    <a:pt x="451539" y="149140"/>
                  </a:cubicBezTo>
                  <a:cubicBezTo>
                    <a:pt x="491591" y="148438"/>
                    <a:pt x="531643" y="149843"/>
                    <a:pt x="571695" y="148438"/>
                  </a:cubicBezTo>
                  <a:cubicBezTo>
                    <a:pt x="587153" y="147735"/>
                    <a:pt x="592072" y="151951"/>
                    <a:pt x="592072" y="168112"/>
                  </a:cubicBezTo>
                  <a:cubicBezTo>
                    <a:pt x="590667" y="208164"/>
                    <a:pt x="591369" y="248216"/>
                    <a:pt x="591369" y="288268"/>
                  </a:cubicBezTo>
                  <a:cubicBezTo>
                    <a:pt x="591369" y="305835"/>
                    <a:pt x="584343" y="319888"/>
                    <a:pt x="570289" y="330428"/>
                  </a:cubicBezTo>
                  <a:cubicBezTo>
                    <a:pt x="555533" y="341670"/>
                    <a:pt x="543588" y="343076"/>
                    <a:pt x="530940" y="326915"/>
                  </a:cubicBezTo>
                  <a:cubicBezTo>
                    <a:pt x="519698" y="312158"/>
                    <a:pt x="507752" y="293186"/>
                    <a:pt x="484564" y="302321"/>
                  </a:cubicBezTo>
                  <a:cubicBezTo>
                    <a:pt x="459971" y="312158"/>
                    <a:pt x="444512" y="329725"/>
                    <a:pt x="442405" y="357831"/>
                  </a:cubicBezTo>
                  <a:cubicBezTo>
                    <a:pt x="440296" y="383128"/>
                    <a:pt x="442405" y="407018"/>
                    <a:pt x="463485" y="425287"/>
                  </a:cubicBezTo>
                  <a:cubicBezTo>
                    <a:pt x="486672" y="445664"/>
                    <a:pt x="502834" y="444962"/>
                    <a:pt x="523913" y="422477"/>
                  </a:cubicBezTo>
                  <a:cubicBezTo>
                    <a:pt x="533048" y="412639"/>
                    <a:pt x="539372" y="394370"/>
                    <a:pt x="558344" y="402802"/>
                  </a:cubicBezTo>
                  <a:cubicBezTo>
                    <a:pt x="577316" y="410531"/>
                    <a:pt x="589964" y="425990"/>
                    <a:pt x="590667" y="446367"/>
                  </a:cubicBezTo>
                  <a:cubicBezTo>
                    <a:pt x="592072" y="489932"/>
                    <a:pt x="590667" y="534200"/>
                    <a:pt x="591369" y="577765"/>
                  </a:cubicBezTo>
                  <a:cubicBezTo>
                    <a:pt x="591369" y="591116"/>
                    <a:pt x="585748" y="592521"/>
                    <a:pt x="574505" y="592521"/>
                  </a:cubicBezTo>
                  <a:cubicBezTo>
                    <a:pt x="531643" y="591819"/>
                    <a:pt x="488780" y="592521"/>
                    <a:pt x="445918" y="592521"/>
                  </a:cubicBezTo>
                  <a:cubicBezTo>
                    <a:pt x="431162" y="592521"/>
                    <a:pt x="419919" y="584792"/>
                    <a:pt x="410785" y="574955"/>
                  </a:cubicBezTo>
                  <a:cubicBezTo>
                    <a:pt x="396731" y="559496"/>
                    <a:pt x="394623" y="545443"/>
                    <a:pt x="413595" y="531390"/>
                  </a:cubicBezTo>
                  <a:cubicBezTo>
                    <a:pt x="428351" y="520850"/>
                    <a:pt x="445918" y="508904"/>
                    <a:pt x="436783" y="487122"/>
                  </a:cubicBezTo>
                  <a:cubicBezTo>
                    <a:pt x="426946" y="463231"/>
                    <a:pt x="410082" y="446367"/>
                    <a:pt x="381975" y="444962"/>
                  </a:cubicBezTo>
                  <a:cubicBezTo>
                    <a:pt x="354572" y="443557"/>
                    <a:pt x="329276" y="444962"/>
                    <a:pt x="311006" y="469555"/>
                  </a:cubicBezTo>
                  <a:cubicBezTo>
                    <a:pt x="294142" y="492743"/>
                    <a:pt x="294845" y="506094"/>
                    <a:pt x="316628" y="525768"/>
                  </a:cubicBezTo>
                  <a:cubicBezTo>
                    <a:pt x="326465" y="534903"/>
                    <a:pt x="345437" y="539119"/>
                    <a:pt x="337005" y="558794"/>
                  </a:cubicBezTo>
                  <a:cubicBezTo>
                    <a:pt x="328573" y="579874"/>
                    <a:pt x="313114" y="592521"/>
                    <a:pt x="289224" y="592521"/>
                  </a:cubicBezTo>
                  <a:cubicBezTo>
                    <a:pt x="248469" y="592521"/>
                    <a:pt x="207012" y="591819"/>
                    <a:pt x="166258" y="592521"/>
                  </a:cubicBezTo>
                  <a:cubicBezTo>
                    <a:pt x="150799" y="593224"/>
                    <a:pt x="148691" y="586900"/>
                    <a:pt x="148691" y="573549"/>
                  </a:cubicBezTo>
                  <a:cubicBezTo>
                    <a:pt x="149394" y="534903"/>
                    <a:pt x="148691" y="496959"/>
                    <a:pt x="149394" y="458312"/>
                  </a:cubicBezTo>
                  <a:cubicBezTo>
                    <a:pt x="149394" y="444962"/>
                    <a:pt x="147286" y="433017"/>
                    <a:pt x="137448" y="423179"/>
                  </a:cubicBezTo>
                  <a:cubicBezTo>
                    <a:pt x="127611" y="413342"/>
                    <a:pt x="119179" y="409126"/>
                    <a:pt x="109342" y="423882"/>
                  </a:cubicBezTo>
                  <a:cubicBezTo>
                    <a:pt x="95288" y="444259"/>
                    <a:pt x="77019" y="461123"/>
                    <a:pt x="49615" y="449178"/>
                  </a:cubicBezTo>
                  <a:cubicBezTo>
                    <a:pt x="21509" y="436530"/>
                    <a:pt x="2537" y="416153"/>
                    <a:pt x="429" y="382425"/>
                  </a:cubicBezTo>
                  <a:cubicBezTo>
                    <a:pt x="-1679" y="350102"/>
                    <a:pt x="3240" y="320590"/>
                    <a:pt x="32049" y="300213"/>
                  </a:cubicBezTo>
                  <a:cubicBezTo>
                    <a:pt x="59453" y="280538"/>
                    <a:pt x="78425" y="281944"/>
                    <a:pt x="101613" y="305835"/>
                  </a:cubicBezTo>
                  <a:cubicBezTo>
                    <a:pt x="108639" y="313564"/>
                    <a:pt x="112153" y="330428"/>
                    <a:pt x="128314" y="322698"/>
                  </a:cubicBezTo>
                  <a:cubicBezTo>
                    <a:pt x="142367" y="315672"/>
                    <a:pt x="148691" y="303024"/>
                    <a:pt x="148691" y="286863"/>
                  </a:cubicBezTo>
                  <a:cubicBezTo>
                    <a:pt x="148691" y="247513"/>
                    <a:pt x="149394" y="208164"/>
                    <a:pt x="147988" y="168815"/>
                  </a:cubicBezTo>
                  <a:cubicBezTo>
                    <a:pt x="147286" y="152654"/>
                    <a:pt x="150096" y="145627"/>
                    <a:pt x="168366" y="147032"/>
                  </a:cubicBezTo>
                  <a:cubicBezTo>
                    <a:pt x="188743" y="150546"/>
                    <a:pt x="209120" y="149140"/>
                    <a:pt x="228795" y="14914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FBC4CC2E-9680-4810-946C-ADD44794510A}"/>
                </a:ext>
              </a:extLst>
            </p:cNvPr>
            <p:cNvSpPr/>
            <p:nvPr/>
          </p:nvSpPr>
          <p:spPr>
            <a:xfrm>
              <a:off x="2271731" y="1258111"/>
              <a:ext cx="1026185" cy="1013970"/>
            </a:xfrm>
            <a:custGeom>
              <a:avLst/>
              <a:gdLst>
                <a:gd name="connsiteX0" fmla="*/ 710 w 590237"/>
                <a:gd name="connsiteY0" fmla="*/ 508487 h 583211"/>
                <a:gd name="connsiteX1" fmla="*/ 710 w 590237"/>
                <a:gd name="connsiteY1" fmla="*/ 448058 h 583211"/>
                <a:gd name="connsiteX2" fmla="*/ 16168 w 590237"/>
                <a:gd name="connsiteY2" fmla="*/ 411520 h 583211"/>
                <a:gd name="connsiteX3" fmla="*/ 61841 w 590237"/>
                <a:gd name="connsiteY3" fmla="*/ 413628 h 583211"/>
                <a:gd name="connsiteX4" fmla="*/ 103298 w 590237"/>
                <a:gd name="connsiteY4" fmla="*/ 437518 h 583211"/>
                <a:gd name="connsiteX5" fmla="*/ 146864 w 590237"/>
                <a:gd name="connsiteY5" fmla="*/ 389737 h 583211"/>
                <a:gd name="connsiteX6" fmla="*/ 125081 w 590237"/>
                <a:gd name="connsiteY6" fmla="*/ 312444 h 583211"/>
                <a:gd name="connsiteX7" fmla="*/ 66760 w 590237"/>
                <a:gd name="connsiteY7" fmla="*/ 316660 h 583211"/>
                <a:gd name="connsiteX8" fmla="*/ 33032 w 590237"/>
                <a:gd name="connsiteY8" fmla="*/ 336335 h 583211"/>
                <a:gd name="connsiteX9" fmla="*/ 710 w 590237"/>
                <a:gd name="connsiteY9" fmla="*/ 290661 h 583211"/>
                <a:gd name="connsiteX10" fmla="*/ 710 w 590237"/>
                <a:gd name="connsiteY10" fmla="*/ 164884 h 583211"/>
                <a:gd name="connsiteX11" fmla="*/ 17574 w 590237"/>
                <a:gd name="connsiteY11" fmla="*/ 148021 h 583211"/>
                <a:gd name="connsiteX12" fmla="*/ 135621 w 590237"/>
                <a:gd name="connsiteY12" fmla="*/ 148723 h 583211"/>
                <a:gd name="connsiteX13" fmla="*/ 165836 w 590237"/>
                <a:gd name="connsiteY13" fmla="*/ 139589 h 583211"/>
                <a:gd name="connsiteX14" fmla="*/ 167241 w 590237"/>
                <a:gd name="connsiteY14" fmla="*/ 107969 h 583211"/>
                <a:gd name="connsiteX15" fmla="*/ 141242 w 590237"/>
                <a:gd name="connsiteY15" fmla="*/ 52458 h 583211"/>
                <a:gd name="connsiteX16" fmla="*/ 203077 w 590237"/>
                <a:gd name="connsiteY16" fmla="*/ 1164 h 583211"/>
                <a:gd name="connsiteX17" fmla="*/ 293018 w 590237"/>
                <a:gd name="connsiteY17" fmla="*/ 32784 h 583211"/>
                <a:gd name="connsiteX18" fmla="*/ 286694 w 590237"/>
                <a:gd name="connsiteY18" fmla="*/ 100239 h 583211"/>
                <a:gd name="connsiteX19" fmla="*/ 268424 w 590237"/>
                <a:gd name="connsiteY19" fmla="*/ 126238 h 583211"/>
                <a:gd name="connsiteX20" fmla="*/ 306368 w 590237"/>
                <a:gd name="connsiteY20" fmla="*/ 148021 h 583211"/>
                <a:gd name="connsiteX21" fmla="*/ 421605 w 590237"/>
                <a:gd name="connsiteY21" fmla="*/ 147318 h 583211"/>
                <a:gd name="connsiteX22" fmla="*/ 443388 w 590237"/>
                <a:gd name="connsiteY22" fmla="*/ 169803 h 583211"/>
                <a:gd name="connsiteX23" fmla="*/ 442685 w 590237"/>
                <a:gd name="connsiteY23" fmla="*/ 282229 h 583211"/>
                <a:gd name="connsiteX24" fmla="*/ 453928 w 590237"/>
                <a:gd name="connsiteY24" fmla="*/ 314552 h 583211"/>
                <a:gd name="connsiteX25" fmla="*/ 482737 w 590237"/>
                <a:gd name="connsiteY25" fmla="*/ 314552 h 583211"/>
                <a:gd name="connsiteX26" fmla="*/ 539653 w 590237"/>
                <a:gd name="connsiteY26" fmla="*/ 288554 h 583211"/>
                <a:gd name="connsiteX27" fmla="*/ 590947 w 590237"/>
                <a:gd name="connsiteY27" fmla="*/ 353198 h 583211"/>
                <a:gd name="connsiteX28" fmla="*/ 560030 w 590237"/>
                <a:gd name="connsiteY28" fmla="*/ 438221 h 583211"/>
                <a:gd name="connsiteX29" fmla="*/ 489763 w 590237"/>
                <a:gd name="connsiteY29" fmla="*/ 431897 h 583211"/>
                <a:gd name="connsiteX30" fmla="*/ 465873 w 590237"/>
                <a:gd name="connsiteY30" fmla="*/ 414330 h 583211"/>
                <a:gd name="connsiteX31" fmla="*/ 441982 w 590237"/>
                <a:gd name="connsiteY31" fmla="*/ 450869 h 583211"/>
                <a:gd name="connsiteX32" fmla="*/ 442685 w 590237"/>
                <a:gd name="connsiteY32" fmla="*/ 568214 h 583211"/>
                <a:gd name="connsiteX33" fmla="*/ 419497 w 590237"/>
                <a:gd name="connsiteY33" fmla="*/ 589996 h 583211"/>
                <a:gd name="connsiteX34" fmla="*/ 307071 w 590237"/>
                <a:gd name="connsiteY34" fmla="*/ 589996 h 583211"/>
                <a:gd name="connsiteX35" fmla="*/ 263506 w 590237"/>
                <a:gd name="connsiteY35" fmla="*/ 572430 h 583211"/>
                <a:gd name="connsiteX36" fmla="*/ 266316 w 590237"/>
                <a:gd name="connsiteY36" fmla="*/ 528864 h 583211"/>
                <a:gd name="connsiteX37" fmla="*/ 289504 w 590237"/>
                <a:gd name="connsiteY37" fmla="*/ 485299 h 583211"/>
                <a:gd name="connsiteX38" fmla="*/ 237507 w 590237"/>
                <a:gd name="connsiteY38" fmla="*/ 442437 h 583211"/>
                <a:gd name="connsiteX39" fmla="*/ 167241 w 590237"/>
                <a:gd name="connsiteY39" fmla="*/ 462111 h 583211"/>
                <a:gd name="connsiteX40" fmla="*/ 170051 w 590237"/>
                <a:gd name="connsiteY40" fmla="*/ 523946 h 583211"/>
                <a:gd name="connsiteX41" fmla="*/ 189023 w 590237"/>
                <a:gd name="connsiteY41" fmla="*/ 555566 h 583211"/>
                <a:gd name="connsiteX42" fmla="*/ 148971 w 590237"/>
                <a:gd name="connsiteY42" fmla="*/ 587888 h 583211"/>
                <a:gd name="connsiteX43" fmla="*/ 11952 w 590237"/>
                <a:gd name="connsiteY43" fmla="*/ 589294 h 583211"/>
                <a:gd name="connsiteX44" fmla="*/ 7 w 590237"/>
                <a:gd name="connsiteY44" fmla="*/ 573132 h 583211"/>
                <a:gd name="connsiteX45" fmla="*/ 710 w 590237"/>
                <a:gd name="connsiteY45" fmla="*/ 508487 h 58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83211">
                  <a:moveTo>
                    <a:pt x="710" y="508487"/>
                  </a:moveTo>
                  <a:cubicBezTo>
                    <a:pt x="710" y="488110"/>
                    <a:pt x="1412" y="468435"/>
                    <a:pt x="710" y="448058"/>
                  </a:cubicBezTo>
                  <a:cubicBezTo>
                    <a:pt x="7" y="433302"/>
                    <a:pt x="5628" y="421357"/>
                    <a:pt x="16168" y="411520"/>
                  </a:cubicBezTo>
                  <a:cubicBezTo>
                    <a:pt x="32329" y="396764"/>
                    <a:pt x="47085" y="393250"/>
                    <a:pt x="61841" y="413628"/>
                  </a:cubicBezTo>
                  <a:cubicBezTo>
                    <a:pt x="71678" y="427681"/>
                    <a:pt x="83624" y="444545"/>
                    <a:pt x="103298" y="437518"/>
                  </a:cubicBezTo>
                  <a:cubicBezTo>
                    <a:pt x="125081" y="429789"/>
                    <a:pt x="142648" y="415033"/>
                    <a:pt x="146864" y="389737"/>
                  </a:cubicBezTo>
                  <a:cubicBezTo>
                    <a:pt x="151782" y="360928"/>
                    <a:pt x="150377" y="333524"/>
                    <a:pt x="125081" y="312444"/>
                  </a:cubicBezTo>
                  <a:cubicBezTo>
                    <a:pt x="101893" y="293472"/>
                    <a:pt x="87840" y="294877"/>
                    <a:pt x="66760" y="316660"/>
                  </a:cubicBezTo>
                  <a:cubicBezTo>
                    <a:pt x="57625" y="325795"/>
                    <a:pt x="53409" y="345469"/>
                    <a:pt x="33032" y="336335"/>
                  </a:cubicBezTo>
                  <a:cubicBezTo>
                    <a:pt x="13357" y="327903"/>
                    <a:pt x="710" y="313849"/>
                    <a:pt x="710" y="290661"/>
                  </a:cubicBezTo>
                  <a:cubicBezTo>
                    <a:pt x="710" y="248502"/>
                    <a:pt x="1412" y="207044"/>
                    <a:pt x="710" y="164884"/>
                  </a:cubicBezTo>
                  <a:cubicBezTo>
                    <a:pt x="710" y="151534"/>
                    <a:pt x="4223" y="148021"/>
                    <a:pt x="17574" y="148021"/>
                  </a:cubicBezTo>
                  <a:cubicBezTo>
                    <a:pt x="56923" y="148723"/>
                    <a:pt x="96272" y="148021"/>
                    <a:pt x="135621" y="148723"/>
                  </a:cubicBezTo>
                  <a:cubicBezTo>
                    <a:pt x="146864" y="148723"/>
                    <a:pt x="157404" y="147318"/>
                    <a:pt x="165836" y="139589"/>
                  </a:cubicBezTo>
                  <a:cubicBezTo>
                    <a:pt x="177781" y="129049"/>
                    <a:pt x="184808" y="119914"/>
                    <a:pt x="167241" y="107969"/>
                  </a:cubicBezTo>
                  <a:cubicBezTo>
                    <a:pt x="148269" y="95321"/>
                    <a:pt x="134216" y="77754"/>
                    <a:pt x="141242" y="52458"/>
                  </a:cubicBezTo>
                  <a:cubicBezTo>
                    <a:pt x="147566" y="27865"/>
                    <a:pt x="177078" y="3974"/>
                    <a:pt x="203077" y="1164"/>
                  </a:cubicBezTo>
                  <a:cubicBezTo>
                    <a:pt x="238210" y="-2349"/>
                    <a:pt x="270533" y="461"/>
                    <a:pt x="293018" y="32784"/>
                  </a:cubicBezTo>
                  <a:cubicBezTo>
                    <a:pt x="311287" y="58782"/>
                    <a:pt x="308476" y="78457"/>
                    <a:pt x="286694" y="100239"/>
                  </a:cubicBezTo>
                  <a:cubicBezTo>
                    <a:pt x="279667" y="107969"/>
                    <a:pt x="261398" y="110779"/>
                    <a:pt x="268424" y="126238"/>
                  </a:cubicBezTo>
                  <a:cubicBezTo>
                    <a:pt x="275451" y="140994"/>
                    <a:pt x="288802" y="148021"/>
                    <a:pt x="306368" y="148021"/>
                  </a:cubicBezTo>
                  <a:cubicBezTo>
                    <a:pt x="345015" y="147318"/>
                    <a:pt x="382959" y="148723"/>
                    <a:pt x="421605" y="147318"/>
                  </a:cubicBezTo>
                  <a:cubicBezTo>
                    <a:pt x="440577" y="146615"/>
                    <a:pt x="444090" y="152939"/>
                    <a:pt x="443388" y="169803"/>
                  </a:cubicBezTo>
                  <a:cubicBezTo>
                    <a:pt x="441982" y="207044"/>
                    <a:pt x="443388" y="244285"/>
                    <a:pt x="442685" y="282229"/>
                  </a:cubicBezTo>
                  <a:cubicBezTo>
                    <a:pt x="442685" y="294877"/>
                    <a:pt x="445496" y="305417"/>
                    <a:pt x="453928" y="314552"/>
                  </a:cubicBezTo>
                  <a:cubicBezTo>
                    <a:pt x="463765" y="324389"/>
                    <a:pt x="472197" y="328605"/>
                    <a:pt x="482737" y="314552"/>
                  </a:cubicBezTo>
                  <a:cubicBezTo>
                    <a:pt x="496790" y="295580"/>
                    <a:pt x="512952" y="278014"/>
                    <a:pt x="539653" y="288554"/>
                  </a:cubicBezTo>
                  <a:cubicBezTo>
                    <a:pt x="568462" y="299796"/>
                    <a:pt x="588136" y="320173"/>
                    <a:pt x="590947" y="353198"/>
                  </a:cubicBezTo>
                  <a:cubicBezTo>
                    <a:pt x="593758" y="386927"/>
                    <a:pt x="589542" y="416438"/>
                    <a:pt x="560030" y="438221"/>
                  </a:cubicBezTo>
                  <a:cubicBezTo>
                    <a:pt x="534032" y="457193"/>
                    <a:pt x="512952" y="455085"/>
                    <a:pt x="489763" y="431897"/>
                  </a:cubicBezTo>
                  <a:cubicBezTo>
                    <a:pt x="482737" y="424870"/>
                    <a:pt x="479224" y="408709"/>
                    <a:pt x="465873" y="414330"/>
                  </a:cubicBezTo>
                  <a:cubicBezTo>
                    <a:pt x="451117" y="420654"/>
                    <a:pt x="441982" y="433302"/>
                    <a:pt x="441982" y="450869"/>
                  </a:cubicBezTo>
                  <a:cubicBezTo>
                    <a:pt x="441982" y="490218"/>
                    <a:pt x="440577" y="529567"/>
                    <a:pt x="442685" y="568214"/>
                  </a:cubicBezTo>
                  <a:cubicBezTo>
                    <a:pt x="443388" y="587186"/>
                    <a:pt x="437064" y="590699"/>
                    <a:pt x="419497" y="589996"/>
                  </a:cubicBezTo>
                  <a:cubicBezTo>
                    <a:pt x="382256" y="588591"/>
                    <a:pt x="345015" y="589294"/>
                    <a:pt x="307071" y="589996"/>
                  </a:cubicBezTo>
                  <a:cubicBezTo>
                    <a:pt x="289504" y="589996"/>
                    <a:pt x="274748" y="586483"/>
                    <a:pt x="263506" y="572430"/>
                  </a:cubicBezTo>
                  <a:cubicBezTo>
                    <a:pt x="250155" y="556971"/>
                    <a:pt x="247344" y="543621"/>
                    <a:pt x="266316" y="528864"/>
                  </a:cubicBezTo>
                  <a:cubicBezTo>
                    <a:pt x="280370" y="518324"/>
                    <a:pt x="297936" y="507082"/>
                    <a:pt x="289504" y="485299"/>
                  </a:cubicBezTo>
                  <a:cubicBezTo>
                    <a:pt x="280370" y="462111"/>
                    <a:pt x="264911" y="445248"/>
                    <a:pt x="237507" y="442437"/>
                  </a:cubicBezTo>
                  <a:cubicBezTo>
                    <a:pt x="211509" y="439626"/>
                    <a:pt x="186915" y="440329"/>
                    <a:pt x="167241" y="462111"/>
                  </a:cubicBezTo>
                  <a:cubicBezTo>
                    <a:pt x="144756" y="487407"/>
                    <a:pt x="145458" y="502163"/>
                    <a:pt x="170051" y="523946"/>
                  </a:cubicBezTo>
                  <a:cubicBezTo>
                    <a:pt x="179186" y="532378"/>
                    <a:pt x="196050" y="537296"/>
                    <a:pt x="189023" y="555566"/>
                  </a:cubicBezTo>
                  <a:cubicBezTo>
                    <a:pt x="181997" y="573835"/>
                    <a:pt x="168646" y="587186"/>
                    <a:pt x="148971" y="587888"/>
                  </a:cubicBezTo>
                  <a:cubicBezTo>
                    <a:pt x="103298" y="589294"/>
                    <a:pt x="57625" y="588591"/>
                    <a:pt x="11952" y="589294"/>
                  </a:cubicBezTo>
                  <a:cubicBezTo>
                    <a:pt x="-696" y="589294"/>
                    <a:pt x="7" y="581564"/>
                    <a:pt x="7" y="573132"/>
                  </a:cubicBezTo>
                  <a:cubicBezTo>
                    <a:pt x="1412" y="552053"/>
                    <a:pt x="1412" y="530270"/>
                    <a:pt x="710" y="50848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6C5FEC71-FB5D-46E6-A918-89212AE71C7B}"/>
                </a:ext>
              </a:extLst>
            </p:cNvPr>
            <p:cNvSpPr/>
            <p:nvPr/>
          </p:nvSpPr>
          <p:spPr>
            <a:xfrm flipH="1">
              <a:off x="5077663" y="1250751"/>
              <a:ext cx="1026185" cy="1013970"/>
            </a:xfrm>
            <a:custGeom>
              <a:avLst/>
              <a:gdLst>
                <a:gd name="connsiteX0" fmla="*/ 710 w 590237"/>
                <a:gd name="connsiteY0" fmla="*/ 508487 h 583211"/>
                <a:gd name="connsiteX1" fmla="*/ 710 w 590237"/>
                <a:gd name="connsiteY1" fmla="*/ 448058 h 583211"/>
                <a:gd name="connsiteX2" fmla="*/ 16168 w 590237"/>
                <a:gd name="connsiteY2" fmla="*/ 411520 h 583211"/>
                <a:gd name="connsiteX3" fmla="*/ 61841 w 590237"/>
                <a:gd name="connsiteY3" fmla="*/ 413628 h 583211"/>
                <a:gd name="connsiteX4" fmla="*/ 103298 w 590237"/>
                <a:gd name="connsiteY4" fmla="*/ 437518 h 583211"/>
                <a:gd name="connsiteX5" fmla="*/ 146864 w 590237"/>
                <a:gd name="connsiteY5" fmla="*/ 389737 h 583211"/>
                <a:gd name="connsiteX6" fmla="*/ 125081 w 590237"/>
                <a:gd name="connsiteY6" fmla="*/ 312444 h 583211"/>
                <a:gd name="connsiteX7" fmla="*/ 66760 w 590237"/>
                <a:gd name="connsiteY7" fmla="*/ 316660 h 583211"/>
                <a:gd name="connsiteX8" fmla="*/ 33032 w 590237"/>
                <a:gd name="connsiteY8" fmla="*/ 336335 h 583211"/>
                <a:gd name="connsiteX9" fmla="*/ 710 w 590237"/>
                <a:gd name="connsiteY9" fmla="*/ 290661 h 583211"/>
                <a:gd name="connsiteX10" fmla="*/ 710 w 590237"/>
                <a:gd name="connsiteY10" fmla="*/ 164884 h 583211"/>
                <a:gd name="connsiteX11" fmla="*/ 17574 w 590237"/>
                <a:gd name="connsiteY11" fmla="*/ 148021 h 583211"/>
                <a:gd name="connsiteX12" fmla="*/ 135621 w 590237"/>
                <a:gd name="connsiteY12" fmla="*/ 148723 h 583211"/>
                <a:gd name="connsiteX13" fmla="*/ 165836 w 590237"/>
                <a:gd name="connsiteY13" fmla="*/ 139589 h 583211"/>
                <a:gd name="connsiteX14" fmla="*/ 167241 w 590237"/>
                <a:gd name="connsiteY14" fmla="*/ 107969 h 583211"/>
                <a:gd name="connsiteX15" fmla="*/ 141242 w 590237"/>
                <a:gd name="connsiteY15" fmla="*/ 52458 h 583211"/>
                <a:gd name="connsiteX16" fmla="*/ 203077 w 590237"/>
                <a:gd name="connsiteY16" fmla="*/ 1164 h 583211"/>
                <a:gd name="connsiteX17" fmla="*/ 293018 w 590237"/>
                <a:gd name="connsiteY17" fmla="*/ 32784 h 583211"/>
                <a:gd name="connsiteX18" fmla="*/ 286694 w 590237"/>
                <a:gd name="connsiteY18" fmla="*/ 100239 h 583211"/>
                <a:gd name="connsiteX19" fmla="*/ 268424 w 590237"/>
                <a:gd name="connsiteY19" fmla="*/ 126238 h 583211"/>
                <a:gd name="connsiteX20" fmla="*/ 306368 w 590237"/>
                <a:gd name="connsiteY20" fmla="*/ 148021 h 583211"/>
                <a:gd name="connsiteX21" fmla="*/ 421605 w 590237"/>
                <a:gd name="connsiteY21" fmla="*/ 147318 h 583211"/>
                <a:gd name="connsiteX22" fmla="*/ 443388 w 590237"/>
                <a:gd name="connsiteY22" fmla="*/ 169803 h 583211"/>
                <a:gd name="connsiteX23" fmla="*/ 442685 w 590237"/>
                <a:gd name="connsiteY23" fmla="*/ 282229 h 583211"/>
                <a:gd name="connsiteX24" fmla="*/ 453928 w 590237"/>
                <a:gd name="connsiteY24" fmla="*/ 314552 h 583211"/>
                <a:gd name="connsiteX25" fmla="*/ 482737 w 590237"/>
                <a:gd name="connsiteY25" fmla="*/ 314552 h 583211"/>
                <a:gd name="connsiteX26" fmla="*/ 539653 w 590237"/>
                <a:gd name="connsiteY26" fmla="*/ 288554 h 583211"/>
                <a:gd name="connsiteX27" fmla="*/ 590947 w 590237"/>
                <a:gd name="connsiteY27" fmla="*/ 353198 h 583211"/>
                <a:gd name="connsiteX28" fmla="*/ 560030 w 590237"/>
                <a:gd name="connsiteY28" fmla="*/ 438221 h 583211"/>
                <a:gd name="connsiteX29" fmla="*/ 489763 w 590237"/>
                <a:gd name="connsiteY29" fmla="*/ 431897 h 583211"/>
                <a:gd name="connsiteX30" fmla="*/ 465873 w 590237"/>
                <a:gd name="connsiteY30" fmla="*/ 414330 h 583211"/>
                <a:gd name="connsiteX31" fmla="*/ 441982 w 590237"/>
                <a:gd name="connsiteY31" fmla="*/ 450869 h 583211"/>
                <a:gd name="connsiteX32" fmla="*/ 442685 w 590237"/>
                <a:gd name="connsiteY32" fmla="*/ 568214 h 583211"/>
                <a:gd name="connsiteX33" fmla="*/ 419497 w 590237"/>
                <a:gd name="connsiteY33" fmla="*/ 589996 h 583211"/>
                <a:gd name="connsiteX34" fmla="*/ 307071 w 590237"/>
                <a:gd name="connsiteY34" fmla="*/ 589996 h 583211"/>
                <a:gd name="connsiteX35" fmla="*/ 263506 w 590237"/>
                <a:gd name="connsiteY35" fmla="*/ 572430 h 583211"/>
                <a:gd name="connsiteX36" fmla="*/ 266316 w 590237"/>
                <a:gd name="connsiteY36" fmla="*/ 528864 h 583211"/>
                <a:gd name="connsiteX37" fmla="*/ 289504 w 590237"/>
                <a:gd name="connsiteY37" fmla="*/ 485299 h 583211"/>
                <a:gd name="connsiteX38" fmla="*/ 237507 w 590237"/>
                <a:gd name="connsiteY38" fmla="*/ 442437 h 583211"/>
                <a:gd name="connsiteX39" fmla="*/ 167241 w 590237"/>
                <a:gd name="connsiteY39" fmla="*/ 462111 h 583211"/>
                <a:gd name="connsiteX40" fmla="*/ 170051 w 590237"/>
                <a:gd name="connsiteY40" fmla="*/ 523946 h 583211"/>
                <a:gd name="connsiteX41" fmla="*/ 189023 w 590237"/>
                <a:gd name="connsiteY41" fmla="*/ 555566 h 583211"/>
                <a:gd name="connsiteX42" fmla="*/ 148971 w 590237"/>
                <a:gd name="connsiteY42" fmla="*/ 587888 h 583211"/>
                <a:gd name="connsiteX43" fmla="*/ 11952 w 590237"/>
                <a:gd name="connsiteY43" fmla="*/ 589294 h 583211"/>
                <a:gd name="connsiteX44" fmla="*/ 7 w 590237"/>
                <a:gd name="connsiteY44" fmla="*/ 573132 h 583211"/>
                <a:gd name="connsiteX45" fmla="*/ 710 w 590237"/>
                <a:gd name="connsiteY45" fmla="*/ 508487 h 58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83211">
                  <a:moveTo>
                    <a:pt x="710" y="508487"/>
                  </a:moveTo>
                  <a:cubicBezTo>
                    <a:pt x="710" y="488110"/>
                    <a:pt x="1412" y="468435"/>
                    <a:pt x="710" y="448058"/>
                  </a:cubicBezTo>
                  <a:cubicBezTo>
                    <a:pt x="7" y="433302"/>
                    <a:pt x="5628" y="421357"/>
                    <a:pt x="16168" y="411520"/>
                  </a:cubicBezTo>
                  <a:cubicBezTo>
                    <a:pt x="32329" y="396764"/>
                    <a:pt x="47085" y="393250"/>
                    <a:pt x="61841" y="413628"/>
                  </a:cubicBezTo>
                  <a:cubicBezTo>
                    <a:pt x="71678" y="427681"/>
                    <a:pt x="83624" y="444545"/>
                    <a:pt x="103298" y="437518"/>
                  </a:cubicBezTo>
                  <a:cubicBezTo>
                    <a:pt x="125081" y="429789"/>
                    <a:pt x="142648" y="415033"/>
                    <a:pt x="146864" y="389737"/>
                  </a:cubicBezTo>
                  <a:cubicBezTo>
                    <a:pt x="151782" y="360928"/>
                    <a:pt x="150377" y="333524"/>
                    <a:pt x="125081" y="312444"/>
                  </a:cubicBezTo>
                  <a:cubicBezTo>
                    <a:pt x="101893" y="293472"/>
                    <a:pt x="87840" y="294877"/>
                    <a:pt x="66760" y="316660"/>
                  </a:cubicBezTo>
                  <a:cubicBezTo>
                    <a:pt x="57625" y="325795"/>
                    <a:pt x="53409" y="345469"/>
                    <a:pt x="33032" y="336335"/>
                  </a:cubicBezTo>
                  <a:cubicBezTo>
                    <a:pt x="13357" y="327903"/>
                    <a:pt x="710" y="313849"/>
                    <a:pt x="710" y="290661"/>
                  </a:cubicBezTo>
                  <a:cubicBezTo>
                    <a:pt x="710" y="248502"/>
                    <a:pt x="1412" y="207044"/>
                    <a:pt x="710" y="164884"/>
                  </a:cubicBezTo>
                  <a:cubicBezTo>
                    <a:pt x="710" y="151534"/>
                    <a:pt x="4223" y="148021"/>
                    <a:pt x="17574" y="148021"/>
                  </a:cubicBezTo>
                  <a:cubicBezTo>
                    <a:pt x="56923" y="148723"/>
                    <a:pt x="96272" y="148021"/>
                    <a:pt x="135621" y="148723"/>
                  </a:cubicBezTo>
                  <a:cubicBezTo>
                    <a:pt x="146864" y="148723"/>
                    <a:pt x="157404" y="147318"/>
                    <a:pt x="165836" y="139589"/>
                  </a:cubicBezTo>
                  <a:cubicBezTo>
                    <a:pt x="177781" y="129049"/>
                    <a:pt x="184808" y="119914"/>
                    <a:pt x="167241" y="107969"/>
                  </a:cubicBezTo>
                  <a:cubicBezTo>
                    <a:pt x="148269" y="95321"/>
                    <a:pt x="134216" y="77754"/>
                    <a:pt x="141242" y="52458"/>
                  </a:cubicBezTo>
                  <a:cubicBezTo>
                    <a:pt x="147566" y="27865"/>
                    <a:pt x="177078" y="3974"/>
                    <a:pt x="203077" y="1164"/>
                  </a:cubicBezTo>
                  <a:cubicBezTo>
                    <a:pt x="238210" y="-2349"/>
                    <a:pt x="270533" y="461"/>
                    <a:pt x="293018" y="32784"/>
                  </a:cubicBezTo>
                  <a:cubicBezTo>
                    <a:pt x="311287" y="58782"/>
                    <a:pt x="308476" y="78457"/>
                    <a:pt x="286694" y="100239"/>
                  </a:cubicBezTo>
                  <a:cubicBezTo>
                    <a:pt x="279667" y="107969"/>
                    <a:pt x="261398" y="110779"/>
                    <a:pt x="268424" y="126238"/>
                  </a:cubicBezTo>
                  <a:cubicBezTo>
                    <a:pt x="275451" y="140994"/>
                    <a:pt x="288802" y="148021"/>
                    <a:pt x="306368" y="148021"/>
                  </a:cubicBezTo>
                  <a:cubicBezTo>
                    <a:pt x="345015" y="147318"/>
                    <a:pt x="382959" y="148723"/>
                    <a:pt x="421605" y="147318"/>
                  </a:cubicBezTo>
                  <a:cubicBezTo>
                    <a:pt x="440577" y="146615"/>
                    <a:pt x="444090" y="152939"/>
                    <a:pt x="443388" y="169803"/>
                  </a:cubicBezTo>
                  <a:cubicBezTo>
                    <a:pt x="441982" y="207044"/>
                    <a:pt x="443388" y="244285"/>
                    <a:pt x="442685" y="282229"/>
                  </a:cubicBezTo>
                  <a:cubicBezTo>
                    <a:pt x="442685" y="294877"/>
                    <a:pt x="445496" y="305417"/>
                    <a:pt x="453928" y="314552"/>
                  </a:cubicBezTo>
                  <a:cubicBezTo>
                    <a:pt x="463765" y="324389"/>
                    <a:pt x="472197" y="328605"/>
                    <a:pt x="482737" y="314552"/>
                  </a:cubicBezTo>
                  <a:cubicBezTo>
                    <a:pt x="496790" y="295580"/>
                    <a:pt x="512952" y="278014"/>
                    <a:pt x="539653" y="288554"/>
                  </a:cubicBezTo>
                  <a:cubicBezTo>
                    <a:pt x="568462" y="299796"/>
                    <a:pt x="588136" y="320173"/>
                    <a:pt x="590947" y="353198"/>
                  </a:cubicBezTo>
                  <a:cubicBezTo>
                    <a:pt x="593758" y="386927"/>
                    <a:pt x="589542" y="416438"/>
                    <a:pt x="560030" y="438221"/>
                  </a:cubicBezTo>
                  <a:cubicBezTo>
                    <a:pt x="534032" y="457193"/>
                    <a:pt x="512952" y="455085"/>
                    <a:pt x="489763" y="431897"/>
                  </a:cubicBezTo>
                  <a:cubicBezTo>
                    <a:pt x="482737" y="424870"/>
                    <a:pt x="479224" y="408709"/>
                    <a:pt x="465873" y="414330"/>
                  </a:cubicBezTo>
                  <a:cubicBezTo>
                    <a:pt x="451117" y="420654"/>
                    <a:pt x="441982" y="433302"/>
                    <a:pt x="441982" y="450869"/>
                  </a:cubicBezTo>
                  <a:cubicBezTo>
                    <a:pt x="441982" y="490218"/>
                    <a:pt x="440577" y="529567"/>
                    <a:pt x="442685" y="568214"/>
                  </a:cubicBezTo>
                  <a:cubicBezTo>
                    <a:pt x="443388" y="587186"/>
                    <a:pt x="437064" y="590699"/>
                    <a:pt x="419497" y="589996"/>
                  </a:cubicBezTo>
                  <a:cubicBezTo>
                    <a:pt x="382256" y="588591"/>
                    <a:pt x="345015" y="589294"/>
                    <a:pt x="307071" y="589996"/>
                  </a:cubicBezTo>
                  <a:cubicBezTo>
                    <a:pt x="289504" y="589996"/>
                    <a:pt x="274748" y="586483"/>
                    <a:pt x="263506" y="572430"/>
                  </a:cubicBezTo>
                  <a:cubicBezTo>
                    <a:pt x="250155" y="556971"/>
                    <a:pt x="247344" y="543621"/>
                    <a:pt x="266316" y="528864"/>
                  </a:cubicBezTo>
                  <a:cubicBezTo>
                    <a:pt x="280370" y="518324"/>
                    <a:pt x="297936" y="507082"/>
                    <a:pt x="289504" y="485299"/>
                  </a:cubicBezTo>
                  <a:cubicBezTo>
                    <a:pt x="280370" y="462111"/>
                    <a:pt x="264911" y="445248"/>
                    <a:pt x="237507" y="442437"/>
                  </a:cubicBezTo>
                  <a:cubicBezTo>
                    <a:pt x="211509" y="439626"/>
                    <a:pt x="186915" y="440329"/>
                    <a:pt x="167241" y="462111"/>
                  </a:cubicBezTo>
                  <a:cubicBezTo>
                    <a:pt x="144756" y="487407"/>
                    <a:pt x="145458" y="502163"/>
                    <a:pt x="170051" y="523946"/>
                  </a:cubicBezTo>
                  <a:cubicBezTo>
                    <a:pt x="179186" y="532378"/>
                    <a:pt x="196050" y="537296"/>
                    <a:pt x="189023" y="555566"/>
                  </a:cubicBezTo>
                  <a:cubicBezTo>
                    <a:pt x="181997" y="573835"/>
                    <a:pt x="168646" y="587186"/>
                    <a:pt x="148971" y="587888"/>
                  </a:cubicBezTo>
                  <a:cubicBezTo>
                    <a:pt x="103298" y="589294"/>
                    <a:pt x="57625" y="588591"/>
                    <a:pt x="11952" y="589294"/>
                  </a:cubicBezTo>
                  <a:cubicBezTo>
                    <a:pt x="-696" y="589294"/>
                    <a:pt x="7" y="581564"/>
                    <a:pt x="7" y="573132"/>
                  </a:cubicBezTo>
                  <a:cubicBezTo>
                    <a:pt x="1412" y="552053"/>
                    <a:pt x="1412" y="530270"/>
                    <a:pt x="710" y="50848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07D6322C-0A14-42FD-B578-CFA0EAA17D69}"/>
                </a:ext>
              </a:extLst>
            </p:cNvPr>
            <p:cNvSpPr/>
            <p:nvPr/>
          </p:nvSpPr>
          <p:spPr>
            <a:xfrm>
              <a:off x="2282771" y="4315263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2F98843C-FE71-4BFB-8E77-28565AA23F4B}"/>
                </a:ext>
              </a:extLst>
            </p:cNvPr>
            <p:cNvSpPr/>
            <p:nvPr/>
          </p:nvSpPr>
          <p:spPr>
            <a:xfrm>
              <a:off x="6106161" y="4568763"/>
              <a:ext cx="1026185" cy="769640"/>
            </a:xfrm>
            <a:custGeom>
              <a:avLst/>
              <a:gdLst>
                <a:gd name="connsiteX0" fmla="*/ 362604 w 590237"/>
                <a:gd name="connsiteY0" fmla="*/ 443446 h 442678"/>
                <a:gd name="connsiteX1" fmla="*/ 302175 w 590237"/>
                <a:gd name="connsiteY1" fmla="*/ 443446 h 442678"/>
                <a:gd name="connsiteX2" fmla="*/ 261420 w 590237"/>
                <a:gd name="connsiteY2" fmla="*/ 424474 h 442678"/>
                <a:gd name="connsiteX3" fmla="*/ 264934 w 590237"/>
                <a:gd name="connsiteY3" fmla="*/ 383017 h 442678"/>
                <a:gd name="connsiteX4" fmla="*/ 288122 w 590237"/>
                <a:gd name="connsiteY4" fmla="*/ 335938 h 442678"/>
                <a:gd name="connsiteX5" fmla="*/ 234719 w 590237"/>
                <a:gd name="connsiteY5" fmla="*/ 295184 h 442678"/>
                <a:gd name="connsiteX6" fmla="*/ 165155 w 590237"/>
                <a:gd name="connsiteY6" fmla="*/ 316966 h 442678"/>
                <a:gd name="connsiteX7" fmla="*/ 170074 w 590237"/>
                <a:gd name="connsiteY7" fmla="*/ 377395 h 442678"/>
                <a:gd name="connsiteX8" fmla="*/ 189749 w 590237"/>
                <a:gd name="connsiteY8" fmla="*/ 409015 h 442678"/>
                <a:gd name="connsiteX9" fmla="*/ 149697 w 590237"/>
                <a:gd name="connsiteY9" fmla="*/ 442041 h 442678"/>
                <a:gd name="connsiteX10" fmla="*/ 12677 w 590237"/>
                <a:gd name="connsiteY10" fmla="*/ 442743 h 442678"/>
                <a:gd name="connsiteX11" fmla="*/ 29 w 590237"/>
                <a:gd name="connsiteY11" fmla="*/ 427285 h 442678"/>
                <a:gd name="connsiteX12" fmla="*/ 29 w 590237"/>
                <a:gd name="connsiteY12" fmla="*/ 298697 h 442678"/>
                <a:gd name="connsiteX13" fmla="*/ 17596 w 590237"/>
                <a:gd name="connsiteY13" fmla="*/ 263564 h 442678"/>
                <a:gd name="connsiteX14" fmla="*/ 60458 w 590237"/>
                <a:gd name="connsiteY14" fmla="*/ 266375 h 442678"/>
                <a:gd name="connsiteX15" fmla="*/ 104024 w 590237"/>
                <a:gd name="connsiteY15" fmla="*/ 290265 h 442678"/>
                <a:gd name="connsiteX16" fmla="*/ 147589 w 590237"/>
                <a:gd name="connsiteY16" fmla="*/ 236160 h 442678"/>
                <a:gd name="connsiteX17" fmla="*/ 122996 w 590237"/>
                <a:gd name="connsiteY17" fmla="*/ 164488 h 442678"/>
                <a:gd name="connsiteX18" fmla="*/ 66782 w 590237"/>
                <a:gd name="connsiteY18" fmla="*/ 169407 h 442678"/>
                <a:gd name="connsiteX19" fmla="*/ 30244 w 590237"/>
                <a:gd name="connsiteY19" fmla="*/ 189082 h 442678"/>
                <a:gd name="connsiteX20" fmla="*/ 29 w 590237"/>
                <a:gd name="connsiteY20" fmla="*/ 141300 h 442678"/>
                <a:gd name="connsiteX21" fmla="*/ 29 w 590237"/>
                <a:gd name="connsiteY21" fmla="*/ 18334 h 442678"/>
                <a:gd name="connsiteX22" fmla="*/ 18298 w 590237"/>
                <a:gd name="connsiteY22" fmla="*/ 65 h 442678"/>
                <a:gd name="connsiteX23" fmla="*/ 138454 w 590237"/>
                <a:gd name="connsiteY23" fmla="*/ 65 h 442678"/>
                <a:gd name="connsiteX24" fmla="*/ 179209 w 590237"/>
                <a:gd name="connsiteY24" fmla="*/ 18334 h 442678"/>
                <a:gd name="connsiteX25" fmla="*/ 176398 w 590237"/>
                <a:gd name="connsiteY25" fmla="*/ 61197 h 442678"/>
                <a:gd name="connsiteX26" fmla="*/ 153913 w 590237"/>
                <a:gd name="connsiteY26" fmla="*/ 108275 h 442678"/>
                <a:gd name="connsiteX27" fmla="*/ 208018 w 590237"/>
                <a:gd name="connsiteY27" fmla="*/ 148327 h 442678"/>
                <a:gd name="connsiteX28" fmla="*/ 277582 w 590237"/>
                <a:gd name="connsiteY28" fmla="*/ 126545 h 442678"/>
                <a:gd name="connsiteX29" fmla="*/ 274068 w 590237"/>
                <a:gd name="connsiteY29" fmla="*/ 67521 h 442678"/>
                <a:gd name="connsiteX30" fmla="*/ 253691 w 590237"/>
                <a:gd name="connsiteY30" fmla="*/ 33793 h 442678"/>
                <a:gd name="connsiteX31" fmla="*/ 299364 w 590237"/>
                <a:gd name="connsiteY31" fmla="*/ 768 h 442678"/>
                <a:gd name="connsiteX32" fmla="*/ 427952 w 590237"/>
                <a:gd name="connsiteY32" fmla="*/ 65 h 442678"/>
                <a:gd name="connsiteX33" fmla="*/ 442708 w 590237"/>
                <a:gd name="connsiteY33" fmla="*/ 19037 h 442678"/>
                <a:gd name="connsiteX34" fmla="*/ 442708 w 590237"/>
                <a:gd name="connsiteY34" fmla="*/ 139192 h 442678"/>
                <a:gd name="connsiteX35" fmla="*/ 453248 w 590237"/>
                <a:gd name="connsiteY35" fmla="*/ 168704 h 442678"/>
                <a:gd name="connsiteX36" fmla="*/ 481354 w 590237"/>
                <a:gd name="connsiteY36" fmla="*/ 168002 h 442678"/>
                <a:gd name="connsiteX37" fmla="*/ 538973 w 590237"/>
                <a:gd name="connsiteY37" fmla="*/ 142003 h 442678"/>
                <a:gd name="connsiteX38" fmla="*/ 589565 w 590237"/>
                <a:gd name="connsiteY38" fmla="*/ 198216 h 442678"/>
                <a:gd name="connsiteX39" fmla="*/ 559350 w 590237"/>
                <a:gd name="connsiteY39" fmla="*/ 290968 h 442678"/>
                <a:gd name="connsiteX40" fmla="*/ 487678 w 590237"/>
                <a:gd name="connsiteY40" fmla="*/ 283239 h 442678"/>
                <a:gd name="connsiteX41" fmla="*/ 463085 w 590237"/>
                <a:gd name="connsiteY41" fmla="*/ 267780 h 442678"/>
                <a:gd name="connsiteX42" fmla="*/ 442708 w 590237"/>
                <a:gd name="connsiteY42" fmla="*/ 300805 h 442678"/>
                <a:gd name="connsiteX43" fmla="*/ 443410 w 590237"/>
                <a:gd name="connsiteY43" fmla="*/ 423771 h 442678"/>
                <a:gd name="connsiteX44" fmla="*/ 425844 w 590237"/>
                <a:gd name="connsiteY44" fmla="*/ 442743 h 442678"/>
                <a:gd name="connsiteX45" fmla="*/ 362604 w 590237"/>
                <a:gd name="connsiteY45" fmla="*/ 443446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442678">
                  <a:moveTo>
                    <a:pt x="362604" y="443446"/>
                  </a:moveTo>
                  <a:cubicBezTo>
                    <a:pt x="342227" y="443446"/>
                    <a:pt x="322552" y="442743"/>
                    <a:pt x="302175" y="443446"/>
                  </a:cubicBezTo>
                  <a:cubicBezTo>
                    <a:pt x="285311" y="444149"/>
                    <a:pt x="272663" y="437122"/>
                    <a:pt x="261420" y="424474"/>
                  </a:cubicBezTo>
                  <a:cubicBezTo>
                    <a:pt x="248070" y="409718"/>
                    <a:pt x="247367" y="396367"/>
                    <a:pt x="264934" y="383017"/>
                  </a:cubicBezTo>
                  <a:cubicBezTo>
                    <a:pt x="280392" y="371774"/>
                    <a:pt x="297959" y="359126"/>
                    <a:pt x="288122" y="335938"/>
                  </a:cubicBezTo>
                  <a:cubicBezTo>
                    <a:pt x="278284" y="312751"/>
                    <a:pt x="261420" y="297292"/>
                    <a:pt x="234719" y="295184"/>
                  </a:cubicBezTo>
                  <a:cubicBezTo>
                    <a:pt x="208721" y="293076"/>
                    <a:pt x="184127" y="295184"/>
                    <a:pt x="165155" y="316966"/>
                  </a:cubicBezTo>
                  <a:cubicBezTo>
                    <a:pt x="145481" y="340154"/>
                    <a:pt x="146886" y="357018"/>
                    <a:pt x="170074" y="377395"/>
                  </a:cubicBezTo>
                  <a:cubicBezTo>
                    <a:pt x="179209" y="385828"/>
                    <a:pt x="196775" y="390746"/>
                    <a:pt x="189749" y="409015"/>
                  </a:cubicBezTo>
                  <a:cubicBezTo>
                    <a:pt x="182722" y="426582"/>
                    <a:pt x="169371" y="441338"/>
                    <a:pt x="149697" y="442041"/>
                  </a:cubicBezTo>
                  <a:cubicBezTo>
                    <a:pt x="104024" y="443446"/>
                    <a:pt x="58350" y="442041"/>
                    <a:pt x="12677" y="442743"/>
                  </a:cubicBezTo>
                  <a:cubicBezTo>
                    <a:pt x="732" y="442743"/>
                    <a:pt x="29" y="437122"/>
                    <a:pt x="29" y="427285"/>
                  </a:cubicBezTo>
                  <a:cubicBezTo>
                    <a:pt x="29" y="384422"/>
                    <a:pt x="732" y="341560"/>
                    <a:pt x="29" y="298697"/>
                  </a:cubicBezTo>
                  <a:cubicBezTo>
                    <a:pt x="29" y="283239"/>
                    <a:pt x="7056" y="272699"/>
                    <a:pt x="17596" y="263564"/>
                  </a:cubicBezTo>
                  <a:cubicBezTo>
                    <a:pt x="32352" y="250213"/>
                    <a:pt x="46405" y="245997"/>
                    <a:pt x="60458" y="266375"/>
                  </a:cubicBezTo>
                  <a:cubicBezTo>
                    <a:pt x="70998" y="281131"/>
                    <a:pt x="82241" y="297995"/>
                    <a:pt x="104024" y="290265"/>
                  </a:cubicBezTo>
                  <a:cubicBezTo>
                    <a:pt x="128617" y="281131"/>
                    <a:pt x="145481" y="263564"/>
                    <a:pt x="147589" y="236160"/>
                  </a:cubicBezTo>
                  <a:cubicBezTo>
                    <a:pt x="149697" y="208756"/>
                    <a:pt x="147589" y="183460"/>
                    <a:pt x="122996" y="164488"/>
                  </a:cubicBezTo>
                  <a:cubicBezTo>
                    <a:pt x="99808" y="146922"/>
                    <a:pt x="86457" y="147624"/>
                    <a:pt x="66782" y="169407"/>
                  </a:cubicBezTo>
                  <a:cubicBezTo>
                    <a:pt x="56945" y="179947"/>
                    <a:pt x="49918" y="198919"/>
                    <a:pt x="30244" y="189082"/>
                  </a:cubicBezTo>
                  <a:cubicBezTo>
                    <a:pt x="11272" y="179947"/>
                    <a:pt x="-673" y="165191"/>
                    <a:pt x="29" y="141300"/>
                  </a:cubicBezTo>
                  <a:cubicBezTo>
                    <a:pt x="732" y="100546"/>
                    <a:pt x="732" y="59089"/>
                    <a:pt x="29" y="18334"/>
                  </a:cubicBezTo>
                  <a:cubicBezTo>
                    <a:pt x="29" y="4281"/>
                    <a:pt x="4245" y="-638"/>
                    <a:pt x="18298" y="65"/>
                  </a:cubicBezTo>
                  <a:cubicBezTo>
                    <a:pt x="58350" y="768"/>
                    <a:pt x="98402" y="768"/>
                    <a:pt x="138454" y="65"/>
                  </a:cubicBezTo>
                  <a:cubicBezTo>
                    <a:pt x="155318" y="65"/>
                    <a:pt x="168669" y="5686"/>
                    <a:pt x="179209" y="18334"/>
                  </a:cubicBezTo>
                  <a:cubicBezTo>
                    <a:pt x="192559" y="33090"/>
                    <a:pt x="196073" y="47143"/>
                    <a:pt x="176398" y="61197"/>
                  </a:cubicBezTo>
                  <a:cubicBezTo>
                    <a:pt x="160940" y="72439"/>
                    <a:pt x="143373" y="85790"/>
                    <a:pt x="153913" y="108275"/>
                  </a:cubicBezTo>
                  <a:cubicBezTo>
                    <a:pt x="163750" y="130760"/>
                    <a:pt x="180614" y="146922"/>
                    <a:pt x="208018" y="148327"/>
                  </a:cubicBezTo>
                  <a:cubicBezTo>
                    <a:pt x="234016" y="149732"/>
                    <a:pt x="258610" y="149030"/>
                    <a:pt x="277582" y="126545"/>
                  </a:cubicBezTo>
                  <a:cubicBezTo>
                    <a:pt x="296554" y="103357"/>
                    <a:pt x="295851" y="88601"/>
                    <a:pt x="274068" y="67521"/>
                  </a:cubicBezTo>
                  <a:cubicBezTo>
                    <a:pt x="264231" y="58386"/>
                    <a:pt x="245962" y="52765"/>
                    <a:pt x="253691" y="33793"/>
                  </a:cubicBezTo>
                  <a:cubicBezTo>
                    <a:pt x="262123" y="14118"/>
                    <a:pt x="277582" y="768"/>
                    <a:pt x="299364" y="768"/>
                  </a:cubicBezTo>
                  <a:cubicBezTo>
                    <a:pt x="342227" y="65"/>
                    <a:pt x="385089" y="768"/>
                    <a:pt x="427952" y="65"/>
                  </a:cubicBezTo>
                  <a:cubicBezTo>
                    <a:pt x="443410" y="65"/>
                    <a:pt x="443410" y="7794"/>
                    <a:pt x="442708" y="19037"/>
                  </a:cubicBezTo>
                  <a:cubicBezTo>
                    <a:pt x="442708" y="59089"/>
                    <a:pt x="442708" y="99140"/>
                    <a:pt x="442708" y="139192"/>
                  </a:cubicBezTo>
                  <a:cubicBezTo>
                    <a:pt x="442708" y="150435"/>
                    <a:pt x="444113" y="160975"/>
                    <a:pt x="453248" y="168704"/>
                  </a:cubicBezTo>
                  <a:cubicBezTo>
                    <a:pt x="463085" y="177839"/>
                    <a:pt x="471517" y="182758"/>
                    <a:pt x="481354" y="168002"/>
                  </a:cubicBezTo>
                  <a:cubicBezTo>
                    <a:pt x="494705" y="148327"/>
                    <a:pt x="512272" y="132868"/>
                    <a:pt x="538973" y="142003"/>
                  </a:cubicBezTo>
                  <a:cubicBezTo>
                    <a:pt x="564971" y="151138"/>
                    <a:pt x="584646" y="170110"/>
                    <a:pt x="589565" y="198216"/>
                  </a:cubicBezTo>
                  <a:cubicBezTo>
                    <a:pt x="595888" y="234052"/>
                    <a:pt x="591673" y="267077"/>
                    <a:pt x="559350" y="290968"/>
                  </a:cubicBezTo>
                  <a:cubicBezTo>
                    <a:pt x="531243" y="311345"/>
                    <a:pt x="512272" y="309237"/>
                    <a:pt x="487678" y="283239"/>
                  </a:cubicBezTo>
                  <a:cubicBezTo>
                    <a:pt x="481354" y="276212"/>
                    <a:pt x="477841" y="260753"/>
                    <a:pt x="463085" y="267780"/>
                  </a:cubicBezTo>
                  <a:cubicBezTo>
                    <a:pt x="450437" y="274104"/>
                    <a:pt x="442708" y="284644"/>
                    <a:pt x="442708" y="300805"/>
                  </a:cubicBezTo>
                  <a:cubicBezTo>
                    <a:pt x="443410" y="341560"/>
                    <a:pt x="442005" y="383017"/>
                    <a:pt x="443410" y="423771"/>
                  </a:cubicBezTo>
                  <a:cubicBezTo>
                    <a:pt x="443410" y="437825"/>
                    <a:pt x="440600" y="443446"/>
                    <a:pt x="425844" y="442743"/>
                  </a:cubicBezTo>
                  <a:cubicBezTo>
                    <a:pt x="404764" y="442041"/>
                    <a:pt x="383684" y="443446"/>
                    <a:pt x="362604" y="4434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554A3D5D-FE12-4F14-9254-7A4D3137300A}"/>
                </a:ext>
              </a:extLst>
            </p:cNvPr>
            <p:cNvSpPr/>
            <p:nvPr/>
          </p:nvSpPr>
          <p:spPr>
            <a:xfrm>
              <a:off x="3037922" y="2274242"/>
              <a:ext cx="769640" cy="769640"/>
            </a:xfrm>
            <a:custGeom>
              <a:avLst/>
              <a:gdLst>
                <a:gd name="connsiteX0" fmla="*/ 441372 w 442678"/>
                <a:gd name="connsiteY0" fmla="*/ 81509 h 442678"/>
                <a:gd name="connsiteX1" fmla="*/ 441372 w 442678"/>
                <a:gd name="connsiteY1" fmla="*/ 144749 h 442678"/>
                <a:gd name="connsiteX2" fmla="*/ 422400 w 442678"/>
                <a:gd name="connsiteY2" fmla="*/ 181990 h 442678"/>
                <a:gd name="connsiteX3" fmla="*/ 380943 w 442678"/>
                <a:gd name="connsiteY3" fmla="*/ 179179 h 442678"/>
                <a:gd name="connsiteX4" fmla="*/ 334567 w 442678"/>
                <a:gd name="connsiteY4" fmla="*/ 155289 h 442678"/>
                <a:gd name="connsiteX5" fmla="*/ 293110 w 442678"/>
                <a:gd name="connsiteY5" fmla="*/ 211502 h 442678"/>
                <a:gd name="connsiteX6" fmla="*/ 315595 w 442678"/>
                <a:gd name="connsiteY6" fmla="*/ 278255 h 442678"/>
                <a:gd name="connsiteX7" fmla="*/ 376024 w 442678"/>
                <a:gd name="connsiteY7" fmla="*/ 274741 h 442678"/>
                <a:gd name="connsiteX8" fmla="*/ 409752 w 442678"/>
                <a:gd name="connsiteY8" fmla="*/ 255770 h 442678"/>
                <a:gd name="connsiteX9" fmla="*/ 441372 w 442678"/>
                <a:gd name="connsiteY9" fmla="*/ 299335 h 442678"/>
                <a:gd name="connsiteX10" fmla="*/ 442074 w 442678"/>
                <a:gd name="connsiteY10" fmla="*/ 427922 h 442678"/>
                <a:gd name="connsiteX11" fmla="*/ 424508 w 442678"/>
                <a:gd name="connsiteY11" fmla="*/ 444083 h 442678"/>
                <a:gd name="connsiteX12" fmla="*/ 298731 w 442678"/>
                <a:gd name="connsiteY12" fmla="*/ 444083 h 442678"/>
                <a:gd name="connsiteX13" fmla="*/ 261490 w 442678"/>
                <a:gd name="connsiteY13" fmla="*/ 425112 h 442678"/>
                <a:gd name="connsiteX14" fmla="*/ 265003 w 442678"/>
                <a:gd name="connsiteY14" fmla="*/ 384357 h 442678"/>
                <a:gd name="connsiteX15" fmla="*/ 288191 w 442678"/>
                <a:gd name="connsiteY15" fmla="*/ 337981 h 442678"/>
                <a:gd name="connsiteX16" fmla="*/ 235491 w 442678"/>
                <a:gd name="connsiteY16" fmla="*/ 296524 h 442678"/>
                <a:gd name="connsiteX17" fmla="*/ 165927 w 442678"/>
                <a:gd name="connsiteY17" fmla="*/ 318307 h 442678"/>
                <a:gd name="connsiteX18" fmla="*/ 170143 w 442678"/>
                <a:gd name="connsiteY18" fmla="*/ 378736 h 442678"/>
                <a:gd name="connsiteX19" fmla="*/ 189115 w 442678"/>
                <a:gd name="connsiteY19" fmla="*/ 413166 h 442678"/>
                <a:gd name="connsiteX20" fmla="*/ 144848 w 442678"/>
                <a:gd name="connsiteY20" fmla="*/ 444083 h 442678"/>
                <a:gd name="connsiteX21" fmla="*/ 16260 w 442678"/>
                <a:gd name="connsiteY21" fmla="*/ 444083 h 442678"/>
                <a:gd name="connsiteX22" fmla="*/ 99 w 442678"/>
                <a:gd name="connsiteY22" fmla="*/ 426517 h 442678"/>
                <a:gd name="connsiteX23" fmla="*/ 99 w 442678"/>
                <a:gd name="connsiteY23" fmla="*/ 303551 h 442678"/>
                <a:gd name="connsiteX24" fmla="*/ 19773 w 442678"/>
                <a:gd name="connsiteY24" fmla="*/ 263499 h 442678"/>
                <a:gd name="connsiteX25" fmla="*/ 61231 w 442678"/>
                <a:gd name="connsiteY25" fmla="*/ 267012 h 442678"/>
                <a:gd name="connsiteX26" fmla="*/ 107606 w 442678"/>
                <a:gd name="connsiteY26" fmla="*/ 290200 h 442678"/>
                <a:gd name="connsiteX27" fmla="*/ 148361 w 442678"/>
                <a:gd name="connsiteY27" fmla="*/ 234690 h 442678"/>
                <a:gd name="connsiteX28" fmla="*/ 127281 w 442678"/>
                <a:gd name="connsiteY28" fmla="*/ 167234 h 442678"/>
                <a:gd name="connsiteX29" fmla="*/ 66852 w 442678"/>
                <a:gd name="connsiteY29" fmla="*/ 171450 h 442678"/>
                <a:gd name="connsiteX30" fmla="*/ 31719 w 442678"/>
                <a:gd name="connsiteY30" fmla="*/ 189719 h 442678"/>
                <a:gd name="connsiteX31" fmla="*/ 801 w 442678"/>
                <a:gd name="connsiteY31" fmla="*/ 148262 h 442678"/>
                <a:gd name="connsiteX32" fmla="*/ 99 w 442678"/>
                <a:gd name="connsiteY32" fmla="*/ 14053 h 442678"/>
                <a:gd name="connsiteX33" fmla="*/ 14855 w 442678"/>
                <a:gd name="connsiteY33" fmla="*/ 702 h 442678"/>
                <a:gd name="connsiteX34" fmla="*/ 143442 w 442678"/>
                <a:gd name="connsiteY34" fmla="*/ 702 h 442678"/>
                <a:gd name="connsiteX35" fmla="*/ 181386 w 442678"/>
                <a:gd name="connsiteY35" fmla="*/ 19675 h 442678"/>
                <a:gd name="connsiteX36" fmla="*/ 177873 w 442678"/>
                <a:gd name="connsiteY36" fmla="*/ 61132 h 442678"/>
                <a:gd name="connsiteX37" fmla="*/ 153982 w 442678"/>
                <a:gd name="connsiteY37" fmla="*/ 107508 h 442678"/>
                <a:gd name="connsiteX38" fmla="*/ 207385 w 442678"/>
                <a:gd name="connsiteY38" fmla="*/ 148262 h 442678"/>
                <a:gd name="connsiteX39" fmla="*/ 280462 w 442678"/>
                <a:gd name="connsiteY39" fmla="*/ 122966 h 442678"/>
                <a:gd name="connsiteX40" fmla="*/ 275543 w 442678"/>
                <a:gd name="connsiteY40" fmla="*/ 68158 h 442678"/>
                <a:gd name="connsiteX41" fmla="*/ 253760 w 442678"/>
                <a:gd name="connsiteY41" fmla="*/ 35133 h 442678"/>
                <a:gd name="connsiteX42" fmla="*/ 298028 w 442678"/>
                <a:gd name="connsiteY42" fmla="*/ 702 h 442678"/>
                <a:gd name="connsiteX43" fmla="*/ 429426 w 442678"/>
                <a:gd name="connsiteY43" fmla="*/ 0 h 442678"/>
                <a:gd name="connsiteX44" fmla="*/ 442777 w 442678"/>
                <a:gd name="connsiteY44" fmla="*/ 14756 h 442678"/>
                <a:gd name="connsiteX45" fmla="*/ 441372 w 442678"/>
                <a:gd name="connsiteY45" fmla="*/ 8150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2678" h="442678">
                  <a:moveTo>
                    <a:pt x="441372" y="81509"/>
                  </a:moveTo>
                  <a:cubicBezTo>
                    <a:pt x="441372" y="102589"/>
                    <a:pt x="440669" y="123669"/>
                    <a:pt x="441372" y="144749"/>
                  </a:cubicBezTo>
                  <a:cubicBezTo>
                    <a:pt x="442074" y="160910"/>
                    <a:pt x="434345" y="172153"/>
                    <a:pt x="422400" y="181990"/>
                  </a:cubicBezTo>
                  <a:cubicBezTo>
                    <a:pt x="407644" y="194638"/>
                    <a:pt x="394293" y="196746"/>
                    <a:pt x="380943" y="179179"/>
                  </a:cubicBezTo>
                  <a:cubicBezTo>
                    <a:pt x="369700" y="164423"/>
                    <a:pt x="357755" y="145451"/>
                    <a:pt x="334567" y="155289"/>
                  </a:cubicBezTo>
                  <a:cubicBezTo>
                    <a:pt x="310676" y="165829"/>
                    <a:pt x="294515" y="183395"/>
                    <a:pt x="293110" y="211502"/>
                  </a:cubicBezTo>
                  <a:cubicBezTo>
                    <a:pt x="291704" y="236798"/>
                    <a:pt x="293812" y="260688"/>
                    <a:pt x="315595" y="278255"/>
                  </a:cubicBezTo>
                  <a:cubicBezTo>
                    <a:pt x="339485" y="298632"/>
                    <a:pt x="354944" y="297227"/>
                    <a:pt x="376024" y="274741"/>
                  </a:cubicBezTo>
                  <a:cubicBezTo>
                    <a:pt x="385158" y="264904"/>
                    <a:pt x="390077" y="245932"/>
                    <a:pt x="409752" y="255770"/>
                  </a:cubicBezTo>
                  <a:cubicBezTo>
                    <a:pt x="428021" y="264904"/>
                    <a:pt x="441372" y="277552"/>
                    <a:pt x="441372" y="299335"/>
                  </a:cubicBezTo>
                  <a:cubicBezTo>
                    <a:pt x="441372" y="342197"/>
                    <a:pt x="440669" y="385060"/>
                    <a:pt x="442074" y="427922"/>
                  </a:cubicBezTo>
                  <a:cubicBezTo>
                    <a:pt x="442074" y="441976"/>
                    <a:pt x="436453" y="444083"/>
                    <a:pt x="424508" y="444083"/>
                  </a:cubicBezTo>
                  <a:cubicBezTo>
                    <a:pt x="382348" y="443381"/>
                    <a:pt x="340891" y="443381"/>
                    <a:pt x="298731" y="444083"/>
                  </a:cubicBezTo>
                  <a:cubicBezTo>
                    <a:pt x="282570" y="444083"/>
                    <a:pt x="270624" y="437057"/>
                    <a:pt x="261490" y="425112"/>
                  </a:cubicBezTo>
                  <a:cubicBezTo>
                    <a:pt x="249544" y="410356"/>
                    <a:pt x="246734" y="397005"/>
                    <a:pt x="265003" y="384357"/>
                  </a:cubicBezTo>
                  <a:cubicBezTo>
                    <a:pt x="280462" y="373114"/>
                    <a:pt x="298028" y="361169"/>
                    <a:pt x="288191" y="337981"/>
                  </a:cubicBezTo>
                  <a:cubicBezTo>
                    <a:pt x="279056" y="314793"/>
                    <a:pt x="261490" y="299335"/>
                    <a:pt x="235491" y="296524"/>
                  </a:cubicBezTo>
                  <a:cubicBezTo>
                    <a:pt x="209493" y="294416"/>
                    <a:pt x="184197" y="295821"/>
                    <a:pt x="165927" y="318307"/>
                  </a:cubicBezTo>
                  <a:cubicBezTo>
                    <a:pt x="145550" y="342197"/>
                    <a:pt x="146955" y="357656"/>
                    <a:pt x="170143" y="378736"/>
                  </a:cubicBezTo>
                  <a:cubicBezTo>
                    <a:pt x="180683" y="387870"/>
                    <a:pt x="197547" y="394897"/>
                    <a:pt x="189115" y="413166"/>
                  </a:cubicBezTo>
                  <a:cubicBezTo>
                    <a:pt x="180683" y="430733"/>
                    <a:pt x="166630" y="444083"/>
                    <a:pt x="144848" y="444083"/>
                  </a:cubicBezTo>
                  <a:cubicBezTo>
                    <a:pt x="101985" y="444083"/>
                    <a:pt x="59122" y="443381"/>
                    <a:pt x="16260" y="444083"/>
                  </a:cubicBezTo>
                  <a:cubicBezTo>
                    <a:pt x="2207" y="444083"/>
                    <a:pt x="-604" y="439165"/>
                    <a:pt x="99" y="426517"/>
                  </a:cubicBezTo>
                  <a:cubicBezTo>
                    <a:pt x="801" y="385762"/>
                    <a:pt x="801" y="344305"/>
                    <a:pt x="99" y="303551"/>
                  </a:cubicBezTo>
                  <a:cubicBezTo>
                    <a:pt x="99" y="286687"/>
                    <a:pt x="7125" y="274039"/>
                    <a:pt x="19773" y="263499"/>
                  </a:cubicBezTo>
                  <a:cubicBezTo>
                    <a:pt x="34529" y="251554"/>
                    <a:pt x="47880" y="248743"/>
                    <a:pt x="61231" y="267012"/>
                  </a:cubicBezTo>
                  <a:cubicBezTo>
                    <a:pt x="72473" y="282471"/>
                    <a:pt x="84418" y="300740"/>
                    <a:pt x="107606" y="290200"/>
                  </a:cubicBezTo>
                  <a:cubicBezTo>
                    <a:pt x="131497" y="279660"/>
                    <a:pt x="147658" y="262796"/>
                    <a:pt x="148361" y="234690"/>
                  </a:cubicBezTo>
                  <a:cubicBezTo>
                    <a:pt x="149064" y="209394"/>
                    <a:pt x="149064" y="185503"/>
                    <a:pt x="127281" y="167234"/>
                  </a:cubicBezTo>
                  <a:cubicBezTo>
                    <a:pt x="103390" y="147559"/>
                    <a:pt x="87932" y="147559"/>
                    <a:pt x="66852" y="171450"/>
                  </a:cubicBezTo>
                  <a:cubicBezTo>
                    <a:pt x="57717" y="181990"/>
                    <a:pt x="50691" y="198854"/>
                    <a:pt x="31719" y="189719"/>
                  </a:cubicBezTo>
                  <a:cubicBezTo>
                    <a:pt x="14855" y="181990"/>
                    <a:pt x="801" y="167937"/>
                    <a:pt x="801" y="148262"/>
                  </a:cubicBezTo>
                  <a:cubicBezTo>
                    <a:pt x="99" y="103291"/>
                    <a:pt x="801" y="59024"/>
                    <a:pt x="99" y="14053"/>
                  </a:cubicBezTo>
                  <a:cubicBezTo>
                    <a:pt x="99" y="2811"/>
                    <a:pt x="5017" y="702"/>
                    <a:pt x="14855" y="702"/>
                  </a:cubicBezTo>
                  <a:cubicBezTo>
                    <a:pt x="57717" y="1405"/>
                    <a:pt x="100580" y="702"/>
                    <a:pt x="143442" y="702"/>
                  </a:cubicBezTo>
                  <a:cubicBezTo>
                    <a:pt x="158901" y="702"/>
                    <a:pt x="170846" y="7729"/>
                    <a:pt x="181386" y="19675"/>
                  </a:cubicBezTo>
                  <a:cubicBezTo>
                    <a:pt x="194034" y="34430"/>
                    <a:pt x="196142" y="47781"/>
                    <a:pt x="177873" y="61132"/>
                  </a:cubicBezTo>
                  <a:cubicBezTo>
                    <a:pt x="162414" y="72374"/>
                    <a:pt x="144145" y="85022"/>
                    <a:pt x="153982" y="107508"/>
                  </a:cubicBezTo>
                  <a:cubicBezTo>
                    <a:pt x="163819" y="129993"/>
                    <a:pt x="179981" y="146154"/>
                    <a:pt x="207385" y="148262"/>
                  </a:cubicBezTo>
                  <a:cubicBezTo>
                    <a:pt x="236194" y="150370"/>
                    <a:pt x="262192" y="148262"/>
                    <a:pt x="280462" y="122966"/>
                  </a:cubicBezTo>
                  <a:cubicBezTo>
                    <a:pt x="295218" y="102589"/>
                    <a:pt x="295218" y="85725"/>
                    <a:pt x="275543" y="68158"/>
                  </a:cubicBezTo>
                  <a:cubicBezTo>
                    <a:pt x="265706" y="59726"/>
                    <a:pt x="246734" y="54808"/>
                    <a:pt x="253760" y="35133"/>
                  </a:cubicBezTo>
                  <a:cubicBezTo>
                    <a:pt x="260787" y="14053"/>
                    <a:pt x="276246" y="1405"/>
                    <a:pt x="298028" y="702"/>
                  </a:cubicBezTo>
                  <a:cubicBezTo>
                    <a:pt x="341593" y="-703"/>
                    <a:pt x="385861" y="702"/>
                    <a:pt x="429426" y="0"/>
                  </a:cubicBezTo>
                  <a:cubicBezTo>
                    <a:pt x="441372" y="0"/>
                    <a:pt x="442777" y="5621"/>
                    <a:pt x="442777" y="14756"/>
                  </a:cubicBezTo>
                  <a:cubicBezTo>
                    <a:pt x="441372" y="37241"/>
                    <a:pt x="441372" y="59024"/>
                    <a:pt x="441372" y="8150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2351C881-C561-4695-B764-8DE3FCEA5A52}"/>
                </a:ext>
              </a:extLst>
            </p:cNvPr>
            <p:cNvSpPr/>
            <p:nvPr/>
          </p:nvSpPr>
          <p:spPr>
            <a:xfrm>
              <a:off x="4562215" y="2285221"/>
              <a:ext cx="1026185" cy="769640"/>
            </a:xfrm>
            <a:custGeom>
              <a:avLst/>
              <a:gdLst>
                <a:gd name="connsiteX0" fmla="*/ 362604 w 590237"/>
                <a:gd name="connsiteY0" fmla="*/ 443446 h 442678"/>
                <a:gd name="connsiteX1" fmla="*/ 302175 w 590237"/>
                <a:gd name="connsiteY1" fmla="*/ 443446 h 442678"/>
                <a:gd name="connsiteX2" fmla="*/ 261420 w 590237"/>
                <a:gd name="connsiteY2" fmla="*/ 424474 h 442678"/>
                <a:gd name="connsiteX3" fmla="*/ 264934 w 590237"/>
                <a:gd name="connsiteY3" fmla="*/ 383017 h 442678"/>
                <a:gd name="connsiteX4" fmla="*/ 288122 w 590237"/>
                <a:gd name="connsiteY4" fmla="*/ 335938 h 442678"/>
                <a:gd name="connsiteX5" fmla="*/ 234719 w 590237"/>
                <a:gd name="connsiteY5" fmla="*/ 295184 h 442678"/>
                <a:gd name="connsiteX6" fmla="*/ 165155 w 590237"/>
                <a:gd name="connsiteY6" fmla="*/ 316966 h 442678"/>
                <a:gd name="connsiteX7" fmla="*/ 170074 w 590237"/>
                <a:gd name="connsiteY7" fmla="*/ 377395 h 442678"/>
                <a:gd name="connsiteX8" fmla="*/ 189749 w 590237"/>
                <a:gd name="connsiteY8" fmla="*/ 409015 h 442678"/>
                <a:gd name="connsiteX9" fmla="*/ 149697 w 590237"/>
                <a:gd name="connsiteY9" fmla="*/ 442041 h 442678"/>
                <a:gd name="connsiteX10" fmla="*/ 12677 w 590237"/>
                <a:gd name="connsiteY10" fmla="*/ 442743 h 442678"/>
                <a:gd name="connsiteX11" fmla="*/ 29 w 590237"/>
                <a:gd name="connsiteY11" fmla="*/ 427285 h 442678"/>
                <a:gd name="connsiteX12" fmla="*/ 29 w 590237"/>
                <a:gd name="connsiteY12" fmla="*/ 298697 h 442678"/>
                <a:gd name="connsiteX13" fmla="*/ 17596 w 590237"/>
                <a:gd name="connsiteY13" fmla="*/ 263564 h 442678"/>
                <a:gd name="connsiteX14" fmla="*/ 60458 w 590237"/>
                <a:gd name="connsiteY14" fmla="*/ 266375 h 442678"/>
                <a:gd name="connsiteX15" fmla="*/ 104024 w 590237"/>
                <a:gd name="connsiteY15" fmla="*/ 290265 h 442678"/>
                <a:gd name="connsiteX16" fmla="*/ 147589 w 590237"/>
                <a:gd name="connsiteY16" fmla="*/ 236160 h 442678"/>
                <a:gd name="connsiteX17" fmla="*/ 122996 w 590237"/>
                <a:gd name="connsiteY17" fmla="*/ 164488 h 442678"/>
                <a:gd name="connsiteX18" fmla="*/ 66782 w 590237"/>
                <a:gd name="connsiteY18" fmla="*/ 169407 h 442678"/>
                <a:gd name="connsiteX19" fmla="*/ 30244 w 590237"/>
                <a:gd name="connsiteY19" fmla="*/ 189082 h 442678"/>
                <a:gd name="connsiteX20" fmla="*/ 29 w 590237"/>
                <a:gd name="connsiteY20" fmla="*/ 141300 h 442678"/>
                <a:gd name="connsiteX21" fmla="*/ 29 w 590237"/>
                <a:gd name="connsiteY21" fmla="*/ 18334 h 442678"/>
                <a:gd name="connsiteX22" fmla="*/ 18298 w 590237"/>
                <a:gd name="connsiteY22" fmla="*/ 65 h 442678"/>
                <a:gd name="connsiteX23" fmla="*/ 138454 w 590237"/>
                <a:gd name="connsiteY23" fmla="*/ 65 h 442678"/>
                <a:gd name="connsiteX24" fmla="*/ 179209 w 590237"/>
                <a:gd name="connsiteY24" fmla="*/ 18334 h 442678"/>
                <a:gd name="connsiteX25" fmla="*/ 176398 w 590237"/>
                <a:gd name="connsiteY25" fmla="*/ 61197 h 442678"/>
                <a:gd name="connsiteX26" fmla="*/ 153913 w 590237"/>
                <a:gd name="connsiteY26" fmla="*/ 108275 h 442678"/>
                <a:gd name="connsiteX27" fmla="*/ 208018 w 590237"/>
                <a:gd name="connsiteY27" fmla="*/ 148327 h 442678"/>
                <a:gd name="connsiteX28" fmla="*/ 277582 w 590237"/>
                <a:gd name="connsiteY28" fmla="*/ 126545 h 442678"/>
                <a:gd name="connsiteX29" fmla="*/ 274068 w 590237"/>
                <a:gd name="connsiteY29" fmla="*/ 67521 h 442678"/>
                <a:gd name="connsiteX30" fmla="*/ 253691 w 590237"/>
                <a:gd name="connsiteY30" fmla="*/ 33793 h 442678"/>
                <a:gd name="connsiteX31" fmla="*/ 299364 w 590237"/>
                <a:gd name="connsiteY31" fmla="*/ 768 h 442678"/>
                <a:gd name="connsiteX32" fmla="*/ 427952 w 590237"/>
                <a:gd name="connsiteY32" fmla="*/ 65 h 442678"/>
                <a:gd name="connsiteX33" fmla="*/ 442708 w 590237"/>
                <a:gd name="connsiteY33" fmla="*/ 19037 h 442678"/>
                <a:gd name="connsiteX34" fmla="*/ 442708 w 590237"/>
                <a:gd name="connsiteY34" fmla="*/ 139192 h 442678"/>
                <a:gd name="connsiteX35" fmla="*/ 453248 w 590237"/>
                <a:gd name="connsiteY35" fmla="*/ 168704 h 442678"/>
                <a:gd name="connsiteX36" fmla="*/ 481354 w 590237"/>
                <a:gd name="connsiteY36" fmla="*/ 168002 h 442678"/>
                <a:gd name="connsiteX37" fmla="*/ 538973 w 590237"/>
                <a:gd name="connsiteY37" fmla="*/ 142003 h 442678"/>
                <a:gd name="connsiteX38" fmla="*/ 589565 w 590237"/>
                <a:gd name="connsiteY38" fmla="*/ 198216 h 442678"/>
                <a:gd name="connsiteX39" fmla="*/ 559350 w 590237"/>
                <a:gd name="connsiteY39" fmla="*/ 290968 h 442678"/>
                <a:gd name="connsiteX40" fmla="*/ 487678 w 590237"/>
                <a:gd name="connsiteY40" fmla="*/ 283239 h 442678"/>
                <a:gd name="connsiteX41" fmla="*/ 463085 w 590237"/>
                <a:gd name="connsiteY41" fmla="*/ 267780 h 442678"/>
                <a:gd name="connsiteX42" fmla="*/ 442708 w 590237"/>
                <a:gd name="connsiteY42" fmla="*/ 300805 h 442678"/>
                <a:gd name="connsiteX43" fmla="*/ 443410 w 590237"/>
                <a:gd name="connsiteY43" fmla="*/ 423771 h 442678"/>
                <a:gd name="connsiteX44" fmla="*/ 425844 w 590237"/>
                <a:gd name="connsiteY44" fmla="*/ 442743 h 442678"/>
                <a:gd name="connsiteX45" fmla="*/ 362604 w 590237"/>
                <a:gd name="connsiteY45" fmla="*/ 443446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442678">
                  <a:moveTo>
                    <a:pt x="362604" y="443446"/>
                  </a:moveTo>
                  <a:cubicBezTo>
                    <a:pt x="342227" y="443446"/>
                    <a:pt x="322552" y="442743"/>
                    <a:pt x="302175" y="443446"/>
                  </a:cubicBezTo>
                  <a:cubicBezTo>
                    <a:pt x="285311" y="444149"/>
                    <a:pt x="272663" y="437122"/>
                    <a:pt x="261420" y="424474"/>
                  </a:cubicBezTo>
                  <a:cubicBezTo>
                    <a:pt x="248070" y="409718"/>
                    <a:pt x="247367" y="396367"/>
                    <a:pt x="264934" y="383017"/>
                  </a:cubicBezTo>
                  <a:cubicBezTo>
                    <a:pt x="280392" y="371774"/>
                    <a:pt x="297959" y="359126"/>
                    <a:pt x="288122" y="335938"/>
                  </a:cubicBezTo>
                  <a:cubicBezTo>
                    <a:pt x="278284" y="312751"/>
                    <a:pt x="261420" y="297292"/>
                    <a:pt x="234719" y="295184"/>
                  </a:cubicBezTo>
                  <a:cubicBezTo>
                    <a:pt x="208721" y="293076"/>
                    <a:pt x="184127" y="295184"/>
                    <a:pt x="165155" y="316966"/>
                  </a:cubicBezTo>
                  <a:cubicBezTo>
                    <a:pt x="145481" y="340154"/>
                    <a:pt x="146886" y="357018"/>
                    <a:pt x="170074" y="377395"/>
                  </a:cubicBezTo>
                  <a:cubicBezTo>
                    <a:pt x="179209" y="385828"/>
                    <a:pt x="196775" y="390746"/>
                    <a:pt x="189749" y="409015"/>
                  </a:cubicBezTo>
                  <a:cubicBezTo>
                    <a:pt x="182722" y="426582"/>
                    <a:pt x="169371" y="441338"/>
                    <a:pt x="149697" y="442041"/>
                  </a:cubicBezTo>
                  <a:cubicBezTo>
                    <a:pt x="104024" y="443446"/>
                    <a:pt x="58350" y="442041"/>
                    <a:pt x="12677" y="442743"/>
                  </a:cubicBezTo>
                  <a:cubicBezTo>
                    <a:pt x="732" y="442743"/>
                    <a:pt x="29" y="437122"/>
                    <a:pt x="29" y="427285"/>
                  </a:cubicBezTo>
                  <a:cubicBezTo>
                    <a:pt x="29" y="384422"/>
                    <a:pt x="732" y="341560"/>
                    <a:pt x="29" y="298697"/>
                  </a:cubicBezTo>
                  <a:cubicBezTo>
                    <a:pt x="29" y="283239"/>
                    <a:pt x="7056" y="272699"/>
                    <a:pt x="17596" y="263564"/>
                  </a:cubicBezTo>
                  <a:cubicBezTo>
                    <a:pt x="32352" y="250213"/>
                    <a:pt x="46405" y="245997"/>
                    <a:pt x="60458" y="266375"/>
                  </a:cubicBezTo>
                  <a:cubicBezTo>
                    <a:pt x="70998" y="281131"/>
                    <a:pt x="82241" y="297995"/>
                    <a:pt x="104024" y="290265"/>
                  </a:cubicBezTo>
                  <a:cubicBezTo>
                    <a:pt x="128617" y="281131"/>
                    <a:pt x="145481" y="263564"/>
                    <a:pt x="147589" y="236160"/>
                  </a:cubicBezTo>
                  <a:cubicBezTo>
                    <a:pt x="149697" y="208756"/>
                    <a:pt x="147589" y="183460"/>
                    <a:pt x="122996" y="164488"/>
                  </a:cubicBezTo>
                  <a:cubicBezTo>
                    <a:pt x="99808" y="146922"/>
                    <a:pt x="86457" y="147624"/>
                    <a:pt x="66782" y="169407"/>
                  </a:cubicBezTo>
                  <a:cubicBezTo>
                    <a:pt x="56945" y="179947"/>
                    <a:pt x="49918" y="198919"/>
                    <a:pt x="30244" y="189082"/>
                  </a:cubicBezTo>
                  <a:cubicBezTo>
                    <a:pt x="11272" y="179947"/>
                    <a:pt x="-673" y="165191"/>
                    <a:pt x="29" y="141300"/>
                  </a:cubicBezTo>
                  <a:cubicBezTo>
                    <a:pt x="732" y="100546"/>
                    <a:pt x="732" y="59089"/>
                    <a:pt x="29" y="18334"/>
                  </a:cubicBezTo>
                  <a:cubicBezTo>
                    <a:pt x="29" y="4281"/>
                    <a:pt x="4245" y="-638"/>
                    <a:pt x="18298" y="65"/>
                  </a:cubicBezTo>
                  <a:cubicBezTo>
                    <a:pt x="58350" y="768"/>
                    <a:pt x="98402" y="768"/>
                    <a:pt x="138454" y="65"/>
                  </a:cubicBezTo>
                  <a:cubicBezTo>
                    <a:pt x="155318" y="65"/>
                    <a:pt x="168669" y="5686"/>
                    <a:pt x="179209" y="18334"/>
                  </a:cubicBezTo>
                  <a:cubicBezTo>
                    <a:pt x="192559" y="33090"/>
                    <a:pt x="196073" y="47143"/>
                    <a:pt x="176398" y="61197"/>
                  </a:cubicBezTo>
                  <a:cubicBezTo>
                    <a:pt x="160940" y="72439"/>
                    <a:pt x="143373" y="85790"/>
                    <a:pt x="153913" y="108275"/>
                  </a:cubicBezTo>
                  <a:cubicBezTo>
                    <a:pt x="163750" y="130760"/>
                    <a:pt x="180614" y="146922"/>
                    <a:pt x="208018" y="148327"/>
                  </a:cubicBezTo>
                  <a:cubicBezTo>
                    <a:pt x="234016" y="149732"/>
                    <a:pt x="258610" y="149030"/>
                    <a:pt x="277582" y="126545"/>
                  </a:cubicBezTo>
                  <a:cubicBezTo>
                    <a:pt x="296554" y="103357"/>
                    <a:pt x="295851" y="88601"/>
                    <a:pt x="274068" y="67521"/>
                  </a:cubicBezTo>
                  <a:cubicBezTo>
                    <a:pt x="264231" y="58386"/>
                    <a:pt x="245962" y="52765"/>
                    <a:pt x="253691" y="33793"/>
                  </a:cubicBezTo>
                  <a:cubicBezTo>
                    <a:pt x="262123" y="14118"/>
                    <a:pt x="277582" y="768"/>
                    <a:pt x="299364" y="768"/>
                  </a:cubicBezTo>
                  <a:cubicBezTo>
                    <a:pt x="342227" y="65"/>
                    <a:pt x="385089" y="768"/>
                    <a:pt x="427952" y="65"/>
                  </a:cubicBezTo>
                  <a:cubicBezTo>
                    <a:pt x="443410" y="65"/>
                    <a:pt x="443410" y="7794"/>
                    <a:pt x="442708" y="19037"/>
                  </a:cubicBezTo>
                  <a:cubicBezTo>
                    <a:pt x="442708" y="59089"/>
                    <a:pt x="442708" y="99140"/>
                    <a:pt x="442708" y="139192"/>
                  </a:cubicBezTo>
                  <a:cubicBezTo>
                    <a:pt x="442708" y="150435"/>
                    <a:pt x="444113" y="160975"/>
                    <a:pt x="453248" y="168704"/>
                  </a:cubicBezTo>
                  <a:cubicBezTo>
                    <a:pt x="463085" y="177839"/>
                    <a:pt x="471517" y="182758"/>
                    <a:pt x="481354" y="168002"/>
                  </a:cubicBezTo>
                  <a:cubicBezTo>
                    <a:pt x="494705" y="148327"/>
                    <a:pt x="512272" y="132868"/>
                    <a:pt x="538973" y="142003"/>
                  </a:cubicBezTo>
                  <a:cubicBezTo>
                    <a:pt x="564971" y="151138"/>
                    <a:pt x="584646" y="170110"/>
                    <a:pt x="589565" y="198216"/>
                  </a:cubicBezTo>
                  <a:cubicBezTo>
                    <a:pt x="595888" y="234052"/>
                    <a:pt x="591673" y="267077"/>
                    <a:pt x="559350" y="290968"/>
                  </a:cubicBezTo>
                  <a:cubicBezTo>
                    <a:pt x="531243" y="311345"/>
                    <a:pt x="512272" y="309237"/>
                    <a:pt x="487678" y="283239"/>
                  </a:cubicBezTo>
                  <a:cubicBezTo>
                    <a:pt x="481354" y="276212"/>
                    <a:pt x="477841" y="260753"/>
                    <a:pt x="463085" y="267780"/>
                  </a:cubicBezTo>
                  <a:cubicBezTo>
                    <a:pt x="450437" y="274104"/>
                    <a:pt x="442708" y="284644"/>
                    <a:pt x="442708" y="300805"/>
                  </a:cubicBezTo>
                  <a:cubicBezTo>
                    <a:pt x="443410" y="341560"/>
                    <a:pt x="442005" y="383017"/>
                    <a:pt x="443410" y="423771"/>
                  </a:cubicBezTo>
                  <a:cubicBezTo>
                    <a:pt x="443410" y="437825"/>
                    <a:pt x="440600" y="443446"/>
                    <a:pt x="425844" y="442743"/>
                  </a:cubicBezTo>
                  <a:cubicBezTo>
                    <a:pt x="404764" y="442041"/>
                    <a:pt x="383684" y="443446"/>
                    <a:pt x="362604" y="4434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980BA11D-ADB3-43EA-A337-18E8010E533A}"/>
                </a:ext>
              </a:extLst>
            </p:cNvPr>
            <p:cNvSpPr/>
            <p:nvPr/>
          </p:nvSpPr>
          <p:spPr>
            <a:xfrm>
              <a:off x="6877469" y="3812476"/>
              <a:ext cx="769640" cy="769640"/>
            </a:xfrm>
            <a:custGeom>
              <a:avLst/>
              <a:gdLst>
                <a:gd name="connsiteX0" fmla="*/ 441372 w 442678"/>
                <a:gd name="connsiteY0" fmla="*/ 81509 h 442678"/>
                <a:gd name="connsiteX1" fmla="*/ 441372 w 442678"/>
                <a:gd name="connsiteY1" fmla="*/ 144749 h 442678"/>
                <a:gd name="connsiteX2" fmla="*/ 422400 w 442678"/>
                <a:gd name="connsiteY2" fmla="*/ 181990 h 442678"/>
                <a:gd name="connsiteX3" fmla="*/ 380943 w 442678"/>
                <a:gd name="connsiteY3" fmla="*/ 179179 h 442678"/>
                <a:gd name="connsiteX4" fmla="*/ 334567 w 442678"/>
                <a:gd name="connsiteY4" fmla="*/ 155289 h 442678"/>
                <a:gd name="connsiteX5" fmla="*/ 293110 w 442678"/>
                <a:gd name="connsiteY5" fmla="*/ 211502 h 442678"/>
                <a:gd name="connsiteX6" fmla="*/ 315595 w 442678"/>
                <a:gd name="connsiteY6" fmla="*/ 278255 h 442678"/>
                <a:gd name="connsiteX7" fmla="*/ 376024 w 442678"/>
                <a:gd name="connsiteY7" fmla="*/ 274741 h 442678"/>
                <a:gd name="connsiteX8" fmla="*/ 409752 w 442678"/>
                <a:gd name="connsiteY8" fmla="*/ 255770 h 442678"/>
                <a:gd name="connsiteX9" fmla="*/ 441372 w 442678"/>
                <a:gd name="connsiteY9" fmla="*/ 299335 h 442678"/>
                <a:gd name="connsiteX10" fmla="*/ 442074 w 442678"/>
                <a:gd name="connsiteY10" fmla="*/ 427922 h 442678"/>
                <a:gd name="connsiteX11" fmla="*/ 424508 w 442678"/>
                <a:gd name="connsiteY11" fmla="*/ 444083 h 442678"/>
                <a:gd name="connsiteX12" fmla="*/ 298731 w 442678"/>
                <a:gd name="connsiteY12" fmla="*/ 444083 h 442678"/>
                <a:gd name="connsiteX13" fmla="*/ 261490 w 442678"/>
                <a:gd name="connsiteY13" fmla="*/ 425112 h 442678"/>
                <a:gd name="connsiteX14" fmla="*/ 265003 w 442678"/>
                <a:gd name="connsiteY14" fmla="*/ 384357 h 442678"/>
                <a:gd name="connsiteX15" fmla="*/ 288191 w 442678"/>
                <a:gd name="connsiteY15" fmla="*/ 337981 h 442678"/>
                <a:gd name="connsiteX16" fmla="*/ 235491 w 442678"/>
                <a:gd name="connsiteY16" fmla="*/ 296524 h 442678"/>
                <a:gd name="connsiteX17" fmla="*/ 165927 w 442678"/>
                <a:gd name="connsiteY17" fmla="*/ 318307 h 442678"/>
                <a:gd name="connsiteX18" fmla="*/ 170143 w 442678"/>
                <a:gd name="connsiteY18" fmla="*/ 378736 h 442678"/>
                <a:gd name="connsiteX19" fmla="*/ 189115 w 442678"/>
                <a:gd name="connsiteY19" fmla="*/ 413166 h 442678"/>
                <a:gd name="connsiteX20" fmla="*/ 144848 w 442678"/>
                <a:gd name="connsiteY20" fmla="*/ 444083 h 442678"/>
                <a:gd name="connsiteX21" fmla="*/ 16260 w 442678"/>
                <a:gd name="connsiteY21" fmla="*/ 444083 h 442678"/>
                <a:gd name="connsiteX22" fmla="*/ 99 w 442678"/>
                <a:gd name="connsiteY22" fmla="*/ 426517 h 442678"/>
                <a:gd name="connsiteX23" fmla="*/ 99 w 442678"/>
                <a:gd name="connsiteY23" fmla="*/ 303551 h 442678"/>
                <a:gd name="connsiteX24" fmla="*/ 19773 w 442678"/>
                <a:gd name="connsiteY24" fmla="*/ 263499 h 442678"/>
                <a:gd name="connsiteX25" fmla="*/ 61231 w 442678"/>
                <a:gd name="connsiteY25" fmla="*/ 267012 h 442678"/>
                <a:gd name="connsiteX26" fmla="*/ 107606 w 442678"/>
                <a:gd name="connsiteY26" fmla="*/ 290200 h 442678"/>
                <a:gd name="connsiteX27" fmla="*/ 148361 w 442678"/>
                <a:gd name="connsiteY27" fmla="*/ 234690 h 442678"/>
                <a:gd name="connsiteX28" fmla="*/ 127281 w 442678"/>
                <a:gd name="connsiteY28" fmla="*/ 167234 h 442678"/>
                <a:gd name="connsiteX29" fmla="*/ 66852 w 442678"/>
                <a:gd name="connsiteY29" fmla="*/ 171450 h 442678"/>
                <a:gd name="connsiteX30" fmla="*/ 31719 w 442678"/>
                <a:gd name="connsiteY30" fmla="*/ 189719 h 442678"/>
                <a:gd name="connsiteX31" fmla="*/ 801 w 442678"/>
                <a:gd name="connsiteY31" fmla="*/ 148262 h 442678"/>
                <a:gd name="connsiteX32" fmla="*/ 99 w 442678"/>
                <a:gd name="connsiteY32" fmla="*/ 14053 h 442678"/>
                <a:gd name="connsiteX33" fmla="*/ 14855 w 442678"/>
                <a:gd name="connsiteY33" fmla="*/ 702 h 442678"/>
                <a:gd name="connsiteX34" fmla="*/ 143442 w 442678"/>
                <a:gd name="connsiteY34" fmla="*/ 702 h 442678"/>
                <a:gd name="connsiteX35" fmla="*/ 181386 w 442678"/>
                <a:gd name="connsiteY35" fmla="*/ 19675 h 442678"/>
                <a:gd name="connsiteX36" fmla="*/ 177873 w 442678"/>
                <a:gd name="connsiteY36" fmla="*/ 61132 h 442678"/>
                <a:gd name="connsiteX37" fmla="*/ 153982 w 442678"/>
                <a:gd name="connsiteY37" fmla="*/ 107508 h 442678"/>
                <a:gd name="connsiteX38" fmla="*/ 207385 w 442678"/>
                <a:gd name="connsiteY38" fmla="*/ 148262 h 442678"/>
                <a:gd name="connsiteX39" fmla="*/ 280462 w 442678"/>
                <a:gd name="connsiteY39" fmla="*/ 122966 h 442678"/>
                <a:gd name="connsiteX40" fmla="*/ 275543 w 442678"/>
                <a:gd name="connsiteY40" fmla="*/ 68158 h 442678"/>
                <a:gd name="connsiteX41" fmla="*/ 253760 w 442678"/>
                <a:gd name="connsiteY41" fmla="*/ 35133 h 442678"/>
                <a:gd name="connsiteX42" fmla="*/ 298028 w 442678"/>
                <a:gd name="connsiteY42" fmla="*/ 702 h 442678"/>
                <a:gd name="connsiteX43" fmla="*/ 429426 w 442678"/>
                <a:gd name="connsiteY43" fmla="*/ 0 h 442678"/>
                <a:gd name="connsiteX44" fmla="*/ 442777 w 442678"/>
                <a:gd name="connsiteY44" fmla="*/ 14756 h 442678"/>
                <a:gd name="connsiteX45" fmla="*/ 441372 w 442678"/>
                <a:gd name="connsiteY45" fmla="*/ 8150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2678" h="442678">
                  <a:moveTo>
                    <a:pt x="441372" y="81509"/>
                  </a:moveTo>
                  <a:cubicBezTo>
                    <a:pt x="441372" y="102589"/>
                    <a:pt x="440669" y="123669"/>
                    <a:pt x="441372" y="144749"/>
                  </a:cubicBezTo>
                  <a:cubicBezTo>
                    <a:pt x="442074" y="160910"/>
                    <a:pt x="434345" y="172153"/>
                    <a:pt x="422400" y="181990"/>
                  </a:cubicBezTo>
                  <a:cubicBezTo>
                    <a:pt x="407644" y="194638"/>
                    <a:pt x="394293" y="196746"/>
                    <a:pt x="380943" y="179179"/>
                  </a:cubicBezTo>
                  <a:cubicBezTo>
                    <a:pt x="369700" y="164423"/>
                    <a:pt x="357755" y="145451"/>
                    <a:pt x="334567" y="155289"/>
                  </a:cubicBezTo>
                  <a:cubicBezTo>
                    <a:pt x="310676" y="165829"/>
                    <a:pt x="294515" y="183395"/>
                    <a:pt x="293110" y="211502"/>
                  </a:cubicBezTo>
                  <a:cubicBezTo>
                    <a:pt x="291704" y="236798"/>
                    <a:pt x="293812" y="260688"/>
                    <a:pt x="315595" y="278255"/>
                  </a:cubicBezTo>
                  <a:cubicBezTo>
                    <a:pt x="339485" y="298632"/>
                    <a:pt x="354944" y="297227"/>
                    <a:pt x="376024" y="274741"/>
                  </a:cubicBezTo>
                  <a:cubicBezTo>
                    <a:pt x="385158" y="264904"/>
                    <a:pt x="390077" y="245932"/>
                    <a:pt x="409752" y="255770"/>
                  </a:cubicBezTo>
                  <a:cubicBezTo>
                    <a:pt x="428021" y="264904"/>
                    <a:pt x="441372" y="277552"/>
                    <a:pt x="441372" y="299335"/>
                  </a:cubicBezTo>
                  <a:cubicBezTo>
                    <a:pt x="441372" y="342197"/>
                    <a:pt x="440669" y="385060"/>
                    <a:pt x="442074" y="427922"/>
                  </a:cubicBezTo>
                  <a:cubicBezTo>
                    <a:pt x="442074" y="441976"/>
                    <a:pt x="436453" y="444083"/>
                    <a:pt x="424508" y="444083"/>
                  </a:cubicBezTo>
                  <a:cubicBezTo>
                    <a:pt x="382348" y="443381"/>
                    <a:pt x="340891" y="443381"/>
                    <a:pt x="298731" y="444083"/>
                  </a:cubicBezTo>
                  <a:cubicBezTo>
                    <a:pt x="282570" y="444083"/>
                    <a:pt x="270624" y="437057"/>
                    <a:pt x="261490" y="425112"/>
                  </a:cubicBezTo>
                  <a:cubicBezTo>
                    <a:pt x="249544" y="410356"/>
                    <a:pt x="246734" y="397005"/>
                    <a:pt x="265003" y="384357"/>
                  </a:cubicBezTo>
                  <a:cubicBezTo>
                    <a:pt x="280462" y="373114"/>
                    <a:pt x="298028" y="361169"/>
                    <a:pt x="288191" y="337981"/>
                  </a:cubicBezTo>
                  <a:cubicBezTo>
                    <a:pt x="279056" y="314793"/>
                    <a:pt x="261490" y="299335"/>
                    <a:pt x="235491" y="296524"/>
                  </a:cubicBezTo>
                  <a:cubicBezTo>
                    <a:pt x="209493" y="294416"/>
                    <a:pt x="184197" y="295821"/>
                    <a:pt x="165927" y="318307"/>
                  </a:cubicBezTo>
                  <a:cubicBezTo>
                    <a:pt x="145550" y="342197"/>
                    <a:pt x="146955" y="357656"/>
                    <a:pt x="170143" y="378736"/>
                  </a:cubicBezTo>
                  <a:cubicBezTo>
                    <a:pt x="180683" y="387870"/>
                    <a:pt x="197547" y="394897"/>
                    <a:pt x="189115" y="413166"/>
                  </a:cubicBezTo>
                  <a:cubicBezTo>
                    <a:pt x="180683" y="430733"/>
                    <a:pt x="166630" y="444083"/>
                    <a:pt x="144848" y="444083"/>
                  </a:cubicBezTo>
                  <a:cubicBezTo>
                    <a:pt x="101985" y="444083"/>
                    <a:pt x="59122" y="443381"/>
                    <a:pt x="16260" y="444083"/>
                  </a:cubicBezTo>
                  <a:cubicBezTo>
                    <a:pt x="2207" y="444083"/>
                    <a:pt x="-604" y="439165"/>
                    <a:pt x="99" y="426517"/>
                  </a:cubicBezTo>
                  <a:cubicBezTo>
                    <a:pt x="801" y="385762"/>
                    <a:pt x="801" y="344305"/>
                    <a:pt x="99" y="303551"/>
                  </a:cubicBezTo>
                  <a:cubicBezTo>
                    <a:pt x="99" y="286687"/>
                    <a:pt x="7125" y="274039"/>
                    <a:pt x="19773" y="263499"/>
                  </a:cubicBezTo>
                  <a:cubicBezTo>
                    <a:pt x="34529" y="251554"/>
                    <a:pt x="47880" y="248743"/>
                    <a:pt x="61231" y="267012"/>
                  </a:cubicBezTo>
                  <a:cubicBezTo>
                    <a:pt x="72473" y="282471"/>
                    <a:pt x="84418" y="300740"/>
                    <a:pt x="107606" y="290200"/>
                  </a:cubicBezTo>
                  <a:cubicBezTo>
                    <a:pt x="131497" y="279660"/>
                    <a:pt x="147658" y="262796"/>
                    <a:pt x="148361" y="234690"/>
                  </a:cubicBezTo>
                  <a:cubicBezTo>
                    <a:pt x="149064" y="209394"/>
                    <a:pt x="149064" y="185503"/>
                    <a:pt x="127281" y="167234"/>
                  </a:cubicBezTo>
                  <a:cubicBezTo>
                    <a:pt x="103390" y="147559"/>
                    <a:pt x="87932" y="147559"/>
                    <a:pt x="66852" y="171450"/>
                  </a:cubicBezTo>
                  <a:cubicBezTo>
                    <a:pt x="57717" y="181990"/>
                    <a:pt x="50691" y="198854"/>
                    <a:pt x="31719" y="189719"/>
                  </a:cubicBezTo>
                  <a:cubicBezTo>
                    <a:pt x="14855" y="181990"/>
                    <a:pt x="801" y="167937"/>
                    <a:pt x="801" y="148262"/>
                  </a:cubicBezTo>
                  <a:cubicBezTo>
                    <a:pt x="99" y="103291"/>
                    <a:pt x="801" y="59024"/>
                    <a:pt x="99" y="14053"/>
                  </a:cubicBezTo>
                  <a:cubicBezTo>
                    <a:pt x="99" y="2811"/>
                    <a:pt x="5017" y="702"/>
                    <a:pt x="14855" y="702"/>
                  </a:cubicBezTo>
                  <a:cubicBezTo>
                    <a:pt x="57717" y="1405"/>
                    <a:pt x="100580" y="702"/>
                    <a:pt x="143442" y="702"/>
                  </a:cubicBezTo>
                  <a:cubicBezTo>
                    <a:pt x="158901" y="702"/>
                    <a:pt x="170846" y="7729"/>
                    <a:pt x="181386" y="19675"/>
                  </a:cubicBezTo>
                  <a:cubicBezTo>
                    <a:pt x="194034" y="34430"/>
                    <a:pt x="196142" y="47781"/>
                    <a:pt x="177873" y="61132"/>
                  </a:cubicBezTo>
                  <a:cubicBezTo>
                    <a:pt x="162414" y="72374"/>
                    <a:pt x="144145" y="85022"/>
                    <a:pt x="153982" y="107508"/>
                  </a:cubicBezTo>
                  <a:cubicBezTo>
                    <a:pt x="163819" y="129993"/>
                    <a:pt x="179981" y="146154"/>
                    <a:pt x="207385" y="148262"/>
                  </a:cubicBezTo>
                  <a:cubicBezTo>
                    <a:pt x="236194" y="150370"/>
                    <a:pt x="262192" y="148262"/>
                    <a:pt x="280462" y="122966"/>
                  </a:cubicBezTo>
                  <a:cubicBezTo>
                    <a:pt x="295218" y="102589"/>
                    <a:pt x="295218" y="85725"/>
                    <a:pt x="275543" y="68158"/>
                  </a:cubicBezTo>
                  <a:cubicBezTo>
                    <a:pt x="265706" y="59726"/>
                    <a:pt x="246734" y="54808"/>
                    <a:pt x="253760" y="35133"/>
                  </a:cubicBezTo>
                  <a:cubicBezTo>
                    <a:pt x="260787" y="14053"/>
                    <a:pt x="276246" y="1405"/>
                    <a:pt x="298028" y="702"/>
                  </a:cubicBezTo>
                  <a:cubicBezTo>
                    <a:pt x="341593" y="-703"/>
                    <a:pt x="385861" y="702"/>
                    <a:pt x="429426" y="0"/>
                  </a:cubicBezTo>
                  <a:cubicBezTo>
                    <a:pt x="441372" y="0"/>
                    <a:pt x="442777" y="5621"/>
                    <a:pt x="442777" y="14756"/>
                  </a:cubicBezTo>
                  <a:cubicBezTo>
                    <a:pt x="441372" y="37241"/>
                    <a:pt x="441372" y="59024"/>
                    <a:pt x="441372" y="8150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42E99270-2607-4F4C-853F-F2E3A36E0E28}"/>
                </a:ext>
              </a:extLst>
            </p:cNvPr>
            <p:cNvSpPr/>
            <p:nvPr/>
          </p:nvSpPr>
          <p:spPr>
            <a:xfrm>
              <a:off x="2788503" y="2782828"/>
              <a:ext cx="1026185" cy="1282732"/>
            </a:xfrm>
            <a:custGeom>
              <a:avLst/>
              <a:gdLst>
                <a:gd name="connsiteX0" fmla="*/ 343415 w 590237"/>
                <a:gd name="connsiteY0" fmla="*/ 741252 h 737797"/>
                <a:gd name="connsiteX1" fmla="*/ 301958 w 590237"/>
                <a:gd name="connsiteY1" fmla="*/ 711740 h 737797"/>
                <a:gd name="connsiteX2" fmla="*/ 307579 w 590237"/>
                <a:gd name="connsiteY2" fmla="*/ 637258 h 737797"/>
                <a:gd name="connsiteX3" fmla="*/ 323038 w 590237"/>
                <a:gd name="connsiteY3" fmla="*/ 613367 h 737797"/>
                <a:gd name="connsiteX4" fmla="*/ 290715 w 590237"/>
                <a:gd name="connsiteY4" fmla="*/ 592287 h 737797"/>
                <a:gd name="connsiteX5" fmla="*/ 172668 w 590237"/>
                <a:gd name="connsiteY5" fmla="*/ 592990 h 737797"/>
                <a:gd name="connsiteX6" fmla="*/ 146669 w 590237"/>
                <a:gd name="connsiteY6" fmla="*/ 565586 h 737797"/>
                <a:gd name="connsiteX7" fmla="*/ 147372 w 590237"/>
                <a:gd name="connsiteY7" fmla="*/ 453160 h 737797"/>
                <a:gd name="connsiteX8" fmla="*/ 138940 w 590237"/>
                <a:gd name="connsiteY8" fmla="*/ 425053 h 737797"/>
                <a:gd name="connsiteX9" fmla="*/ 108725 w 590237"/>
                <a:gd name="connsiteY9" fmla="*/ 425053 h 737797"/>
                <a:gd name="connsiteX10" fmla="*/ 54620 w 590237"/>
                <a:gd name="connsiteY10" fmla="*/ 451052 h 737797"/>
                <a:gd name="connsiteX11" fmla="*/ 2623 w 590237"/>
                <a:gd name="connsiteY11" fmla="*/ 393433 h 737797"/>
                <a:gd name="connsiteX12" fmla="*/ 37756 w 590237"/>
                <a:gd name="connsiteY12" fmla="*/ 297871 h 737797"/>
                <a:gd name="connsiteX13" fmla="*/ 104509 w 590237"/>
                <a:gd name="connsiteY13" fmla="*/ 309817 h 737797"/>
                <a:gd name="connsiteX14" fmla="*/ 126292 w 590237"/>
                <a:gd name="connsiteY14" fmla="*/ 325275 h 737797"/>
                <a:gd name="connsiteX15" fmla="*/ 148075 w 590237"/>
                <a:gd name="connsiteY15" fmla="*/ 293655 h 737797"/>
                <a:gd name="connsiteX16" fmla="*/ 147372 w 590237"/>
                <a:gd name="connsiteY16" fmla="*/ 170689 h 737797"/>
                <a:gd name="connsiteX17" fmla="*/ 168452 w 590237"/>
                <a:gd name="connsiteY17" fmla="*/ 148906 h 737797"/>
                <a:gd name="connsiteX18" fmla="*/ 286499 w 590237"/>
                <a:gd name="connsiteY18" fmla="*/ 149609 h 737797"/>
                <a:gd name="connsiteX19" fmla="*/ 316714 w 590237"/>
                <a:gd name="connsiteY19" fmla="*/ 139772 h 737797"/>
                <a:gd name="connsiteX20" fmla="*/ 316011 w 590237"/>
                <a:gd name="connsiteY20" fmla="*/ 109557 h 737797"/>
                <a:gd name="connsiteX21" fmla="*/ 323741 w 590237"/>
                <a:gd name="connsiteY21" fmla="*/ 12589 h 737797"/>
                <a:gd name="connsiteX22" fmla="*/ 443896 w 590237"/>
                <a:gd name="connsiteY22" fmla="*/ 39993 h 737797"/>
                <a:gd name="connsiteX23" fmla="*/ 434761 w 590237"/>
                <a:gd name="connsiteY23" fmla="*/ 103233 h 737797"/>
                <a:gd name="connsiteX24" fmla="*/ 416492 w 590237"/>
                <a:gd name="connsiteY24" fmla="*/ 129934 h 737797"/>
                <a:gd name="connsiteX25" fmla="*/ 454436 w 590237"/>
                <a:gd name="connsiteY25" fmla="*/ 150312 h 737797"/>
                <a:gd name="connsiteX26" fmla="*/ 569673 w 590237"/>
                <a:gd name="connsiteY26" fmla="*/ 149609 h 737797"/>
                <a:gd name="connsiteX27" fmla="*/ 591455 w 590237"/>
                <a:gd name="connsiteY27" fmla="*/ 172797 h 737797"/>
                <a:gd name="connsiteX28" fmla="*/ 591455 w 590237"/>
                <a:gd name="connsiteY28" fmla="*/ 292952 h 737797"/>
                <a:gd name="connsiteX29" fmla="*/ 571078 w 590237"/>
                <a:gd name="connsiteY29" fmla="*/ 332301 h 737797"/>
                <a:gd name="connsiteX30" fmla="*/ 531729 w 590237"/>
                <a:gd name="connsiteY30" fmla="*/ 328086 h 737797"/>
                <a:gd name="connsiteX31" fmla="*/ 485353 w 590237"/>
                <a:gd name="connsiteY31" fmla="*/ 304195 h 737797"/>
                <a:gd name="connsiteX32" fmla="*/ 443193 w 590237"/>
                <a:gd name="connsiteY32" fmla="*/ 359706 h 737797"/>
                <a:gd name="connsiteX33" fmla="*/ 461463 w 590237"/>
                <a:gd name="connsiteY33" fmla="*/ 422945 h 737797"/>
                <a:gd name="connsiteX34" fmla="*/ 527513 w 590237"/>
                <a:gd name="connsiteY34" fmla="*/ 420837 h 737797"/>
                <a:gd name="connsiteX35" fmla="*/ 557728 w 590237"/>
                <a:gd name="connsiteY35" fmla="*/ 402568 h 737797"/>
                <a:gd name="connsiteX36" fmla="*/ 590753 w 590237"/>
                <a:gd name="connsiteY36" fmla="*/ 441917 h 737797"/>
                <a:gd name="connsiteX37" fmla="*/ 591455 w 590237"/>
                <a:gd name="connsiteY37" fmla="*/ 578937 h 737797"/>
                <a:gd name="connsiteX38" fmla="*/ 574591 w 590237"/>
                <a:gd name="connsiteY38" fmla="*/ 592287 h 737797"/>
                <a:gd name="connsiteX39" fmla="*/ 453733 w 590237"/>
                <a:gd name="connsiteY39" fmla="*/ 591585 h 737797"/>
                <a:gd name="connsiteX40" fmla="*/ 418600 w 590237"/>
                <a:gd name="connsiteY40" fmla="*/ 608449 h 737797"/>
                <a:gd name="connsiteX41" fmla="*/ 420005 w 590237"/>
                <a:gd name="connsiteY41" fmla="*/ 627420 h 737797"/>
                <a:gd name="connsiteX42" fmla="*/ 449517 w 590237"/>
                <a:gd name="connsiteY42" fmla="*/ 690660 h 737797"/>
                <a:gd name="connsiteX43" fmla="*/ 398925 w 590237"/>
                <a:gd name="connsiteY43" fmla="*/ 740549 h 737797"/>
                <a:gd name="connsiteX44" fmla="*/ 343415 w 590237"/>
                <a:gd name="connsiteY44" fmla="*/ 741252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90237" h="737797">
                  <a:moveTo>
                    <a:pt x="343415" y="741252"/>
                  </a:moveTo>
                  <a:cubicBezTo>
                    <a:pt x="328659" y="732820"/>
                    <a:pt x="313201" y="725793"/>
                    <a:pt x="301958" y="711740"/>
                  </a:cubicBezTo>
                  <a:cubicBezTo>
                    <a:pt x="280175" y="683633"/>
                    <a:pt x="282283" y="661851"/>
                    <a:pt x="307579" y="637258"/>
                  </a:cubicBezTo>
                  <a:cubicBezTo>
                    <a:pt x="314606" y="630934"/>
                    <a:pt x="331470" y="628826"/>
                    <a:pt x="323038" y="613367"/>
                  </a:cubicBezTo>
                  <a:cubicBezTo>
                    <a:pt x="316714" y="600719"/>
                    <a:pt x="306174" y="592287"/>
                    <a:pt x="290715" y="592287"/>
                  </a:cubicBezTo>
                  <a:cubicBezTo>
                    <a:pt x="251366" y="592990"/>
                    <a:pt x="212017" y="590882"/>
                    <a:pt x="172668" y="592990"/>
                  </a:cubicBezTo>
                  <a:cubicBezTo>
                    <a:pt x="149480" y="594395"/>
                    <a:pt x="145264" y="585963"/>
                    <a:pt x="146669" y="565586"/>
                  </a:cubicBezTo>
                  <a:cubicBezTo>
                    <a:pt x="148075" y="528345"/>
                    <a:pt x="146669" y="490401"/>
                    <a:pt x="147372" y="453160"/>
                  </a:cubicBezTo>
                  <a:cubicBezTo>
                    <a:pt x="147372" y="442620"/>
                    <a:pt x="146669" y="432783"/>
                    <a:pt x="138940" y="425053"/>
                  </a:cubicBezTo>
                  <a:cubicBezTo>
                    <a:pt x="129103" y="415216"/>
                    <a:pt x="119968" y="408892"/>
                    <a:pt x="108725" y="425053"/>
                  </a:cubicBezTo>
                  <a:cubicBezTo>
                    <a:pt x="96077" y="442620"/>
                    <a:pt x="80619" y="460186"/>
                    <a:pt x="54620" y="451052"/>
                  </a:cubicBezTo>
                  <a:cubicBezTo>
                    <a:pt x="27216" y="441214"/>
                    <a:pt x="8244" y="422945"/>
                    <a:pt x="2623" y="393433"/>
                  </a:cubicBezTo>
                  <a:cubicBezTo>
                    <a:pt x="-5809" y="351273"/>
                    <a:pt x="6136" y="317546"/>
                    <a:pt x="37756" y="297871"/>
                  </a:cubicBezTo>
                  <a:cubicBezTo>
                    <a:pt x="63755" y="281007"/>
                    <a:pt x="80619" y="284520"/>
                    <a:pt x="104509" y="309817"/>
                  </a:cubicBezTo>
                  <a:cubicBezTo>
                    <a:pt x="110833" y="316140"/>
                    <a:pt x="112941" y="330896"/>
                    <a:pt x="126292" y="325275"/>
                  </a:cubicBezTo>
                  <a:cubicBezTo>
                    <a:pt x="139643" y="319654"/>
                    <a:pt x="148075" y="309817"/>
                    <a:pt x="148075" y="293655"/>
                  </a:cubicBezTo>
                  <a:cubicBezTo>
                    <a:pt x="148075" y="252900"/>
                    <a:pt x="148777" y="211444"/>
                    <a:pt x="147372" y="170689"/>
                  </a:cubicBezTo>
                  <a:cubicBezTo>
                    <a:pt x="146669" y="154528"/>
                    <a:pt x="150885" y="148204"/>
                    <a:pt x="168452" y="148906"/>
                  </a:cubicBezTo>
                  <a:cubicBezTo>
                    <a:pt x="207801" y="150312"/>
                    <a:pt x="247150" y="148906"/>
                    <a:pt x="286499" y="149609"/>
                  </a:cubicBezTo>
                  <a:cubicBezTo>
                    <a:pt x="297742" y="149609"/>
                    <a:pt x="308282" y="148204"/>
                    <a:pt x="316714" y="139772"/>
                  </a:cubicBezTo>
                  <a:cubicBezTo>
                    <a:pt x="327254" y="129232"/>
                    <a:pt x="330064" y="121502"/>
                    <a:pt x="316011" y="109557"/>
                  </a:cubicBezTo>
                  <a:cubicBezTo>
                    <a:pt x="277365" y="77235"/>
                    <a:pt x="280878" y="39993"/>
                    <a:pt x="323741" y="12589"/>
                  </a:cubicBezTo>
                  <a:cubicBezTo>
                    <a:pt x="362387" y="-12004"/>
                    <a:pt x="420005" y="644"/>
                    <a:pt x="443896" y="39993"/>
                  </a:cubicBezTo>
                  <a:cubicBezTo>
                    <a:pt x="459355" y="64587"/>
                    <a:pt x="456544" y="81451"/>
                    <a:pt x="434761" y="103233"/>
                  </a:cubicBezTo>
                  <a:cubicBezTo>
                    <a:pt x="427032" y="110962"/>
                    <a:pt x="410168" y="114476"/>
                    <a:pt x="416492" y="129934"/>
                  </a:cubicBezTo>
                  <a:cubicBezTo>
                    <a:pt x="423519" y="145393"/>
                    <a:pt x="436869" y="151014"/>
                    <a:pt x="454436" y="150312"/>
                  </a:cubicBezTo>
                  <a:cubicBezTo>
                    <a:pt x="493082" y="148906"/>
                    <a:pt x="531026" y="151014"/>
                    <a:pt x="569673" y="149609"/>
                  </a:cubicBezTo>
                  <a:cubicBezTo>
                    <a:pt x="588645" y="148906"/>
                    <a:pt x="592158" y="155230"/>
                    <a:pt x="591455" y="172797"/>
                  </a:cubicBezTo>
                  <a:cubicBezTo>
                    <a:pt x="590050" y="212849"/>
                    <a:pt x="590753" y="252900"/>
                    <a:pt x="591455" y="292952"/>
                  </a:cubicBezTo>
                  <a:cubicBezTo>
                    <a:pt x="591455" y="310519"/>
                    <a:pt x="583726" y="322464"/>
                    <a:pt x="571078" y="332301"/>
                  </a:cubicBezTo>
                  <a:cubicBezTo>
                    <a:pt x="556322" y="344247"/>
                    <a:pt x="543674" y="344247"/>
                    <a:pt x="531729" y="328086"/>
                  </a:cubicBezTo>
                  <a:cubicBezTo>
                    <a:pt x="520487" y="312627"/>
                    <a:pt x="507838" y="295060"/>
                    <a:pt x="485353" y="304195"/>
                  </a:cubicBezTo>
                  <a:cubicBezTo>
                    <a:pt x="461463" y="314032"/>
                    <a:pt x="445301" y="332301"/>
                    <a:pt x="443193" y="359706"/>
                  </a:cubicBezTo>
                  <a:cubicBezTo>
                    <a:pt x="441788" y="382893"/>
                    <a:pt x="443193" y="405379"/>
                    <a:pt x="461463" y="422945"/>
                  </a:cubicBezTo>
                  <a:cubicBezTo>
                    <a:pt x="486758" y="447538"/>
                    <a:pt x="504325" y="447538"/>
                    <a:pt x="527513" y="420837"/>
                  </a:cubicBezTo>
                  <a:cubicBezTo>
                    <a:pt x="535242" y="411703"/>
                    <a:pt x="541566" y="396244"/>
                    <a:pt x="557728" y="402568"/>
                  </a:cubicBezTo>
                  <a:cubicBezTo>
                    <a:pt x="575294" y="409594"/>
                    <a:pt x="590050" y="422243"/>
                    <a:pt x="590753" y="441917"/>
                  </a:cubicBezTo>
                  <a:cubicBezTo>
                    <a:pt x="592158" y="487590"/>
                    <a:pt x="590753" y="533264"/>
                    <a:pt x="591455" y="578937"/>
                  </a:cubicBezTo>
                  <a:cubicBezTo>
                    <a:pt x="591455" y="592990"/>
                    <a:pt x="584429" y="592990"/>
                    <a:pt x="574591" y="592287"/>
                  </a:cubicBezTo>
                  <a:cubicBezTo>
                    <a:pt x="534540" y="592287"/>
                    <a:pt x="494488" y="592990"/>
                    <a:pt x="453733" y="591585"/>
                  </a:cubicBezTo>
                  <a:cubicBezTo>
                    <a:pt x="438275" y="591585"/>
                    <a:pt x="427032" y="596503"/>
                    <a:pt x="418600" y="608449"/>
                  </a:cubicBezTo>
                  <a:cubicBezTo>
                    <a:pt x="413682" y="615475"/>
                    <a:pt x="412979" y="621097"/>
                    <a:pt x="420005" y="627420"/>
                  </a:cubicBezTo>
                  <a:cubicBezTo>
                    <a:pt x="438977" y="644284"/>
                    <a:pt x="462165" y="658338"/>
                    <a:pt x="449517" y="690660"/>
                  </a:cubicBezTo>
                  <a:cubicBezTo>
                    <a:pt x="439680" y="714551"/>
                    <a:pt x="420005" y="728604"/>
                    <a:pt x="398925" y="740549"/>
                  </a:cubicBezTo>
                  <a:cubicBezTo>
                    <a:pt x="379954" y="741252"/>
                    <a:pt x="361684" y="741252"/>
                    <a:pt x="343415" y="74125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F3DAEEDA-B4B9-4C62-87E6-A0EE3989B14D}"/>
                </a:ext>
              </a:extLst>
            </p:cNvPr>
            <p:cNvSpPr/>
            <p:nvPr/>
          </p:nvSpPr>
          <p:spPr>
            <a:xfrm>
              <a:off x="2271232" y="2022029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E8C86733-C03C-49C3-9911-3EA0369D9CDE}"/>
                </a:ext>
              </a:extLst>
            </p:cNvPr>
            <p:cNvSpPr/>
            <p:nvPr/>
          </p:nvSpPr>
          <p:spPr>
            <a:xfrm>
              <a:off x="495842" y="2284697"/>
              <a:ext cx="1282731" cy="1026186"/>
            </a:xfrm>
            <a:custGeom>
              <a:avLst/>
              <a:gdLst>
                <a:gd name="connsiteX0" fmla="*/ 230901 w 737797"/>
                <a:gd name="connsiteY0" fmla="*/ 1565 h 590237"/>
                <a:gd name="connsiteX1" fmla="*/ 291330 w 737797"/>
                <a:gd name="connsiteY1" fmla="*/ 1565 h 590237"/>
                <a:gd name="connsiteX2" fmla="*/ 336300 w 737797"/>
                <a:gd name="connsiteY2" fmla="*/ 31077 h 590237"/>
                <a:gd name="connsiteX3" fmla="*/ 317328 w 737797"/>
                <a:gd name="connsiteY3" fmla="*/ 68318 h 590237"/>
                <a:gd name="connsiteX4" fmla="*/ 313815 w 737797"/>
                <a:gd name="connsiteY4" fmla="*/ 126639 h 590237"/>
                <a:gd name="connsiteX5" fmla="*/ 417107 w 737797"/>
                <a:gd name="connsiteY5" fmla="*/ 135071 h 590237"/>
                <a:gd name="connsiteX6" fmla="*/ 417809 w 737797"/>
                <a:gd name="connsiteY6" fmla="*/ 64102 h 590237"/>
                <a:gd name="connsiteX7" fmla="*/ 401648 w 737797"/>
                <a:gd name="connsiteY7" fmla="*/ 36698 h 590237"/>
                <a:gd name="connsiteX8" fmla="*/ 437484 w 737797"/>
                <a:gd name="connsiteY8" fmla="*/ 3673 h 590237"/>
                <a:gd name="connsiteX9" fmla="*/ 579422 w 737797"/>
                <a:gd name="connsiteY9" fmla="*/ 2268 h 590237"/>
                <a:gd name="connsiteX10" fmla="*/ 589962 w 737797"/>
                <a:gd name="connsiteY10" fmla="*/ 19132 h 590237"/>
                <a:gd name="connsiteX11" fmla="*/ 589962 w 737797"/>
                <a:gd name="connsiteY11" fmla="*/ 134369 h 590237"/>
                <a:gd name="connsiteX12" fmla="*/ 599799 w 737797"/>
                <a:gd name="connsiteY12" fmla="*/ 167394 h 590237"/>
                <a:gd name="connsiteX13" fmla="*/ 632122 w 737797"/>
                <a:gd name="connsiteY13" fmla="*/ 167394 h 590237"/>
                <a:gd name="connsiteX14" fmla="*/ 729089 w 737797"/>
                <a:gd name="connsiteY14" fmla="*/ 176528 h 590237"/>
                <a:gd name="connsiteX15" fmla="*/ 708009 w 737797"/>
                <a:gd name="connsiteY15" fmla="*/ 292468 h 590237"/>
                <a:gd name="connsiteX16" fmla="*/ 638446 w 737797"/>
                <a:gd name="connsiteY16" fmla="*/ 286144 h 590237"/>
                <a:gd name="connsiteX17" fmla="*/ 612447 w 737797"/>
                <a:gd name="connsiteY17" fmla="*/ 269280 h 590237"/>
                <a:gd name="connsiteX18" fmla="*/ 591367 w 737797"/>
                <a:gd name="connsiteY18" fmla="*/ 305116 h 590237"/>
                <a:gd name="connsiteX19" fmla="*/ 592070 w 737797"/>
                <a:gd name="connsiteY19" fmla="*/ 420353 h 590237"/>
                <a:gd name="connsiteX20" fmla="*/ 568882 w 737797"/>
                <a:gd name="connsiteY20" fmla="*/ 444243 h 590237"/>
                <a:gd name="connsiteX21" fmla="*/ 459267 w 737797"/>
                <a:gd name="connsiteY21" fmla="*/ 443541 h 590237"/>
                <a:gd name="connsiteX22" fmla="*/ 428349 w 737797"/>
                <a:gd name="connsiteY22" fmla="*/ 451270 h 590237"/>
                <a:gd name="connsiteX23" fmla="*/ 426944 w 737797"/>
                <a:gd name="connsiteY23" fmla="*/ 484998 h 590237"/>
                <a:gd name="connsiteX24" fmla="*/ 425539 w 737797"/>
                <a:gd name="connsiteY24" fmla="*/ 574939 h 590237"/>
                <a:gd name="connsiteX25" fmla="*/ 302573 w 737797"/>
                <a:gd name="connsiteY25" fmla="*/ 561588 h 590237"/>
                <a:gd name="connsiteX26" fmla="*/ 308194 w 737797"/>
                <a:gd name="connsiteY26" fmla="*/ 489214 h 590237"/>
                <a:gd name="connsiteX27" fmla="*/ 325760 w 737797"/>
                <a:gd name="connsiteY27" fmla="*/ 465323 h 590237"/>
                <a:gd name="connsiteX28" fmla="*/ 288519 w 737797"/>
                <a:gd name="connsiteY28" fmla="*/ 442838 h 590237"/>
                <a:gd name="connsiteX29" fmla="*/ 173282 w 737797"/>
                <a:gd name="connsiteY29" fmla="*/ 443541 h 590237"/>
                <a:gd name="connsiteX30" fmla="*/ 150094 w 737797"/>
                <a:gd name="connsiteY30" fmla="*/ 418947 h 590237"/>
                <a:gd name="connsiteX31" fmla="*/ 150797 w 737797"/>
                <a:gd name="connsiteY31" fmla="*/ 309332 h 590237"/>
                <a:gd name="connsiteX32" fmla="*/ 143770 w 737797"/>
                <a:gd name="connsiteY32" fmla="*/ 280523 h 590237"/>
                <a:gd name="connsiteX33" fmla="*/ 107935 w 737797"/>
                <a:gd name="connsiteY33" fmla="*/ 278415 h 590237"/>
                <a:gd name="connsiteX34" fmla="*/ 10967 w 737797"/>
                <a:gd name="connsiteY34" fmla="*/ 267172 h 590237"/>
                <a:gd name="connsiteX35" fmla="*/ 32047 w 737797"/>
                <a:gd name="connsiteY35" fmla="*/ 153341 h 590237"/>
                <a:gd name="connsiteX36" fmla="*/ 103718 w 737797"/>
                <a:gd name="connsiteY36" fmla="*/ 159664 h 590237"/>
                <a:gd name="connsiteX37" fmla="*/ 127609 w 737797"/>
                <a:gd name="connsiteY37" fmla="*/ 176528 h 590237"/>
                <a:gd name="connsiteX38" fmla="*/ 149391 w 737797"/>
                <a:gd name="connsiteY38" fmla="*/ 141395 h 590237"/>
                <a:gd name="connsiteX39" fmla="*/ 148689 w 737797"/>
                <a:gd name="connsiteY39" fmla="*/ 34590 h 590237"/>
                <a:gd name="connsiteX40" fmla="*/ 181714 w 737797"/>
                <a:gd name="connsiteY40" fmla="*/ 862 h 590237"/>
                <a:gd name="connsiteX41" fmla="*/ 230901 w 737797"/>
                <a:gd name="connsiteY41" fmla="*/ 156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37797" h="590237">
                  <a:moveTo>
                    <a:pt x="230901" y="1565"/>
                  </a:moveTo>
                  <a:cubicBezTo>
                    <a:pt x="251278" y="1565"/>
                    <a:pt x="270953" y="2268"/>
                    <a:pt x="291330" y="1565"/>
                  </a:cubicBezTo>
                  <a:cubicBezTo>
                    <a:pt x="313113" y="862"/>
                    <a:pt x="327868" y="12808"/>
                    <a:pt x="336300" y="31077"/>
                  </a:cubicBezTo>
                  <a:cubicBezTo>
                    <a:pt x="346137" y="50751"/>
                    <a:pt x="327868" y="57778"/>
                    <a:pt x="317328" y="68318"/>
                  </a:cubicBezTo>
                  <a:cubicBezTo>
                    <a:pt x="294843" y="89398"/>
                    <a:pt x="293438" y="102749"/>
                    <a:pt x="313815" y="126639"/>
                  </a:cubicBezTo>
                  <a:cubicBezTo>
                    <a:pt x="338408" y="155449"/>
                    <a:pt x="389703" y="159664"/>
                    <a:pt x="417107" y="135071"/>
                  </a:cubicBezTo>
                  <a:cubicBezTo>
                    <a:pt x="448024" y="108370"/>
                    <a:pt x="448024" y="90803"/>
                    <a:pt x="417809" y="64102"/>
                  </a:cubicBezTo>
                  <a:cubicBezTo>
                    <a:pt x="410080" y="57076"/>
                    <a:pt x="396027" y="52157"/>
                    <a:pt x="401648" y="36698"/>
                  </a:cubicBezTo>
                  <a:cubicBezTo>
                    <a:pt x="407972" y="19132"/>
                    <a:pt x="419215" y="4376"/>
                    <a:pt x="437484" y="3673"/>
                  </a:cubicBezTo>
                  <a:cubicBezTo>
                    <a:pt x="484562" y="1565"/>
                    <a:pt x="532343" y="2970"/>
                    <a:pt x="579422" y="2268"/>
                  </a:cubicBezTo>
                  <a:cubicBezTo>
                    <a:pt x="593475" y="2268"/>
                    <a:pt x="589962" y="12105"/>
                    <a:pt x="589962" y="19132"/>
                  </a:cubicBezTo>
                  <a:cubicBezTo>
                    <a:pt x="589962" y="57778"/>
                    <a:pt x="589962" y="95722"/>
                    <a:pt x="589962" y="134369"/>
                  </a:cubicBezTo>
                  <a:cubicBezTo>
                    <a:pt x="589962" y="146314"/>
                    <a:pt x="591367" y="157556"/>
                    <a:pt x="599799" y="167394"/>
                  </a:cubicBezTo>
                  <a:cubicBezTo>
                    <a:pt x="611042" y="180042"/>
                    <a:pt x="619474" y="182852"/>
                    <a:pt x="632122" y="167394"/>
                  </a:cubicBezTo>
                  <a:cubicBezTo>
                    <a:pt x="665147" y="128747"/>
                    <a:pt x="700983" y="132261"/>
                    <a:pt x="729089" y="176528"/>
                  </a:cubicBezTo>
                  <a:cubicBezTo>
                    <a:pt x="750872" y="210959"/>
                    <a:pt x="740332" y="268577"/>
                    <a:pt x="708009" y="292468"/>
                  </a:cubicBezTo>
                  <a:cubicBezTo>
                    <a:pt x="681308" y="312142"/>
                    <a:pt x="661634" y="309332"/>
                    <a:pt x="638446" y="286144"/>
                  </a:cubicBezTo>
                  <a:cubicBezTo>
                    <a:pt x="631419" y="279117"/>
                    <a:pt x="628608" y="260848"/>
                    <a:pt x="612447" y="269280"/>
                  </a:cubicBezTo>
                  <a:cubicBezTo>
                    <a:pt x="599096" y="276307"/>
                    <a:pt x="591367" y="288252"/>
                    <a:pt x="591367" y="305116"/>
                  </a:cubicBezTo>
                  <a:cubicBezTo>
                    <a:pt x="592070" y="343762"/>
                    <a:pt x="590665" y="381706"/>
                    <a:pt x="592070" y="420353"/>
                  </a:cubicBezTo>
                  <a:cubicBezTo>
                    <a:pt x="592773" y="438622"/>
                    <a:pt x="589259" y="445649"/>
                    <a:pt x="568882" y="444243"/>
                  </a:cubicBezTo>
                  <a:cubicBezTo>
                    <a:pt x="532343" y="442135"/>
                    <a:pt x="495805" y="443541"/>
                    <a:pt x="459267" y="443541"/>
                  </a:cubicBezTo>
                  <a:cubicBezTo>
                    <a:pt x="448024" y="443541"/>
                    <a:pt x="437484" y="444243"/>
                    <a:pt x="428349" y="451270"/>
                  </a:cubicBezTo>
                  <a:cubicBezTo>
                    <a:pt x="414999" y="462513"/>
                    <a:pt x="410080" y="470944"/>
                    <a:pt x="426944" y="484998"/>
                  </a:cubicBezTo>
                  <a:cubicBezTo>
                    <a:pt x="463482" y="515213"/>
                    <a:pt x="462077" y="544724"/>
                    <a:pt x="425539" y="574939"/>
                  </a:cubicBezTo>
                  <a:cubicBezTo>
                    <a:pt x="391811" y="602343"/>
                    <a:pt x="329274" y="596019"/>
                    <a:pt x="302573" y="561588"/>
                  </a:cubicBezTo>
                  <a:cubicBezTo>
                    <a:pt x="281493" y="534887"/>
                    <a:pt x="283601" y="513104"/>
                    <a:pt x="308194" y="489214"/>
                  </a:cubicBezTo>
                  <a:cubicBezTo>
                    <a:pt x="315220" y="482187"/>
                    <a:pt x="331382" y="479376"/>
                    <a:pt x="325760" y="465323"/>
                  </a:cubicBezTo>
                  <a:cubicBezTo>
                    <a:pt x="319436" y="450567"/>
                    <a:pt x="306086" y="442135"/>
                    <a:pt x="288519" y="442838"/>
                  </a:cubicBezTo>
                  <a:cubicBezTo>
                    <a:pt x="249873" y="443541"/>
                    <a:pt x="211929" y="441433"/>
                    <a:pt x="173282" y="443541"/>
                  </a:cubicBezTo>
                  <a:cubicBezTo>
                    <a:pt x="153608" y="444243"/>
                    <a:pt x="149391" y="437920"/>
                    <a:pt x="150094" y="418947"/>
                  </a:cubicBezTo>
                  <a:cubicBezTo>
                    <a:pt x="151500" y="382409"/>
                    <a:pt x="150797" y="345870"/>
                    <a:pt x="150797" y="309332"/>
                  </a:cubicBezTo>
                  <a:cubicBezTo>
                    <a:pt x="150797" y="299495"/>
                    <a:pt x="150797" y="288955"/>
                    <a:pt x="143770" y="280523"/>
                  </a:cubicBezTo>
                  <a:cubicBezTo>
                    <a:pt x="133230" y="267172"/>
                    <a:pt x="124096" y="258740"/>
                    <a:pt x="107935" y="278415"/>
                  </a:cubicBezTo>
                  <a:cubicBezTo>
                    <a:pt x="76315" y="317061"/>
                    <a:pt x="37668" y="311440"/>
                    <a:pt x="10967" y="267172"/>
                  </a:cubicBezTo>
                  <a:cubicBezTo>
                    <a:pt x="-10113" y="232742"/>
                    <a:pt x="427" y="177934"/>
                    <a:pt x="32047" y="153341"/>
                  </a:cubicBezTo>
                  <a:cubicBezTo>
                    <a:pt x="59451" y="132261"/>
                    <a:pt x="79828" y="135071"/>
                    <a:pt x="103718" y="159664"/>
                  </a:cubicBezTo>
                  <a:cubicBezTo>
                    <a:pt x="110745" y="166691"/>
                    <a:pt x="113556" y="182852"/>
                    <a:pt x="127609" y="176528"/>
                  </a:cubicBezTo>
                  <a:cubicBezTo>
                    <a:pt x="141662" y="170204"/>
                    <a:pt x="149391" y="157556"/>
                    <a:pt x="149391" y="141395"/>
                  </a:cubicBezTo>
                  <a:cubicBezTo>
                    <a:pt x="149391" y="105559"/>
                    <a:pt x="151500" y="70426"/>
                    <a:pt x="148689" y="34590"/>
                  </a:cubicBezTo>
                  <a:cubicBezTo>
                    <a:pt x="146581" y="7889"/>
                    <a:pt x="153608" y="-3354"/>
                    <a:pt x="181714" y="862"/>
                  </a:cubicBezTo>
                  <a:cubicBezTo>
                    <a:pt x="197875" y="3673"/>
                    <a:pt x="214037" y="1565"/>
                    <a:pt x="230901" y="156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FDD623AA-F68C-48DB-B32D-48A15EEE2AFA}"/>
                </a:ext>
              </a:extLst>
            </p:cNvPr>
            <p:cNvSpPr/>
            <p:nvPr/>
          </p:nvSpPr>
          <p:spPr>
            <a:xfrm>
              <a:off x="-8381" y="2798720"/>
              <a:ext cx="1026185" cy="1026186"/>
            </a:xfrm>
            <a:custGeom>
              <a:avLst/>
              <a:gdLst>
                <a:gd name="connsiteX0" fmla="*/ 0 w 590237"/>
                <a:gd name="connsiteY0" fmla="*/ 368438 h 590237"/>
                <a:gd name="connsiteX1" fmla="*/ 0 w 590237"/>
                <a:gd name="connsiteY1" fmla="*/ 168882 h 590237"/>
                <a:gd name="connsiteX2" fmla="*/ 21080 w 590237"/>
                <a:gd name="connsiteY2" fmla="*/ 147099 h 590237"/>
                <a:gd name="connsiteX3" fmla="*/ 136317 w 590237"/>
                <a:gd name="connsiteY3" fmla="*/ 147802 h 590237"/>
                <a:gd name="connsiteX4" fmla="*/ 167234 w 590237"/>
                <a:gd name="connsiteY4" fmla="*/ 139370 h 590237"/>
                <a:gd name="connsiteX5" fmla="*/ 167936 w 590237"/>
                <a:gd name="connsiteY5" fmla="*/ 109156 h 590237"/>
                <a:gd name="connsiteX6" fmla="*/ 142641 w 590237"/>
                <a:gd name="connsiteY6" fmla="*/ 51537 h 590237"/>
                <a:gd name="connsiteX7" fmla="*/ 202367 w 590237"/>
                <a:gd name="connsiteY7" fmla="*/ 1648 h 590237"/>
                <a:gd name="connsiteX8" fmla="*/ 292308 w 590237"/>
                <a:gd name="connsiteY8" fmla="*/ 32565 h 590237"/>
                <a:gd name="connsiteX9" fmla="*/ 285281 w 590237"/>
                <a:gd name="connsiteY9" fmla="*/ 102129 h 590237"/>
                <a:gd name="connsiteX10" fmla="*/ 267715 w 590237"/>
                <a:gd name="connsiteY10" fmla="*/ 126019 h 590237"/>
                <a:gd name="connsiteX11" fmla="*/ 302848 w 590237"/>
                <a:gd name="connsiteY11" fmla="*/ 147802 h 590237"/>
                <a:gd name="connsiteX12" fmla="*/ 418085 w 590237"/>
                <a:gd name="connsiteY12" fmla="*/ 147099 h 590237"/>
                <a:gd name="connsiteX13" fmla="*/ 444083 w 590237"/>
                <a:gd name="connsiteY13" fmla="*/ 172395 h 590237"/>
                <a:gd name="connsiteX14" fmla="*/ 443381 w 590237"/>
                <a:gd name="connsiteY14" fmla="*/ 284822 h 590237"/>
                <a:gd name="connsiteX15" fmla="*/ 455326 w 590237"/>
                <a:gd name="connsiteY15" fmla="*/ 317144 h 590237"/>
                <a:gd name="connsiteX16" fmla="*/ 483433 w 590237"/>
                <a:gd name="connsiteY16" fmla="*/ 316441 h 590237"/>
                <a:gd name="connsiteX17" fmla="*/ 541051 w 590237"/>
                <a:gd name="connsiteY17" fmla="*/ 289740 h 590237"/>
                <a:gd name="connsiteX18" fmla="*/ 591643 w 590237"/>
                <a:gd name="connsiteY18" fmla="*/ 355088 h 590237"/>
                <a:gd name="connsiteX19" fmla="*/ 560023 w 590237"/>
                <a:gd name="connsiteY19" fmla="*/ 440110 h 590237"/>
                <a:gd name="connsiteX20" fmla="*/ 490459 w 590237"/>
                <a:gd name="connsiteY20" fmla="*/ 433786 h 590237"/>
                <a:gd name="connsiteX21" fmla="*/ 463758 w 590237"/>
                <a:gd name="connsiteY21" fmla="*/ 417625 h 590237"/>
                <a:gd name="connsiteX22" fmla="*/ 443381 w 590237"/>
                <a:gd name="connsiteY22" fmla="*/ 453461 h 590237"/>
                <a:gd name="connsiteX23" fmla="*/ 444083 w 590237"/>
                <a:gd name="connsiteY23" fmla="*/ 568698 h 590237"/>
                <a:gd name="connsiteX24" fmla="*/ 419490 w 590237"/>
                <a:gd name="connsiteY24" fmla="*/ 591886 h 590237"/>
                <a:gd name="connsiteX25" fmla="*/ 301443 w 590237"/>
                <a:gd name="connsiteY25" fmla="*/ 591886 h 590237"/>
                <a:gd name="connsiteX26" fmla="*/ 257175 w 590237"/>
                <a:gd name="connsiteY26" fmla="*/ 565184 h 590237"/>
                <a:gd name="connsiteX27" fmla="*/ 261391 w 590237"/>
                <a:gd name="connsiteY27" fmla="*/ 536375 h 590237"/>
                <a:gd name="connsiteX28" fmla="*/ 276147 w 590237"/>
                <a:gd name="connsiteY28" fmla="*/ 464001 h 590237"/>
                <a:gd name="connsiteX29" fmla="*/ 174261 w 590237"/>
                <a:gd name="connsiteY29" fmla="*/ 458379 h 590237"/>
                <a:gd name="connsiteX30" fmla="*/ 173558 w 590237"/>
                <a:gd name="connsiteY30" fmla="*/ 527943 h 590237"/>
                <a:gd name="connsiteX31" fmla="*/ 190422 w 590237"/>
                <a:gd name="connsiteY31" fmla="*/ 558860 h 590237"/>
                <a:gd name="connsiteX32" fmla="*/ 153181 w 590237"/>
                <a:gd name="connsiteY32" fmla="*/ 590480 h 590237"/>
                <a:gd name="connsiteX33" fmla="*/ 13350 w 590237"/>
                <a:gd name="connsiteY33" fmla="*/ 591183 h 590237"/>
                <a:gd name="connsiteX34" fmla="*/ 2108 w 590237"/>
                <a:gd name="connsiteY34" fmla="*/ 572211 h 590237"/>
                <a:gd name="connsiteX35" fmla="*/ 0 w 590237"/>
                <a:gd name="connsiteY35" fmla="*/ 368438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90237" h="590237">
                  <a:moveTo>
                    <a:pt x="0" y="368438"/>
                  </a:moveTo>
                  <a:cubicBezTo>
                    <a:pt x="0" y="301685"/>
                    <a:pt x="702" y="234932"/>
                    <a:pt x="0" y="168882"/>
                  </a:cubicBezTo>
                  <a:cubicBezTo>
                    <a:pt x="0" y="152721"/>
                    <a:pt x="3513" y="146397"/>
                    <a:pt x="21080" y="147099"/>
                  </a:cubicBezTo>
                  <a:cubicBezTo>
                    <a:pt x="59024" y="148505"/>
                    <a:pt x="97670" y="147802"/>
                    <a:pt x="136317" y="147802"/>
                  </a:cubicBezTo>
                  <a:cubicBezTo>
                    <a:pt x="147559" y="147802"/>
                    <a:pt x="158099" y="147802"/>
                    <a:pt x="167234" y="139370"/>
                  </a:cubicBezTo>
                  <a:cubicBezTo>
                    <a:pt x="177071" y="129533"/>
                    <a:pt x="184098" y="120398"/>
                    <a:pt x="167936" y="109156"/>
                  </a:cubicBezTo>
                  <a:cubicBezTo>
                    <a:pt x="148262" y="95805"/>
                    <a:pt x="132101" y="77536"/>
                    <a:pt x="142641" y="51537"/>
                  </a:cubicBezTo>
                  <a:cubicBezTo>
                    <a:pt x="153181" y="24836"/>
                    <a:pt x="171450" y="5864"/>
                    <a:pt x="202367" y="1648"/>
                  </a:cubicBezTo>
                  <a:cubicBezTo>
                    <a:pt x="238203" y="-3271"/>
                    <a:pt x="269823" y="1648"/>
                    <a:pt x="292308" y="32565"/>
                  </a:cubicBezTo>
                  <a:cubicBezTo>
                    <a:pt x="311983" y="59266"/>
                    <a:pt x="309875" y="79644"/>
                    <a:pt x="285281" y="102129"/>
                  </a:cubicBezTo>
                  <a:cubicBezTo>
                    <a:pt x="278255" y="109156"/>
                    <a:pt x="262094" y="111966"/>
                    <a:pt x="267715" y="126019"/>
                  </a:cubicBezTo>
                  <a:cubicBezTo>
                    <a:pt x="273336" y="140073"/>
                    <a:pt x="285984" y="147802"/>
                    <a:pt x="302848" y="147802"/>
                  </a:cubicBezTo>
                  <a:cubicBezTo>
                    <a:pt x="341495" y="147099"/>
                    <a:pt x="379439" y="149207"/>
                    <a:pt x="418085" y="147099"/>
                  </a:cubicBezTo>
                  <a:cubicBezTo>
                    <a:pt x="437760" y="146397"/>
                    <a:pt x="444786" y="150613"/>
                    <a:pt x="444083" y="172395"/>
                  </a:cubicBezTo>
                  <a:cubicBezTo>
                    <a:pt x="441975" y="209636"/>
                    <a:pt x="444083" y="246878"/>
                    <a:pt x="443381" y="284822"/>
                  </a:cubicBezTo>
                  <a:cubicBezTo>
                    <a:pt x="443381" y="297469"/>
                    <a:pt x="446894" y="308009"/>
                    <a:pt x="455326" y="317144"/>
                  </a:cubicBezTo>
                  <a:cubicBezTo>
                    <a:pt x="465163" y="326981"/>
                    <a:pt x="472893" y="331197"/>
                    <a:pt x="483433" y="316441"/>
                  </a:cubicBezTo>
                  <a:cubicBezTo>
                    <a:pt x="496783" y="296767"/>
                    <a:pt x="514350" y="282011"/>
                    <a:pt x="541051" y="289740"/>
                  </a:cubicBezTo>
                  <a:cubicBezTo>
                    <a:pt x="567049" y="297469"/>
                    <a:pt x="588832" y="326279"/>
                    <a:pt x="591643" y="355088"/>
                  </a:cubicBezTo>
                  <a:cubicBezTo>
                    <a:pt x="595156" y="388816"/>
                    <a:pt x="590238" y="418328"/>
                    <a:pt x="560023" y="440110"/>
                  </a:cubicBezTo>
                  <a:cubicBezTo>
                    <a:pt x="532619" y="459785"/>
                    <a:pt x="513647" y="457677"/>
                    <a:pt x="490459" y="433786"/>
                  </a:cubicBezTo>
                  <a:cubicBezTo>
                    <a:pt x="483433" y="426057"/>
                    <a:pt x="479919" y="409193"/>
                    <a:pt x="463758" y="417625"/>
                  </a:cubicBezTo>
                  <a:cubicBezTo>
                    <a:pt x="450407" y="424652"/>
                    <a:pt x="443381" y="437300"/>
                    <a:pt x="443381" y="453461"/>
                  </a:cubicBezTo>
                  <a:cubicBezTo>
                    <a:pt x="444083" y="492107"/>
                    <a:pt x="441975" y="530051"/>
                    <a:pt x="444083" y="568698"/>
                  </a:cubicBezTo>
                  <a:cubicBezTo>
                    <a:pt x="444786" y="589075"/>
                    <a:pt x="438462" y="592588"/>
                    <a:pt x="419490" y="591886"/>
                  </a:cubicBezTo>
                  <a:cubicBezTo>
                    <a:pt x="380141" y="590480"/>
                    <a:pt x="340792" y="591183"/>
                    <a:pt x="301443" y="591886"/>
                  </a:cubicBezTo>
                  <a:cubicBezTo>
                    <a:pt x="280363" y="592588"/>
                    <a:pt x="267012" y="581346"/>
                    <a:pt x="257175" y="565184"/>
                  </a:cubicBezTo>
                  <a:cubicBezTo>
                    <a:pt x="250851" y="555347"/>
                    <a:pt x="251554" y="546212"/>
                    <a:pt x="261391" y="536375"/>
                  </a:cubicBezTo>
                  <a:cubicBezTo>
                    <a:pt x="299335" y="499134"/>
                    <a:pt x="300740" y="489999"/>
                    <a:pt x="276147" y="464001"/>
                  </a:cubicBezTo>
                  <a:cubicBezTo>
                    <a:pt x="250851" y="437300"/>
                    <a:pt x="201664" y="434489"/>
                    <a:pt x="174261" y="458379"/>
                  </a:cubicBezTo>
                  <a:cubicBezTo>
                    <a:pt x="144749" y="483675"/>
                    <a:pt x="144749" y="502647"/>
                    <a:pt x="173558" y="527943"/>
                  </a:cubicBezTo>
                  <a:cubicBezTo>
                    <a:pt x="182693" y="536375"/>
                    <a:pt x="196746" y="542699"/>
                    <a:pt x="190422" y="558860"/>
                  </a:cubicBezTo>
                  <a:cubicBezTo>
                    <a:pt x="183395" y="575724"/>
                    <a:pt x="172153" y="589778"/>
                    <a:pt x="153181" y="590480"/>
                  </a:cubicBezTo>
                  <a:cubicBezTo>
                    <a:pt x="106805" y="591886"/>
                    <a:pt x="60429" y="591183"/>
                    <a:pt x="13350" y="591183"/>
                  </a:cubicBezTo>
                  <a:cubicBezTo>
                    <a:pt x="-2108" y="591183"/>
                    <a:pt x="2108" y="580643"/>
                    <a:pt x="2108" y="572211"/>
                  </a:cubicBezTo>
                  <a:cubicBezTo>
                    <a:pt x="0" y="503350"/>
                    <a:pt x="0" y="435894"/>
                    <a:pt x="0" y="36843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B423CD96-E188-4BCC-A5EE-0FB0C1D0DD50}"/>
                </a:ext>
              </a:extLst>
            </p:cNvPr>
            <p:cNvSpPr/>
            <p:nvPr/>
          </p:nvSpPr>
          <p:spPr>
            <a:xfrm>
              <a:off x="2036599" y="3553542"/>
              <a:ext cx="1026185" cy="1026186"/>
            </a:xfrm>
            <a:custGeom>
              <a:avLst/>
              <a:gdLst>
                <a:gd name="connsiteX0" fmla="*/ 228795 w 590237"/>
                <a:gd name="connsiteY0" fmla="*/ 149140 h 590237"/>
                <a:gd name="connsiteX1" fmla="*/ 292034 w 590237"/>
                <a:gd name="connsiteY1" fmla="*/ 149140 h 590237"/>
                <a:gd name="connsiteX2" fmla="*/ 323654 w 590237"/>
                <a:gd name="connsiteY2" fmla="*/ 127358 h 590237"/>
                <a:gd name="connsiteX3" fmla="*/ 308898 w 590237"/>
                <a:gd name="connsiteY3" fmla="*/ 104872 h 590237"/>
                <a:gd name="connsiteX4" fmla="*/ 322952 w 590237"/>
                <a:gd name="connsiteY4" fmla="*/ 11418 h 590237"/>
                <a:gd name="connsiteX5" fmla="*/ 438891 w 590237"/>
                <a:gd name="connsiteY5" fmla="*/ 33201 h 590237"/>
                <a:gd name="connsiteX6" fmla="*/ 432567 w 590237"/>
                <a:gd name="connsiteY6" fmla="*/ 103467 h 590237"/>
                <a:gd name="connsiteX7" fmla="*/ 415703 w 590237"/>
                <a:gd name="connsiteY7" fmla="*/ 128763 h 590237"/>
                <a:gd name="connsiteX8" fmla="*/ 451539 w 590237"/>
                <a:gd name="connsiteY8" fmla="*/ 149140 h 590237"/>
                <a:gd name="connsiteX9" fmla="*/ 571695 w 590237"/>
                <a:gd name="connsiteY9" fmla="*/ 148438 h 590237"/>
                <a:gd name="connsiteX10" fmla="*/ 592072 w 590237"/>
                <a:gd name="connsiteY10" fmla="*/ 168112 h 590237"/>
                <a:gd name="connsiteX11" fmla="*/ 591369 w 590237"/>
                <a:gd name="connsiteY11" fmla="*/ 288268 h 590237"/>
                <a:gd name="connsiteX12" fmla="*/ 570289 w 590237"/>
                <a:gd name="connsiteY12" fmla="*/ 330428 h 590237"/>
                <a:gd name="connsiteX13" fmla="*/ 530940 w 590237"/>
                <a:gd name="connsiteY13" fmla="*/ 326915 h 590237"/>
                <a:gd name="connsiteX14" fmla="*/ 484564 w 590237"/>
                <a:gd name="connsiteY14" fmla="*/ 302321 h 590237"/>
                <a:gd name="connsiteX15" fmla="*/ 442405 w 590237"/>
                <a:gd name="connsiteY15" fmla="*/ 357831 h 590237"/>
                <a:gd name="connsiteX16" fmla="*/ 463485 w 590237"/>
                <a:gd name="connsiteY16" fmla="*/ 425287 h 590237"/>
                <a:gd name="connsiteX17" fmla="*/ 523913 w 590237"/>
                <a:gd name="connsiteY17" fmla="*/ 422477 h 590237"/>
                <a:gd name="connsiteX18" fmla="*/ 558344 w 590237"/>
                <a:gd name="connsiteY18" fmla="*/ 402802 h 590237"/>
                <a:gd name="connsiteX19" fmla="*/ 590667 w 590237"/>
                <a:gd name="connsiteY19" fmla="*/ 446367 h 590237"/>
                <a:gd name="connsiteX20" fmla="*/ 591369 w 590237"/>
                <a:gd name="connsiteY20" fmla="*/ 577765 h 590237"/>
                <a:gd name="connsiteX21" fmla="*/ 574505 w 590237"/>
                <a:gd name="connsiteY21" fmla="*/ 592521 h 590237"/>
                <a:gd name="connsiteX22" fmla="*/ 445918 w 590237"/>
                <a:gd name="connsiteY22" fmla="*/ 592521 h 590237"/>
                <a:gd name="connsiteX23" fmla="*/ 410785 w 590237"/>
                <a:gd name="connsiteY23" fmla="*/ 574955 h 590237"/>
                <a:gd name="connsiteX24" fmla="*/ 413595 w 590237"/>
                <a:gd name="connsiteY24" fmla="*/ 531390 h 590237"/>
                <a:gd name="connsiteX25" fmla="*/ 436783 w 590237"/>
                <a:gd name="connsiteY25" fmla="*/ 487122 h 590237"/>
                <a:gd name="connsiteX26" fmla="*/ 381975 w 590237"/>
                <a:gd name="connsiteY26" fmla="*/ 444962 h 590237"/>
                <a:gd name="connsiteX27" fmla="*/ 311006 w 590237"/>
                <a:gd name="connsiteY27" fmla="*/ 469555 h 590237"/>
                <a:gd name="connsiteX28" fmla="*/ 316628 w 590237"/>
                <a:gd name="connsiteY28" fmla="*/ 525768 h 590237"/>
                <a:gd name="connsiteX29" fmla="*/ 337005 w 590237"/>
                <a:gd name="connsiteY29" fmla="*/ 558794 h 590237"/>
                <a:gd name="connsiteX30" fmla="*/ 289224 w 590237"/>
                <a:gd name="connsiteY30" fmla="*/ 592521 h 590237"/>
                <a:gd name="connsiteX31" fmla="*/ 166258 w 590237"/>
                <a:gd name="connsiteY31" fmla="*/ 592521 h 590237"/>
                <a:gd name="connsiteX32" fmla="*/ 148691 w 590237"/>
                <a:gd name="connsiteY32" fmla="*/ 573549 h 590237"/>
                <a:gd name="connsiteX33" fmla="*/ 149394 w 590237"/>
                <a:gd name="connsiteY33" fmla="*/ 458312 h 590237"/>
                <a:gd name="connsiteX34" fmla="*/ 137448 w 590237"/>
                <a:gd name="connsiteY34" fmla="*/ 423179 h 590237"/>
                <a:gd name="connsiteX35" fmla="*/ 109342 w 590237"/>
                <a:gd name="connsiteY35" fmla="*/ 423882 h 590237"/>
                <a:gd name="connsiteX36" fmla="*/ 49615 w 590237"/>
                <a:gd name="connsiteY36" fmla="*/ 449178 h 590237"/>
                <a:gd name="connsiteX37" fmla="*/ 429 w 590237"/>
                <a:gd name="connsiteY37" fmla="*/ 382425 h 590237"/>
                <a:gd name="connsiteX38" fmla="*/ 32049 w 590237"/>
                <a:gd name="connsiteY38" fmla="*/ 300213 h 590237"/>
                <a:gd name="connsiteX39" fmla="*/ 101613 w 590237"/>
                <a:gd name="connsiteY39" fmla="*/ 305835 h 590237"/>
                <a:gd name="connsiteX40" fmla="*/ 128314 w 590237"/>
                <a:gd name="connsiteY40" fmla="*/ 322698 h 590237"/>
                <a:gd name="connsiteX41" fmla="*/ 148691 w 590237"/>
                <a:gd name="connsiteY41" fmla="*/ 286863 h 590237"/>
                <a:gd name="connsiteX42" fmla="*/ 147988 w 590237"/>
                <a:gd name="connsiteY42" fmla="*/ 168815 h 590237"/>
                <a:gd name="connsiteX43" fmla="*/ 168366 w 590237"/>
                <a:gd name="connsiteY43" fmla="*/ 147032 h 590237"/>
                <a:gd name="connsiteX44" fmla="*/ 228795 w 590237"/>
                <a:gd name="connsiteY44" fmla="*/ 14914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90237" h="590237">
                  <a:moveTo>
                    <a:pt x="228795" y="149140"/>
                  </a:moveTo>
                  <a:cubicBezTo>
                    <a:pt x="249874" y="149140"/>
                    <a:pt x="270954" y="148438"/>
                    <a:pt x="292034" y="149140"/>
                  </a:cubicBezTo>
                  <a:cubicBezTo>
                    <a:pt x="308196" y="149843"/>
                    <a:pt x="318033" y="140006"/>
                    <a:pt x="323654" y="127358"/>
                  </a:cubicBezTo>
                  <a:cubicBezTo>
                    <a:pt x="329276" y="114710"/>
                    <a:pt x="315222" y="110494"/>
                    <a:pt x="308898" y="104872"/>
                  </a:cubicBezTo>
                  <a:cubicBezTo>
                    <a:pt x="275873" y="73956"/>
                    <a:pt x="280792" y="38119"/>
                    <a:pt x="322952" y="11418"/>
                  </a:cubicBezTo>
                  <a:cubicBezTo>
                    <a:pt x="358085" y="-10364"/>
                    <a:pt x="413595" y="176"/>
                    <a:pt x="438891" y="33201"/>
                  </a:cubicBezTo>
                  <a:cubicBezTo>
                    <a:pt x="457863" y="59199"/>
                    <a:pt x="455755" y="80982"/>
                    <a:pt x="432567" y="103467"/>
                  </a:cubicBezTo>
                  <a:cubicBezTo>
                    <a:pt x="425540" y="110494"/>
                    <a:pt x="406569" y="111899"/>
                    <a:pt x="415703" y="128763"/>
                  </a:cubicBezTo>
                  <a:cubicBezTo>
                    <a:pt x="422730" y="142816"/>
                    <a:pt x="434675" y="149140"/>
                    <a:pt x="451539" y="149140"/>
                  </a:cubicBezTo>
                  <a:cubicBezTo>
                    <a:pt x="491591" y="148438"/>
                    <a:pt x="531643" y="149843"/>
                    <a:pt x="571695" y="148438"/>
                  </a:cubicBezTo>
                  <a:cubicBezTo>
                    <a:pt x="587153" y="147735"/>
                    <a:pt x="592072" y="151951"/>
                    <a:pt x="592072" y="168112"/>
                  </a:cubicBezTo>
                  <a:cubicBezTo>
                    <a:pt x="590667" y="208164"/>
                    <a:pt x="591369" y="248216"/>
                    <a:pt x="591369" y="288268"/>
                  </a:cubicBezTo>
                  <a:cubicBezTo>
                    <a:pt x="591369" y="305835"/>
                    <a:pt x="584343" y="319888"/>
                    <a:pt x="570289" y="330428"/>
                  </a:cubicBezTo>
                  <a:cubicBezTo>
                    <a:pt x="555533" y="341670"/>
                    <a:pt x="543588" y="343076"/>
                    <a:pt x="530940" y="326915"/>
                  </a:cubicBezTo>
                  <a:cubicBezTo>
                    <a:pt x="519698" y="312158"/>
                    <a:pt x="507752" y="293186"/>
                    <a:pt x="484564" y="302321"/>
                  </a:cubicBezTo>
                  <a:cubicBezTo>
                    <a:pt x="459971" y="312158"/>
                    <a:pt x="444512" y="329725"/>
                    <a:pt x="442405" y="357831"/>
                  </a:cubicBezTo>
                  <a:cubicBezTo>
                    <a:pt x="440296" y="383128"/>
                    <a:pt x="442405" y="407018"/>
                    <a:pt x="463485" y="425287"/>
                  </a:cubicBezTo>
                  <a:cubicBezTo>
                    <a:pt x="486672" y="445664"/>
                    <a:pt x="502834" y="444962"/>
                    <a:pt x="523913" y="422477"/>
                  </a:cubicBezTo>
                  <a:cubicBezTo>
                    <a:pt x="533048" y="412639"/>
                    <a:pt x="539372" y="394370"/>
                    <a:pt x="558344" y="402802"/>
                  </a:cubicBezTo>
                  <a:cubicBezTo>
                    <a:pt x="577316" y="410531"/>
                    <a:pt x="589964" y="425990"/>
                    <a:pt x="590667" y="446367"/>
                  </a:cubicBezTo>
                  <a:cubicBezTo>
                    <a:pt x="592072" y="489932"/>
                    <a:pt x="590667" y="534200"/>
                    <a:pt x="591369" y="577765"/>
                  </a:cubicBezTo>
                  <a:cubicBezTo>
                    <a:pt x="591369" y="591116"/>
                    <a:pt x="585748" y="592521"/>
                    <a:pt x="574505" y="592521"/>
                  </a:cubicBezTo>
                  <a:cubicBezTo>
                    <a:pt x="531643" y="591819"/>
                    <a:pt x="488780" y="592521"/>
                    <a:pt x="445918" y="592521"/>
                  </a:cubicBezTo>
                  <a:cubicBezTo>
                    <a:pt x="431162" y="592521"/>
                    <a:pt x="419919" y="584792"/>
                    <a:pt x="410785" y="574955"/>
                  </a:cubicBezTo>
                  <a:cubicBezTo>
                    <a:pt x="396731" y="559496"/>
                    <a:pt x="394623" y="545443"/>
                    <a:pt x="413595" y="531390"/>
                  </a:cubicBezTo>
                  <a:cubicBezTo>
                    <a:pt x="428351" y="520850"/>
                    <a:pt x="445918" y="508904"/>
                    <a:pt x="436783" y="487122"/>
                  </a:cubicBezTo>
                  <a:cubicBezTo>
                    <a:pt x="426946" y="463231"/>
                    <a:pt x="410082" y="446367"/>
                    <a:pt x="381975" y="444962"/>
                  </a:cubicBezTo>
                  <a:cubicBezTo>
                    <a:pt x="354572" y="443557"/>
                    <a:pt x="329276" y="444962"/>
                    <a:pt x="311006" y="469555"/>
                  </a:cubicBezTo>
                  <a:cubicBezTo>
                    <a:pt x="294142" y="492743"/>
                    <a:pt x="294845" y="506094"/>
                    <a:pt x="316628" y="525768"/>
                  </a:cubicBezTo>
                  <a:cubicBezTo>
                    <a:pt x="326465" y="534903"/>
                    <a:pt x="345437" y="539119"/>
                    <a:pt x="337005" y="558794"/>
                  </a:cubicBezTo>
                  <a:cubicBezTo>
                    <a:pt x="328573" y="579874"/>
                    <a:pt x="313114" y="592521"/>
                    <a:pt x="289224" y="592521"/>
                  </a:cubicBezTo>
                  <a:cubicBezTo>
                    <a:pt x="248469" y="592521"/>
                    <a:pt x="207012" y="591819"/>
                    <a:pt x="166258" y="592521"/>
                  </a:cubicBezTo>
                  <a:cubicBezTo>
                    <a:pt x="150799" y="593224"/>
                    <a:pt x="148691" y="586900"/>
                    <a:pt x="148691" y="573549"/>
                  </a:cubicBezTo>
                  <a:cubicBezTo>
                    <a:pt x="149394" y="534903"/>
                    <a:pt x="148691" y="496959"/>
                    <a:pt x="149394" y="458312"/>
                  </a:cubicBezTo>
                  <a:cubicBezTo>
                    <a:pt x="149394" y="444962"/>
                    <a:pt x="147286" y="433017"/>
                    <a:pt x="137448" y="423179"/>
                  </a:cubicBezTo>
                  <a:cubicBezTo>
                    <a:pt x="127611" y="413342"/>
                    <a:pt x="119179" y="409126"/>
                    <a:pt x="109342" y="423882"/>
                  </a:cubicBezTo>
                  <a:cubicBezTo>
                    <a:pt x="95288" y="444259"/>
                    <a:pt x="77019" y="461123"/>
                    <a:pt x="49615" y="449178"/>
                  </a:cubicBezTo>
                  <a:cubicBezTo>
                    <a:pt x="21509" y="436530"/>
                    <a:pt x="2537" y="416153"/>
                    <a:pt x="429" y="382425"/>
                  </a:cubicBezTo>
                  <a:cubicBezTo>
                    <a:pt x="-1679" y="350102"/>
                    <a:pt x="3240" y="320590"/>
                    <a:pt x="32049" y="300213"/>
                  </a:cubicBezTo>
                  <a:cubicBezTo>
                    <a:pt x="59453" y="280538"/>
                    <a:pt x="78425" y="281944"/>
                    <a:pt x="101613" y="305835"/>
                  </a:cubicBezTo>
                  <a:cubicBezTo>
                    <a:pt x="108639" y="313564"/>
                    <a:pt x="112153" y="330428"/>
                    <a:pt x="128314" y="322698"/>
                  </a:cubicBezTo>
                  <a:cubicBezTo>
                    <a:pt x="142367" y="315672"/>
                    <a:pt x="148691" y="303024"/>
                    <a:pt x="148691" y="286863"/>
                  </a:cubicBezTo>
                  <a:cubicBezTo>
                    <a:pt x="148691" y="247513"/>
                    <a:pt x="149394" y="208164"/>
                    <a:pt x="147988" y="168815"/>
                  </a:cubicBezTo>
                  <a:cubicBezTo>
                    <a:pt x="147286" y="152654"/>
                    <a:pt x="150096" y="145627"/>
                    <a:pt x="168366" y="147032"/>
                  </a:cubicBezTo>
                  <a:cubicBezTo>
                    <a:pt x="188743" y="150546"/>
                    <a:pt x="209120" y="149140"/>
                    <a:pt x="228795" y="14914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0C3DBA46-544B-4960-AC99-7313167D06C6}"/>
                </a:ext>
              </a:extLst>
            </p:cNvPr>
            <p:cNvSpPr/>
            <p:nvPr/>
          </p:nvSpPr>
          <p:spPr>
            <a:xfrm>
              <a:off x="1505772" y="2806310"/>
              <a:ext cx="769640" cy="1282732"/>
            </a:xfrm>
            <a:custGeom>
              <a:avLst/>
              <a:gdLst>
                <a:gd name="connsiteX0" fmla="*/ 443445 w 442678"/>
                <a:gd name="connsiteY0" fmla="*/ 516659 h 737797"/>
                <a:gd name="connsiteX1" fmla="*/ 438526 w 442678"/>
                <a:gd name="connsiteY1" fmla="*/ 588331 h 737797"/>
                <a:gd name="connsiteX2" fmla="*/ 364746 w 442678"/>
                <a:gd name="connsiteY2" fmla="*/ 591844 h 737797"/>
                <a:gd name="connsiteX3" fmla="*/ 301506 w 442678"/>
                <a:gd name="connsiteY3" fmla="*/ 591844 h 737797"/>
                <a:gd name="connsiteX4" fmla="*/ 269184 w 442678"/>
                <a:gd name="connsiteY4" fmla="*/ 612924 h 737797"/>
                <a:gd name="connsiteX5" fmla="*/ 285345 w 442678"/>
                <a:gd name="connsiteY5" fmla="*/ 637517 h 737797"/>
                <a:gd name="connsiteX6" fmla="*/ 264968 w 442678"/>
                <a:gd name="connsiteY6" fmla="*/ 732377 h 737797"/>
                <a:gd name="connsiteX7" fmla="*/ 153947 w 442678"/>
                <a:gd name="connsiteY7" fmla="*/ 708486 h 737797"/>
                <a:gd name="connsiteX8" fmla="*/ 159569 w 442678"/>
                <a:gd name="connsiteY8" fmla="*/ 638220 h 737797"/>
                <a:gd name="connsiteX9" fmla="*/ 177135 w 442678"/>
                <a:gd name="connsiteY9" fmla="*/ 612221 h 737797"/>
                <a:gd name="connsiteX10" fmla="*/ 139191 w 442678"/>
                <a:gd name="connsiteY10" fmla="*/ 591141 h 737797"/>
                <a:gd name="connsiteX11" fmla="*/ 23954 w 442678"/>
                <a:gd name="connsiteY11" fmla="*/ 591844 h 737797"/>
                <a:gd name="connsiteX12" fmla="*/ 64 w 442678"/>
                <a:gd name="connsiteY12" fmla="*/ 567251 h 737797"/>
                <a:gd name="connsiteX13" fmla="*/ 64 w 442678"/>
                <a:gd name="connsiteY13" fmla="*/ 454824 h 737797"/>
                <a:gd name="connsiteX14" fmla="*/ 20441 w 442678"/>
                <a:gd name="connsiteY14" fmla="*/ 409151 h 737797"/>
                <a:gd name="connsiteX15" fmla="*/ 59790 w 442678"/>
                <a:gd name="connsiteY15" fmla="*/ 412665 h 737797"/>
                <a:gd name="connsiteX16" fmla="*/ 106166 w 442678"/>
                <a:gd name="connsiteY16" fmla="*/ 437258 h 737797"/>
                <a:gd name="connsiteX17" fmla="*/ 149029 w 442678"/>
                <a:gd name="connsiteY17" fmla="*/ 382450 h 737797"/>
                <a:gd name="connsiteX18" fmla="*/ 125840 w 442678"/>
                <a:gd name="connsiteY18" fmla="*/ 313589 h 737797"/>
                <a:gd name="connsiteX19" fmla="*/ 67519 w 442678"/>
                <a:gd name="connsiteY19" fmla="*/ 317102 h 737797"/>
                <a:gd name="connsiteX20" fmla="*/ 34494 w 442678"/>
                <a:gd name="connsiteY20" fmla="*/ 337480 h 737797"/>
                <a:gd name="connsiteX21" fmla="*/ 766 w 442678"/>
                <a:gd name="connsiteY21" fmla="*/ 292509 h 737797"/>
                <a:gd name="connsiteX22" fmla="*/ 64 w 442678"/>
                <a:gd name="connsiteY22" fmla="*/ 163921 h 737797"/>
                <a:gd name="connsiteX23" fmla="*/ 19036 w 442678"/>
                <a:gd name="connsiteY23" fmla="*/ 149166 h 737797"/>
                <a:gd name="connsiteX24" fmla="*/ 137083 w 442678"/>
                <a:gd name="connsiteY24" fmla="*/ 149166 h 737797"/>
                <a:gd name="connsiteX25" fmla="*/ 167298 w 442678"/>
                <a:gd name="connsiteY25" fmla="*/ 139328 h 737797"/>
                <a:gd name="connsiteX26" fmla="*/ 167298 w 442678"/>
                <a:gd name="connsiteY26" fmla="*/ 107708 h 737797"/>
                <a:gd name="connsiteX27" fmla="*/ 142705 w 442678"/>
                <a:gd name="connsiteY27" fmla="*/ 52198 h 737797"/>
                <a:gd name="connsiteX28" fmla="*/ 201728 w 442678"/>
                <a:gd name="connsiteY28" fmla="*/ 1606 h 737797"/>
                <a:gd name="connsiteX29" fmla="*/ 292372 w 442678"/>
                <a:gd name="connsiteY29" fmla="*/ 32523 h 737797"/>
                <a:gd name="connsiteX30" fmla="*/ 286048 w 442678"/>
                <a:gd name="connsiteY30" fmla="*/ 102087 h 737797"/>
                <a:gd name="connsiteX31" fmla="*/ 269887 w 442678"/>
                <a:gd name="connsiteY31" fmla="*/ 128788 h 737797"/>
                <a:gd name="connsiteX32" fmla="*/ 305723 w 442678"/>
                <a:gd name="connsiteY32" fmla="*/ 149166 h 737797"/>
                <a:gd name="connsiteX33" fmla="*/ 420959 w 442678"/>
                <a:gd name="connsiteY33" fmla="*/ 148463 h 737797"/>
                <a:gd name="connsiteX34" fmla="*/ 444148 w 442678"/>
                <a:gd name="connsiteY34" fmla="*/ 173056 h 737797"/>
                <a:gd name="connsiteX35" fmla="*/ 444148 w 442678"/>
                <a:gd name="connsiteY35" fmla="*/ 291104 h 737797"/>
                <a:gd name="connsiteX36" fmla="*/ 424473 w 442678"/>
                <a:gd name="connsiteY36" fmla="*/ 331155 h 737797"/>
                <a:gd name="connsiteX37" fmla="*/ 385826 w 442678"/>
                <a:gd name="connsiteY37" fmla="*/ 327642 h 737797"/>
                <a:gd name="connsiteX38" fmla="*/ 340153 w 442678"/>
                <a:gd name="connsiteY38" fmla="*/ 302346 h 737797"/>
                <a:gd name="connsiteX39" fmla="*/ 296588 w 442678"/>
                <a:gd name="connsiteY39" fmla="*/ 359965 h 737797"/>
                <a:gd name="connsiteX40" fmla="*/ 321884 w 442678"/>
                <a:gd name="connsiteY40" fmla="*/ 428123 h 737797"/>
                <a:gd name="connsiteX41" fmla="*/ 378097 w 442678"/>
                <a:gd name="connsiteY41" fmla="*/ 423205 h 737797"/>
                <a:gd name="connsiteX42" fmla="*/ 414636 w 442678"/>
                <a:gd name="connsiteY42" fmla="*/ 403530 h 737797"/>
                <a:gd name="connsiteX43" fmla="*/ 444850 w 442678"/>
                <a:gd name="connsiteY43" fmla="*/ 451311 h 737797"/>
                <a:gd name="connsiteX44" fmla="*/ 443445 w 442678"/>
                <a:gd name="connsiteY44" fmla="*/ 516659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42678" h="737797">
                  <a:moveTo>
                    <a:pt x="443445" y="516659"/>
                  </a:moveTo>
                  <a:cubicBezTo>
                    <a:pt x="441337" y="538441"/>
                    <a:pt x="454688" y="573574"/>
                    <a:pt x="438526" y="588331"/>
                  </a:cubicBezTo>
                  <a:cubicBezTo>
                    <a:pt x="424473" y="600979"/>
                    <a:pt x="390042" y="591844"/>
                    <a:pt x="364746" y="591844"/>
                  </a:cubicBezTo>
                  <a:cubicBezTo>
                    <a:pt x="343666" y="591844"/>
                    <a:pt x="322586" y="591844"/>
                    <a:pt x="301506" y="591844"/>
                  </a:cubicBezTo>
                  <a:cubicBezTo>
                    <a:pt x="286751" y="591844"/>
                    <a:pt x="274805" y="599573"/>
                    <a:pt x="269184" y="612924"/>
                  </a:cubicBezTo>
                  <a:cubicBezTo>
                    <a:pt x="262860" y="627680"/>
                    <a:pt x="278319" y="630490"/>
                    <a:pt x="285345" y="637517"/>
                  </a:cubicBezTo>
                  <a:cubicBezTo>
                    <a:pt x="317668" y="667732"/>
                    <a:pt x="309236" y="708486"/>
                    <a:pt x="264968" y="732377"/>
                  </a:cubicBezTo>
                  <a:cubicBezTo>
                    <a:pt x="229835" y="751349"/>
                    <a:pt x="177838" y="740106"/>
                    <a:pt x="153947" y="708486"/>
                  </a:cubicBezTo>
                  <a:cubicBezTo>
                    <a:pt x="134272" y="683190"/>
                    <a:pt x="137083" y="661407"/>
                    <a:pt x="159569" y="638220"/>
                  </a:cubicBezTo>
                  <a:cubicBezTo>
                    <a:pt x="166595" y="631193"/>
                    <a:pt x="184864" y="629085"/>
                    <a:pt x="177135" y="612221"/>
                  </a:cubicBezTo>
                  <a:cubicBezTo>
                    <a:pt x="170109" y="596763"/>
                    <a:pt x="156055" y="590439"/>
                    <a:pt x="139191" y="591141"/>
                  </a:cubicBezTo>
                  <a:cubicBezTo>
                    <a:pt x="100545" y="591844"/>
                    <a:pt x="62601" y="589736"/>
                    <a:pt x="23954" y="591844"/>
                  </a:cubicBezTo>
                  <a:cubicBezTo>
                    <a:pt x="4280" y="592546"/>
                    <a:pt x="-639" y="586223"/>
                    <a:pt x="64" y="567251"/>
                  </a:cubicBezTo>
                  <a:cubicBezTo>
                    <a:pt x="1469" y="530010"/>
                    <a:pt x="766" y="492768"/>
                    <a:pt x="64" y="454824"/>
                  </a:cubicBezTo>
                  <a:cubicBezTo>
                    <a:pt x="64" y="435852"/>
                    <a:pt x="6388" y="421097"/>
                    <a:pt x="20441" y="409151"/>
                  </a:cubicBezTo>
                  <a:cubicBezTo>
                    <a:pt x="34494" y="397908"/>
                    <a:pt x="47142" y="396503"/>
                    <a:pt x="59790" y="412665"/>
                  </a:cubicBezTo>
                  <a:cubicBezTo>
                    <a:pt x="71033" y="427420"/>
                    <a:pt x="82978" y="447095"/>
                    <a:pt x="106166" y="437258"/>
                  </a:cubicBezTo>
                  <a:cubicBezTo>
                    <a:pt x="130057" y="427420"/>
                    <a:pt x="146920" y="410557"/>
                    <a:pt x="149029" y="382450"/>
                  </a:cubicBezTo>
                  <a:cubicBezTo>
                    <a:pt x="151137" y="355749"/>
                    <a:pt x="148326" y="331858"/>
                    <a:pt x="125840" y="313589"/>
                  </a:cubicBezTo>
                  <a:cubicBezTo>
                    <a:pt x="101950" y="293914"/>
                    <a:pt x="88599" y="295320"/>
                    <a:pt x="67519" y="317102"/>
                  </a:cubicBezTo>
                  <a:cubicBezTo>
                    <a:pt x="58385" y="326237"/>
                    <a:pt x="54169" y="345209"/>
                    <a:pt x="34494" y="337480"/>
                  </a:cubicBezTo>
                  <a:cubicBezTo>
                    <a:pt x="14117" y="329750"/>
                    <a:pt x="1469" y="314292"/>
                    <a:pt x="766" y="292509"/>
                  </a:cubicBezTo>
                  <a:cubicBezTo>
                    <a:pt x="-639" y="249647"/>
                    <a:pt x="766" y="206784"/>
                    <a:pt x="64" y="163921"/>
                  </a:cubicBezTo>
                  <a:cubicBezTo>
                    <a:pt x="-639" y="147760"/>
                    <a:pt x="8496" y="149166"/>
                    <a:pt x="19036" y="149166"/>
                  </a:cubicBezTo>
                  <a:cubicBezTo>
                    <a:pt x="58385" y="149166"/>
                    <a:pt x="97734" y="149166"/>
                    <a:pt x="137083" y="149166"/>
                  </a:cubicBezTo>
                  <a:cubicBezTo>
                    <a:pt x="148326" y="149166"/>
                    <a:pt x="158163" y="147760"/>
                    <a:pt x="167298" y="139328"/>
                  </a:cubicBezTo>
                  <a:cubicBezTo>
                    <a:pt x="179243" y="128086"/>
                    <a:pt x="184162" y="118951"/>
                    <a:pt x="167298" y="107708"/>
                  </a:cubicBezTo>
                  <a:cubicBezTo>
                    <a:pt x="148326" y="94358"/>
                    <a:pt x="133570" y="76791"/>
                    <a:pt x="142705" y="52198"/>
                  </a:cubicBezTo>
                  <a:cubicBezTo>
                    <a:pt x="152542" y="25497"/>
                    <a:pt x="171514" y="5120"/>
                    <a:pt x="201728" y="1606"/>
                  </a:cubicBezTo>
                  <a:cubicBezTo>
                    <a:pt x="236159" y="-2610"/>
                    <a:pt x="269184" y="-502"/>
                    <a:pt x="292372" y="32523"/>
                  </a:cubicBezTo>
                  <a:cubicBezTo>
                    <a:pt x="312046" y="59927"/>
                    <a:pt x="309938" y="78899"/>
                    <a:pt x="286048" y="102087"/>
                  </a:cubicBezTo>
                  <a:cubicBezTo>
                    <a:pt x="278319" y="109114"/>
                    <a:pt x="261455" y="113330"/>
                    <a:pt x="269887" y="128788"/>
                  </a:cubicBezTo>
                  <a:cubicBezTo>
                    <a:pt x="276913" y="142139"/>
                    <a:pt x="289561" y="149166"/>
                    <a:pt x="305723" y="149166"/>
                  </a:cubicBezTo>
                  <a:cubicBezTo>
                    <a:pt x="344369" y="148463"/>
                    <a:pt x="382313" y="150571"/>
                    <a:pt x="420959" y="148463"/>
                  </a:cubicBezTo>
                  <a:cubicBezTo>
                    <a:pt x="441337" y="147760"/>
                    <a:pt x="444850" y="154084"/>
                    <a:pt x="444148" y="173056"/>
                  </a:cubicBezTo>
                  <a:cubicBezTo>
                    <a:pt x="442742" y="212405"/>
                    <a:pt x="443445" y="251754"/>
                    <a:pt x="444148" y="291104"/>
                  </a:cubicBezTo>
                  <a:cubicBezTo>
                    <a:pt x="444148" y="308670"/>
                    <a:pt x="437121" y="320615"/>
                    <a:pt x="424473" y="331155"/>
                  </a:cubicBezTo>
                  <a:cubicBezTo>
                    <a:pt x="410419" y="342398"/>
                    <a:pt x="397771" y="344506"/>
                    <a:pt x="385826" y="327642"/>
                  </a:cubicBezTo>
                  <a:cubicBezTo>
                    <a:pt x="374584" y="312886"/>
                    <a:pt x="363341" y="293212"/>
                    <a:pt x="340153" y="302346"/>
                  </a:cubicBezTo>
                  <a:cubicBezTo>
                    <a:pt x="314857" y="312184"/>
                    <a:pt x="298696" y="331155"/>
                    <a:pt x="296588" y="359965"/>
                  </a:cubicBezTo>
                  <a:cubicBezTo>
                    <a:pt x="294480" y="386666"/>
                    <a:pt x="298696" y="410557"/>
                    <a:pt x="321884" y="428123"/>
                  </a:cubicBezTo>
                  <a:cubicBezTo>
                    <a:pt x="345072" y="445690"/>
                    <a:pt x="357720" y="444987"/>
                    <a:pt x="378097" y="423205"/>
                  </a:cubicBezTo>
                  <a:cubicBezTo>
                    <a:pt x="387934" y="412665"/>
                    <a:pt x="394961" y="393693"/>
                    <a:pt x="414636" y="403530"/>
                  </a:cubicBezTo>
                  <a:cubicBezTo>
                    <a:pt x="433608" y="412665"/>
                    <a:pt x="445553" y="428123"/>
                    <a:pt x="444850" y="451311"/>
                  </a:cubicBezTo>
                  <a:cubicBezTo>
                    <a:pt x="442742" y="472391"/>
                    <a:pt x="443445" y="492066"/>
                    <a:pt x="443445" y="51665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92591E24-33E1-43F8-9689-595551DA3AC5}"/>
                </a:ext>
              </a:extLst>
            </p:cNvPr>
            <p:cNvSpPr/>
            <p:nvPr/>
          </p:nvSpPr>
          <p:spPr>
            <a:xfrm>
              <a:off x="1256586" y="3824197"/>
              <a:ext cx="1026185" cy="1026186"/>
            </a:xfrm>
            <a:custGeom>
              <a:avLst/>
              <a:gdLst>
                <a:gd name="connsiteX0" fmla="*/ 514551 w 590237"/>
                <a:gd name="connsiteY0" fmla="*/ 275 h 590237"/>
                <a:gd name="connsiteX1" fmla="*/ 572169 w 590237"/>
                <a:gd name="connsiteY1" fmla="*/ 275 h 590237"/>
                <a:gd name="connsiteX2" fmla="*/ 595357 w 590237"/>
                <a:gd name="connsiteY2" fmla="*/ 22057 h 590237"/>
                <a:gd name="connsiteX3" fmla="*/ 595357 w 590237"/>
                <a:gd name="connsiteY3" fmla="*/ 137294 h 590237"/>
                <a:gd name="connsiteX4" fmla="*/ 574277 w 590237"/>
                <a:gd name="connsiteY4" fmla="*/ 182265 h 590237"/>
                <a:gd name="connsiteX5" fmla="*/ 534928 w 590237"/>
                <a:gd name="connsiteY5" fmla="*/ 178751 h 590237"/>
                <a:gd name="connsiteX6" fmla="*/ 491363 w 590237"/>
                <a:gd name="connsiteY6" fmla="*/ 152753 h 590237"/>
                <a:gd name="connsiteX7" fmla="*/ 446392 w 590237"/>
                <a:gd name="connsiteY7" fmla="*/ 208966 h 590237"/>
                <a:gd name="connsiteX8" fmla="*/ 468878 w 590237"/>
                <a:gd name="connsiteY8" fmla="*/ 278530 h 590237"/>
                <a:gd name="connsiteX9" fmla="*/ 527199 w 590237"/>
                <a:gd name="connsiteY9" fmla="*/ 274313 h 590237"/>
                <a:gd name="connsiteX10" fmla="*/ 560927 w 590237"/>
                <a:gd name="connsiteY10" fmla="*/ 254639 h 590237"/>
                <a:gd name="connsiteX11" fmla="*/ 593952 w 590237"/>
                <a:gd name="connsiteY11" fmla="*/ 300312 h 590237"/>
                <a:gd name="connsiteX12" fmla="*/ 594654 w 590237"/>
                <a:gd name="connsiteY12" fmla="*/ 426089 h 590237"/>
                <a:gd name="connsiteX13" fmla="*/ 574980 w 590237"/>
                <a:gd name="connsiteY13" fmla="*/ 442953 h 590237"/>
                <a:gd name="connsiteX14" fmla="*/ 459743 w 590237"/>
                <a:gd name="connsiteY14" fmla="*/ 442953 h 590237"/>
                <a:gd name="connsiteX15" fmla="*/ 428826 w 590237"/>
                <a:gd name="connsiteY15" fmla="*/ 451385 h 590237"/>
                <a:gd name="connsiteX16" fmla="*/ 428123 w 590237"/>
                <a:gd name="connsiteY16" fmla="*/ 484410 h 590237"/>
                <a:gd name="connsiteX17" fmla="*/ 426718 w 590237"/>
                <a:gd name="connsiteY17" fmla="*/ 575054 h 590237"/>
                <a:gd name="connsiteX18" fmla="*/ 302346 w 590237"/>
                <a:gd name="connsiteY18" fmla="*/ 559595 h 590237"/>
                <a:gd name="connsiteX19" fmla="*/ 308670 w 590237"/>
                <a:gd name="connsiteY19" fmla="*/ 490031 h 590237"/>
                <a:gd name="connsiteX20" fmla="*/ 326237 w 590237"/>
                <a:gd name="connsiteY20" fmla="*/ 466141 h 590237"/>
                <a:gd name="connsiteX21" fmla="*/ 288996 w 590237"/>
                <a:gd name="connsiteY21" fmla="*/ 443656 h 590237"/>
                <a:gd name="connsiteX22" fmla="*/ 173759 w 590237"/>
                <a:gd name="connsiteY22" fmla="*/ 444358 h 590237"/>
                <a:gd name="connsiteX23" fmla="*/ 150571 w 590237"/>
                <a:gd name="connsiteY23" fmla="*/ 422576 h 590237"/>
                <a:gd name="connsiteX24" fmla="*/ 151273 w 590237"/>
                <a:gd name="connsiteY24" fmla="*/ 310150 h 590237"/>
                <a:gd name="connsiteX25" fmla="*/ 144247 w 590237"/>
                <a:gd name="connsiteY25" fmla="*/ 281340 h 590237"/>
                <a:gd name="connsiteX26" fmla="*/ 108411 w 590237"/>
                <a:gd name="connsiteY26" fmla="*/ 279232 h 590237"/>
                <a:gd name="connsiteX27" fmla="*/ 19875 w 590237"/>
                <a:gd name="connsiteY27" fmla="*/ 278530 h 590237"/>
                <a:gd name="connsiteX28" fmla="*/ 49387 w 590237"/>
                <a:gd name="connsiteY28" fmla="*/ 144321 h 590237"/>
                <a:gd name="connsiteX29" fmla="*/ 104898 w 590237"/>
                <a:gd name="connsiteY29" fmla="*/ 160482 h 590237"/>
                <a:gd name="connsiteX30" fmla="*/ 129491 w 590237"/>
                <a:gd name="connsiteY30" fmla="*/ 177346 h 590237"/>
                <a:gd name="connsiteX31" fmla="*/ 151273 w 590237"/>
                <a:gd name="connsiteY31" fmla="*/ 142213 h 590237"/>
                <a:gd name="connsiteX32" fmla="*/ 150571 w 590237"/>
                <a:gd name="connsiteY32" fmla="*/ 26976 h 590237"/>
                <a:gd name="connsiteX33" fmla="*/ 175867 w 590237"/>
                <a:gd name="connsiteY33" fmla="*/ 1680 h 590237"/>
                <a:gd name="connsiteX34" fmla="*/ 291104 w 590237"/>
                <a:gd name="connsiteY34" fmla="*/ 2382 h 590237"/>
                <a:gd name="connsiteX35" fmla="*/ 328345 w 590237"/>
                <a:gd name="connsiteY35" fmla="*/ 16436 h 590237"/>
                <a:gd name="connsiteX36" fmla="*/ 326939 w 590237"/>
                <a:gd name="connsiteY36" fmla="*/ 62812 h 590237"/>
                <a:gd name="connsiteX37" fmla="*/ 303049 w 590237"/>
                <a:gd name="connsiteY37" fmla="*/ 102161 h 590237"/>
                <a:gd name="connsiteX38" fmla="*/ 349425 w 590237"/>
                <a:gd name="connsiteY38" fmla="*/ 147834 h 590237"/>
                <a:gd name="connsiteX39" fmla="*/ 428826 w 590237"/>
                <a:gd name="connsiteY39" fmla="*/ 126052 h 590237"/>
                <a:gd name="connsiteX40" fmla="*/ 424610 w 590237"/>
                <a:gd name="connsiteY40" fmla="*/ 67731 h 590237"/>
                <a:gd name="connsiteX41" fmla="*/ 405638 w 590237"/>
                <a:gd name="connsiteY41" fmla="*/ 31192 h 590237"/>
                <a:gd name="connsiteX42" fmla="*/ 451311 w 590237"/>
                <a:gd name="connsiteY42" fmla="*/ 1680 h 590237"/>
                <a:gd name="connsiteX43" fmla="*/ 514551 w 590237"/>
                <a:gd name="connsiteY43" fmla="*/ 27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590237">
                  <a:moveTo>
                    <a:pt x="514551" y="275"/>
                  </a:moveTo>
                  <a:cubicBezTo>
                    <a:pt x="533523" y="275"/>
                    <a:pt x="553197" y="977"/>
                    <a:pt x="572169" y="275"/>
                  </a:cubicBezTo>
                  <a:cubicBezTo>
                    <a:pt x="589033" y="-1131"/>
                    <a:pt x="596762" y="2382"/>
                    <a:pt x="595357" y="22057"/>
                  </a:cubicBezTo>
                  <a:cubicBezTo>
                    <a:pt x="593249" y="60001"/>
                    <a:pt x="593952" y="98647"/>
                    <a:pt x="595357" y="137294"/>
                  </a:cubicBezTo>
                  <a:cubicBezTo>
                    <a:pt x="596060" y="156266"/>
                    <a:pt x="589033" y="170319"/>
                    <a:pt x="574277" y="182265"/>
                  </a:cubicBezTo>
                  <a:cubicBezTo>
                    <a:pt x="560224" y="193507"/>
                    <a:pt x="547576" y="194913"/>
                    <a:pt x="534928" y="178751"/>
                  </a:cubicBezTo>
                  <a:cubicBezTo>
                    <a:pt x="524388" y="164698"/>
                    <a:pt x="513145" y="145726"/>
                    <a:pt x="491363" y="152753"/>
                  </a:cubicBezTo>
                  <a:cubicBezTo>
                    <a:pt x="466067" y="161185"/>
                    <a:pt x="448500" y="179454"/>
                    <a:pt x="446392" y="208966"/>
                  </a:cubicBezTo>
                  <a:cubicBezTo>
                    <a:pt x="444284" y="235667"/>
                    <a:pt x="446392" y="259558"/>
                    <a:pt x="468878" y="278530"/>
                  </a:cubicBezTo>
                  <a:cubicBezTo>
                    <a:pt x="492768" y="298204"/>
                    <a:pt x="506821" y="296799"/>
                    <a:pt x="527199" y="274313"/>
                  </a:cubicBezTo>
                  <a:cubicBezTo>
                    <a:pt x="536333" y="264476"/>
                    <a:pt x="541955" y="246207"/>
                    <a:pt x="560927" y="254639"/>
                  </a:cubicBezTo>
                  <a:cubicBezTo>
                    <a:pt x="581304" y="263071"/>
                    <a:pt x="593952" y="277827"/>
                    <a:pt x="593952" y="300312"/>
                  </a:cubicBezTo>
                  <a:cubicBezTo>
                    <a:pt x="594654" y="342472"/>
                    <a:pt x="593249" y="383929"/>
                    <a:pt x="594654" y="426089"/>
                  </a:cubicBezTo>
                  <a:cubicBezTo>
                    <a:pt x="595357" y="442250"/>
                    <a:pt x="587628" y="443656"/>
                    <a:pt x="574980" y="442953"/>
                  </a:cubicBezTo>
                  <a:cubicBezTo>
                    <a:pt x="536333" y="442250"/>
                    <a:pt x="498389" y="442953"/>
                    <a:pt x="459743" y="442953"/>
                  </a:cubicBezTo>
                  <a:cubicBezTo>
                    <a:pt x="448500" y="442953"/>
                    <a:pt x="437960" y="443656"/>
                    <a:pt x="428826" y="451385"/>
                  </a:cubicBezTo>
                  <a:cubicBezTo>
                    <a:pt x="415475" y="462627"/>
                    <a:pt x="409151" y="471762"/>
                    <a:pt x="428123" y="484410"/>
                  </a:cubicBezTo>
                  <a:cubicBezTo>
                    <a:pt x="469580" y="512517"/>
                    <a:pt x="457635" y="548352"/>
                    <a:pt x="426718" y="575054"/>
                  </a:cubicBezTo>
                  <a:cubicBezTo>
                    <a:pt x="392287" y="603863"/>
                    <a:pt x="329047" y="595431"/>
                    <a:pt x="302346" y="559595"/>
                  </a:cubicBezTo>
                  <a:cubicBezTo>
                    <a:pt x="282672" y="532894"/>
                    <a:pt x="284779" y="513219"/>
                    <a:pt x="308670" y="490031"/>
                  </a:cubicBezTo>
                  <a:cubicBezTo>
                    <a:pt x="315697" y="483005"/>
                    <a:pt x="331858" y="480194"/>
                    <a:pt x="326237" y="466141"/>
                  </a:cubicBezTo>
                  <a:cubicBezTo>
                    <a:pt x="319913" y="450682"/>
                    <a:pt x="305859" y="443656"/>
                    <a:pt x="288996" y="443656"/>
                  </a:cubicBezTo>
                  <a:cubicBezTo>
                    <a:pt x="250349" y="443656"/>
                    <a:pt x="212405" y="442953"/>
                    <a:pt x="173759" y="444358"/>
                  </a:cubicBezTo>
                  <a:cubicBezTo>
                    <a:pt x="156895" y="445061"/>
                    <a:pt x="149868" y="441547"/>
                    <a:pt x="150571" y="422576"/>
                  </a:cubicBezTo>
                  <a:cubicBezTo>
                    <a:pt x="151976" y="385334"/>
                    <a:pt x="150571" y="348093"/>
                    <a:pt x="151273" y="310150"/>
                  </a:cubicBezTo>
                  <a:cubicBezTo>
                    <a:pt x="151273" y="299610"/>
                    <a:pt x="150571" y="289772"/>
                    <a:pt x="144247" y="281340"/>
                  </a:cubicBezTo>
                  <a:cubicBezTo>
                    <a:pt x="133004" y="267287"/>
                    <a:pt x="123869" y="260260"/>
                    <a:pt x="108411" y="279232"/>
                  </a:cubicBezTo>
                  <a:cubicBezTo>
                    <a:pt x="79602" y="314365"/>
                    <a:pt x="50090" y="312960"/>
                    <a:pt x="19875" y="278530"/>
                  </a:cubicBezTo>
                  <a:cubicBezTo>
                    <a:pt x="-16663" y="237072"/>
                    <a:pt x="-502" y="166806"/>
                    <a:pt x="49387" y="144321"/>
                  </a:cubicBezTo>
                  <a:cubicBezTo>
                    <a:pt x="73278" y="133781"/>
                    <a:pt x="88736" y="144321"/>
                    <a:pt x="104898" y="160482"/>
                  </a:cubicBezTo>
                  <a:cubicBezTo>
                    <a:pt x="111924" y="167508"/>
                    <a:pt x="114735" y="183670"/>
                    <a:pt x="129491" y="177346"/>
                  </a:cubicBezTo>
                  <a:cubicBezTo>
                    <a:pt x="143544" y="171022"/>
                    <a:pt x="151273" y="159077"/>
                    <a:pt x="151273" y="142213"/>
                  </a:cubicBezTo>
                  <a:cubicBezTo>
                    <a:pt x="151273" y="103566"/>
                    <a:pt x="152679" y="65622"/>
                    <a:pt x="150571" y="26976"/>
                  </a:cubicBezTo>
                  <a:cubicBezTo>
                    <a:pt x="149868" y="6599"/>
                    <a:pt x="154084" y="275"/>
                    <a:pt x="175867" y="1680"/>
                  </a:cubicBezTo>
                  <a:cubicBezTo>
                    <a:pt x="213811" y="3788"/>
                    <a:pt x="252457" y="2382"/>
                    <a:pt x="291104" y="2382"/>
                  </a:cubicBezTo>
                  <a:cubicBezTo>
                    <a:pt x="305859" y="2382"/>
                    <a:pt x="317805" y="5896"/>
                    <a:pt x="328345" y="16436"/>
                  </a:cubicBezTo>
                  <a:cubicBezTo>
                    <a:pt x="346614" y="34705"/>
                    <a:pt x="346614" y="45948"/>
                    <a:pt x="326939" y="62812"/>
                  </a:cubicBezTo>
                  <a:cubicBezTo>
                    <a:pt x="314994" y="73352"/>
                    <a:pt x="298130" y="83892"/>
                    <a:pt x="303049" y="102161"/>
                  </a:cubicBezTo>
                  <a:cubicBezTo>
                    <a:pt x="309373" y="124646"/>
                    <a:pt x="324831" y="142213"/>
                    <a:pt x="349425" y="147834"/>
                  </a:cubicBezTo>
                  <a:cubicBezTo>
                    <a:pt x="379639" y="154158"/>
                    <a:pt x="407746" y="152050"/>
                    <a:pt x="428826" y="126052"/>
                  </a:cubicBezTo>
                  <a:cubicBezTo>
                    <a:pt x="448500" y="102161"/>
                    <a:pt x="447798" y="88810"/>
                    <a:pt x="424610" y="67731"/>
                  </a:cubicBezTo>
                  <a:cubicBezTo>
                    <a:pt x="413367" y="57893"/>
                    <a:pt x="395801" y="50164"/>
                    <a:pt x="405638" y="31192"/>
                  </a:cubicBezTo>
                  <a:cubicBezTo>
                    <a:pt x="414772" y="13625"/>
                    <a:pt x="428826" y="977"/>
                    <a:pt x="451311" y="1680"/>
                  </a:cubicBezTo>
                  <a:cubicBezTo>
                    <a:pt x="472391" y="977"/>
                    <a:pt x="493471" y="275"/>
                    <a:pt x="514551" y="27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A9E2627A-C7CD-451A-88C8-C1C77DE3132F}"/>
                </a:ext>
              </a:extLst>
            </p:cNvPr>
            <p:cNvSpPr/>
            <p:nvPr/>
          </p:nvSpPr>
          <p:spPr>
            <a:xfrm>
              <a:off x="2018516" y="3049396"/>
              <a:ext cx="1026185" cy="757423"/>
            </a:xfrm>
            <a:custGeom>
              <a:avLst/>
              <a:gdLst>
                <a:gd name="connsiteX0" fmla="*/ 593135 w 590237"/>
                <a:gd name="connsiteY0" fmla="*/ 360467 h 435651"/>
                <a:gd name="connsiteX1" fmla="*/ 593135 w 590237"/>
                <a:gd name="connsiteY1" fmla="*/ 426517 h 435651"/>
                <a:gd name="connsiteX2" fmla="*/ 577676 w 590237"/>
                <a:gd name="connsiteY2" fmla="*/ 441976 h 435651"/>
                <a:gd name="connsiteX3" fmla="*/ 446278 w 590237"/>
                <a:gd name="connsiteY3" fmla="*/ 441273 h 435651"/>
                <a:gd name="connsiteX4" fmla="*/ 403415 w 590237"/>
                <a:gd name="connsiteY4" fmla="*/ 408248 h 435651"/>
                <a:gd name="connsiteX5" fmla="*/ 422387 w 590237"/>
                <a:gd name="connsiteY5" fmla="*/ 376628 h 435651"/>
                <a:gd name="connsiteX6" fmla="*/ 425198 w 590237"/>
                <a:gd name="connsiteY6" fmla="*/ 314091 h 435651"/>
                <a:gd name="connsiteX7" fmla="*/ 316988 w 590237"/>
                <a:gd name="connsiteY7" fmla="*/ 314091 h 435651"/>
                <a:gd name="connsiteX8" fmla="*/ 320501 w 590237"/>
                <a:gd name="connsiteY8" fmla="*/ 376628 h 435651"/>
                <a:gd name="connsiteX9" fmla="*/ 339473 w 590237"/>
                <a:gd name="connsiteY9" fmla="*/ 408951 h 435651"/>
                <a:gd name="connsiteX10" fmla="*/ 301529 w 590237"/>
                <a:gd name="connsiteY10" fmla="*/ 440570 h 435651"/>
                <a:gd name="connsiteX11" fmla="*/ 161699 w 590237"/>
                <a:gd name="connsiteY11" fmla="*/ 441273 h 435651"/>
                <a:gd name="connsiteX12" fmla="*/ 149754 w 590237"/>
                <a:gd name="connsiteY12" fmla="*/ 423004 h 435651"/>
                <a:gd name="connsiteX13" fmla="*/ 149754 w 590237"/>
                <a:gd name="connsiteY13" fmla="*/ 304956 h 435651"/>
                <a:gd name="connsiteX14" fmla="*/ 140619 w 590237"/>
                <a:gd name="connsiteY14" fmla="*/ 274742 h 435651"/>
                <a:gd name="connsiteX15" fmla="*/ 109702 w 590237"/>
                <a:gd name="connsiteY15" fmla="*/ 274742 h 435651"/>
                <a:gd name="connsiteX16" fmla="*/ 5708 w 590237"/>
                <a:gd name="connsiteY16" fmla="*/ 252959 h 435651"/>
                <a:gd name="connsiteX17" fmla="*/ 32409 w 590237"/>
                <a:gd name="connsiteY17" fmla="*/ 151776 h 435651"/>
                <a:gd name="connsiteX18" fmla="*/ 104081 w 590237"/>
                <a:gd name="connsiteY18" fmla="*/ 158099 h 435651"/>
                <a:gd name="connsiteX19" fmla="*/ 127971 w 590237"/>
                <a:gd name="connsiteY19" fmla="*/ 174963 h 435651"/>
                <a:gd name="connsiteX20" fmla="*/ 149051 w 590237"/>
                <a:gd name="connsiteY20" fmla="*/ 139830 h 435651"/>
                <a:gd name="connsiteX21" fmla="*/ 148348 w 590237"/>
                <a:gd name="connsiteY21" fmla="*/ 19675 h 435651"/>
                <a:gd name="connsiteX22" fmla="*/ 168023 w 590237"/>
                <a:gd name="connsiteY22" fmla="*/ 0 h 435651"/>
                <a:gd name="connsiteX23" fmla="*/ 290989 w 590237"/>
                <a:gd name="connsiteY23" fmla="*/ 0 h 435651"/>
                <a:gd name="connsiteX24" fmla="*/ 328933 w 590237"/>
                <a:gd name="connsiteY24" fmla="*/ 17567 h 435651"/>
                <a:gd name="connsiteX25" fmla="*/ 326122 w 590237"/>
                <a:gd name="connsiteY25" fmla="*/ 59024 h 435651"/>
                <a:gd name="connsiteX26" fmla="*/ 301529 w 590237"/>
                <a:gd name="connsiteY26" fmla="*/ 103292 h 435651"/>
                <a:gd name="connsiteX27" fmla="*/ 352824 w 590237"/>
                <a:gd name="connsiteY27" fmla="*/ 146857 h 435651"/>
                <a:gd name="connsiteX28" fmla="*/ 421685 w 590237"/>
                <a:gd name="connsiteY28" fmla="*/ 129993 h 435651"/>
                <a:gd name="connsiteX29" fmla="*/ 419577 w 590237"/>
                <a:gd name="connsiteY29" fmla="*/ 63943 h 435651"/>
                <a:gd name="connsiteX30" fmla="*/ 402010 w 590237"/>
                <a:gd name="connsiteY30" fmla="*/ 34431 h 435651"/>
                <a:gd name="connsiteX31" fmla="*/ 436441 w 590237"/>
                <a:gd name="connsiteY31" fmla="*/ 2811 h 435651"/>
                <a:gd name="connsiteX32" fmla="*/ 581190 w 590237"/>
                <a:gd name="connsiteY32" fmla="*/ 703 h 435651"/>
                <a:gd name="connsiteX33" fmla="*/ 591027 w 590237"/>
                <a:gd name="connsiteY33" fmla="*/ 15459 h 435651"/>
                <a:gd name="connsiteX34" fmla="*/ 591027 w 590237"/>
                <a:gd name="connsiteY34" fmla="*/ 146857 h 435651"/>
                <a:gd name="connsiteX35" fmla="*/ 560110 w 590237"/>
                <a:gd name="connsiteY35" fmla="*/ 188314 h 435651"/>
                <a:gd name="connsiteX36" fmla="*/ 525679 w 590237"/>
                <a:gd name="connsiteY36" fmla="*/ 170045 h 435651"/>
                <a:gd name="connsiteX37" fmla="*/ 465953 w 590237"/>
                <a:gd name="connsiteY37" fmla="*/ 165126 h 435651"/>
                <a:gd name="connsiteX38" fmla="*/ 463845 w 590237"/>
                <a:gd name="connsiteY38" fmla="*/ 274742 h 435651"/>
                <a:gd name="connsiteX39" fmla="*/ 526382 w 590237"/>
                <a:gd name="connsiteY39" fmla="*/ 271931 h 435651"/>
                <a:gd name="connsiteX40" fmla="*/ 560812 w 590237"/>
                <a:gd name="connsiteY40" fmla="*/ 253662 h 435651"/>
                <a:gd name="connsiteX41" fmla="*/ 591729 w 590237"/>
                <a:gd name="connsiteY41" fmla="*/ 297930 h 435651"/>
                <a:gd name="connsiteX42" fmla="*/ 593135 w 590237"/>
                <a:gd name="connsiteY42" fmla="*/ 360467 h 43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90237" h="435651">
                  <a:moveTo>
                    <a:pt x="593135" y="360467"/>
                  </a:moveTo>
                  <a:cubicBezTo>
                    <a:pt x="593135" y="382249"/>
                    <a:pt x="592432" y="404032"/>
                    <a:pt x="593135" y="426517"/>
                  </a:cubicBezTo>
                  <a:cubicBezTo>
                    <a:pt x="593837" y="438462"/>
                    <a:pt x="589621" y="441976"/>
                    <a:pt x="577676" y="441976"/>
                  </a:cubicBezTo>
                  <a:cubicBezTo>
                    <a:pt x="534111" y="441273"/>
                    <a:pt x="489843" y="441976"/>
                    <a:pt x="446278" y="441273"/>
                  </a:cubicBezTo>
                  <a:cubicBezTo>
                    <a:pt x="424495" y="441273"/>
                    <a:pt x="411145" y="427220"/>
                    <a:pt x="403415" y="408248"/>
                  </a:cubicBezTo>
                  <a:cubicBezTo>
                    <a:pt x="395686" y="389978"/>
                    <a:pt x="413253" y="385060"/>
                    <a:pt x="422387" y="376628"/>
                  </a:cubicBezTo>
                  <a:cubicBezTo>
                    <a:pt x="446278" y="354143"/>
                    <a:pt x="447683" y="337279"/>
                    <a:pt x="425198" y="314091"/>
                  </a:cubicBezTo>
                  <a:cubicBezTo>
                    <a:pt x="397794" y="285282"/>
                    <a:pt x="344392" y="285282"/>
                    <a:pt x="316988" y="314091"/>
                  </a:cubicBezTo>
                  <a:cubicBezTo>
                    <a:pt x="295205" y="337982"/>
                    <a:pt x="295908" y="355548"/>
                    <a:pt x="320501" y="376628"/>
                  </a:cubicBezTo>
                  <a:cubicBezTo>
                    <a:pt x="330338" y="385060"/>
                    <a:pt x="346500" y="391384"/>
                    <a:pt x="339473" y="408951"/>
                  </a:cubicBezTo>
                  <a:cubicBezTo>
                    <a:pt x="332447" y="425815"/>
                    <a:pt x="321204" y="439868"/>
                    <a:pt x="301529" y="440570"/>
                  </a:cubicBezTo>
                  <a:cubicBezTo>
                    <a:pt x="255153" y="441976"/>
                    <a:pt x="208778" y="441273"/>
                    <a:pt x="161699" y="441273"/>
                  </a:cubicBezTo>
                  <a:cubicBezTo>
                    <a:pt x="146241" y="441273"/>
                    <a:pt x="149754" y="431436"/>
                    <a:pt x="149754" y="423004"/>
                  </a:cubicBezTo>
                  <a:cubicBezTo>
                    <a:pt x="149754" y="383655"/>
                    <a:pt x="149754" y="344305"/>
                    <a:pt x="149754" y="304956"/>
                  </a:cubicBezTo>
                  <a:cubicBezTo>
                    <a:pt x="149754" y="293713"/>
                    <a:pt x="149051" y="283173"/>
                    <a:pt x="140619" y="274742"/>
                  </a:cubicBezTo>
                  <a:cubicBezTo>
                    <a:pt x="130079" y="264904"/>
                    <a:pt x="122350" y="259986"/>
                    <a:pt x="109702" y="274742"/>
                  </a:cubicBezTo>
                  <a:cubicBezTo>
                    <a:pt x="74569" y="316902"/>
                    <a:pt x="23977" y="305659"/>
                    <a:pt x="5708" y="252959"/>
                  </a:cubicBezTo>
                  <a:cubicBezTo>
                    <a:pt x="-7643" y="214313"/>
                    <a:pt x="2897" y="174963"/>
                    <a:pt x="32409" y="151776"/>
                  </a:cubicBezTo>
                  <a:cubicBezTo>
                    <a:pt x="59110" y="130696"/>
                    <a:pt x="81595" y="132804"/>
                    <a:pt x="104081" y="158099"/>
                  </a:cubicBezTo>
                  <a:cubicBezTo>
                    <a:pt x="111107" y="165126"/>
                    <a:pt x="113918" y="181287"/>
                    <a:pt x="127971" y="174963"/>
                  </a:cubicBezTo>
                  <a:cubicBezTo>
                    <a:pt x="142025" y="168639"/>
                    <a:pt x="149754" y="156694"/>
                    <a:pt x="149051" y="139830"/>
                  </a:cubicBezTo>
                  <a:cubicBezTo>
                    <a:pt x="148348" y="99778"/>
                    <a:pt x="149754" y="59726"/>
                    <a:pt x="148348" y="19675"/>
                  </a:cubicBezTo>
                  <a:cubicBezTo>
                    <a:pt x="147646" y="3513"/>
                    <a:pt x="152564" y="0"/>
                    <a:pt x="168023" y="0"/>
                  </a:cubicBezTo>
                  <a:cubicBezTo>
                    <a:pt x="208778" y="703"/>
                    <a:pt x="250235" y="703"/>
                    <a:pt x="290989" y="0"/>
                  </a:cubicBezTo>
                  <a:cubicBezTo>
                    <a:pt x="307151" y="0"/>
                    <a:pt x="319096" y="5621"/>
                    <a:pt x="328933" y="17567"/>
                  </a:cubicBezTo>
                  <a:cubicBezTo>
                    <a:pt x="341581" y="32323"/>
                    <a:pt x="344392" y="45673"/>
                    <a:pt x="326122" y="59024"/>
                  </a:cubicBezTo>
                  <a:cubicBezTo>
                    <a:pt x="311367" y="69564"/>
                    <a:pt x="294502" y="81509"/>
                    <a:pt x="301529" y="103292"/>
                  </a:cubicBezTo>
                  <a:cubicBezTo>
                    <a:pt x="309258" y="127182"/>
                    <a:pt x="326825" y="143344"/>
                    <a:pt x="352824" y="146857"/>
                  </a:cubicBezTo>
                  <a:cubicBezTo>
                    <a:pt x="378120" y="150370"/>
                    <a:pt x="402010" y="148965"/>
                    <a:pt x="421685" y="129993"/>
                  </a:cubicBezTo>
                  <a:cubicBezTo>
                    <a:pt x="446278" y="105400"/>
                    <a:pt x="445575" y="86428"/>
                    <a:pt x="419577" y="63943"/>
                  </a:cubicBezTo>
                  <a:cubicBezTo>
                    <a:pt x="410442" y="56213"/>
                    <a:pt x="394984" y="51294"/>
                    <a:pt x="402010" y="34431"/>
                  </a:cubicBezTo>
                  <a:cubicBezTo>
                    <a:pt x="408334" y="18972"/>
                    <a:pt x="418874" y="3513"/>
                    <a:pt x="436441" y="2811"/>
                  </a:cubicBezTo>
                  <a:cubicBezTo>
                    <a:pt x="484924" y="703"/>
                    <a:pt x="533408" y="1405"/>
                    <a:pt x="581190" y="703"/>
                  </a:cubicBezTo>
                  <a:cubicBezTo>
                    <a:pt x="593135" y="703"/>
                    <a:pt x="591027" y="8432"/>
                    <a:pt x="591027" y="15459"/>
                  </a:cubicBezTo>
                  <a:cubicBezTo>
                    <a:pt x="591027" y="59024"/>
                    <a:pt x="591729" y="103292"/>
                    <a:pt x="591027" y="146857"/>
                  </a:cubicBezTo>
                  <a:cubicBezTo>
                    <a:pt x="591027" y="167234"/>
                    <a:pt x="577676" y="179882"/>
                    <a:pt x="560110" y="188314"/>
                  </a:cubicBezTo>
                  <a:cubicBezTo>
                    <a:pt x="541138" y="197449"/>
                    <a:pt x="534814" y="179882"/>
                    <a:pt x="525679" y="170045"/>
                  </a:cubicBezTo>
                  <a:cubicBezTo>
                    <a:pt x="503896" y="145452"/>
                    <a:pt x="490546" y="144749"/>
                    <a:pt x="465953" y="165126"/>
                  </a:cubicBezTo>
                  <a:cubicBezTo>
                    <a:pt x="434333" y="191827"/>
                    <a:pt x="432927" y="246635"/>
                    <a:pt x="463845" y="274742"/>
                  </a:cubicBezTo>
                  <a:cubicBezTo>
                    <a:pt x="488438" y="297227"/>
                    <a:pt x="503896" y="296524"/>
                    <a:pt x="526382" y="271931"/>
                  </a:cubicBezTo>
                  <a:cubicBezTo>
                    <a:pt x="535516" y="262094"/>
                    <a:pt x="541840" y="244527"/>
                    <a:pt x="560812" y="253662"/>
                  </a:cubicBezTo>
                  <a:cubicBezTo>
                    <a:pt x="579081" y="262094"/>
                    <a:pt x="591729" y="275444"/>
                    <a:pt x="591729" y="297930"/>
                  </a:cubicBezTo>
                  <a:cubicBezTo>
                    <a:pt x="593135" y="318307"/>
                    <a:pt x="593135" y="339387"/>
                    <a:pt x="593135" y="36046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2E0D7D60-5253-4AA1-8154-E22261AB4422}"/>
                </a:ext>
              </a:extLst>
            </p:cNvPr>
            <p:cNvSpPr/>
            <p:nvPr/>
          </p:nvSpPr>
          <p:spPr>
            <a:xfrm>
              <a:off x="493429" y="3818892"/>
              <a:ext cx="1026185" cy="757423"/>
            </a:xfrm>
            <a:custGeom>
              <a:avLst/>
              <a:gdLst>
                <a:gd name="connsiteX0" fmla="*/ 593135 w 590237"/>
                <a:gd name="connsiteY0" fmla="*/ 360467 h 435651"/>
                <a:gd name="connsiteX1" fmla="*/ 593135 w 590237"/>
                <a:gd name="connsiteY1" fmla="*/ 426517 h 435651"/>
                <a:gd name="connsiteX2" fmla="*/ 577676 w 590237"/>
                <a:gd name="connsiteY2" fmla="*/ 441976 h 435651"/>
                <a:gd name="connsiteX3" fmla="*/ 446278 w 590237"/>
                <a:gd name="connsiteY3" fmla="*/ 441273 h 435651"/>
                <a:gd name="connsiteX4" fmla="*/ 403415 w 590237"/>
                <a:gd name="connsiteY4" fmla="*/ 408248 h 435651"/>
                <a:gd name="connsiteX5" fmla="*/ 422387 w 590237"/>
                <a:gd name="connsiteY5" fmla="*/ 376628 h 435651"/>
                <a:gd name="connsiteX6" fmla="*/ 425198 w 590237"/>
                <a:gd name="connsiteY6" fmla="*/ 314091 h 435651"/>
                <a:gd name="connsiteX7" fmla="*/ 316988 w 590237"/>
                <a:gd name="connsiteY7" fmla="*/ 314091 h 435651"/>
                <a:gd name="connsiteX8" fmla="*/ 320501 w 590237"/>
                <a:gd name="connsiteY8" fmla="*/ 376628 h 435651"/>
                <a:gd name="connsiteX9" fmla="*/ 339473 w 590237"/>
                <a:gd name="connsiteY9" fmla="*/ 408951 h 435651"/>
                <a:gd name="connsiteX10" fmla="*/ 301529 w 590237"/>
                <a:gd name="connsiteY10" fmla="*/ 440570 h 435651"/>
                <a:gd name="connsiteX11" fmla="*/ 161699 w 590237"/>
                <a:gd name="connsiteY11" fmla="*/ 441273 h 435651"/>
                <a:gd name="connsiteX12" fmla="*/ 149754 w 590237"/>
                <a:gd name="connsiteY12" fmla="*/ 423004 h 435651"/>
                <a:gd name="connsiteX13" fmla="*/ 149754 w 590237"/>
                <a:gd name="connsiteY13" fmla="*/ 304956 h 435651"/>
                <a:gd name="connsiteX14" fmla="*/ 140619 w 590237"/>
                <a:gd name="connsiteY14" fmla="*/ 274742 h 435651"/>
                <a:gd name="connsiteX15" fmla="*/ 109702 w 590237"/>
                <a:gd name="connsiteY15" fmla="*/ 274742 h 435651"/>
                <a:gd name="connsiteX16" fmla="*/ 5708 w 590237"/>
                <a:gd name="connsiteY16" fmla="*/ 252959 h 435651"/>
                <a:gd name="connsiteX17" fmla="*/ 32409 w 590237"/>
                <a:gd name="connsiteY17" fmla="*/ 151776 h 435651"/>
                <a:gd name="connsiteX18" fmla="*/ 104081 w 590237"/>
                <a:gd name="connsiteY18" fmla="*/ 158099 h 435651"/>
                <a:gd name="connsiteX19" fmla="*/ 127971 w 590237"/>
                <a:gd name="connsiteY19" fmla="*/ 174963 h 435651"/>
                <a:gd name="connsiteX20" fmla="*/ 149051 w 590237"/>
                <a:gd name="connsiteY20" fmla="*/ 139830 h 435651"/>
                <a:gd name="connsiteX21" fmla="*/ 148348 w 590237"/>
                <a:gd name="connsiteY21" fmla="*/ 19675 h 435651"/>
                <a:gd name="connsiteX22" fmla="*/ 168023 w 590237"/>
                <a:gd name="connsiteY22" fmla="*/ 0 h 435651"/>
                <a:gd name="connsiteX23" fmla="*/ 290989 w 590237"/>
                <a:gd name="connsiteY23" fmla="*/ 0 h 435651"/>
                <a:gd name="connsiteX24" fmla="*/ 328933 w 590237"/>
                <a:gd name="connsiteY24" fmla="*/ 17567 h 435651"/>
                <a:gd name="connsiteX25" fmla="*/ 326122 w 590237"/>
                <a:gd name="connsiteY25" fmla="*/ 59024 h 435651"/>
                <a:gd name="connsiteX26" fmla="*/ 301529 w 590237"/>
                <a:gd name="connsiteY26" fmla="*/ 103292 h 435651"/>
                <a:gd name="connsiteX27" fmla="*/ 352824 w 590237"/>
                <a:gd name="connsiteY27" fmla="*/ 146857 h 435651"/>
                <a:gd name="connsiteX28" fmla="*/ 421685 w 590237"/>
                <a:gd name="connsiteY28" fmla="*/ 129993 h 435651"/>
                <a:gd name="connsiteX29" fmla="*/ 419577 w 590237"/>
                <a:gd name="connsiteY29" fmla="*/ 63943 h 435651"/>
                <a:gd name="connsiteX30" fmla="*/ 402010 w 590237"/>
                <a:gd name="connsiteY30" fmla="*/ 34431 h 435651"/>
                <a:gd name="connsiteX31" fmla="*/ 436441 w 590237"/>
                <a:gd name="connsiteY31" fmla="*/ 2811 h 435651"/>
                <a:gd name="connsiteX32" fmla="*/ 581190 w 590237"/>
                <a:gd name="connsiteY32" fmla="*/ 703 h 435651"/>
                <a:gd name="connsiteX33" fmla="*/ 591027 w 590237"/>
                <a:gd name="connsiteY33" fmla="*/ 15459 h 435651"/>
                <a:gd name="connsiteX34" fmla="*/ 591027 w 590237"/>
                <a:gd name="connsiteY34" fmla="*/ 146857 h 435651"/>
                <a:gd name="connsiteX35" fmla="*/ 560110 w 590237"/>
                <a:gd name="connsiteY35" fmla="*/ 188314 h 435651"/>
                <a:gd name="connsiteX36" fmla="*/ 525679 w 590237"/>
                <a:gd name="connsiteY36" fmla="*/ 170045 h 435651"/>
                <a:gd name="connsiteX37" fmla="*/ 465953 w 590237"/>
                <a:gd name="connsiteY37" fmla="*/ 165126 h 435651"/>
                <a:gd name="connsiteX38" fmla="*/ 463845 w 590237"/>
                <a:gd name="connsiteY38" fmla="*/ 274742 h 435651"/>
                <a:gd name="connsiteX39" fmla="*/ 526382 w 590237"/>
                <a:gd name="connsiteY39" fmla="*/ 271931 h 435651"/>
                <a:gd name="connsiteX40" fmla="*/ 560812 w 590237"/>
                <a:gd name="connsiteY40" fmla="*/ 253662 h 435651"/>
                <a:gd name="connsiteX41" fmla="*/ 591729 w 590237"/>
                <a:gd name="connsiteY41" fmla="*/ 297930 h 435651"/>
                <a:gd name="connsiteX42" fmla="*/ 593135 w 590237"/>
                <a:gd name="connsiteY42" fmla="*/ 360467 h 43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90237" h="435651">
                  <a:moveTo>
                    <a:pt x="593135" y="360467"/>
                  </a:moveTo>
                  <a:cubicBezTo>
                    <a:pt x="593135" y="382249"/>
                    <a:pt x="592432" y="404032"/>
                    <a:pt x="593135" y="426517"/>
                  </a:cubicBezTo>
                  <a:cubicBezTo>
                    <a:pt x="593837" y="438462"/>
                    <a:pt x="589621" y="441976"/>
                    <a:pt x="577676" y="441976"/>
                  </a:cubicBezTo>
                  <a:cubicBezTo>
                    <a:pt x="534111" y="441273"/>
                    <a:pt x="489843" y="441976"/>
                    <a:pt x="446278" y="441273"/>
                  </a:cubicBezTo>
                  <a:cubicBezTo>
                    <a:pt x="424495" y="441273"/>
                    <a:pt x="411145" y="427220"/>
                    <a:pt x="403415" y="408248"/>
                  </a:cubicBezTo>
                  <a:cubicBezTo>
                    <a:pt x="395686" y="389978"/>
                    <a:pt x="413253" y="385060"/>
                    <a:pt x="422387" y="376628"/>
                  </a:cubicBezTo>
                  <a:cubicBezTo>
                    <a:pt x="446278" y="354143"/>
                    <a:pt x="447683" y="337279"/>
                    <a:pt x="425198" y="314091"/>
                  </a:cubicBezTo>
                  <a:cubicBezTo>
                    <a:pt x="397794" y="285282"/>
                    <a:pt x="344392" y="285282"/>
                    <a:pt x="316988" y="314091"/>
                  </a:cubicBezTo>
                  <a:cubicBezTo>
                    <a:pt x="295205" y="337982"/>
                    <a:pt x="295908" y="355548"/>
                    <a:pt x="320501" y="376628"/>
                  </a:cubicBezTo>
                  <a:cubicBezTo>
                    <a:pt x="330338" y="385060"/>
                    <a:pt x="346500" y="391384"/>
                    <a:pt x="339473" y="408951"/>
                  </a:cubicBezTo>
                  <a:cubicBezTo>
                    <a:pt x="332447" y="425815"/>
                    <a:pt x="321204" y="439868"/>
                    <a:pt x="301529" y="440570"/>
                  </a:cubicBezTo>
                  <a:cubicBezTo>
                    <a:pt x="255153" y="441976"/>
                    <a:pt x="208778" y="441273"/>
                    <a:pt x="161699" y="441273"/>
                  </a:cubicBezTo>
                  <a:cubicBezTo>
                    <a:pt x="146241" y="441273"/>
                    <a:pt x="149754" y="431436"/>
                    <a:pt x="149754" y="423004"/>
                  </a:cubicBezTo>
                  <a:cubicBezTo>
                    <a:pt x="149754" y="383655"/>
                    <a:pt x="149754" y="344305"/>
                    <a:pt x="149754" y="304956"/>
                  </a:cubicBezTo>
                  <a:cubicBezTo>
                    <a:pt x="149754" y="293713"/>
                    <a:pt x="149051" y="283173"/>
                    <a:pt x="140619" y="274742"/>
                  </a:cubicBezTo>
                  <a:cubicBezTo>
                    <a:pt x="130079" y="264904"/>
                    <a:pt x="122350" y="259986"/>
                    <a:pt x="109702" y="274742"/>
                  </a:cubicBezTo>
                  <a:cubicBezTo>
                    <a:pt x="74569" y="316902"/>
                    <a:pt x="23977" y="305659"/>
                    <a:pt x="5708" y="252959"/>
                  </a:cubicBezTo>
                  <a:cubicBezTo>
                    <a:pt x="-7643" y="214313"/>
                    <a:pt x="2897" y="174963"/>
                    <a:pt x="32409" y="151776"/>
                  </a:cubicBezTo>
                  <a:cubicBezTo>
                    <a:pt x="59110" y="130696"/>
                    <a:pt x="81595" y="132804"/>
                    <a:pt x="104081" y="158099"/>
                  </a:cubicBezTo>
                  <a:cubicBezTo>
                    <a:pt x="111107" y="165126"/>
                    <a:pt x="113918" y="181287"/>
                    <a:pt x="127971" y="174963"/>
                  </a:cubicBezTo>
                  <a:cubicBezTo>
                    <a:pt x="142025" y="168639"/>
                    <a:pt x="149754" y="156694"/>
                    <a:pt x="149051" y="139830"/>
                  </a:cubicBezTo>
                  <a:cubicBezTo>
                    <a:pt x="148348" y="99778"/>
                    <a:pt x="149754" y="59726"/>
                    <a:pt x="148348" y="19675"/>
                  </a:cubicBezTo>
                  <a:cubicBezTo>
                    <a:pt x="147646" y="3513"/>
                    <a:pt x="152564" y="0"/>
                    <a:pt x="168023" y="0"/>
                  </a:cubicBezTo>
                  <a:cubicBezTo>
                    <a:pt x="208778" y="703"/>
                    <a:pt x="250235" y="703"/>
                    <a:pt x="290989" y="0"/>
                  </a:cubicBezTo>
                  <a:cubicBezTo>
                    <a:pt x="307151" y="0"/>
                    <a:pt x="319096" y="5621"/>
                    <a:pt x="328933" y="17567"/>
                  </a:cubicBezTo>
                  <a:cubicBezTo>
                    <a:pt x="341581" y="32323"/>
                    <a:pt x="344392" y="45673"/>
                    <a:pt x="326122" y="59024"/>
                  </a:cubicBezTo>
                  <a:cubicBezTo>
                    <a:pt x="311367" y="69564"/>
                    <a:pt x="294502" y="81509"/>
                    <a:pt x="301529" y="103292"/>
                  </a:cubicBezTo>
                  <a:cubicBezTo>
                    <a:pt x="309258" y="127182"/>
                    <a:pt x="326825" y="143344"/>
                    <a:pt x="352824" y="146857"/>
                  </a:cubicBezTo>
                  <a:cubicBezTo>
                    <a:pt x="378120" y="150370"/>
                    <a:pt x="402010" y="148965"/>
                    <a:pt x="421685" y="129993"/>
                  </a:cubicBezTo>
                  <a:cubicBezTo>
                    <a:pt x="446278" y="105400"/>
                    <a:pt x="445575" y="86428"/>
                    <a:pt x="419577" y="63943"/>
                  </a:cubicBezTo>
                  <a:cubicBezTo>
                    <a:pt x="410442" y="56213"/>
                    <a:pt x="394984" y="51294"/>
                    <a:pt x="402010" y="34431"/>
                  </a:cubicBezTo>
                  <a:cubicBezTo>
                    <a:pt x="408334" y="18972"/>
                    <a:pt x="418874" y="3513"/>
                    <a:pt x="436441" y="2811"/>
                  </a:cubicBezTo>
                  <a:cubicBezTo>
                    <a:pt x="484924" y="703"/>
                    <a:pt x="533408" y="1405"/>
                    <a:pt x="581190" y="703"/>
                  </a:cubicBezTo>
                  <a:cubicBezTo>
                    <a:pt x="593135" y="703"/>
                    <a:pt x="591027" y="8432"/>
                    <a:pt x="591027" y="15459"/>
                  </a:cubicBezTo>
                  <a:cubicBezTo>
                    <a:pt x="591027" y="59024"/>
                    <a:pt x="591729" y="103292"/>
                    <a:pt x="591027" y="146857"/>
                  </a:cubicBezTo>
                  <a:cubicBezTo>
                    <a:pt x="591027" y="167234"/>
                    <a:pt x="577676" y="179882"/>
                    <a:pt x="560110" y="188314"/>
                  </a:cubicBezTo>
                  <a:cubicBezTo>
                    <a:pt x="541138" y="197449"/>
                    <a:pt x="534814" y="179882"/>
                    <a:pt x="525679" y="170045"/>
                  </a:cubicBezTo>
                  <a:cubicBezTo>
                    <a:pt x="503896" y="145452"/>
                    <a:pt x="490546" y="144749"/>
                    <a:pt x="465953" y="165126"/>
                  </a:cubicBezTo>
                  <a:cubicBezTo>
                    <a:pt x="434333" y="191827"/>
                    <a:pt x="432927" y="246635"/>
                    <a:pt x="463845" y="274742"/>
                  </a:cubicBezTo>
                  <a:cubicBezTo>
                    <a:pt x="488438" y="297227"/>
                    <a:pt x="503896" y="296524"/>
                    <a:pt x="526382" y="271931"/>
                  </a:cubicBezTo>
                  <a:cubicBezTo>
                    <a:pt x="535516" y="262094"/>
                    <a:pt x="541840" y="244527"/>
                    <a:pt x="560812" y="253662"/>
                  </a:cubicBezTo>
                  <a:cubicBezTo>
                    <a:pt x="579081" y="262094"/>
                    <a:pt x="591729" y="275444"/>
                    <a:pt x="591729" y="297930"/>
                  </a:cubicBezTo>
                  <a:cubicBezTo>
                    <a:pt x="593135" y="318307"/>
                    <a:pt x="593135" y="339387"/>
                    <a:pt x="593135" y="36046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0A66B434-E339-4A5A-842C-B47E3C05F7BF}"/>
                </a:ext>
              </a:extLst>
            </p:cNvPr>
            <p:cNvSpPr/>
            <p:nvPr/>
          </p:nvSpPr>
          <p:spPr>
            <a:xfrm>
              <a:off x="753312" y="3051372"/>
              <a:ext cx="1026185" cy="1026186"/>
            </a:xfrm>
            <a:custGeom>
              <a:avLst/>
              <a:gdLst>
                <a:gd name="connsiteX0" fmla="*/ 527 w 590237"/>
                <a:gd name="connsiteY0" fmla="*/ 78746 h 590237"/>
                <a:gd name="connsiteX1" fmla="*/ 527 w 590237"/>
                <a:gd name="connsiteY1" fmla="*/ 21128 h 590237"/>
                <a:gd name="connsiteX2" fmla="*/ 19499 w 590237"/>
                <a:gd name="connsiteY2" fmla="*/ 751 h 590237"/>
                <a:gd name="connsiteX3" fmla="*/ 139654 w 590237"/>
                <a:gd name="connsiteY3" fmla="*/ 751 h 590237"/>
                <a:gd name="connsiteX4" fmla="*/ 181814 w 590237"/>
                <a:gd name="connsiteY4" fmla="*/ 21128 h 590237"/>
                <a:gd name="connsiteX5" fmla="*/ 179004 w 590237"/>
                <a:gd name="connsiteY5" fmla="*/ 60477 h 590237"/>
                <a:gd name="connsiteX6" fmla="*/ 153708 w 590237"/>
                <a:gd name="connsiteY6" fmla="*/ 106150 h 590237"/>
                <a:gd name="connsiteX7" fmla="*/ 211326 w 590237"/>
                <a:gd name="connsiteY7" fmla="*/ 149013 h 590237"/>
                <a:gd name="connsiteX8" fmla="*/ 278079 w 590237"/>
                <a:gd name="connsiteY8" fmla="*/ 126528 h 590237"/>
                <a:gd name="connsiteX9" fmla="*/ 274566 w 590237"/>
                <a:gd name="connsiteY9" fmla="*/ 68206 h 590237"/>
                <a:gd name="connsiteX10" fmla="*/ 254188 w 590237"/>
                <a:gd name="connsiteY10" fmla="*/ 34479 h 590237"/>
                <a:gd name="connsiteX11" fmla="*/ 301970 w 590237"/>
                <a:gd name="connsiteY11" fmla="*/ 751 h 590237"/>
                <a:gd name="connsiteX12" fmla="*/ 424936 w 590237"/>
                <a:gd name="connsiteY12" fmla="*/ 48 h 590237"/>
                <a:gd name="connsiteX13" fmla="*/ 442503 w 590237"/>
                <a:gd name="connsiteY13" fmla="*/ 19723 h 590237"/>
                <a:gd name="connsiteX14" fmla="*/ 442503 w 590237"/>
                <a:gd name="connsiteY14" fmla="*/ 134959 h 590237"/>
                <a:gd name="connsiteX15" fmla="*/ 450934 w 590237"/>
                <a:gd name="connsiteY15" fmla="*/ 165877 h 590237"/>
                <a:gd name="connsiteX16" fmla="*/ 484663 w 590237"/>
                <a:gd name="connsiteY16" fmla="*/ 167282 h 590237"/>
                <a:gd name="connsiteX17" fmla="*/ 574603 w 590237"/>
                <a:gd name="connsiteY17" fmla="*/ 167985 h 590237"/>
                <a:gd name="connsiteX18" fmla="*/ 559145 w 590237"/>
                <a:gd name="connsiteY18" fmla="*/ 292356 h 590237"/>
                <a:gd name="connsiteX19" fmla="*/ 489581 w 590237"/>
                <a:gd name="connsiteY19" fmla="*/ 286032 h 590237"/>
                <a:gd name="connsiteX20" fmla="*/ 462880 w 590237"/>
                <a:gd name="connsiteY20" fmla="*/ 269168 h 590237"/>
                <a:gd name="connsiteX21" fmla="*/ 442503 w 590237"/>
                <a:gd name="connsiteY21" fmla="*/ 305004 h 590237"/>
                <a:gd name="connsiteX22" fmla="*/ 442503 w 590237"/>
                <a:gd name="connsiteY22" fmla="*/ 406188 h 590237"/>
                <a:gd name="connsiteX23" fmla="*/ 404559 w 590237"/>
                <a:gd name="connsiteY23" fmla="*/ 442726 h 590237"/>
                <a:gd name="connsiteX24" fmla="*/ 308997 w 590237"/>
                <a:gd name="connsiteY24" fmla="*/ 442726 h 590237"/>
                <a:gd name="connsiteX25" fmla="*/ 278079 w 590237"/>
                <a:gd name="connsiteY25" fmla="*/ 451158 h 590237"/>
                <a:gd name="connsiteX26" fmla="*/ 276674 w 590237"/>
                <a:gd name="connsiteY26" fmla="*/ 483481 h 590237"/>
                <a:gd name="connsiteX27" fmla="*/ 301267 w 590237"/>
                <a:gd name="connsiteY27" fmla="*/ 541099 h 590237"/>
                <a:gd name="connsiteX28" fmla="*/ 235919 w 590237"/>
                <a:gd name="connsiteY28" fmla="*/ 590988 h 590237"/>
                <a:gd name="connsiteX29" fmla="*/ 153005 w 590237"/>
                <a:gd name="connsiteY29" fmla="*/ 560774 h 590237"/>
                <a:gd name="connsiteX30" fmla="*/ 160032 w 590237"/>
                <a:gd name="connsiteY30" fmla="*/ 489102 h 590237"/>
                <a:gd name="connsiteX31" fmla="*/ 176193 w 590237"/>
                <a:gd name="connsiteY31" fmla="*/ 465211 h 590237"/>
                <a:gd name="connsiteX32" fmla="*/ 141060 w 590237"/>
                <a:gd name="connsiteY32" fmla="*/ 443429 h 590237"/>
                <a:gd name="connsiteX33" fmla="*/ 20904 w 590237"/>
                <a:gd name="connsiteY33" fmla="*/ 444132 h 590237"/>
                <a:gd name="connsiteX34" fmla="*/ 527 w 590237"/>
                <a:gd name="connsiteY34" fmla="*/ 423052 h 590237"/>
                <a:gd name="connsiteX35" fmla="*/ 527 w 590237"/>
                <a:gd name="connsiteY35" fmla="*/ 307815 h 590237"/>
                <a:gd name="connsiteX36" fmla="*/ 14580 w 590237"/>
                <a:gd name="connsiteY36" fmla="*/ 267763 h 590237"/>
                <a:gd name="connsiteX37" fmla="*/ 61659 w 590237"/>
                <a:gd name="connsiteY37" fmla="*/ 268466 h 590237"/>
                <a:gd name="connsiteX38" fmla="*/ 103819 w 590237"/>
                <a:gd name="connsiteY38" fmla="*/ 291654 h 590237"/>
                <a:gd name="connsiteX39" fmla="*/ 147384 w 590237"/>
                <a:gd name="connsiteY39" fmla="*/ 243872 h 590237"/>
                <a:gd name="connsiteX40" fmla="*/ 123493 w 590237"/>
                <a:gd name="connsiteY40" fmla="*/ 165174 h 590237"/>
                <a:gd name="connsiteX41" fmla="*/ 67280 w 590237"/>
                <a:gd name="connsiteY41" fmla="*/ 170795 h 590237"/>
                <a:gd name="connsiteX42" fmla="*/ 32849 w 590237"/>
                <a:gd name="connsiteY42" fmla="*/ 191173 h 590237"/>
                <a:gd name="connsiteX43" fmla="*/ 527 w 590237"/>
                <a:gd name="connsiteY43" fmla="*/ 147607 h 590237"/>
                <a:gd name="connsiteX44" fmla="*/ 527 w 590237"/>
                <a:gd name="connsiteY44" fmla="*/ 111772 h 590237"/>
                <a:gd name="connsiteX45" fmla="*/ 527 w 590237"/>
                <a:gd name="connsiteY45" fmla="*/ 78746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90237">
                  <a:moveTo>
                    <a:pt x="527" y="78746"/>
                  </a:moveTo>
                  <a:cubicBezTo>
                    <a:pt x="527" y="59774"/>
                    <a:pt x="1229" y="40100"/>
                    <a:pt x="527" y="21128"/>
                  </a:cubicBezTo>
                  <a:cubicBezTo>
                    <a:pt x="-176" y="7075"/>
                    <a:pt x="2635" y="48"/>
                    <a:pt x="19499" y="751"/>
                  </a:cubicBezTo>
                  <a:cubicBezTo>
                    <a:pt x="59551" y="2156"/>
                    <a:pt x="99602" y="1453"/>
                    <a:pt x="139654" y="751"/>
                  </a:cubicBezTo>
                  <a:cubicBezTo>
                    <a:pt x="157924" y="751"/>
                    <a:pt x="171274" y="7777"/>
                    <a:pt x="181814" y="21128"/>
                  </a:cubicBezTo>
                  <a:cubicBezTo>
                    <a:pt x="193057" y="35181"/>
                    <a:pt x="195165" y="47829"/>
                    <a:pt x="179004" y="60477"/>
                  </a:cubicBezTo>
                  <a:cubicBezTo>
                    <a:pt x="164247" y="71720"/>
                    <a:pt x="144573" y="82962"/>
                    <a:pt x="153708" y="106150"/>
                  </a:cubicBezTo>
                  <a:cubicBezTo>
                    <a:pt x="163545" y="131446"/>
                    <a:pt x="181814" y="147607"/>
                    <a:pt x="211326" y="149013"/>
                  </a:cubicBezTo>
                  <a:cubicBezTo>
                    <a:pt x="236622" y="149715"/>
                    <a:pt x="260513" y="148310"/>
                    <a:pt x="278079" y="126528"/>
                  </a:cubicBezTo>
                  <a:cubicBezTo>
                    <a:pt x="297051" y="102637"/>
                    <a:pt x="296348" y="88584"/>
                    <a:pt x="274566" y="68206"/>
                  </a:cubicBezTo>
                  <a:cubicBezTo>
                    <a:pt x="264728" y="59072"/>
                    <a:pt x="246459" y="54153"/>
                    <a:pt x="254188" y="34479"/>
                  </a:cubicBezTo>
                  <a:cubicBezTo>
                    <a:pt x="262620" y="13399"/>
                    <a:pt x="278079" y="751"/>
                    <a:pt x="301970" y="751"/>
                  </a:cubicBezTo>
                  <a:cubicBezTo>
                    <a:pt x="342724" y="751"/>
                    <a:pt x="384181" y="1453"/>
                    <a:pt x="424936" y="48"/>
                  </a:cubicBezTo>
                  <a:cubicBezTo>
                    <a:pt x="441097" y="-655"/>
                    <a:pt x="442503" y="6372"/>
                    <a:pt x="442503" y="19723"/>
                  </a:cubicBezTo>
                  <a:cubicBezTo>
                    <a:pt x="441800" y="58369"/>
                    <a:pt x="442503" y="96313"/>
                    <a:pt x="442503" y="134959"/>
                  </a:cubicBezTo>
                  <a:cubicBezTo>
                    <a:pt x="442503" y="146202"/>
                    <a:pt x="443205" y="156742"/>
                    <a:pt x="450934" y="165877"/>
                  </a:cubicBezTo>
                  <a:cubicBezTo>
                    <a:pt x="461474" y="179227"/>
                    <a:pt x="470609" y="184849"/>
                    <a:pt x="484663" y="167282"/>
                  </a:cubicBezTo>
                  <a:cubicBezTo>
                    <a:pt x="513472" y="131446"/>
                    <a:pt x="545091" y="132149"/>
                    <a:pt x="574603" y="167985"/>
                  </a:cubicBezTo>
                  <a:cubicBezTo>
                    <a:pt x="604115" y="203118"/>
                    <a:pt x="595683" y="265655"/>
                    <a:pt x="559145" y="292356"/>
                  </a:cubicBezTo>
                  <a:cubicBezTo>
                    <a:pt x="531741" y="312031"/>
                    <a:pt x="512769" y="309923"/>
                    <a:pt x="489581" y="286032"/>
                  </a:cubicBezTo>
                  <a:cubicBezTo>
                    <a:pt x="482554" y="278303"/>
                    <a:pt x="479041" y="260736"/>
                    <a:pt x="462880" y="269168"/>
                  </a:cubicBezTo>
                  <a:cubicBezTo>
                    <a:pt x="449529" y="276195"/>
                    <a:pt x="442503" y="288843"/>
                    <a:pt x="442503" y="305004"/>
                  </a:cubicBezTo>
                  <a:cubicBezTo>
                    <a:pt x="442503" y="338732"/>
                    <a:pt x="442503" y="372460"/>
                    <a:pt x="442503" y="406188"/>
                  </a:cubicBezTo>
                  <a:cubicBezTo>
                    <a:pt x="442503" y="442726"/>
                    <a:pt x="442503" y="442726"/>
                    <a:pt x="404559" y="442726"/>
                  </a:cubicBezTo>
                  <a:cubicBezTo>
                    <a:pt x="372939" y="442726"/>
                    <a:pt x="340616" y="442726"/>
                    <a:pt x="308997" y="442726"/>
                  </a:cubicBezTo>
                  <a:cubicBezTo>
                    <a:pt x="297754" y="442726"/>
                    <a:pt x="287214" y="443429"/>
                    <a:pt x="278079" y="451158"/>
                  </a:cubicBezTo>
                  <a:cubicBezTo>
                    <a:pt x="266837" y="460995"/>
                    <a:pt x="259107" y="470130"/>
                    <a:pt x="276674" y="483481"/>
                  </a:cubicBezTo>
                  <a:cubicBezTo>
                    <a:pt x="295646" y="497534"/>
                    <a:pt x="312510" y="514398"/>
                    <a:pt x="301267" y="541099"/>
                  </a:cubicBezTo>
                  <a:cubicBezTo>
                    <a:pt x="289322" y="569206"/>
                    <a:pt x="268945" y="588880"/>
                    <a:pt x="235919" y="590988"/>
                  </a:cubicBezTo>
                  <a:cubicBezTo>
                    <a:pt x="203597" y="593096"/>
                    <a:pt x="174085" y="588880"/>
                    <a:pt x="153005" y="560774"/>
                  </a:cubicBezTo>
                  <a:cubicBezTo>
                    <a:pt x="132628" y="533370"/>
                    <a:pt x="134736" y="512290"/>
                    <a:pt x="160032" y="489102"/>
                  </a:cubicBezTo>
                  <a:cubicBezTo>
                    <a:pt x="167058" y="482778"/>
                    <a:pt x="183219" y="479967"/>
                    <a:pt x="176193" y="465211"/>
                  </a:cubicBezTo>
                  <a:cubicBezTo>
                    <a:pt x="169869" y="451861"/>
                    <a:pt x="157924" y="443429"/>
                    <a:pt x="141060" y="443429"/>
                  </a:cubicBezTo>
                  <a:cubicBezTo>
                    <a:pt x="101008" y="443429"/>
                    <a:pt x="60956" y="442726"/>
                    <a:pt x="20904" y="444132"/>
                  </a:cubicBezTo>
                  <a:cubicBezTo>
                    <a:pt x="3338" y="444834"/>
                    <a:pt x="-176" y="439213"/>
                    <a:pt x="527" y="423052"/>
                  </a:cubicBezTo>
                  <a:cubicBezTo>
                    <a:pt x="1932" y="385108"/>
                    <a:pt x="1229" y="346461"/>
                    <a:pt x="527" y="307815"/>
                  </a:cubicBezTo>
                  <a:cubicBezTo>
                    <a:pt x="527" y="292356"/>
                    <a:pt x="3338" y="279006"/>
                    <a:pt x="14580" y="267763"/>
                  </a:cubicBezTo>
                  <a:cubicBezTo>
                    <a:pt x="33552" y="249494"/>
                    <a:pt x="44092" y="249494"/>
                    <a:pt x="61659" y="268466"/>
                  </a:cubicBezTo>
                  <a:cubicBezTo>
                    <a:pt x="72901" y="281114"/>
                    <a:pt x="82739" y="297978"/>
                    <a:pt x="103819" y="291654"/>
                  </a:cubicBezTo>
                  <a:cubicBezTo>
                    <a:pt x="126304" y="283924"/>
                    <a:pt x="143168" y="269168"/>
                    <a:pt x="147384" y="243872"/>
                  </a:cubicBezTo>
                  <a:cubicBezTo>
                    <a:pt x="153005" y="213658"/>
                    <a:pt x="150897" y="185551"/>
                    <a:pt x="123493" y="165174"/>
                  </a:cubicBezTo>
                  <a:cubicBezTo>
                    <a:pt x="101008" y="147607"/>
                    <a:pt x="86954" y="149013"/>
                    <a:pt x="67280" y="170795"/>
                  </a:cubicBezTo>
                  <a:cubicBezTo>
                    <a:pt x="58145" y="181335"/>
                    <a:pt x="51821" y="198902"/>
                    <a:pt x="32849" y="191173"/>
                  </a:cubicBezTo>
                  <a:cubicBezTo>
                    <a:pt x="13878" y="183443"/>
                    <a:pt x="1932" y="168687"/>
                    <a:pt x="527" y="147607"/>
                  </a:cubicBezTo>
                  <a:cubicBezTo>
                    <a:pt x="-176" y="135662"/>
                    <a:pt x="527" y="123717"/>
                    <a:pt x="527" y="111772"/>
                  </a:cubicBezTo>
                  <a:cubicBezTo>
                    <a:pt x="-176" y="100529"/>
                    <a:pt x="-176" y="89989"/>
                    <a:pt x="527" y="787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1DD5E855-AFBA-42C7-A5FA-6352AE3D217B}"/>
                </a:ext>
              </a:extLst>
            </p:cNvPr>
            <p:cNvSpPr/>
            <p:nvPr/>
          </p:nvSpPr>
          <p:spPr>
            <a:xfrm>
              <a:off x="1264278" y="4564204"/>
              <a:ext cx="1282731" cy="769640"/>
            </a:xfrm>
            <a:custGeom>
              <a:avLst/>
              <a:gdLst>
                <a:gd name="connsiteX0" fmla="*/ 220814 w 737797"/>
                <a:gd name="connsiteY0" fmla="*/ 442759 h 442678"/>
                <a:gd name="connsiteX1" fmla="*/ 153359 w 737797"/>
                <a:gd name="connsiteY1" fmla="*/ 437841 h 442678"/>
                <a:gd name="connsiteX2" fmla="*/ 149143 w 737797"/>
                <a:gd name="connsiteY2" fmla="*/ 366169 h 442678"/>
                <a:gd name="connsiteX3" fmla="*/ 149143 w 737797"/>
                <a:gd name="connsiteY3" fmla="*/ 302929 h 442678"/>
                <a:gd name="connsiteX4" fmla="*/ 127360 w 737797"/>
                <a:gd name="connsiteY4" fmla="*/ 267796 h 442678"/>
                <a:gd name="connsiteX5" fmla="*/ 103470 w 737797"/>
                <a:gd name="connsiteY5" fmla="*/ 283957 h 442678"/>
                <a:gd name="connsiteX6" fmla="*/ 31095 w 737797"/>
                <a:gd name="connsiteY6" fmla="*/ 290984 h 442678"/>
                <a:gd name="connsiteX7" fmla="*/ 28987 w 737797"/>
                <a:gd name="connsiteY7" fmla="*/ 153965 h 442678"/>
                <a:gd name="connsiteX8" fmla="*/ 102767 w 737797"/>
                <a:gd name="connsiteY8" fmla="*/ 160288 h 442678"/>
                <a:gd name="connsiteX9" fmla="*/ 127360 w 737797"/>
                <a:gd name="connsiteY9" fmla="*/ 175747 h 442678"/>
                <a:gd name="connsiteX10" fmla="*/ 148440 w 737797"/>
                <a:gd name="connsiteY10" fmla="*/ 142722 h 442678"/>
                <a:gd name="connsiteX11" fmla="*/ 147738 w 737797"/>
                <a:gd name="connsiteY11" fmla="*/ 24674 h 442678"/>
                <a:gd name="connsiteX12" fmla="*/ 173736 w 737797"/>
                <a:gd name="connsiteY12" fmla="*/ 81 h 442678"/>
                <a:gd name="connsiteX13" fmla="*/ 288973 w 737797"/>
                <a:gd name="connsiteY13" fmla="*/ 81 h 442678"/>
                <a:gd name="connsiteX14" fmla="*/ 325511 w 737797"/>
                <a:gd name="connsiteY14" fmla="*/ 14134 h 442678"/>
                <a:gd name="connsiteX15" fmla="*/ 323404 w 737797"/>
                <a:gd name="connsiteY15" fmla="*/ 60510 h 442678"/>
                <a:gd name="connsiteX16" fmla="*/ 300918 w 737797"/>
                <a:gd name="connsiteY16" fmla="*/ 100562 h 442678"/>
                <a:gd name="connsiteX17" fmla="*/ 342376 w 737797"/>
                <a:gd name="connsiteY17" fmla="*/ 144127 h 442678"/>
                <a:gd name="connsiteX18" fmla="*/ 425290 w 737797"/>
                <a:gd name="connsiteY18" fmla="*/ 125155 h 442678"/>
                <a:gd name="connsiteX19" fmla="*/ 421074 w 737797"/>
                <a:gd name="connsiteY19" fmla="*/ 64726 h 442678"/>
                <a:gd name="connsiteX20" fmla="*/ 401399 w 737797"/>
                <a:gd name="connsiteY20" fmla="*/ 33106 h 442678"/>
                <a:gd name="connsiteX21" fmla="*/ 441451 w 737797"/>
                <a:gd name="connsiteY21" fmla="*/ 783 h 442678"/>
                <a:gd name="connsiteX22" fmla="*/ 578470 w 737797"/>
                <a:gd name="connsiteY22" fmla="*/ 81 h 442678"/>
                <a:gd name="connsiteX23" fmla="*/ 591821 w 737797"/>
                <a:gd name="connsiteY23" fmla="*/ 17648 h 442678"/>
                <a:gd name="connsiteX24" fmla="*/ 591821 w 737797"/>
                <a:gd name="connsiteY24" fmla="*/ 135695 h 442678"/>
                <a:gd name="connsiteX25" fmla="*/ 602361 w 737797"/>
                <a:gd name="connsiteY25" fmla="*/ 168018 h 442678"/>
                <a:gd name="connsiteX26" fmla="*/ 631170 w 737797"/>
                <a:gd name="connsiteY26" fmla="*/ 166612 h 442678"/>
                <a:gd name="connsiteX27" fmla="*/ 683168 w 737797"/>
                <a:gd name="connsiteY27" fmla="*/ 139208 h 442678"/>
                <a:gd name="connsiteX28" fmla="*/ 737975 w 737797"/>
                <a:gd name="connsiteY28" fmla="*/ 194719 h 442678"/>
                <a:gd name="connsiteX29" fmla="*/ 711977 w 737797"/>
                <a:gd name="connsiteY29" fmla="*/ 286768 h 442678"/>
                <a:gd name="connsiteX30" fmla="*/ 636089 w 737797"/>
                <a:gd name="connsiteY30" fmla="*/ 281849 h 442678"/>
                <a:gd name="connsiteX31" fmla="*/ 614306 w 737797"/>
                <a:gd name="connsiteY31" fmla="*/ 266391 h 442678"/>
                <a:gd name="connsiteX32" fmla="*/ 592524 w 737797"/>
                <a:gd name="connsiteY32" fmla="*/ 298011 h 442678"/>
                <a:gd name="connsiteX33" fmla="*/ 593226 w 737797"/>
                <a:gd name="connsiteY33" fmla="*/ 418166 h 442678"/>
                <a:gd name="connsiteX34" fmla="*/ 571444 w 737797"/>
                <a:gd name="connsiteY34" fmla="*/ 441354 h 442678"/>
                <a:gd name="connsiteX35" fmla="*/ 453396 w 737797"/>
                <a:gd name="connsiteY35" fmla="*/ 441354 h 442678"/>
                <a:gd name="connsiteX36" fmla="*/ 411939 w 737797"/>
                <a:gd name="connsiteY36" fmla="*/ 424490 h 442678"/>
                <a:gd name="connsiteX37" fmla="*/ 415452 w 737797"/>
                <a:gd name="connsiteY37" fmla="*/ 380925 h 442678"/>
                <a:gd name="connsiteX38" fmla="*/ 439343 w 737797"/>
                <a:gd name="connsiteY38" fmla="*/ 338765 h 442678"/>
                <a:gd name="connsiteX39" fmla="*/ 394372 w 737797"/>
                <a:gd name="connsiteY39" fmla="*/ 295902 h 442678"/>
                <a:gd name="connsiteX40" fmla="*/ 318485 w 737797"/>
                <a:gd name="connsiteY40" fmla="*/ 312766 h 442678"/>
                <a:gd name="connsiteX41" fmla="*/ 320593 w 737797"/>
                <a:gd name="connsiteY41" fmla="*/ 377412 h 442678"/>
                <a:gd name="connsiteX42" fmla="*/ 338862 w 737797"/>
                <a:gd name="connsiteY42" fmla="*/ 409032 h 442678"/>
                <a:gd name="connsiteX43" fmla="*/ 298107 w 737797"/>
                <a:gd name="connsiteY43" fmla="*/ 440651 h 442678"/>
                <a:gd name="connsiteX44" fmla="*/ 220814 w 737797"/>
                <a:gd name="connsiteY44" fmla="*/ 44275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37797" h="442678">
                  <a:moveTo>
                    <a:pt x="220814" y="442759"/>
                  </a:moveTo>
                  <a:cubicBezTo>
                    <a:pt x="201140" y="440651"/>
                    <a:pt x="167412" y="454002"/>
                    <a:pt x="153359" y="437841"/>
                  </a:cubicBezTo>
                  <a:cubicBezTo>
                    <a:pt x="140711" y="423787"/>
                    <a:pt x="149845" y="390762"/>
                    <a:pt x="149143" y="366169"/>
                  </a:cubicBezTo>
                  <a:cubicBezTo>
                    <a:pt x="149143" y="345089"/>
                    <a:pt x="148440" y="324009"/>
                    <a:pt x="149143" y="302929"/>
                  </a:cubicBezTo>
                  <a:cubicBezTo>
                    <a:pt x="149845" y="286065"/>
                    <a:pt x="141413" y="274120"/>
                    <a:pt x="127360" y="267796"/>
                  </a:cubicBezTo>
                  <a:cubicBezTo>
                    <a:pt x="112604" y="260769"/>
                    <a:pt x="109794" y="276931"/>
                    <a:pt x="103470" y="283957"/>
                  </a:cubicBezTo>
                  <a:cubicBezTo>
                    <a:pt x="79579" y="309253"/>
                    <a:pt x="59905" y="309956"/>
                    <a:pt x="31095" y="290984"/>
                  </a:cubicBezTo>
                  <a:cubicBezTo>
                    <a:pt x="-10362" y="263580"/>
                    <a:pt x="-9659" y="181368"/>
                    <a:pt x="28987" y="153965"/>
                  </a:cubicBezTo>
                  <a:cubicBezTo>
                    <a:pt x="58499" y="133587"/>
                    <a:pt x="78174" y="133587"/>
                    <a:pt x="102767" y="160288"/>
                  </a:cubicBezTo>
                  <a:cubicBezTo>
                    <a:pt x="109091" y="167315"/>
                    <a:pt x="112604" y="183476"/>
                    <a:pt x="127360" y="175747"/>
                  </a:cubicBezTo>
                  <a:cubicBezTo>
                    <a:pt x="140008" y="169423"/>
                    <a:pt x="148440" y="158883"/>
                    <a:pt x="148440" y="142722"/>
                  </a:cubicBezTo>
                  <a:cubicBezTo>
                    <a:pt x="148440" y="103373"/>
                    <a:pt x="149845" y="64023"/>
                    <a:pt x="147738" y="24674"/>
                  </a:cubicBezTo>
                  <a:cubicBezTo>
                    <a:pt x="146332" y="2892"/>
                    <a:pt x="154061" y="-621"/>
                    <a:pt x="173736" y="81"/>
                  </a:cubicBezTo>
                  <a:cubicBezTo>
                    <a:pt x="211680" y="1486"/>
                    <a:pt x="250326" y="783"/>
                    <a:pt x="288973" y="81"/>
                  </a:cubicBezTo>
                  <a:cubicBezTo>
                    <a:pt x="303729" y="81"/>
                    <a:pt x="315674" y="3594"/>
                    <a:pt x="325511" y="14134"/>
                  </a:cubicBezTo>
                  <a:cubicBezTo>
                    <a:pt x="343781" y="33106"/>
                    <a:pt x="343781" y="42943"/>
                    <a:pt x="323404" y="60510"/>
                  </a:cubicBezTo>
                  <a:cubicBezTo>
                    <a:pt x="310756" y="71050"/>
                    <a:pt x="295999" y="80887"/>
                    <a:pt x="300918" y="100562"/>
                  </a:cubicBezTo>
                  <a:cubicBezTo>
                    <a:pt x="306539" y="122345"/>
                    <a:pt x="320593" y="137803"/>
                    <a:pt x="342376" y="144127"/>
                  </a:cubicBezTo>
                  <a:cubicBezTo>
                    <a:pt x="373292" y="152559"/>
                    <a:pt x="402102" y="151154"/>
                    <a:pt x="425290" y="125155"/>
                  </a:cubicBezTo>
                  <a:cubicBezTo>
                    <a:pt x="446370" y="101967"/>
                    <a:pt x="444964" y="85103"/>
                    <a:pt x="421074" y="64726"/>
                  </a:cubicBezTo>
                  <a:cubicBezTo>
                    <a:pt x="411237" y="56294"/>
                    <a:pt x="395075" y="49970"/>
                    <a:pt x="401399" y="33106"/>
                  </a:cubicBezTo>
                  <a:cubicBezTo>
                    <a:pt x="408426" y="14837"/>
                    <a:pt x="421074" y="783"/>
                    <a:pt x="441451" y="783"/>
                  </a:cubicBezTo>
                  <a:cubicBezTo>
                    <a:pt x="487124" y="81"/>
                    <a:pt x="532797" y="783"/>
                    <a:pt x="578470" y="81"/>
                  </a:cubicBezTo>
                  <a:cubicBezTo>
                    <a:pt x="592524" y="81"/>
                    <a:pt x="591821" y="8513"/>
                    <a:pt x="591821" y="17648"/>
                  </a:cubicBezTo>
                  <a:cubicBezTo>
                    <a:pt x="591821" y="56997"/>
                    <a:pt x="591821" y="96346"/>
                    <a:pt x="591821" y="135695"/>
                  </a:cubicBezTo>
                  <a:cubicBezTo>
                    <a:pt x="591821" y="147640"/>
                    <a:pt x="592524" y="158883"/>
                    <a:pt x="602361" y="168018"/>
                  </a:cubicBezTo>
                  <a:cubicBezTo>
                    <a:pt x="612901" y="177855"/>
                    <a:pt x="621333" y="180666"/>
                    <a:pt x="631170" y="166612"/>
                  </a:cubicBezTo>
                  <a:cubicBezTo>
                    <a:pt x="643818" y="149046"/>
                    <a:pt x="659277" y="132182"/>
                    <a:pt x="683168" y="139208"/>
                  </a:cubicBezTo>
                  <a:cubicBezTo>
                    <a:pt x="710571" y="146938"/>
                    <a:pt x="731651" y="165207"/>
                    <a:pt x="737975" y="194719"/>
                  </a:cubicBezTo>
                  <a:cubicBezTo>
                    <a:pt x="745002" y="229149"/>
                    <a:pt x="742191" y="261472"/>
                    <a:pt x="711977" y="286768"/>
                  </a:cubicBezTo>
                  <a:cubicBezTo>
                    <a:pt x="683168" y="309956"/>
                    <a:pt x="660682" y="308551"/>
                    <a:pt x="636089" y="281849"/>
                  </a:cubicBezTo>
                  <a:cubicBezTo>
                    <a:pt x="629765" y="275525"/>
                    <a:pt x="626954" y="260769"/>
                    <a:pt x="614306" y="266391"/>
                  </a:cubicBezTo>
                  <a:cubicBezTo>
                    <a:pt x="601658" y="272012"/>
                    <a:pt x="592524" y="282552"/>
                    <a:pt x="592524" y="298011"/>
                  </a:cubicBezTo>
                  <a:cubicBezTo>
                    <a:pt x="592524" y="338062"/>
                    <a:pt x="591821" y="378114"/>
                    <a:pt x="593226" y="418166"/>
                  </a:cubicBezTo>
                  <a:cubicBezTo>
                    <a:pt x="593929" y="435030"/>
                    <a:pt x="590416" y="442057"/>
                    <a:pt x="571444" y="441354"/>
                  </a:cubicBezTo>
                  <a:cubicBezTo>
                    <a:pt x="532095" y="439948"/>
                    <a:pt x="492745" y="440651"/>
                    <a:pt x="453396" y="441354"/>
                  </a:cubicBezTo>
                  <a:cubicBezTo>
                    <a:pt x="436532" y="441354"/>
                    <a:pt x="423182" y="437138"/>
                    <a:pt x="411939" y="424490"/>
                  </a:cubicBezTo>
                  <a:cubicBezTo>
                    <a:pt x="397886" y="408329"/>
                    <a:pt x="396480" y="394275"/>
                    <a:pt x="415452" y="380925"/>
                  </a:cubicBezTo>
                  <a:cubicBezTo>
                    <a:pt x="429506" y="371087"/>
                    <a:pt x="445667" y="359142"/>
                    <a:pt x="439343" y="338765"/>
                  </a:cubicBezTo>
                  <a:cubicBezTo>
                    <a:pt x="432316" y="316982"/>
                    <a:pt x="417560" y="301524"/>
                    <a:pt x="394372" y="295902"/>
                  </a:cubicBezTo>
                  <a:cubicBezTo>
                    <a:pt x="366266" y="289579"/>
                    <a:pt x="340267" y="290984"/>
                    <a:pt x="318485" y="312766"/>
                  </a:cubicBezTo>
                  <a:cubicBezTo>
                    <a:pt x="294594" y="336657"/>
                    <a:pt x="295999" y="354224"/>
                    <a:pt x="320593" y="377412"/>
                  </a:cubicBezTo>
                  <a:cubicBezTo>
                    <a:pt x="329727" y="385844"/>
                    <a:pt x="347294" y="390060"/>
                    <a:pt x="338862" y="409032"/>
                  </a:cubicBezTo>
                  <a:cubicBezTo>
                    <a:pt x="330430" y="426598"/>
                    <a:pt x="319187" y="439948"/>
                    <a:pt x="298107" y="440651"/>
                  </a:cubicBezTo>
                  <a:cubicBezTo>
                    <a:pt x="274217" y="443462"/>
                    <a:pt x="250326" y="442759"/>
                    <a:pt x="220814" y="44275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C02C02B1-B875-4284-B2E2-A310115372A7}"/>
                </a:ext>
              </a:extLst>
            </p:cNvPr>
            <p:cNvSpPr/>
            <p:nvPr/>
          </p:nvSpPr>
          <p:spPr>
            <a:xfrm>
              <a:off x="3054813" y="4565650"/>
              <a:ext cx="1026185" cy="769640"/>
            </a:xfrm>
            <a:custGeom>
              <a:avLst/>
              <a:gdLst>
                <a:gd name="connsiteX0" fmla="*/ 362604 w 590237"/>
                <a:gd name="connsiteY0" fmla="*/ 443446 h 442678"/>
                <a:gd name="connsiteX1" fmla="*/ 302175 w 590237"/>
                <a:gd name="connsiteY1" fmla="*/ 443446 h 442678"/>
                <a:gd name="connsiteX2" fmla="*/ 261420 w 590237"/>
                <a:gd name="connsiteY2" fmla="*/ 424474 h 442678"/>
                <a:gd name="connsiteX3" fmla="*/ 264934 w 590237"/>
                <a:gd name="connsiteY3" fmla="*/ 383017 h 442678"/>
                <a:gd name="connsiteX4" fmla="*/ 288122 w 590237"/>
                <a:gd name="connsiteY4" fmla="*/ 335938 h 442678"/>
                <a:gd name="connsiteX5" fmla="*/ 234719 w 590237"/>
                <a:gd name="connsiteY5" fmla="*/ 295184 h 442678"/>
                <a:gd name="connsiteX6" fmla="*/ 165155 w 590237"/>
                <a:gd name="connsiteY6" fmla="*/ 316966 h 442678"/>
                <a:gd name="connsiteX7" fmla="*/ 170074 w 590237"/>
                <a:gd name="connsiteY7" fmla="*/ 377395 h 442678"/>
                <a:gd name="connsiteX8" fmla="*/ 189749 w 590237"/>
                <a:gd name="connsiteY8" fmla="*/ 409015 h 442678"/>
                <a:gd name="connsiteX9" fmla="*/ 149697 w 590237"/>
                <a:gd name="connsiteY9" fmla="*/ 442041 h 442678"/>
                <a:gd name="connsiteX10" fmla="*/ 12677 w 590237"/>
                <a:gd name="connsiteY10" fmla="*/ 442743 h 442678"/>
                <a:gd name="connsiteX11" fmla="*/ 29 w 590237"/>
                <a:gd name="connsiteY11" fmla="*/ 427285 h 442678"/>
                <a:gd name="connsiteX12" fmla="*/ 29 w 590237"/>
                <a:gd name="connsiteY12" fmla="*/ 298697 h 442678"/>
                <a:gd name="connsiteX13" fmla="*/ 17596 w 590237"/>
                <a:gd name="connsiteY13" fmla="*/ 263564 h 442678"/>
                <a:gd name="connsiteX14" fmla="*/ 60458 w 590237"/>
                <a:gd name="connsiteY14" fmla="*/ 266375 h 442678"/>
                <a:gd name="connsiteX15" fmla="*/ 104024 w 590237"/>
                <a:gd name="connsiteY15" fmla="*/ 290265 h 442678"/>
                <a:gd name="connsiteX16" fmla="*/ 147589 w 590237"/>
                <a:gd name="connsiteY16" fmla="*/ 236160 h 442678"/>
                <a:gd name="connsiteX17" fmla="*/ 122996 w 590237"/>
                <a:gd name="connsiteY17" fmla="*/ 164488 h 442678"/>
                <a:gd name="connsiteX18" fmla="*/ 66782 w 590237"/>
                <a:gd name="connsiteY18" fmla="*/ 169407 h 442678"/>
                <a:gd name="connsiteX19" fmla="*/ 30244 w 590237"/>
                <a:gd name="connsiteY19" fmla="*/ 189082 h 442678"/>
                <a:gd name="connsiteX20" fmla="*/ 29 w 590237"/>
                <a:gd name="connsiteY20" fmla="*/ 141300 h 442678"/>
                <a:gd name="connsiteX21" fmla="*/ 29 w 590237"/>
                <a:gd name="connsiteY21" fmla="*/ 18334 h 442678"/>
                <a:gd name="connsiteX22" fmla="*/ 18298 w 590237"/>
                <a:gd name="connsiteY22" fmla="*/ 65 h 442678"/>
                <a:gd name="connsiteX23" fmla="*/ 138454 w 590237"/>
                <a:gd name="connsiteY23" fmla="*/ 65 h 442678"/>
                <a:gd name="connsiteX24" fmla="*/ 179209 w 590237"/>
                <a:gd name="connsiteY24" fmla="*/ 18334 h 442678"/>
                <a:gd name="connsiteX25" fmla="*/ 176398 w 590237"/>
                <a:gd name="connsiteY25" fmla="*/ 61197 h 442678"/>
                <a:gd name="connsiteX26" fmla="*/ 153913 w 590237"/>
                <a:gd name="connsiteY26" fmla="*/ 108275 h 442678"/>
                <a:gd name="connsiteX27" fmla="*/ 208018 w 590237"/>
                <a:gd name="connsiteY27" fmla="*/ 148327 h 442678"/>
                <a:gd name="connsiteX28" fmla="*/ 277582 w 590237"/>
                <a:gd name="connsiteY28" fmla="*/ 126545 h 442678"/>
                <a:gd name="connsiteX29" fmla="*/ 274068 w 590237"/>
                <a:gd name="connsiteY29" fmla="*/ 67521 h 442678"/>
                <a:gd name="connsiteX30" fmla="*/ 253691 w 590237"/>
                <a:gd name="connsiteY30" fmla="*/ 33793 h 442678"/>
                <a:gd name="connsiteX31" fmla="*/ 299364 w 590237"/>
                <a:gd name="connsiteY31" fmla="*/ 768 h 442678"/>
                <a:gd name="connsiteX32" fmla="*/ 427952 w 590237"/>
                <a:gd name="connsiteY32" fmla="*/ 65 h 442678"/>
                <a:gd name="connsiteX33" fmla="*/ 442708 w 590237"/>
                <a:gd name="connsiteY33" fmla="*/ 19037 h 442678"/>
                <a:gd name="connsiteX34" fmla="*/ 442708 w 590237"/>
                <a:gd name="connsiteY34" fmla="*/ 139192 h 442678"/>
                <a:gd name="connsiteX35" fmla="*/ 453248 w 590237"/>
                <a:gd name="connsiteY35" fmla="*/ 168704 h 442678"/>
                <a:gd name="connsiteX36" fmla="*/ 481354 w 590237"/>
                <a:gd name="connsiteY36" fmla="*/ 168002 h 442678"/>
                <a:gd name="connsiteX37" fmla="*/ 538973 w 590237"/>
                <a:gd name="connsiteY37" fmla="*/ 142003 h 442678"/>
                <a:gd name="connsiteX38" fmla="*/ 589565 w 590237"/>
                <a:gd name="connsiteY38" fmla="*/ 198216 h 442678"/>
                <a:gd name="connsiteX39" fmla="*/ 559350 w 590237"/>
                <a:gd name="connsiteY39" fmla="*/ 290968 h 442678"/>
                <a:gd name="connsiteX40" fmla="*/ 487678 w 590237"/>
                <a:gd name="connsiteY40" fmla="*/ 283239 h 442678"/>
                <a:gd name="connsiteX41" fmla="*/ 463085 w 590237"/>
                <a:gd name="connsiteY41" fmla="*/ 267780 h 442678"/>
                <a:gd name="connsiteX42" fmla="*/ 442708 w 590237"/>
                <a:gd name="connsiteY42" fmla="*/ 300805 h 442678"/>
                <a:gd name="connsiteX43" fmla="*/ 443410 w 590237"/>
                <a:gd name="connsiteY43" fmla="*/ 423771 h 442678"/>
                <a:gd name="connsiteX44" fmla="*/ 425844 w 590237"/>
                <a:gd name="connsiteY44" fmla="*/ 442743 h 442678"/>
                <a:gd name="connsiteX45" fmla="*/ 362604 w 590237"/>
                <a:gd name="connsiteY45" fmla="*/ 443446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442678">
                  <a:moveTo>
                    <a:pt x="362604" y="443446"/>
                  </a:moveTo>
                  <a:cubicBezTo>
                    <a:pt x="342227" y="443446"/>
                    <a:pt x="322552" y="442743"/>
                    <a:pt x="302175" y="443446"/>
                  </a:cubicBezTo>
                  <a:cubicBezTo>
                    <a:pt x="285311" y="444149"/>
                    <a:pt x="272663" y="437122"/>
                    <a:pt x="261420" y="424474"/>
                  </a:cubicBezTo>
                  <a:cubicBezTo>
                    <a:pt x="248070" y="409718"/>
                    <a:pt x="247367" y="396367"/>
                    <a:pt x="264934" y="383017"/>
                  </a:cubicBezTo>
                  <a:cubicBezTo>
                    <a:pt x="280392" y="371774"/>
                    <a:pt x="297959" y="359126"/>
                    <a:pt x="288122" y="335938"/>
                  </a:cubicBezTo>
                  <a:cubicBezTo>
                    <a:pt x="278284" y="312751"/>
                    <a:pt x="261420" y="297292"/>
                    <a:pt x="234719" y="295184"/>
                  </a:cubicBezTo>
                  <a:cubicBezTo>
                    <a:pt x="208721" y="293076"/>
                    <a:pt x="184127" y="295184"/>
                    <a:pt x="165155" y="316966"/>
                  </a:cubicBezTo>
                  <a:cubicBezTo>
                    <a:pt x="145481" y="340154"/>
                    <a:pt x="146886" y="357018"/>
                    <a:pt x="170074" y="377395"/>
                  </a:cubicBezTo>
                  <a:cubicBezTo>
                    <a:pt x="179209" y="385828"/>
                    <a:pt x="196775" y="390746"/>
                    <a:pt x="189749" y="409015"/>
                  </a:cubicBezTo>
                  <a:cubicBezTo>
                    <a:pt x="182722" y="426582"/>
                    <a:pt x="169371" y="441338"/>
                    <a:pt x="149697" y="442041"/>
                  </a:cubicBezTo>
                  <a:cubicBezTo>
                    <a:pt x="104024" y="443446"/>
                    <a:pt x="58350" y="442041"/>
                    <a:pt x="12677" y="442743"/>
                  </a:cubicBezTo>
                  <a:cubicBezTo>
                    <a:pt x="732" y="442743"/>
                    <a:pt x="29" y="437122"/>
                    <a:pt x="29" y="427285"/>
                  </a:cubicBezTo>
                  <a:cubicBezTo>
                    <a:pt x="29" y="384422"/>
                    <a:pt x="732" y="341560"/>
                    <a:pt x="29" y="298697"/>
                  </a:cubicBezTo>
                  <a:cubicBezTo>
                    <a:pt x="29" y="283239"/>
                    <a:pt x="7056" y="272699"/>
                    <a:pt x="17596" y="263564"/>
                  </a:cubicBezTo>
                  <a:cubicBezTo>
                    <a:pt x="32352" y="250213"/>
                    <a:pt x="46405" y="245997"/>
                    <a:pt x="60458" y="266375"/>
                  </a:cubicBezTo>
                  <a:cubicBezTo>
                    <a:pt x="70998" y="281131"/>
                    <a:pt x="82241" y="297995"/>
                    <a:pt x="104024" y="290265"/>
                  </a:cubicBezTo>
                  <a:cubicBezTo>
                    <a:pt x="128617" y="281131"/>
                    <a:pt x="145481" y="263564"/>
                    <a:pt x="147589" y="236160"/>
                  </a:cubicBezTo>
                  <a:cubicBezTo>
                    <a:pt x="149697" y="208756"/>
                    <a:pt x="147589" y="183460"/>
                    <a:pt x="122996" y="164488"/>
                  </a:cubicBezTo>
                  <a:cubicBezTo>
                    <a:pt x="99808" y="146922"/>
                    <a:pt x="86457" y="147624"/>
                    <a:pt x="66782" y="169407"/>
                  </a:cubicBezTo>
                  <a:cubicBezTo>
                    <a:pt x="56945" y="179947"/>
                    <a:pt x="49918" y="198919"/>
                    <a:pt x="30244" y="189082"/>
                  </a:cubicBezTo>
                  <a:cubicBezTo>
                    <a:pt x="11272" y="179947"/>
                    <a:pt x="-673" y="165191"/>
                    <a:pt x="29" y="141300"/>
                  </a:cubicBezTo>
                  <a:cubicBezTo>
                    <a:pt x="732" y="100546"/>
                    <a:pt x="732" y="59089"/>
                    <a:pt x="29" y="18334"/>
                  </a:cubicBezTo>
                  <a:cubicBezTo>
                    <a:pt x="29" y="4281"/>
                    <a:pt x="4245" y="-638"/>
                    <a:pt x="18298" y="65"/>
                  </a:cubicBezTo>
                  <a:cubicBezTo>
                    <a:pt x="58350" y="768"/>
                    <a:pt x="98402" y="768"/>
                    <a:pt x="138454" y="65"/>
                  </a:cubicBezTo>
                  <a:cubicBezTo>
                    <a:pt x="155318" y="65"/>
                    <a:pt x="168669" y="5686"/>
                    <a:pt x="179209" y="18334"/>
                  </a:cubicBezTo>
                  <a:cubicBezTo>
                    <a:pt x="192559" y="33090"/>
                    <a:pt x="196073" y="47143"/>
                    <a:pt x="176398" y="61197"/>
                  </a:cubicBezTo>
                  <a:cubicBezTo>
                    <a:pt x="160940" y="72439"/>
                    <a:pt x="143373" y="85790"/>
                    <a:pt x="153913" y="108275"/>
                  </a:cubicBezTo>
                  <a:cubicBezTo>
                    <a:pt x="163750" y="130760"/>
                    <a:pt x="180614" y="146922"/>
                    <a:pt x="208018" y="148327"/>
                  </a:cubicBezTo>
                  <a:cubicBezTo>
                    <a:pt x="234016" y="149732"/>
                    <a:pt x="258610" y="149030"/>
                    <a:pt x="277582" y="126545"/>
                  </a:cubicBezTo>
                  <a:cubicBezTo>
                    <a:pt x="296554" y="103357"/>
                    <a:pt x="295851" y="88601"/>
                    <a:pt x="274068" y="67521"/>
                  </a:cubicBezTo>
                  <a:cubicBezTo>
                    <a:pt x="264231" y="58386"/>
                    <a:pt x="245962" y="52765"/>
                    <a:pt x="253691" y="33793"/>
                  </a:cubicBezTo>
                  <a:cubicBezTo>
                    <a:pt x="262123" y="14118"/>
                    <a:pt x="277582" y="768"/>
                    <a:pt x="299364" y="768"/>
                  </a:cubicBezTo>
                  <a:cubicBezTo>
                    <a:pt x="342227" y="65"/>
                    <a:pt x="385089" y="768"/>
                    <a:pt x="427952" y="65"/>
                  </a:cubicBezTo>
                  <a:cubicBezTo>
                    <a:pt x="443410" y="65"/>
                    <a:pt x="443410" y="7794"/>
                    <a:pt x="442708" y="19037"/>
                  </a:cubicBezTo>
                  <a:cubicBezTo>
                    <a:pt x="442708" y="59089"/>
                    <a:pt x="442708" y="99140"/>
                    <a:pt x="442708" y="139192"/>
                  </a:cubicBezTo>
                  <a:cubicBezTo>
                    <a:pt x="442708" y="150435"/>
                    <a:pt x="444113" y="160975"/>
                    <a:pt x="453248" y="168704"/>
                  </a:cubicBezTo>
                  <a:cubicBezTo>
                    <a:pt x="463085" y="177839"/>
                    <a:pt x="471517" y="182758"/>
                    <a:pt x="481354" y="168002"/>
                  </a:cubicBezTo>
                  <a:cubicBezTo>
                    <a:pt x="494705" y="148327"/>
                    <a:pt x="512272" y="132868"/>
                    <a:pt x="538973" y="142003"/>
                  </a:cubicBezTo>
                  <a:cubicBezTo>
                    <a:pt x="564971" y="151138"/>
                    <a:pt x="584646" y="170110"/>
                    <a:pt x="589565" y="198216"/>
                  </a:cubicBezTo>
                  <a:cubicBezTo>
                    <a:pt x="595888" y="234052"/>
                    <a:pt x="591673" y="267077"/>
                    <a:pt x="559350" y="290968"/>
                  </a:cubicBezTo>
                  <a:cubicBezTo>
                    <a:pt x="531243" y="311345"/>
                    <a:pt x="512272" y="309237"/>
                    <a:pt x="487678" y="283239"/>
                  </a:cubicBezTo>
                  <a:cubicBezTo>
                    <a:pt x="481354" y="276212"/>
                    <a:pt x="477841" y="260753"/>
                    <a:pt x="463085" y="267780"/>
                  </a:cubicBezTo>
                  <a:cubicBezTo>
                    <a:pt x="450437" y="274104"/>
                    <a:pt x="442708" y="284644"/>
                    <a:pt x="442708" y="300805"/>
                  </a:cubicBezTo>
                  <a:cubicBezTo>
                    <a:pt x="443410" y="341560"/>
                    <a:pt x="442005" y="383017"/>
                    <a:pt x="443410" y="423771"/>
                  </a:cubicBezTo>
                  <a:cubicBezTo>
                    <a:pt x="443410" y="437825"/>
                    <a:pt x="440600" y="443446"/>
                    <a:pt x="425844" y="442743"/>
                  </a:cubicBezTo>
                  <a:cubicBezTo>
                    <a:pt x="404764" y="442041"/>
                    <a:pt x="383684" y="443446"/>
                    <a:pt x="362604" y="4434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2B67FBC6-0920-4F48-BDC1-BB64439FC997}"/>
                </a:ext>
              </a:extLst>
            </p:cNvPr>
            <p:cNvSpPr/>
            <p:nvPr/>
          </p:nvSpPr>
          <p:spPr>
            <a:xfrm>
              <a:off x="5840183" y="2795065"/>
              <a:ext cx="1026185" cy="1282732"/>
            </a:xfrm>
            <a:custGeom>
              <a:avLst/>
              <a:gdLst>
                <a:gd name="connsiteX0" fmla="*/ 343415 w 590237"/>
                <a:gd name="connsiteY0" fmla="*/ 741252 h 737797"/>
                <a:gd name="connsiteX1" fmla="*/ 301958 w 590237"/>
                <a:gd name="connsiteY1" fmla="*/ 711740 h 737797"/>
                <a:gd name="connsiteX2" fmla="*/ 307579 w 590237"/>
                <a:gd name="connsiteY2" fmla="*/ 637258 h 737797"/>
                <a:gd name="connsiteX3" fmla="*/ 323038 w 590237"/>
                <a:gd name="connsiteY3" fmla="*/ 613367 h 737797"/>
                <a:gd name="connsiteX4" fmla="*/ 290715 w 590237"/>
                <a:gd name="connsiteY4" fmla="*/ 592287 h 737797"/>
                <a:gd name="connsiteX5" fmla="*/ 172668 w 590237"/>
                <a:gd name="connsiteY5" fmla="*/ 592990 h 737797"/>
                <a:gd name="connsiteX6" fmla="*/ 146669 w 590237"/>
                <a:gd name="connsiteY6" fmla="*/ 565586 h 737797"/>
                <a:gd name="connsiteX7" fmla="*/ 147372 w 590237"/>
                <a:gd name="connsiteY7" fmla="*/ 453160 h 737797"/>
                <a:gd name="connsiteX8" fmla="*/ 138940 w 590237"/>
                <a:gd name="connsiteY8" fmla="*/ 425053 h 737797"/>
                <a:gd name="connsiteX9" fmla="*/ 108725 w 590237"/>
                <a:gd name="connsiteY9" fmla="*/ 425053 h 737797"/>
                <a:gd name="connsiteX10" fmla="*/ 54620 w 590237"/>
                <a:gd name="connsiteY10" fmla="*/ 451052 h 737797"/>
                <a:gd name="connsiteX11" fmla="*/ 2623 w 590237"/>
                <a:gd name="connsiteY11" fmla="*/ 393433 h 737797"/>
                <a:gd name="connsiteX12" fmla="*/ 37756 w 590237"/>
                <a:gd name="connsiteY12" fmla="*/ 297871 h 737797"/>
                <a:gd name="connsiteX13" fmla="*/ 104509 w 590237"/>
                <a:gd name="connsiteY13" fmla="*/ 309817 h 737797"/>
                <a:gd name="connsiteX14" fmla="*/ 126292 w 590237"/>
                <a:gd name="connsiteY14" fmla="*/ 325275 h 737797"/>
                <a:gd name="connsiteX15" fmla="*/ 148075 w 590237"/>
                <a:gd name="connsiteY15" fmla="*/ 293655 h 737797"/>
                <a:gd name="connsiteX16" fmla="*/ 147372 w 590237"/>
                <a:gd name="connsiteY16" fmla="*/ 170689 h 737797"/>
                <a:gd name="connsiteX17" fmla="*/ 168452 w 590237"/>
                <a:gd name="connsiteY17" fmla="*/ 148906 h 737797"/>
                <a:gd name="connsiteX18" fmla="*/ 286499 w 590237"/>
                <a:gd name="connsiteY18" fmla="*/ 149609 h 737797"/>
                <a:gd name="connsiteX19" fmla="*/ 316714 w 590237"/>
                <a:gd name="connsiteY19" fmla="*/ 139772 h 737797"/>
                <a:gd name="connsiteX20" fmla="*/ 316011 w 590237"/>
                <a:gd name="connsiteY20" fmla="*/ 109557 h 737797"/>
                <a:gd name="connsiteX21" fmla="*/ 323741 w 590237"/>
                <a:gd name="connsiteY21" fmla="*/ 12589 h 737797"/>
                <a:gd name="connsiteX22" fmla="*/ 443896 w 590237"/>
                <a:gd name="connsiteY22" fmla="*/ 39993 h 737797"/>
                <a:gd name="connsiteX23" fmla="*/ 434761 w 590237"/>
                <a:gd name="connsiteY23" fmla="*/ 103233 h 737797"/>
                <a:gd name="connsiteX24" fmla="*/ 416492 w 590237"/>
                <a:gd name="connsiteY24" fmla="*/ 129934 h 737797"/>
                <a:gd name="connsiteX25" fmla="*/ 454436 w 590237"/>
                <a:gd name="connsiteY25" fmla="*/ 150312 h 737797"/>
                <a:gd name="connsiteX26" fmla="*/ 569673 w 590237"/>
                <a:gd name="connsiteY26" fmla="*/ 149609 h 737797"/>
                <a:gd name="connsiteX27" fmla="*/ 591455 w 590237"/>
                <a:gd name="connsiteY27" fmla="*/ 172797 h 737797"/>
                <a:gd name="connsiteX28" fmla="*/ 591455 w 590237"/>
                <a:gd name="connsiteY28" fmla="*/ 292952 h 737797"/>
                <a:gd name="connsiteX29" fmla="*/ 571078 w 590237"/>
                <a:gd name="connsiteY29" fmla="*/ 332301 h 737797"/>
                <a:gd name="connsiteX30" fmla="*/ 531729 w 590237"/>
                <a:gd name="connsiteY30" fmla="*/ 328086 h 737797"/>
                <a:gd name="connsiteX31" fmla="*/ 485353 w 590237"/>
                <a:gd name="connsiteY31" fmla="*/ 304195 h 737797"/>
                <a:gd name="connsiteX32" fmla="*/ 443193 w 590237"/>
                <a:gd name="connsiteY32" fmla="*/ 359706 h 737797"/>
                <a:gd name="connsiteX33" fmla="*/ 461463 w 590237"/>
                <a:gd name="connsiteY33" fmla="*/ 422945 h 737797"/>
                <a:gd name="connsiteX34" fmla="*/ 527513 w 590237"/>
                <a:gd name="connsiteY34" fmla="*/ 420837 h 737797"/>
                <a:gd name="connsiteX35" fmla="*/ 557728 w 590237"/>
                <a:gd name="connsiteY35" fmla="*/ 402568 h 737797"/>
                <a:gd name="connsiteX36" fmla="*/ 590753 w 590237"/>
                <a:gd name="connsiteY36" fmla="*/ 441917 h 737797"/>
                <a:gd name="connsiteX37" fmla="*/ 591455 w 590237"/>
                <a:gd name="connsiteY37" fmla="*/ 578937 h 737797"/>
                <a:gd name="connsiteX38" fmla="*/ 574591 w 590237"/>
                <a:gd name="connsiteY38" fmla="*/ 592287 h 737797"/>
                <a:gd name="connsiteX39" fmla="*/ 453733 w 590237"/>
                <a:gd name="connsiteY39" fmla="*/ 591585 h 737797"/>
                <a:gd name="connsiteX40" fmla="*/ 418600 w 590237"/>
                <a:gd name="connsiteY40" fmla="*/ 608449 h 737797"/>
                <a:gd name="connsiteX41" fmla="*/ 420005 w 590237"/>
                <a:gd name="connsiteY41" fmla="*/ 627420 h 737797"/>
                <a:gd name="connsiteX42" fmla="*/ 449517 w 590237"/>
                <a:gd name="connsiteY42" fmla="*/ 690660 h 737797"/>
                <a:gd name="connsiteX43" fmla="*/ 398925 w 590237"/>
                <a:gd name="connsiteY43" fmla="*/ 740549 h 737797"/>
                <a:gd name="connsiteX44" fmla="*/ 343415 w 590237"/>
                <a:gd name="connsiteY44" fmla="*/ 741252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90237" h="737797">
                  <a:moveTo>
                    <a:pt x="343415" y="741252"/>
                  </a:moveTo>
                  <a:cubicBezTo>
                    <a:pt x="328659" y="732820"/>
                    <a:pt x="313201" y="725793"/>
                    <a:pt x="301958" y="711740"/>
                  </a:cubicBezTo>
                  <a:cubicBezTo>
                    <a:pt x="280175" y="683633"/>
                    <a:pt x="282283" y="661851"/>
                    <a:pt x="307579" y="637258"/>
                  </a:cubicBezTo>
                  <a:cubicBezTo>
                    <a:pt x="314606" y="630934"/>
                    <a:pt x="331470" y="628826"/>
                    <a:pt x="323038" y="613367"/>
                  </a:cubicBezTo>
                  <a:cubicBezTo>
                    <a:pt x="316714" y="600719"/>
                    <a:pt x="306174" y="592287"/>
                    <a:pt x="290715" y="592287"/>
                  </a:cubicBezTo>
                  <a:cubicBezTo>
                    <a:pt x="251366" y="592990"/>
                    <a:pt x="212017" y="590882"/>
                    <a:pt x="172668" y="592990"/>
                  </a:cubicBezTo>
                  <a:cubicBezTo>
                    <a:pt x="149480" y="594395"/>
                    <a:pt x="145264" y="585963"/>
                    <a:pt x="146669" y="565586"/>
                  </a:cubicBezTo>
                  <a:cubicBezTo>
                    <a:pt x="148075" y="528345"/>
                    <a:pt x="146669" y="490401"/>
                    <a:pt x="147372" y="453160"/>
                  </a:cubicBezTo>
                  <a:cubicBezTo>
                    <a:pt x="147372" y="442620"/>
                    <a:pt x="146669" y="432783"/>
                    <a:pt x="138940" y="425053"/>
                  </a:cubicBezTo>
                  <a:cubicBezTo>
                    <a:pt x="129103" y="415216"/>
                    <a:pt x="119968" y="408892"/>
                    <a:pt x="108725" y="425053"/>
                  </a:cubicBezTo>
                  <a:cubicBezTo>
                    <a:pt x="96077" y="442620"/>
                    <a:pt x="80619" y="460186"/>
                    <a:pt x="54620" y="451052"/>
                  </a:cubicBezTo>
                  <a:cubicBezTo>
                    <a:pt x="27216" y="441214"/>
                    <a:pt x="8244" y="422945"/>
                    <a:pt x="2623" y="393433"/>
                  </a:cubicBezTo>
                  <a:cubicBezTo>
                    <a:pt x="-5809" y="351273"/>
                    <a:pt x="6136" y="317546"/>
                    <a:pt x="37756" y="297871"/>
                  </a:cubicBezTo>
                  <a:cubicBezTo>
                    <a:pt x="63755" y="281007"/>
                    <a:pt x="80619" y="284520"/>
                    <a:pt x="104509" y="309817"/>
                  </a:cubicBezTo>
                  <a:cubicBezTo>
                    <a:pt x="110833" y="316140"/>
                    <a:pt x="112941" y="330896"/>
                    <a:pt x="126292" y="325275"/>
                  </a:cubicBezTo>
                  <a:cubicBezTo>
                    <a:pt x="139643" y="319654"/>
                    <a:pt x="148075" y="309817"/>
                    <a:pt x="148075" y="293655"/>
                  </a:cubicBezTo>
                  <a:cubicBezTo>
                    <a:pt x="148075" y="252900"/>
                    <a:pt x="148777" y="211444"/>
                    <a:pt x="147372" y="170689"/>
                  </a:cubicBezTo>
                  <a:cubicBezTo>
                    <a:pt x="146669" y="154528"/>
                    <a:pt x="150885" y="148204"/>
                    <a:pt x="168452" y="148906"/>
                  </a:cubicBezTo>
                  <a:cubicBezTo>
                    <a:pt x="207801" y="150312"/>
                    <a:pt x="247150" y="148906"/>
                    <a:pt x="286499" y="149609"/>
                  </a:cubicBezTo>
                  <a:cubicBezTo>
                    <a:pt x="297742" y="149609"/>
                    <a:pt x="308282" y="148204"/>
                    <a:pt x="316714" y="139772"/>
                  </a:cubicBezTo>
                  <a:cubicBezTo>
                    <a:pt x="327254" y="129232"/>
                    <a:pt x="330064" y="121502"/>
                    <a:pt x="316011" y="109557"/>
                  </a:cubicBezTo>
                  <a:cubicBezTo>
                    <a:pt x="277365" y="77235"/>
                    <a:pt x="280878" y="39993"/>
                    <a:pt x="323741" y="12589"/>
                  </a:cubicBezTo>
                  <a:cubicBezTo>
                    <a:pt x="362387" y="-12004"/>
                    <a:pt x="420005" y="644"/>
                    <a:pt x="443896" y="39993"/>
                  </a:cubicBezTo>
                  <a:cubicBezTo>
                    <a:pt x="459355" y="64587"/>
                    <a:pt x="456544" y="81451"/>
                    <a:pt x="434761" y="103233"/>
                  </a:cubicBezTo>
                  <a:cubicBezTo>
                    <a:pt x="427032" y="110962"/>
                    <a:pt x="410168" y="114476"/>
                    <a:pt x="416492" y="129934"/>
                  </a:cubicBezTo>
                  <a:cubicBezTo>
                    <a:pt x="423519" y="145393"/>
                    <a:pt x="436869" y="151014"/>
                    <a:pt x="454436" y="150312"/>
                  </a:cubicBezTo>
                  <a:cubicBezTo>
                    <a:pt x="493082" y="148906"/>
                    <a:pt x="531026" y="151014"/>
                    <a:pt x="569673" y="149609"/>
                  </a:cubicBezTo>
                  <a:cubicBezTo>
                    <a:pt x="588645" y="148906"/>
                    <a:pt x="592158" y="155230"/>
                    <a:pt x="591455" y="172797"/>
                  </a:cubicBezTo>
                  <a:cubicBezTo>
                    <a:pt x="590050" y="212849"/>
                    <a:pt x="590753" y="252900"/>
                    <a:pt x="591455" y="292952"/>
                  </a:cubicBezTo>
                  <a:cubicBezTo>
                    <a:pt x="591455" y="310519"/>
                    <a:pt x="583726" y="322464"/>
                    <a:pt x="571078" y="332301"/>
                  </a:cubicBezTo>
                  <a:cubicBezTo>
                    <a:pt x="556322" y="344247"/>
                    <a:pt x="543674" y="344247"/>
                    <a:pt x="531729" y="328086"/>
                  </a:cubicBezTo>
                  <a:cubicBezTo>
                    <a:pt x="520487" y="312627"/>
                    <a:pt x="507838" y="295060"/>
                    <a:pt x="485353" y="304195"/>
                  </a:cubicBezTo>
                  <a:cubicBezTo>
                    <a:pt x="461463" y="314032"/>
                    <a:pt x="445301" y="332301"/>
                    <a:pt x="443193" y="359706"/>
                  </a:cubicBezTo>
                  <a:cubicBezTo>
                    <a:pt x="441788" y="382893"/>
                    <a:pt x="443193" y="405379"/>
                    <a:pt x="461463" y="422945"/>
                  </a:cubicBezTo>
                  <a:cubicBezTo>
                    <a:pt x="486758" y="447538"/>
                    <a:pt x="504325" y="447538"/>
                    <a:pt x="527513" y="420837"/>
                  </a:cubicBezTo>
                  <a:cubicBezTo>
                    <a:pt x="535242" y="411703"/>
                    <a:pt x="541566" y="396244"/>
                    <a:pt x="557728" y="402568"/>
                  </a:cubicBezTo>
                  <a:cubicBezTo>
                    <a:pt x="575294" y="409594"/>
                    <a:pt x="590050" y="422243"/>
                    <a:pt x="590753" y="441917"/>
                  </a:cubicBezTo>
                  <a:cubicBezTo>
                    <a:pt x="592158" y="487590"/>
                    <a:pt x="590753" y="533264"/>
                    <a:pt x="591455" y="578937"/>
                  </a:cubicBezTo>
                  <a:cubicBezTo>
                    <a:pt x="591455" y="592990"/>
                    <a:pt x="584429" y="592990"/>
                    <a:pt x="574591" y="592287"/>
                  </a:cubicBezTo>
                  <a:cubicBezTo>
                    <a:pt x="534540" y="592287"/>
                    <a:pt x="494488" y="592990"/>
                    <a:pt x="453733" y="591585"/>
                  </a:cubicBezTo>
                  <a:cubicBezTo>
                    <a:pt x="438275" y="591585"/>
                    <a:pt x="427032" y="596503"/>
                    <a:pt x="418600" y="608449"/>
                  </a:cubicBezTo>
                  <a:cubicBezTo>
                    <a:pt x="413682" y="615475"/>
                    <a:pt x="412979" y="621097"/>
                    <a:pt x="420005" y="627420"/>
                  </a:cubicBezTo>
                  <a:cubicBezTo>
                    <a:pt x="438977" y="644284"/>
                    <a:pt x="462165" y="658338"/>
                    <a:pt x="449517" y="690660"/>
                  </a:cubicBezTo>
                  <a:cubicBezTo>
                    <a:pt x="439680" y="714551"/>
                    <a:pt x="420005" y="728604"/>
                    <a:pt x="398925" y="740549"/>
                  </a:cubicBezTo>
                  <a:cubicBezTo>
                    <a:pt x="379954" y="741252"/>
                    <a:pt x="361684" y="741252"/>
                    <a:pt x="343415" y="74125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4BE3B5A7-A0CD-416F-919D-3CDC1C163EF2}"/>
                </a:ext>
              </a:extLst>
            </p:cNvPr>
            <p:cNvSpPr/>
            <p:nvPr userDrawn="1"/>
          </p:nvSpPr>
          <p:spPr>
            <a:xfrm>
              <a:off x="5322912" y="2016099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5300795D-2EC9-4BC7-8B47-3F45C5C7657B}"/>
                </a:ext>
              </a:extLst>
            </p:cNvPr>
            <p:cNvSpPr/>
            <p:nvPr/>
          </p:nvSpPr>
          <p:spPr>
            <a:xfrm flipH="1">
              <a:off x="4310662" y="1511907"/>
              <a:ext cx="1026185" cy="1026186"/>
            </a:xfrm>
            <a:custGeom>
              <a:avLst/>
              <a:gdLst>
                <a:gd name="connsiteX0" fmla="*/ 527 w 590237"/>
                <a:gd name="connsiteY0" fmla="*/ 78746 h 590237"/>
                <a:gd name="connsiteX1" fmla="*/ 527 w 590237"/>
                <a:gd name="connsiteY1" fmla="*/ 21128 h 590237"/>
                <a:gd name="connsiteX2" fmla="*/ 19499 w 590237"/>
                <a:gd name="connsiteY2" fmla="*/ 751 h 590237"/>
                <a:gd name="connsiteX3" fmla="*/ 139654 w 590237"/>
                <a:gd name="connsiteY3" fmla="*/ 751 h 590237"/>
                <a:gd name="connsiteX4" fmla="*/ 181814 w 590237"/>
                <a:gd name="connsiteY4" fmla="*/ 21128 h 590237"/>
                <a:gd name="connsiteX5" fmla="*/ 179004 w 590237"/>
                <a:gd name="connsiteY5" fmla="*/ 60477 h 590237"/>
                <a:gd name="connsiteX6" fmla="*/ 153708 w 590237"/>
                <a:gd name="connsiteY6" fmla="*/ 106150 h 590237"/>
                <a:gd name="connsiteX7" fmla="*/ 211326 w 590237"/>
                <a:gd name="connsiteY7" fmla="*/ 149013 h 590237"/>
                <a:gd name="connsiteX8" fmla="*/ 278079 w 590237"/>
                <a:gd name="connsiteY8" fmla="*/ 126528 h 590237"/>
                <a:gd name="connsiteX9" fmla="*/ 274566 w 590237"/>
                <a:gd name="connsiteY9" fmla="*/ 68206 h 590237"/>
                <a:gd name="connsiteX10" fmla="*/ 254188 w 590237"/>
                <a:gd name="connsiteY10" fmla="*/ 34479 h 590237"/>
                <a:gd name="connsiteX11" fmla="*/ 301970 w 590237"/>
                <a:gd name="connsiteY11" fmla="*/ 751 h 590237"/>
                <a:gd name="connsiteX12" fmla="*/ 424936 w 590237"/>
                <a:gd name="connsiteY12" fmla="*/ 48 h 590237"/>
                <a:gd name="connsiteX13" fmla="*/ 442503 w 590237"/>
                <a:gd name="connsiteY13" fmla="*/ 19723 h 590237"/>
                <a:gd name="connsiteX14" fmla="*/ 442503 w 590237"/>
                <a:gd name="connsiteY14" fmla="*/ 134959 h 590237"/>
                <a:gd name="connsiteX15" fmla="*/ 450934 w 590237"/>
                <a:gd name="connsiteY15" fmla="*/ 165877 h 590237"/>
                <a:gd name="connsiteX16" fmla="*/ 484663 w 590237"/>
                <a:gd name="connsiteY16" fmla="*/ 167282 h 590237"/>
                <a:gd name="connsiteX17" fmla="*/ 574603 w 590237"/>
                <a:gd name="connsiteY17" fmla="*/ 167985 h 590237"/>
                <a:gd name="connsiteX18" fmla="*/ 559145 w 590237"/>
                <a:gd name="connsiteY18" fmla="*/ 292356 h 590237"/>
                <a:gd name="connsiteX19" fmla="*/ 489581 w 590237"/>
                <a:gd name="connsiteY19" fmla="*/ 286032 h 590237"/>
                <a:gd name="connsiteX20" fmla="*/ 462880 w 590237"/>
                <a:gd name="connsiteY20" fmla="*/ 269168 h 590237"/>
                <a:gd name="connsiteX21" fmla="*/ 442503 w 590237"/>
                <a:gd name="connsiteY21" fmla="*/ 305004 h 590237"/>
                <a:gd name="connsiteX22" fmla="*/ 442503 w 590237"/>
                <a:gd name="connsiteY22" fmla="*/ 406188 h 590237"/>
                <a:gd name="connsiteX23" fmla="*/ 404559 w 590237"/>
                <a:gd name="connsiteY23" fmla="*/ 442726 h 590237"/>
                <a:gd name="connsiteX24" fmla="*/ 308997 w 590237"/>
                <a:gd name="connsiteY24" fmla="*/ 442726 h 590237"/>
                <a:gd name="connsiteX25" fmla="*/ 278079 w 590237"/>
                <a:gd name="connsiteY25" fmla="*/ 451158 h 590237"/>
                <a:gd name="connsiteX26" fmla="*/ 276674 w 590237"/>
                <a:gd name="connsiteY26" fmla="*/ 483481 h 590237"/>
                <a:gd name="connsiteX27" fmla="*/ 301267 w 590237"/>
                <a:gd name="connsiteY27" fmla="*/ 541099 h 590237"/>
                <a:gd name="connsiteX28" fmla="*/ 235919 w 590237"/>
                <a:gd name="connsiteY28" fmla="*/ 590988 h 590237"/>
                <a:gd name="connsiteX29" fmla="*/ 153005 w 590237"/>
                <a:gd name="connsiteY29" fmla="*/ 560774 h 590237"/>
                <a:gd name="connsiteX30" fmla="*/ 160032 w 590237"/>
                <a:gd name="connsiteY30" fmla="*/ 489102 h 590237"/>
                <a:gd name="connsiteX31" fmla="*/ 176193 w 590237"/>
                <a:gd name="connsiteY31" fmla="*/ 465211 h 590237"/>
                <a:gd name="connsiteX32" fmla="*/ 141060 w 590237"/>
                <a:gd name="connsiteY32" fmla="*/ 443429 h 590237"/>
                <a:gd name="connsiteX33" fmla="*/ 20904 w 590237"/>
                <a:gd name="connsiteY33" fmla="*/ 444132 h 590237"/>
                <a:gd name="connsiteX34" fmla="*/ 527 w 590237"/>
                <a:gd name="connsiteY34" fmla="*/ 423052 h 590237"/>
                <a:gd name="connsiteX35" fmla="*/ 527 w 590237"/>
                <a:gd name="connsiteY35" fmla="*/ 307815 h 590237"/>
                <a:gd name="connsiteX36" fmla="*/ 14580 w 590237"/>
                <a:gd name="connsiteY36" fmla="*/ 267763 h 590237"/>
                <a:gd name="connsiteX37" fmla="*/ 61659 w 590237"/>
                <a:gd name="connsiteY37" fmla="*/ 268466 h 590237"/>
                <a:gd name="connsiteX38" fmla="*/ 103819 w 590237"/>
                <a:gd name="connsiteY38" fmla="*/ 291654 h 590237"/>
                <a:gd name="connsiteX39" fmla="*/ 147384 w 590237"/>
                <a:gd name="connsiteY39" fmla="*/ 243872 h 590237"/>
                <a:gd name="connsiteX40" fmla="*/ 123493 w 590237"/>
                <a:gd name="connsiteY40" fmla="*/ 165174 h 590237"/>
                <a:gd name="connsiteX41" fmla="*/ 67280 w 590237"/>
                <a:gd name="connsiteY41" fmla="*/ 170795 h 590237"/>
                <a:gd name="connsiteX42" fmla="*/ 32849 w 590237"/>
                <a:gd name="connsiteY42" fmla="*/ 191173 h 590237"/>
                <a:gd name="connsiteX43" fmla="*/ 527 w 590237"/>
                <a:gd name="connsiteY43" fmla="*/ 147607 h 590237"/>
                <a:gd name="connsiteX44" fmla="*/ 527 w 590237"/>
                <a:gd name="connsiteY44" fmla="*/ 111772 h 590237"/>
                <a:gd name="connsiteX45" fmla="*/ 527 w 590237"/>
                <a:gd name="connsiteY45" fmla="*/ 78746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90237">
                  <a:moveTo>
                    <a:pt x="527" y="78746"/>
                  </a:moveTo>
                  <a:cubicBezTo>
                    <a:pt x="527" y="59774"/>
                    <a:pt x="1229" y="40100"/>
                    <a:pt x="527" y="21128"/>
                  </a:cubicBezTo>
                  <a:cubicBezTo>
                    <a:pt x="-176" y="7075"/>
                    <a:pt x="2635" y="48"/>
                    <a:pt x="19499" y="751"/>
                  </a:cubicBezTo>
                  <a:cubicBezTo>
                    <a:pt x="59551" y="2156"/>
                    <a:pt x="99602" y="1453"/>
                    <a:pt x="139654" y="751"/>
                  </a:cubicBezTo>
                  <a:cubicBezTo>
                    <a:pt x="157924" y="751"/>
                    <a:pt x="171274" y="7777"/>
                    <a:pt x="181814" y="21128"/>
                  </a:cubicBezTo>
                  <a:cubicBezTo>
                    <a:pt x="193057" y="35181"/>
                    <a:pt x="195165" y="47829"/>
                    <a:pt x="179004" y="60477"/>
                  </a:cubicBezTo>
                  <a:cubicBezTo>
                    <a:pt x="164247" y="71720"/>
                    <a:pt x="144573" y="82962"/>
                    <a:pt x="153708" y="106150"/>
                  </a:cubicBezTo>
                  <a:cubicBezTo>
                    <a:pt x="163545" y="131446"/>
                    <a:pt x="181814" y="147607"/>
                    <a:pt x="211326" y="149013"/>
                  </a:cubicBezTo>
                  <a:cubicBezTo>
                    <a:pt x="236622" y="149715"/>
                    <a:pt x="260513" y="148310"/>
                    <a:pt x="278079" y="126528"/>
                  </a:cubicBezTo>
                  <a:cubicBezTo>
                    <a:pt x="297051" y="102637"/>
                    <a:pt x="296348" y="88584"/>
                    <a:pt x="274566" y="68206"/>
                  </a:cubicBezTo>
                  <a:cubicBezTo>
                    <a:pt x="264728" y="59072"/>
                    <a:pt x="246459" y="54153"/>
                    <a:pt x="254188" y="34479"/>
                  </a:cubicBezTo>
                  <a:cubicBezTo>
                    <a:pt x="262620" y="13399"/>
                    <a:pt x="278079" y="751"/>
                    <a:pt x="301970" y="751"/>
                  </a:cubicBezTo>
                  <a:cubicBezTo>
                    <a:pt x="342724" y="751"/>
                    <a:pt x="384181" y="1453"/>
                    <a:pt x="424936" y="48"/>
                  </a:cubicBezTo>
                  <a:cubicBezTo>
                    <a:pt x="441097" y="-655"/>
                    <a:pt x="442503" y="6372"/>
                    <a:pt x="442503" y="19723"/>
                  </a:cubicBezTo>
                  <a:cubicBezTo>
                    <a:pt x="441800" y="58369"/>
                    <a:pt x="442503" y="96313"/>
                    <a:pt x="442503" y="134959"/>
                  </a:cubicBezTo>
                  <a:cubicBezTo>
                    <a:pt x="442503" y="146202"/>
                    <a:pt x="443205" y="156742"/>
                    <a:pt x="450934" y="165877"/>
                  </a:cubicBezTo>
                  <a:cubicBezTo>
                    <a:pt x="461474" y="179227"/>
                    <a:pt x="470609" y="184849"/>
                    <a:pt x="484663" y="167282"/>
                  </a:cubicBezTo>
                  <a:cubicBezTo>
                    <a:pt x="513472" y="131446"/>
                    <a:pt x="545091" y="132149"/>
                    <a:pt x="574603" y="167985"/>
                  </a:cubicBezTo>
                  <a:cubicBezTo>
                    <a:pt x="604115" y="203118"/>
                    <a:pt x="595683" y="265655"/>
                    <a:pt x="559145" y="292356"/>
                  </a:cubicBezTo>
                  <a:cubicBezTo>
                    <a:pt x="531741" y="312031"/>
                    <a:pt x="512769" y="309923"/>
                    <a:pt x="489581" y="286032"/>
                  </a:cubicBezTo>
                  <a:cubicBezTo>
                    <a:pt x="482554" y="278303"/>
                    <a:pt x="479041" y="260736"/>
                    <a:pt x="462880" y="269168"/>
                  </a:cubicBezTo>
                  <a:cubicBezTo>
                    <a:pt x="449529" y="276195"/>
                    <a:pt x="442503" y="288843"/>
                    <a:pt x="442503" y="305004"/>
                  </a:cubicBezTo>
                  <a:cubicBezTo>
                    <a:pt x="442503" y="338732"/>
                    <a:pt x="442503" y="372460"/>
                    <a:pt x="442503" y="406188"/>
                  </a:cubicBezTo>
                  <a:cubicBezTo>
                    <a:pt x="442503" y="442726"/>
                    <a:pt x="442503" y="442726"/>
                    <a:pt x="404559" y="442726"/>
                  </a:cubicBezTo>
                  <a:cubicBezTo>
                    <a:pt x="372939" y="442726"/>
                    <a:pt x="340616" y="442726"/>
                    <a:pt x="308997" y="442726"/>
                  </a:cubicBezTo>
                  <a:cubicBezTo>
                    <a:pt x="297754" y="442726"/>
                    <a:pt x="287214" y="443429"/>
                    <a:pt x="278079" y="451158"/>
                  </a:cubicBezTo>
                  <a:cubicBezTo>
                    <a:pt x="266837" y="460995"/>
                    <a:pt x="259107" y="470130"/>
                    <a:pt x="276674" y="483481"/>
                  </a:cubicBezTo>
                  <a:cubicBezTo>
                    <a:pt x="295646" y="497534"/>
                    <a:pt x="312510" y="514398"/>
                    <a:pt x="301267" y="541099"/>
                  </a:cubicBezTo>
                  <a:cubicBezTo>
                    <a:pt x="289322" y="569206"/>
                    <a:pt x="268945" y="588880"/>
                    <a:pt x="235919" y="590988"/>
                  </a:cubicBezTo>
                  <a:cubicBezTo>
                    <a:pt x="203597" y="593096"/>
                    <a:pt x="174085" y="588880"/>
                    <a:pt x="153005" y="560774"/>
                  </a:cubicBezTo>
                  <a:cubicBezTo>
                    <a:pt x="132628" y="533370"/>
                    <a:pt x="134736" y="512290"/>
                    <a:pt x="160032" y="489102"/>
                  </a:cubicBezTo>
                  <a:cubicBezTo>
                    <a:pt x="167058" y="482778"/>
                    <a:pt x="183219" y="479967"/>
                    <a:pt x="176193" y="465211"/>
                  </a:cubicBezTo>
                  <a:cubicBezTo>
                    <a:pt x="169869" y="451861"/>
                    <a:pt x="157924" y="443429"/>
                    <a:pt x="141060" y="443429"/>
                  </a:cubicBezTo>
                  <a:cubicBezTo>
                    <a:pt x="101008" y="443429"/>
                    <a:pt x="60956" y="442726"/>
                    <a:pt x="20904" y="444132"/>
                  </a:cubicBezTo>
                  <a:cubicBezTo>
                    <a:pt x="3338" y="444834"/>
                    <a:pt x="-176" y="439213"/>
                    <a:pt x="527" y="423052"/>
                  </a:cubicBezTo>
                  <a:cubicBezTo>
                    <a:pt x="1932" y="385108"/>
                    <a:pt x="1229" y="346461"/>
                    <a:pt x="527" y="307815"/>
                  </a:cubicBezTo>
                  <a:cubicBezTo>
                    <a:pt x="527" y="292356"/>
                    <a:pt x="3338" y="279006"/>
                    <a:pt x="14580" y="267763"/>
                  </a:cubicBezTo>
                  <a:cubicBezTo>
                    <a:pt x="33552" y="249494"/>
                    <a:pt x="44092" y="249494"/>
                    <a:pt x="61659" y="268466"/>
                  </a:cubicBezTo>
                  <a:cubicBezTo>
                    <a:pt x="72901" y="281114"/>
                    <a:pt x="82739" y="297978"/>
                    <a:pt x="103819" y="291654"/>
                  </a:cubicBezTo>
                  <a:cubicBezTo>
                    <a:pt x="126304" y="283924"/>
                    <a:pt x="143168" y="269168"/>
                    <a:pt x="147384" y="243872"/>
                  </a:cubicBezTo>
                  <a:cubicBezTo>
                    <a:pt x="153005" y="213658"/>
                    <a:pt x="150897" y="185551"/>
                    <a:pt x="123493" y="165174"/>
                  </a:cubicBezTo>
                  <a:cubicBezTo>
                    <a:pt x="101008" y="147607"/>
                    <a:pt x="86954" y="149013"/>
                    <a:pt x="67280" y="170795"/>
                  </a:cubicBezTo>
                  <a:cubicBezTo>
                    <a:pt x="58145" y="181335"/>
                    <a:pt x="51821" y="198902"/>
                    <a:pt x="32849" y="191173"/>
                  </a:cubicBezTo>
                  <a:cubicBezTo>
                    <a:pt x="13878" y="183443"/>
                    <a:pt x="1932" y="168687"/>
                    <a:pt x="527" y="147607"/>
                  </a:cubicBezTo>
                  <a:cubicBezTo>
                    <a:pt x="-176" y="135662"/>
                    <a:pt x="527" y="123717"/>
                    <a:pt x="527" y="111772"/>
                  </a:cubicBezTo>
                  <a:cubicBezTo>
                    <a:pt x="-176" y="100529"/>
                    <a:pt x="-176" y="89989"/>
                    <a:pt x="527" y="787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433866E9-D2BD-410F-9B63-CA3CB4631ED4}"/>
                </a:ext>
              </a:extLst>
            </p:cNvPr>
            <p:cNvSpPr/>
            <p:nvPr/>
          </p:nvSpPr>
          <p:spPr>
            <a:xfrm>
              <a:off x="3554235" y="3794214"/>
              <a:ext cx="1026185" cy="757423"/>
            </a:xfrm>
            <a:custGeom>
              <a:avLst/>
              <a:gdLst>
                <a:gd name="connsiteX0" fmla="*/ 593135 w 590237"/>
                <a:gd name="connsiteY0" fmla="*/ 360467 h 435651"/>
                <a:gd name="connsiteX1" fmla="*/ 593135 w 590237"/>
                <a:gd name="connsiteY1" fmla="*/ 426517 h 435651"/>
                <a:gd name="connsiteX2" fmla="*/ 577676 w 590237"/>
                <a:gd name="connsiteY2" fmla="*/ 441976 h 435651"/>
                <a:gd name="connsiteX3" fmla="*/ 446278 w 590237"/>
                <a:gd name="connsiteY3" fmla="*/ 441273 h 435651"/>
                <a:gd name="connsiteX4" fmla="*/ 403415 w 590237"/>
                <a:gd name="connsiteY4" fmla="*/ 408248 h 435651"/>
                <a:gd name="connsiteX5" fmla="*/ 422387 w 590237"/>
                <a:gd name="connsiteY5" fmla="*/ 376628 h 435651"/>
                <a:gd name="connsiteX6" fmla="*/ 425198 w 590237"/>
                <a:gd name="connsiteY6" fmla="*/ 314091 h 435651"/>
                <a:gd name="connsiteX7" fmla="*/ 316988 w 590237"/>
                <a:gd name="connsiteY7" fmla="*/ 314091 h 435651"/>
                <a:gd name="connsiteX8" fmla="*/ 320501 w 590237"/>
                <a:gd name="connsiteY8" fmla="*/ 376628 h 435651"/>
                <a:gd name="connsiteX9" fmla="*/ 339473 w 590237"/>
                <a:gd name="connsiteY9" fmla="*/ 408951 h 435651"/>
                <a:gd name="connsiteX10" fmla="*/ 301529 w 590237"/>
                <a:gd name="connsiteY10" fmla="*/ 440570 h 435651"/>
                <a:gd name="connsiteX11" fmla="*/ 161699 w 590237"/>
                <a:gd name="connsiteY11" fmla="*/ 441273 h 435651"/>
                <a:gd name="connsiteX12" fmla="*/ 149754 w 590237"/>
                <a:gd name="connsiteY12" fmla="*/ 423004 h 435651"/>
                <a:gd name="connsiteX13" fmla="*/ 149754 w 590237"/>
                <a:gd name="connsiteY13" fmla="*/ 304956 h 435651"/>
                <a:gd name="connsiteX14" fmla="*/ 140619 w 590237"/>
                <a:gd name="connsiteY14" fmla="*/ 274742 h 435651"/>
                <a:gd name="connsiteX15" fmla="*/ 109702 w 590237"/>
                <a:gd name="connsiteY15" fmla="*/ 274742 h 435651"/>
                <a:gd name="connsiteX16" fmla="*/ 5708 w 590237"/>
                <a:gd name="connsiteY16" fmla="*/ 252959 h 435651"/>
                <a:gd name="connsiteX17" fmla="*/ 32409 w 590237"/>
                <a:gd name="connsiteY17" fmla="*/ 151776 h 435651"/>
                <a:gd name="connsiteX18" fmla="*/ 104081 w 590237"/>
                <a:gd name="connsiteY18" fmla="*/ 158099 h 435651"/>
                <a:gd name="connsiteX19" fmla="*/ 127971 w 590237"/>
                <a:gd name="connsiteY19" fmla="*/ 174963 h 435651"/>
                <a:gd name="connsiteX20" fmla="*/ 149051 w 590237"/>
                <a:gd name="connsiteY20" fmla="*/ 139830 h 435651"/>
                <a:gd name="connsiteX21" fmla="*/ 148348 w 590237"/>
                <a:gd name="connsiteY21" fmla="*/ 19675 h 435651"/>
                <a:gd name="connsiteX22" fmla="*/ 168023 w 590237"/>
                <a:gd name="connsiteY22" fmla="*/ 0 h 435651"/>
                <a:gd name="connsiteX23" fmla="*/ 290989 w 590237"/>
                <a:gd name="connsiteY23" fmla="*/ 0 h 435651"/>
                <a:gd name="connsiteX24" fmla="*/ 328933 w 590237"/>
                <a:gd name="connsiteY24" fmla="*/ 17567 h 435651"/>
                <a:gd name="connsiteX25" fmla="*/ 326122 w 590237"/>
                <a:gd name="connsiteY25" fmla="*/ 59024 h 435651"/>
                <a:gd name="connsiteX26" fmla="*/ 301529 w 590237"/>
                <a:gd name="connsiteY26" fmla="*/ 103292 h 435651"/>
                <a:gd name="connsiteX27" fmla="*/ 352824 w 590237"/>
                <a:gd name="connsiteY27" fmla="*/ 146857 h 435651"/>
                <a:gd name="connsiteX28" fmla="*/ 421685 w 590237"/>
                <a:gd name="connsiteY28" fmla="*/ 129993 h 435651"/>
                <a:gd name="connsiteX29" fmla="*/ 419577 w 590237"/>
                <a:gd name="connsiteY29" fmla="*/ 63943 h 435651"/>
                <a:gd name="connsiteX30" fmla="*/ 402010 w 590237"/>
                <a:gd name="connsiteY30" fmla="*/ 34431 h 435651"/>
                <a:gd name="connsiteX31" fmla="*/ 436441 w 590237"/>
                <a:gd name="connsiteY31" fmla="*/ 2811 h 435651"/>
                <a:gd name="connsiteX32" fmla="*/ 581190 w 590237"/>
                <a:gd name="connsiteY32" fmla="*/ 703 h 435651"/>
                <a:gd name="connsiteX33" fmla="*/ 591027 w 590237"/>
                <a:gd name="connsiteY33" fmla="*/ 15459 h 435651"/>
                <a:gd name="connsiteX34" fmla="*/ 591027 w 590237"/>
                <a:gd name="connsiteY34" fmla="*/ 146857 h 435651"/>
                <a:gd name="connsiteX35" fmla="*/ 560110 w 590237"/>
                <a:gd name="connsiteY35" fmla="*/ 188314 h 435651"/>
                <a:gd name="connsiteX36" fmla="*/ 525679 w 590237"/>
                <a:gd name="connsiteY36" fmla="*/ 170045 h 435651"/>
                <a:gd name="connsiteX37" fmla="*/ 465953 w 590237"/>
                <a:gd name="connsiteY37" fmla="*/ 165126 h 435651"/>
                <a:gd name="connsiteX38" fmla="*/ 463845 w 590237"/>
                <a:gd name="connsiteY38" fmla="*/ 274742 h 435651"/>
                <a:gd name="connsiteX39" fmla="*/ 526382 w 590237"/>
                <a:gd name="connsiteY39" fmla="*/ 271931 h 435651"/>
                <a:gd name="connsiteX40" fmla="*/ 560812 w 590237"/>
                <a:gd name="connsiteY40" fmla="*/ 253662 h 435651"/>
                <a:gd name="connsiteX41" fmla="*/ 591729 w 590237"/>
                <a:gd name="connsiteY41" fmla="*/ 297930 h 435651"/>
                <a:gd name="connsiteX42" fmla="*/ 593135 w 590237"/>
                <a:gd name="connsiteY42" fmla="*/ 360467 h 43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90237" h="435651">
                  <a:moveTo>
                    <a:pt x="593135" y="360467"/>
                  </a:moveTo>
                  <a:cubicBezTo>
                    <a:pt x="593135" y="382249"/>
                    <a:pt x="592432" y="404032"/>
                    <a:pt x="593135" y="426517"/>
                  </a:cubicBezTo>
                  <a:cubicBezTo>
                    <a:pt x="593837" y="438462"/>
                    <a:pt x="589621" y="441976"/>
                    <a:pt x="577676" y="441976"/>
                  </a:cubicBezTo>
                  <a:cubicBezTo>
                    <a:pt x="534111" y="441273"/>
                    <a:pt x="489843" y="441976"/>
                    <a:pt x="446278" y="441273"/>
                  </a:cubicBezTo>
                  <a:cubicBezTo>
                    <a:pt x="424495" y="441273"/>
                    <a:pt x="411145" y="427220"/>
                    <a:pt x="403415" y="408248"/>
                  </a:cubicBezTo>
                  <a:cubicBezTo>
                    <a:pt x="395686" y="389978"/>
                    <a:pt x="413253" y="385060"/>
                    <a:pt x="422387" y="376628"/>
                  </a:cubicBezTo>
                  <a:cubicBezTo>
                    <a:pt x="446278" y="354143"/>
                    <a:pt x="447683" y="337279"/>
                    <a:pt x="425198" y="314091"/>
                  </a:cubicBezTo>
                  <a:cubicBezTo>
                    <a:pt x="397794" y="285282"/>
                    <a:pt x="344392" y="285282"/>
                    <a:pt x="316988" y="314091"/>
                  </a:cubicBezTo>
                  <a:cubicBezTo>
                    <a:pt x="295205" y="337982"/>
                    <a:pt x="295908" y="355548"/>
                    <a:pt x="320501" y="376628"/>
                  </a:cubicBezTo>
                  <a:cubicBezTo>
                    <a:pt x="330338" y="385060"/>
                    <a:pt x="346500" y="391384"/>
                    <a:pt x="339473" y="408951"/>
                  </a:cubicBezTo>
                  <a:cubicBezTo>
                    <a:pt x="332447" y="425815"/>
                    <a:pt x="321204" y="439868"/>
                    <a:pt x="301529" y="440570"/>
                  </a:cubicBezTo>
                  <a:cubicBezTo>
                    <a:pt x="255153" y="441976"/>
                    <a:pt x="208778" y="441273"/>
                    <a:pt x="161699" y="441273"/>
                  </a:cubicBezTo>
                  <a:cubicBezTo>
                    <a:pt x="146241" y="441273"/>
                    <a:pt x="149754" y="431436"/>
                    <a:pt x="149754" y="423004"/>
                  </a:cubicBezTo>
                  <a:cubicBezTo>
                    <a:pt x="149754" y="383655"/>
                    <a:pt x="149754" y="344305"/>
                    <a:pt x="149754" y="304956"/>
                  </a:cubicBezTo>
                  <a:cubicBezTo>
                    <a:pt x="149754" y="293713"/>
                    <a:pt x="149051" y="283173"/>
                    <a:pt x="140619" y="274742"/>
                  </a:cubicBezTo>
                  <a:cubicBezTo>
                    <a:pt x="130079" y="264904"/>
                    <a:pt x="122350" y="259986"/>
                    <a:pt x="109702" y="274742"/>
                  </a:cubicBezTo>
                  <a:cubicBezTo>
                    <a:pt x="74569" y="316902"/>
                    <a:pt x="23977" y="305659"/>
                    <a:pt x="5708" y="252959"/>
                  </a:cubicBezTo>
                  <a:cubicBezTo>
                    <a:pt x="-7643" y="214313"/>
                    <a:pt x="2897" y="174963"/>
                    <a:pt x="32409" y="151776"/>
                  </a:cubicBezTo>
                  <a:cubicBezTo>
                    <a:pt x="59110" y="130696"/>
                    <a:pt x="81595" y="132804"/>
                    <a:pt x="104081" y="158099"/>
                  </a:cubicBezTo>
                  <a:cubicBezTo>
                    <a:pt x="111107" y="165126"/>
                    <a:pt x="113918" y="181287"/>
                    <a:pt x="127971" y="174963"/>
                  </a:cubicBezTo>
                  <a:cubicBezTo>
                    <a:pt x="142025" y="168639"/>
                    <a:pt x="149754" y="156694"/>
                    <a:pt x="149051" y="139830"/>
                  </a:cubicBezTo>
                  <a:cubicBezTo>
                    <a:pt x="148348" y="99778"/>
                    <a:pt x="149754" y="59726"/>
                    <a:pt x="148348" y="19675"/>
                  </a:cubicBezTo>
                  <a:cubicBezTo>
                    <a:pt x="147646" y="3513"/>
                    <a:pt x="152564" y="0"/>
                    <a:pt x="168023" y="0"/>
                  </a:cubicBezTo>
                  <a:cubicBezTo>
                    <a:pt x="208778" y="703"/>
                    <a:pt x="250235" y="703"/>
                    <a:pt x="290989" y="0"/>
                  </a:cubicBezTo>
                  <a:cubicBezTo>
                    <a:pt x="307151" y="0"/>
                    <a:pt x="319096" y="5621"/>
                    <a:pt x="328933" y="17567"/>
                  </a:cubicBezTo>
                  <a:cubicBezTo>
                    <a:pt x="341581" y="32323"/>
                    <a:pt x="344392" y="45673"/>
                    <a:pt x="326122" y="59024"/>
                  </a:cubicBezTo>
                  <a:cubicBezTo>
                    <a:pt x="311367" y="69564"/>
                    <a:pt x="294502" y="81509"/>
                    <a:pt x="301529" y="103292"/>
                  </a:cubicBezTo>
                  <a:cubicBezTo>
                    <a:pt x="309258" y="127182"/>
                    <a:pt x="326825" y="143344"/>
                    <a:pt x="352824" y="146857"/>
                  </a:cubicBezTo>
                  <a:cubicBezTo>
                    <a:pt x="378120" y="150370"/>
                    <a:pt x="402010" y="148965"/>
                    <a:pt x="421685" y="129993"/>
                  </a:cubicBezTo>
                  <a:cubicBezTo>
                    <a:pt x="446278" y="105400"/>
                    <a:pt x="445575" y="86428"/>
                    <a:pt x="419577" y="63943"/>
                  </a:cubicBezTo>
                  <a:cubicBezTo>
                    <a:pt x="410442" y="56213"/>
                    <a:pt x="394984" y="51294"/>
                    <a:pt x="402010" y="34431"/>
                  </a:cubicBezTo>
                  <a:cubicBezTo>
                    <a:pt x="408334" y="18972"/>
                    <a:pt x="418874" y="3513"/>
                    <a:pt x="436441" y="2811"/>
                  </a:cubicBezTo>
                  <a:cubicBezTo>
                    <a:pt x="484924" y="703"/>
                    <a:pt x="533408" y="1405"/>
                    <a:pt x="581190" y="703"/>
                  </a:cubicBezTo>
                  <a:cubicBezTo>
                    <a:pt x="593135" y="703"/>
                    <a:pt x="591027" y="8432"/>
                    <a:pt x="591027" y="15459"/>
                  </a:cubicBezTo>
                  <a:cubicBezTo>
                    <a:pt x="591027" y="59024"/>
                    <a:pt x="591729" y="103292"/>
                    <a:pt x="591027" y="146857"/>
                  </a:cubicBezTo>
                  <a:cubicBezTo>
                    <a:pt x="591027" y="167234"/>
                    <a:pt x="577676" y="179882"/>
                    <a:pt x="560110" y="188314"/>
                  </a:cubicBezTo>
                  <a:cubicBezTo>
                    <a:pt x="541138" y="197449"/>
                    <a:pt x="534814" y="179882"/>
                    <a:pt x="525679" y="170045"/>
                  </a:cubicBezTo>
                  <a:cubicBezTo>
                    <a:pt x="503896" y="145452"/>
                    <a:pt x="490546" y="144749"/>
                    <a:pt x="465953" y="165126"/>
                  </a:cubicBezTo>
                  <a:cubicBezTo>
                    <a:pt x="434333" y="191827"/>
                    <a:pt x="432927" y="246635"/>
                    <a:pt x="463845" y="274742"/>
                  </a:cubicBezTo>
                  <a:cubicBezTo>
                    <a:pt x="488438" y="297227"/>
                    <a:pt x="503896" y="296524"/>
                    <a:pt x="526382" y="271931"/>
                  </a:cubicBezTo>
                  <a:cubicBezTo>
                    <a:pt x="535516" y="262094"/>
                    <a:pt x="541840" y="244527"/>
                    <a:pt x="560812" y="253662"/>
                  </a:cubicBezTo>
                  <a:cubicBezTo>
                    <a:pt x="579081" y="262094"/>
                    <a:pt x="591729" y="275444"/>
                    <a:pt x="591729" y="297930"/>
                  </a:cubicBezTo>
                  <a:cubicBezTo>
                    <a:pt x="593135" y="318307"/>
                    <a:pt x="593135" y="339387"/>
                    <a:pt x="593135" y="36046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70F8132B-F4A1-470F-AAF0-8F765C5DE0F8}"/>
                </a:ext>
              </a:extLst>
            </p:cNvPr>
            <p:cNvSpPr/>
            <p:nvPr/>
          </p:nvSpPr>
          <p:spPr>
            <a:xfrm flipH="1">
              <a:off x="3558624" y="3027312"/>
              <a:ext cx="1026185" cy="1026186"/>
            </a:xfrm>
            <a:custGeom>
              <a:avLst/>
              <a:gdLst>
                <a:gd name="connsiteX0" fmla="*/ 527 w 590237"/>
                <a:gd name="connsiteY0" fmla="*/ 78746 h 590237"/>
                <a:gd name="connsiteX1" fmla="*/ 527 w 590237"/>
                <a:gd name="connsiteY1" fmla="*/ 21128 h 590237"/>
                <a:gd name="connsiteX2" fmla="*/ 19499 w 590237"/>
                <a:gd name="connsiteY2" fmla="*/ 751 h 590237"/>
                <a:gd name="connsiteX3" fmla="*/ 139654 w 590237"/>
                <a:gd name="connsiteY3" fmla="*/ 751 h 590237"/>
                <a:gd name="connsiteX4" fmla="*/ 181814 w 590237"/>
                <a:gd name="connsiteY4" fmla="*/ 21128 h 590237"/>
                <a:gd name="connsiteX5" fmla="*/ 179004 w 590237"/>
                <a:gd name="connsiteY5" fmla="*/ 60477 h 590237"/>
                <a:gd name="connsiteX6" fmla="*/ 153708 w 590237"/>
                <a:gd name="connsiteY6" fmla="*/ 106150 h 590237"/>
                <a:gd name="connsiteX7" fmla="*/ 211326 w 590237"/>
                <a:gd name="connsiteY7" fmla="*/ 149013 h 590237"/>
                <a:gd name="connsiteX8" fmla="*/ 278079 w 590237"/>
                <a:gd name="connsiteY8" fmla="*/ 126528 h 590237"/>
                <a:gd name="connsiteX9" fmla="*/ 274566 w 590237"/>
                <a:gd name="connsiteY9" fmla="*/ 68206 h 590237"/>
                <a:gd name="connsiteX10" fmla="*/ 254188 w 590237"/>
                <a:gd name="connsiteY10" fmla="*/ 34479 h 590237"/>
                <a:gd name="connsiteX11" fmla="*/ 301970 w 590237"/>
                <a:gd name="connsiteY11" fmla="*/ 751 h 590237"/>
                <a:gd name="connsiteX12" fmla="*/ 424936 w 590237"/>
                <a:gd name="connsiteY12" fmla="*/ 48 h 590237"/>
                <a:gd name="connsiteX13" fmla="*/ 442503 w 590237"/>
                <a:gd name="connsiteY13" fmla="*/ 19723 h 590237"/>
                <a:gd name="connsiteX14" fmla="*/ 442503 w 590237"/>
                <a:gd name="connsiteY14" fmla="*/ 134959 h 590237"/>
                <a:gd name="connsiteX15" fmla="*/ 450934 w 590237"/>
                <a:gd name="connsiteY15" fmla="*/ 165877 h 590237"/>
                <a:gd name="connsiteX16" fmla="*/ 484663 w 590237"/>
                <a:gd name="connsiteY16" fmla="*/ 167282 h 590237"/>
                <a:gd name="connsiteX17" fmla="*/ 574603 w 590237"/>
                <a:gd name="connsiteY17" fmla="*/ 167985 h 590237"/>
                <a:gd name="connsiteX18" fmla="*/ 559145 w 590237"/>
                <a:gd name="connsiteY18" fmla="*/ 292356 h 590237"/>
                <a:gd name="connsiteX19" fmla="*/ 489581 w 590237"/>
                <a:gd name="connsiteY19" fmla="*/ 286032 h 590237"/>
                <a:gd name="connsiteX20" fmla="*/ 462880 w 590237"/>
                <a:gd name="connsiteY20" fmla="*/ 269168 h 590237"/>
                <a:gd name="connsiteX21" fmla="*/ 442503 w 590237"/>
                <a:gd name="connsiteY21" fmla="*/ 305004 h 590237"/>
                <a:gd name="connsiteX22" fmla="*/ 442503 w 590237"/>
                <a:gd name="connsiteY22" fmla="*/ 406188 h 590237"/>
                <a:gd name="connsiteX23" fmla="*/ 404559 w 590237"/>
                <a:gd name="connsiteY23" fmla="*/ 442726 h 590237"/>
                <a:gd name="connsiteX24" fmla="*/ 308997 w 590237"/>
                <a:gd name="connsiteY24" fmla="*/ 442726 h 590237"/>
                <a:gd name="connsiteX25" fmla="*/ 278079 w 590237"/>
                <a:gd name="connsiteY25" fmla="*/ 451158 h 590237"/>
                <a:gd name="connsiteX26" fmla="*/ 276674 w 590237"/>
                <a:gd name="connsiteY26" fmla="*/ 483481 h 590237"/>
                <a:gd name="connsiteX27" fmla="*/ 301267 w 590237"/>
                <a:gd name="connsiteY27" fmla="*/ 541099 h 590237"/>
                <a:gd name="connsiteX28" fmla="*/ 235919 w 590237"/>
                <a:gd name="connsiteY28" fmla="*/ 590988 h 590237"/>
                <a:gd name="connsiteX29" fmla="*/ 153005 w 590237"/>
                <a:gd name="connsiteY29" fmla="*/ 560774 h 590237"/>
                <a:gd name="connsiteX30" fmla="*/ 160032 w 590237"/>
                <a:gd name="connsiteY30" fmla="*/ 489102 h 590237"/>
                <a:gd name="connsiteX31" fmla="*/ 176193 w 590237"/>
                <a:gd name="connsiteY31" fmla="*/ 465211 h 590237"/>
                <a:gd name="connsiteX32" fmla="*/ 141060 w 590237"/>
                <a:gd name="connsiteY32" fmla="*/ 443429 h 590237"/>
                <a:gd name="connsiteX33" fmla="*/ 20904 w 590237"/>
                <a:gd name="connsiteY33" fmla="*/ 444132 h 590237"/>
                <a:gd name="connsiteX34" fmla="*/ 527 w 590237"/>
                <a:gd name="connsiteY34" fmla="*/ 423052 h 590237"/>
                <a:gd name="connsiteX35" fmla="*/ 527 w 590237"/>
                <a:gd name="connsiteY35" fmla="*/ 307815 h 590237"/>
                <a:gd name="connsiteX36" fmla="*/ 14580 w 590237"/>
                <a:gd name="connsiteY36" fmla="*/ 267763 h 590237"/>
                <a:gd name="connsiteX37" fmla="*/ 61659 w 590237"/>
                <a:gd name="connsiteY37" fmla="*/ 268466 h 590237"/>
                <a:gd name="connsiteX38" fmla="*/ 103819 w 590237"/>
                <a:gd name="connsiteY38" fmla="*/ 291654 h 590237"/>
                <a:gd name="connsiteX39" fmla="*/ 147384 w 590237"/>
                <a:gd name="connsiteY39" fmla="*/ 243872 h 590237"/>
                <a:gd name="connsiteX40" fmla="*/ 123493 w 590237"/>
                <a:gd name="connsiteY40" fmla="*/ 165174 h 590237"/>
                <a:gd name="connsiteX41" fmla="*/ 67280 w 590237"/>
                <a:gd name="connsiteY41" fmla="*/ 170795 h 590237"/>
                <a:gd name="connsiteX42" fmla="*/ 32849 w 590237"/>
                <a:gd name="connsiteY42" fmla="*/ 191173 h 590237"/>
                <a:gd name="connsiteX43" fmla="*/ 527 w 590237"/>
                <a:gd name="connsiteY43" fmla="*/ 147607 h 590237"/>
                <a:gd name="connsiteX44" fmla="*/ 527 w 590237"/>
                <a:gd name="connsiteY44" fmla="*/ 111772 h 590237"/>
                <a:gd name="connsiteX45" fmla="*/ 527 w 590237"/>
                <a:gd name="connsiteY45" fmla="*/ 78746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90237">
                  <a:moveTo>
                    <a:pt x="527" y="78746"/>
                  </a:moveTo>
                  <a:cubicBezTo>
                    <a:pt x="527" y="59774"/>
                    <a:pt x="1229" y="40100"/>
                    <a:pt x="527" y="21128"/>
                  </a:cubicBezTo>
                  <a:cubicBezTo>
                    <a:pt x="-176" y="7075"/>
                    <a:pt x="2635" y="48"/>
                    <a:pt x="19499" y="751"/>
                  </a:cubicBezTo>
                  <a:cubicBezTo>
                    <a:pt x="59551" y="2156"/>
                    <a:pt x="99602" y="1453"/>
                    <a:pt x="139654" y="751"/>
                  </a:cubicBezTo>
                  <a:cubicBezTo>
                    <a:pt x="157924" y="751"/>
                    <a:pt x="171274" y="7777"/>
                    <a:pt x="181814" y="21128"/>
                  </a:cubicBezTo>
                  <a:cubicBezTo>
                    <a:pt x="193057" y="35181"/>
                    <a:pt x="195165" y="47829"/>
                    <a:pt x="179004" y="60477"/>
                  </a:cubicBezTo>
                  <a:cubicBezTo>
                    <a:pt x="164247" y="71720"/>
                    <a:pt x="144573" y="82962"/>
                    <a:pt x="153708" y="106150"/>
                  </a:cubicBezTo>
                  <a:cubicBezTo>
                    <a:pt x="163545" y="131446"/>
                    <a:pt x="181814" y="147607"/>
                    <a:pt x="211326" y="149013"/>
                  </a:cubicBezTo>
                  <a:cubicBezTo>
                    <a:pt x="236622" y="149715"/>
                    <a:pt x="260513" y="148310"/>
                    <a:pt x="278079" y="126528"/>
                  </a:cubicBezTo>
                  <a:cubicBezTo>
                    <a:pt x="297051" y="102637"/>
                    <a:pt x="296348" y="88584"/>
                    <a:pt x="274566" y="68206"/>
                  </a:cubicBezTo>
                  <a:cubicBezTo>
                    <a:pt x="264728" y="59072"/>
                    <a:pt x="246459" y="54153"/>
                    <a:pt x="254188" y="34479"/>
                  </a:cubicBezTo>
                  <a:cubicBezTo>
                    <a:pt x="262620" y="13399"/>
                    <a:pt x="278079" y="751"/>
                    <a:pt x="301970" y="751"/>
                  </a:cubicBezTo>
                  <a:cubicBezTo>
                    <a:pt x="342724" y="751"/>
                    <a:pt x="384181" y="1453"/>
                    <a:pt x="424936" y="48"/>
                  </a:cubicBezTo>
                  <a:cubicBezTo>
                    <a:pt x="441097" y="-655"/>
                    <a:pt x="442503" y="6372"/>
                    <a:pt x="442503" y="19723"/>
                  </a:cubicBezTo>
                  <a:cubicBezTo>
                    <a:pt x="441800" y="58369"/>
                    <a:pt x="442503" y="96313"/>
                    <a:pt x="442503" y="134959"/>
                  </a:cubicBezTo>
                  <a:cubicBezTo>
                    <a:pt x="442503" y="146202"/>
                    <a:pt x="443205" y="156742"/>
                    <a:pt x="450934" y="165877"/>
                  </a:cubicBezTo>
                  <a:cubicBezTo>
                    <a:pt x="461474" y="179227"/>
                    <a:pt x="470609" y="184849"/>
                    <a:pt x="484663" y="167282"/>
                  </a:cubicBezTo>
                  <a:cubicBezTo>
                    <a:pt x="513472" y="131446"/>
                    <a:pt x="545091" y="132149"/>
                    <a:pt x="574603" y="167985"/>
                  </a:cubicBezTo>
                  <a:cubicBezTo>
                    <a:pt x="604115" y="203118"/>
                    <a:pt x="595683" y="265655"/>
                    <a:pt x="559145" y="292356"/>
                  </a:cubicBezTo>
                  <a:cubicBezTo>
                    <a:pt x="531741" y="312031"/>
                    <a:pt x="512769" y="309923"/>
                    <a:pt x="489581" y="286032"/>
                  </a:cubicBezTo>
                  <a:cubicBezTo>
                    <a:pt x="482554" y="278303"/>
                    <a:pt x="479041" y="260736"/>
                    <a:pt x="462880" y="269168"/>
                  </a:cubicBezTo>
                  <a:cubicBezTo>
                    <a:pt x="449529" y="276195"/>
                    <a:pt x="442503" y="288843"/>
                    <a:pt x="442503" y="305004"/>
                  </a:cubicBezTo>
                  <a:cubicBezTo>
                    <a:pt x="442503" y="338732"/>
                    <a:pt x="442503" y="372460"/>
                    <a:pt x="442503" y="406188"/>
                  </a:cubicBezTo>
                  <a:cubicBezTo>
                    <a:pt x="442503" y="442726"/>
                    <a:pt x="442503" y="442726"/>
                    <a:pt x="404559" y="442726"/>
                  </a:cubicBezTo>
                  <a:cubicBezTo>
                    <a:pt x="372939" y="442726"/>
                    <a:pt x="340616" y="442726"/>
                    <a:pt x="308997" y="442726"/>
                  </a:cubicBezTo>
                  <a:cubicBezTo>
                    <a:pt x="297754" y="442726"/>
                    <a:pt x="287214" y="443429"/>
                    <a:pt x="278079" y="451158"/>
                  </a:cubicBezTo>
                  <a:cubicBezTo>
                    <a:pt x="266837" y="460995"/>
                    <a:pt x="259107" y="470130"/>
                    <a:pt x="276674" y="483481"/>
                  </a:cubicBezTo>
                  <a:cubicBezTo>
                    <a:pt x="295646" y="497534"/>
                    <a:pt x="312510" y="514398"/>
                    <a:pt x="301267" y="541099"/>
                  </a:cubicBezTo>
                  <a:cubicBezTo>
                    <a:pt x="289322" y="569206"/>
                    <a:pt x="268945" y="588880"/>
                    <a:pt x="235919" y="590988"/>
                  </a:cubicBezTo>
                  <a:cubicBezTo>
                    <a:pt x="203597" y="593096"/>
                    <a:pt x="174085" y="588880"/>
                    <a:pt x="153005" y="560774"/>
                  </a:cubicBezTo>
                  <a:cubicBezTo>
                    <a:pt x="132628" y="533370"/>
                    <a:pt x="134736" y="512290"/>
                    <a:pt x="160032" y="489102"/>
                  </a:cubicBezTo>
                  <a:cubicBezTo>
                    <a:pt x="167058" y="482778"/>
                    <a:pt x="183219" y="479967"/>
                    <a:pt x="176193" y="465211"/>
                  </a:cubicBezTo>
                  <a:cubicBezTo>
                    <a:pt x="169869" y="451861"/>
                    <a:pt x="157924" y="443429"/>
                    <a:pt x="141060" y="443429"/>
                  </a:cubicBezTo>
                  <a:cubicBezTo>
                    <a:pt x="101008" y="443429"/>
                    <a:pt x="60956" y="442726"/>
                    <a:pt x="20904" y="444132"/>
                  </a:cubicBezTo>
                  <a:cubicBezTo>
                    <a:pt x="3338" y="444834"/>
                    <a:pt x="-176" y="439213"/>
                    <a:pt x="527" y="423052"/>
                  </a:cubicBezTo>
                  <a:cubicBezTo>
                    <a:pt x="1932" y="385108"/>
                    <a:pt x="1229" y="346461"/>
                    <a:pt x="527" y="307815"/>
                  </a:cubicBezTo>
                  <a:cubicBezTo>
                    <a:pt x="527" y="292356"/>
                    <a:pt x="3338" y="279006"/>
                    <a:pt x="14580" y="267763"/>
                  </a:cubicBezTo>
                  <a:cubicBezTo>
                    <a:pt x="33552" y="249494"/>
                    <a:pt x="44092" y="249494"/>
                    <a:pt x="61659" y="268466"/>
                  </a:cubicBezTo>
                  <a:cubicBezTo>
                    <a:pt x="72901" y="281114"/>
                    <a:pt x="82739" y="297978"/>
                    <a:pt x="103819" y="291654"/>
                  </a:cubicBezTo>
                  <a:cubicBezTo>
                    <a:pt x="126304" y="283924"/>
                    <a:pt x="143168" y="269168"/>
                    <a:pt x="147384" y="243872"/>
                  </a:cubicBezTo>
                  <a:cubicBezTo>
                    <a:pt x="153005" y="213658"/>
                    <a:pt x="150897" y="185551"/>
                    <a:pt x="123493" y="165174"/>
                  </a:cubicBezTo>
                  <a:cubicBezTo>
                    <a:pt x="101008" y="147607"/>
                    <a:pt x="86954" y="149013"/>
                    <a:pt x="67280" y="170795"/>
                  </a:cubicBezTo>
                  <a:cubicBezTo>
                    <a:pt x="58145" y="181335"/>
                    <a:pt x="51821" y="198902"/>
                    <a:pt x="32849" y="191173"/>
                  </a:cubicBezTo>
                  <a:cubicBezTo>
                    <a:pt x="13878" y="183443"/>
                    <a:pt x="1932" y="168687"/>
                    <a:pt x="527" y="147607"/>
                  </a:cubicBezTo>
                  <a:cubicBezTo>
                    <a:pt x="-176" y="135662"/>
                    <a:pt x="527" y="123717"/>
                    <a:pt x="527" y="111772"/>
                  </a:cubicBezTo>
                  <a:cubicBezTo>
                    <a:pt x="-176" y="100529"/>
                    <a:pt x="-176" y="89989"/>
                    <a:pt x="527" y="787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543B150A-33AE-4B62-AAFF-D4D3791EA867}"/>
                </a:ext>
              </a:extLst>
            </p:cNvPr>
            <p:cNvSpPr/>
            <p:nvPr/>
          </p:nvSpPr>
          <p:spPr>
            <a:xfrm>
              <a:off x="4324750" y="4566984"/>
              <a:ext cx="1282731" cy="769640"/>
            </a:xfrm>
            <a:custGeom>
              <a:avLst/>
              <a:gdLst>
                <a:gd name="connsiteX0" fmla="*/ 220814 w 737797"/>
                <a:gd name="connsiteY0" fmla="*/ 442759 h 442678"/>
                <a:gd name="connsiteX1" fmla="*/ 153359 w 737797"/>
                <a:gd name="connsiteY1" fmla="*/ 437841 h 442678"/>
                <a:gd name="connsiteX2" fmla="*/ 149143 w 737797"/>
                <a:gd name="connsiteY2" fmla="*/ 366169 h 442678"/>
                <a:gd name="connsiteX3" fmla="*/ 149143 w 737797"/>
                <a:gd name="connsiteY3" fmla="*/ 302929 h 442678"/>
                <a:gd name="connsiteX4" fmla="*/ 127360 w 737797"/>
                <a:gd name="connsiteY4" fmla="*/ 267796 h 442678"/>
                <a:gd name="connsiteX5" fmla="*/ 103470 w 737797"/>
                <a:gd name="connsiteY5" fmla="*/ 283957 h 442678"/>
                <a:gd name="connsiteX6" fmla="*/ 31095 w 737797"/>
                <a:gd name="connsiteY6" fmla="*/ 290984 h 442678"/>
                <a:gd name="connsiteX7" fmla="*/ 28987 w 737797"/>
                <a:gd name="connsiteY7" fmla="*/ 153965 h 442678"/>
                <a:gd name="connsiteX8" fmla="*/ 102767 w 737797"/>
                <a:gd name="connsiteY8" fmla="*/ 160288 h 442678"/>
                <a:gd name="connsiteX9" fmla="*/ 127360 w 737797"/>
                <a:gd name="connsiteY9" fmla="*/ 175747 h 442678"/>
                <a:gd name="connsiteX10" fmla="*/ 148440 w 737797"/>
                <a:gd name="connsiteY10" fmla="*/ 142722 h 442678"/>
                <a:gd name="connsiteX11" fmla="*/ 147738 w 737797"/>
                <a:gd name="connsiteY11" fmla="*/ 24674 h 442678"/>
                <a:gd name="connsiteX12" fmla="*/ 173736 w 737797"/>
                <a:gd name="connsiteY12" fmla="*/ 81 h 442678"/>
                <a:gd name="connsiteX13" fmla="*/ 288973 w 737797"/>
                <a:gd name="connsiteY13" fmla="*/ 81 h 442678"/>
                <a:gd name="connsiteX14" fmla="*/ 325511 w 737797"/>
                <a:gd name="connsiteY14" fmla="*/ 14134 h 442678"/>
                <a:gd name="connsiteX15" fmla="*/ 323404 w 737797"/>
                <a:gd name="connsiteY15" fmla="*/ 60510 h 442678"/>
                <a:gd name="connsiteX16" fmla="*/ 300918 w 737797"/>
                <a:gd name="connsiteY16" fmla="*/ 100562 h 442678"/>
                <a:gd name="connsiteX17" fmla="*/ 342376 w 737797"/>
                <a:gd name="connsiteY17" fmla="*/ 144127 h 442678"/>
                <a:gd name="connsiteX18" fmla="*/ 425290 w 737797"/>
                <a:gd name="connsiteY18" fmla="*/ 125155 h 442678"/>
                <a:gd name="connsiteX19" fmla="*/ 421074 w 737797"/>
                <a:gd name="connsiteY19" fmla="*/ 64726 h 442678"/>
                <a:gd name="connsiteX20" fmla="*/ 401399 w 737797"/>
                <a:gd name="connsiteY20" fmla="*/ 33106 h 442678"/>
                <a:gd name="connsiteX21" fmla="*/ 441451 w 737797"/>
                <a:gd name="connsiteY21" fmla="*/ 783 h 442678"/>
                <a:gd name="connsiteX22" fmla="*/ 578470 w 737797"/>
                <a:gd name="connsiteY22" fmla="*/ 81 h 442678"/>
                <a:gd name="connsiteX23" fmla="*/ 591821 w 737797"/>
                <a:gd name="connsiteY23" fmla="*/ 17648 h 442678"/>
                <a:gd name="connsiteX24" fmla="*/ 591821 w 737797"/>
                <a:gd name="connsiteY24" fmla="*/ 135695 h 442678"/>
                <a:gd name="connsiteX25" fmla="*/ 602361 w 737797"/>
                <a:gd name="connsiteY25" fmla="*/ 168018 h 442678"/>
                <a:gd name="connsiteX26" fmla="*/ 631170 w 737797"/>
                <a:gd name="connsiteY26" fmla="*/ 166612 h 442678"/>
                <a:gd name="connsiteX27" fmla="*/ 683168 w 737797"/>
                <a:gd name="connsiteY27" fmla="*/ 139208 h 442678"/>
                <a:gd name="connsiteX28" fmla="*/ 737975 w 737797"/>
                <a:gd name="connsiteY28" fmla="*/ 194719 h 442678"/>
                <a:gd name="connsiteX29" fmla="*/ 711977 w 737797"/>
                <a:gd name="connsiteY29" fmla="*/ 286768 h 442678"/>
                <a:gd name="connsiteX30" fmla="*/ 636089 w 737797"/>
                <a:gd name="connsiteY30" fmla="*/ 281849 h 442678"/>
                <a:gd name="connsiteX31" fmla="*/ 614306 w 737797"/>
                <a:gd name="connsiteY31" fmla="*/ 266391 h 442678"/>
                <a:gd name="connsiteX32" fmla="*/ 592524 w 737797"/>
                <a:gd name="connsiteY32" fmla="*/ 298011 h 442678"/>
                <a:gd name="connsiteX33" fmla="*/ 593226 w 737797"/>
                <a:gd name="connsiteY33" fmla="*/ 418166 h 442678"/>
                <a:gd name="connsiteX34" fmla="*/ 571444 w 737797"/>
                <a:gd name="connsiteY34" fmla="*/ 441354 h 442678"/>
                <a:gd name="connsiteX35" fmla="*/ 453396 w 737797"/>
                <a:gd name="connsiteY35" fmla="*/ 441354 h 442678"/>
                <a:gd name="connsiteX36" fmla="*/ 411939 w 737797"/>
                <a:gd name="connsiteY36" fmla="*/ 424490 h 442678"/>
                <a:gd name="connsiteX37" fmla="*/ 415452 w 737797"/>
                <a:gd name="connsiteY37" fmla="*/ 380925 h 442678"/>
                <a:gd name="connsiteX38" fmla="*/ 439343 w 737797"/>
                <a:gd name="connsiteY38" fmla="*/ 338765 h 442678"/>
                <a:gd name="connsiteX39" fmla="*/ 394372 w 737797"/>
                <a:gd name="connsiteY39" fmla="*/ 295902 h 442678"/>
                <a:gd name="connsiteX40" fmla="*/ 318485 w 737797"/>
                <a:gd name="connsiteY40" fmla="*/ 312766 h 442678"/>
                <a:gd name="connsiteX41" fmla="*/ 320593 w 737797"/>
                <a:gd name="connsiteY41" fmla="*/ 377412 h 442678"/>
                <a:gd name="connsiteX42" fmla="*/ 338862 w 737797"/>
                <a:gd name="connsiteY42" fmla="*/ 409032 h 442678"/>
                <a:gd name="connsiteX43" fmla="*/ 298107 w 737797"/>
                <a:gd name="connsiteY43" fmla="*/ 440651 h 442678"/>
                <a:gd name="connsiteX44" fmla="*/ 220814 w 737797"/>
                <a:gd name="connsiteY44" fmla="*/ 44275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37797" h="442678">
                  <a:moveTo>
                    <a:pt x="220814" y="442759"/>
                  </a:moveTo>
                  <a:cubicBezTo>
                    <a:pt x="201140" y="440651"/>
                    <a:pt x="167412" y="454002"/>
                    <a:pt x="153359" y="437841"/>
                  </a:cubicBezTo>
                  <a:cubicBezTo>
                    <a:pt x="140711" y="423787"/>
                    <a:pt x="149845" y="390762"/>
                    <a:pt x="149143" y="366169"/>
                  </a:cubicBezTo>
                  <a:cubicBezTo>
                    <a:pt x="149143" y="345089"/>
                    <a:pt x="148440" y="324009"/>
                    <a:pt x="149143" y="302929"/>
                  </a:cubicBezTo>
                  <a:cubicBezTo>
                    <a:pt x="149845" y="286065"/>
                    <a:pt x="141413" y="274120"/>
                    <a:pt x="127360" y="267796"/>
                  </a:cubicBezTo>
                  <a:cubicBezTo>
                    <a:pt x="112604" y="260769"/>
                    <a:pt x="109794" y="276931"/>
                    <a:pt x="103470" y="283957"/>
                  </a:cubicBezTo>
                  <a:cubicBezTo>
                    <a:pt x="79579" y="309253"/>
                    <a:pt x="59905" y="309956"/>
                    <a:pt x="31095" y="290984"/>
                  </a:cubicBezTo>
                  <a:cubicBezTo>
                    <a:pt x="-10362" y="263580"/>
                    <a:pt x="-9659" y="181368"/>
                    <a:pt x="28987" y="153965"/>
                  </a:cubicBezTo>
                  <a:cubicBezTo>
                    <a:pt x="58499" y="133587"/>
                    <a:pt x="78174" y="133587"/>
                    <a:pt x="102767" y="160288"/>
                  </a:cubicBezTo>
                  <a:cubicBezTo>
                    <a:pt x="109091" y="167315"/>
                    <a:pt x="112604" y="183476"/>
                    <a:pt x="127360" y="175747"/>
                  </a:cubicBezTo>
                  <a:cubicBezTo>
                    <a:pt x="140008" y="169423"/>
                    <a:pt x="148440" y="158883"/>
                    <a:pt x="148440" y="142722"/>
                  </a:cubicBezTo>
                  <a:cubicBezTo>
                    <a:pt x="148440" y="103373"/>
                    <a:pt x="149845" y="64023"/>
                    <a:pt x="147738" y="24674"/>
                  </a:cubicBezTo>
                  <a:cubicBezTo>
                    <a:pt x="146332" y="2892"/>
                    <a:pt x="154061" y="-621"/>
                    <a:pt x="173736" y="81"/>
                  </a:cubicBezTo>
                  <a:cubicBezTo>
                    <a:pt x="211680" y="1486"/>
                    <a:pt x="250326" y="783"/>
                    <a:pt x="288973" y="81"/>
                  </a:cubicBezTo>
                  <a:cubicBezTo>
                    <a:pt x="303729" y="81"/>
                    <a:pt x="315674" y="3594"/>
                    <a:pt x="325511" y="14134"/>
                  </a:cubicBezTo>
                  <a:cubicBezTo>
                    <a:pt x="343781" y="33106"/>
                    <a:pt x="343781" y="42943"/>
                    <a:pt x="323404" y="60510"/>
                  </a:cubicBezTo>
                  <a:cubicBezTo>
                    <a:pt x="310756" y="71050"/>
                    <a:pt x="295999" y="80887"/>
                    <a:pt x="300918" y="100562"/>
                  </a:cubicBezTo>
                  <a:cubicBezTo>
                    <a:pt x="306539" y="122345"/>
                    <a:pt x="320593" y="137803"/>
                    <a:pt x="342376" y="144127"/>
                  </a:cubicBezTo>
                  <a:cubicBezTo>
                    <a:pt x="373292" y="152559"/>
                    <a:pt x="402102" y="151154"/>
                    <a:pt x="425290" y="125155"/>
                  </a:cubicBezTo>
                  <a:cubicBezTo>
                    <a:pt x="446370" y="101967"/>
                    <a:pt x="444964" y="85103"/>
                    <a:pt x="421074" y="64726"/>
                  </a:cubicBezTo>
                  <a:cubicBezTo>
                    <a:pt x="411237" y="56294"/>
                    <a:pt x="395075" y="49970"/>
                    <a:pt x="401399" y="33106"/>
                  </a:cubicBezTo>
                  <a:cubicBezTo>
                    <a:pt x="408426" y="14837"/>
                    <a:pt x="421074" y="783"/>
                    <a:pt x="441451" y="783"/>
                  </a:cubicBezTo>
                  <a:cubicBezTo>
                    <a:pt x="487124" y="81"/>
                    <a:pt x="532797" y="783"/>
                    <a:pt x="578470" y="81"/>
                  </a:cubicBezTo>
                  <a:cubicBezTo>
                    <a:pt x="592524" y="81"/>
                    <a:pt x="591821" y="8513"/>
                    <a:pt x="591821" y="17648"/>
                  </a:cubicBezTo>
                  <a:cubicBezTo>
                    <a:pt x="591821" y="56997"/>
                    <a:pt x="591821" y="96346"/>
                    <a:pt x="591821" y="135695"/>
                  </a:cubicBezTo>
                  <a:cubicBezTo>
                    <a:pt x="591821" y="147640"/>
                    <a:pt x="592524" y="158883"/>
                    <a:pt x="602361" y="168018"/>
                  </a:cubicBezTo>
                  <a:cubicBezTo>
                    <a:pt x="612901" y="177855"/>
                    <a:pt x="621333" y="180666"/>
                    <a:pt x="631170" y="166612"/>
                  </a:cubicBezTo>
                  <a:cubicBezTo>
                    <a:pt x="643818" y="149046"/>
                    <a:pt x="659277" y="132182"/>
                    <a:pt x="683168" y="139208"/>
                  </a:cubicBezTo>
                  <a:cubicBezTo>
                    <a:pt x="710571" y="146938"/>
                    <a:pt x="731651" y="165207"/>
                    <a:pt x="737975" y="194719"/>
                  </a:cubicBezTo>
                  <a:cubicBezTo>
                    <a:pt x="745002" y="229149"/>
                    <a:pt x="742191" y="261472"/>
                    <a:pt x="711977" y="286768"/>
                  </a:cubicBezTo>
                  <a:cubicBezTo>
                    <a:pt x="683168" y="309956"/>
                    <a:pt x="660682" y="308551"/>
                    <a:pt x="636089" y="281849"/>
                  </a:cubicBezTo>
                  <a:cubicBezTo>
                    <a:pt x="629765" y="275525"/>
                    <a:pt x="626954" y="260769"/>
                    <a:pt x="614306" y="266391"/>
                  </a:cubicBezTo>
                  <a:cubicBezTo>
                    <a:pt x="601658" y="272012"/>
                    <a:pt x="592524" y="282552"/>
                    <a:pt x="592524" y="298011"/>
                  </a:cubicBezTo>
                  <a:cubicBezTo>
                    <a:pt x="592524" y="338062"/>
                    <a:pt x="591821" y="378114"/>
                    <a:pt x="593226" y="418166"/>
                  </a:cubicBezTo>
                  <a:cubicBezTo>
                    <a:pt x="593929" y="435030"/>
                    <a:pt x="590416" y="442057"/>
                    <a:pt x="571444" y="441354"/>
                  </a:cubicBezTo>
                  <a:cubicBezTo>
                    <a:pt x="532095" y="439948"/>
                    <a:pt x="492745" y="440651"/>
                    <a:pt x="453396" y="441354"/>
                  </a:cubicBezTo>
                  <a:cubicBezTo>
                    <a:pt x="436532" y="441354"/>
                    <a:pt x="423182" y="437138"/>
                    <a:pt x="411939" y="424490"/>
                  </a:cubicBezTo>
                  <a:cubicBezTo>
                    <a:pt x="397886" y="408329"/>
                    <a:pt x="396480" y="394275"/>
                    <a:pt x="415452" y="380925"/>
                  </a:cubicBezTo>
                  <a:cubicBezTo>
                    <a:pt x="429506" y="371087"/>
                    <a:pt x="445667" y="359142"/>
                    <a:pt x="439343" y="338765"/>
                  </a:cubicBezTo>
                  <a:cubicBezTo>
                    <a:pt x="432316" y="316982"/>
                    <a:pt x="417560" y="301524"/>
                    <a:pt x="394372" y="295902"/>
                  </a:cubicBezTo>
                  <a:cubicBezTo>
                    <a:pt x="366266" y="289579"/>
                    <a:pt x="340267" y="290984"/>
                    <a:pt x="318485" y="312766"/>
                  </a:cubicBezTo>
                  <a:cubicBezTo>
                    <a:pt x="294594" y="336657"/>
                    <a:pt x="295999" y="354224"/>
                    <a:pt x="320593" y="377412"/>
                  </a:cubicBezTo>
                  <a:cubicBezTo>
                    <a:pt x="329727" y="385844"/>
                    <a:pt x="347294" y="390060"/>
                    <a:pt x="338862" y="409032"/>
                  </a:cubicBezTo>
                  <a:cubicBezTo>
                    <a:pt x="330430" y="426598"/>
                    <a:pt x="319187" y="439948"/>
                    <a:pt x="298107" y="440651"/>
                  </a:cubicBezTo>
                  <a:cubicBezTo>
                    <a:pt x="274217" y="443462"/>
                    <a:pt x="250326" y="442759"/>
                    <a:pt x="220814" y="44275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8A2818AF-845A-4102-925E-9E6FFAEFFC03}"/>
                </a:ext>
              </a:extLst>
            </p:cNvPr>
            <p:cNvSpPr/>
            <p:nvPr/>
          </p:nvSpPr>
          <p:spPr>
            <a:xfrm>
              <a:off x="5334451" y="4309250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5F5C69FF-CF04-4C05-B7E5-27905FEAF1B5}"/>
                </a:ext>
              </a:extLst>
            </p:cNvPr>
            <p:cNvSpPr/>
            <p:nvPr/>
          </p:nvSpPr>
          <p:spPr>
            <a:xfrm flipH="1">
              <a:off x="4312527" y="2785516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403E6C04-7612-4CFF-8321-BB00532CE149}"/>
                </a:ext>
              </a:extLst>
            </p:cNvPr>
            <p:cNvSpPr/>
            <p:nvPr/>
          </p:nvSpPr>
          <p:spPr>
            <a:xfrm>
              <a:off x="6598884" y="2269560"/>
              <a:ext cx="1282731" cy="1026186"/>
            </a:xfrm>
            <a:custGeom>
              <a:avLst/>
              <a:gdLst>
                <a:gd name="connsiteX0" fmla="*/ 230901 w 737797"/>
                <a:gd name="connsiteY0" fmla="*/ 1565 h 590237"/>
                <a:gd name="connsiteX1" fmla="*/ 291330 w 737797"/>
                <a:gd name="connsiteY1" fmla="*/ 1565 h 590237"/>
                <a:gd name="connsiteX2" fmla="*/ 336300 w 737797"/>
                <a:gd name="connsiteY2" fmla="*/ 31077 h 590237"/>
                <a:gd name="connsiteX3" fmla="*/ 317328 w 737797"/>
                <a:gd name="connsiteY3" fmla="*/ 68318 h 590237"/>
                <a:gd name="connsiteX4" fmla="*/ 313815 w 737797"/>
                <a:gd name="connsiteY4" fmla="*/ 126639 h 590237"/>
                <a:gd name="connsiteX5" fmla="*/ 417107 w 737797"/>
                <a:gd name="connsiteY5" fmla="*/ 135071 h 590237"/>
                <a:gd name="connsiteX6" fmla="*/ 417809 w 737797"/>
                <a:gd name="connsiteY6" fmla="*/ 64102 h 590237"/>
                <a:gd name="connsiteX7" fmla="*/ 401648 w 737797"/>
                <a:gd name="connsiteY7" fmla="*/ 36698 h 590237"/>
                <a:gd name="connsiteX8" fmla="*/ 437484 w 737797"/>
                <a:gd name="connsiteY8" fmla="*/ 3673 h 590237"/>
                <a:gd name="connsiteX9" fmla="*/ 579422 w 737797"/>
                <a:gd name="connsiteY9" fmla="*/ 2268 h 590237"/>
                <a:gd name="connsiteX10" fmla="*/ 589962 w 737797"/>
                <a:gd name="connsiteY10" fmla="*/ 19132 h 590237"/>
                <a:gd name="connsiteX11" fmla="*/ 589962 w 737797"/>
                <a:gd name="connsiteY11" fmla="*/ 134369 h 590237"/>
                <a:gd name="connsiteX12" fmla="*/ 599799 w 737797"/>
                <a:gd name="connsiteY12" fmla="*/ 167394 h 590237"/>
                <a:gd name="connsiteX13" fmla="*/ 632122 w 737797"/>
                <a:gd name="connsiteY13" fmla="*/ 167394 h 590237"/>
                <a:gd name="connsiteX14" fmla="*/ 729089 w 737797"/>
                <a:gd name="connsiteY14" fmla="*/ 176528 h 590237"/>
                <a:gd name="connsiteX15" fmla="*/ 708009 w 737797"/>
                <a:gd name="connsiteY15" fmla="*/ 292468 h 590237"/>
                <a:gd name="connsiteX16" fmla="*/ 638446 w 737797"/>
                <a:gd name="connsiteY16" fmla="*/ 286144 h 590237"/>
                <a:gd name="connsiteX17" fmla="*/ 612447 w 737797"/>
                <a:gd name="connsiteY17" fmla="*/ 269280 h 590237"/>
                <a:gd name="connsiteX18" fmla="*/ 591367 w 737797"/>
                <a:gd name="connsiteY18" fmla="*/ 305116 h 590237"/>
                <a:gd name="connsiteX19" fmla="*/ 592070 w 737797"/>
                <a:gd name="connsiteY19" fmla="*/ 420353 h 590237"/>
                <a:gd name="connsiteX20" fmla="*/ 568882 w 737797"/>
                <a:gd name="connsiteY20" fmla="*/ 444243 h 590237"/>
                <a:gd name="connsiteX21" fmla="*/ 459267 w 737797"/>
                <a:gd name="connsiteY21" fmla="*/ 443541 h 590237"/>
                <a:gd name="connsiteX22" fmla="*/ 428349 w 737797"/>
                <a:gd name="connsiteY22" fmla="*/ 451270 h 590237"/>
                <a:gd name="connsiteX23" fmla="*/ 426944 w 737797"/>
                <a:gd name="connsiteY23" fmla="*/ 484998 h 590237"/>
                <a:gd name="connsiteX24" fmla="*/ 425539 w 737797"/>
                <a:gd name="connsiteY24" fmla="*/ 574939 h 590237"/>
                <a:gd name="connsiteX25" fmla="*/ 302573 w 737797"/>
                <a:gd name="connsiteY25" fmla="*/ 561588 h 590237"/>
                <a:gd name="connsiteX26" fmla="*/ 308194 w 737797"/>
                <a:gd name="connsiteY26" fmla="*/ 489214 h 590237"/>
                <a:gd name="connsiteX27" fmla="*/ 325760 w 737797"/>
                <a:gd name="connsiteY27" fmla="*/ 465323 h 590237"/>
                <a:gd name="connsiteX28" fmla="*/ 288519 w 737797"/>
                <a:gd name="connsiteY28" fmla="*/ 442838 h 590237"/>
                <a:gd name="connsiteX29" fmla="*/ 173282 w 737797"/>
                <a:gd name="connsiteY29" fmla="*/ 443541 h 590237"/>
                <a:gd name="connsiteX30" fmla="*/ 150094 w 737797"/>
                <a:gd name="connsiteY30" fmla="*/ 418947 h 590237"/>
                <a:gd name="connsiteX31" fmla="*/ 150797 w 737797"/>
                <a:gd name="connsiteY31" fmla="*/ 309332 h 590237"/>
                <a:gd name="connsiteX32" fmla="*/ 143770 w 737797"/>
                <a:gd name="connsiteY32" fmla="*/ 280523 h 590237"/>
                <a:gd name="connsiteX33" fmla="*/ 107935 w 737797"/>
                <a:gd name="connsiteY33" fmla="*/ 278415 h 590237"/>
                <a:gd name="connsiteX34" fmla="*/ 10967 w 737797"/>
                <a:gd name="connsiteY34" fmla="*/ 267172 h 590237"/>
                <a:gd name="connsiteX35" fmla="*/ 32047 w 737797"/>
                <a:gd name="connsiteY35" fmla="*/ 153341 h 590237"/>
                <a:gd name="connsiteX36" fmla="*/ 103718 w 737797"/>
                <a:gd name="connsiteY36" fmla="*/ 159664 h 590237"/>
                <a:gd name="connsiteX37" fmla="*/ 127609 w 737797"/>
                <a:gd name="connsiteY37" fmla="*/ 176528 h 590237"/>
                <a:gd name="connsiteX38" fmla="*/ 149391 w 737797"/>
                <a:gd name="connsiteY38" fmla="*/ 141395 h 590237"/>
                <a:gd name="connsiteX39" fmla="*/ 148689 w 737797"/>
                <a:gd name="connsiteY39" fmla="*/ 34590 h 590237"/>
                <a:gd name="connsiteX40" fmla="*/ 181714 w 737797"/>
                <a:gd name="connsiteY40" fmla="*/ 862 h 590237"/>
                <a:gd name="connsiteX41" fmla="*/ 230901 w 737797"/>
                <a:gd name="connsiteY41" fmla="*/ 156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37797" h="590237">
                  <a:moveTo>
                    <a:pt x="230901" y="1565"/>
                  </a:moveTo>
                  <a:cubicBezTo>
                    <a:pt x="251278" y="1565"/>
                    <a:pt x="270953" y="2268"/>
                    <a:pt x="291330" y="1565"/>
                  </a:cubicBezTo>
                  <a:cubicBezTo>
                    <a:pt x="313113" y="862"/>
                    <a:pt x="327868" y="12808"/>
                    <a:pt x="336300" y="31077"/>
                  </a:cubicBezTo>
                  <a:cubicBezTo>
                    <a:pt x="346137" y="50751"/>
                    <a:pt x="327868" y="57778"/>
                    <a:pt x="317328" y="68318"/>
                  </a:cubicBezTo>
                  <a:cubicBezTo>
                    <a:pt x="294843" y="89398"/>
                    <a:pt x="293438" y="102749"/>
                    <a:pt x="313815" y="126639"/>
                  </a:cubicBezTo>
                  <a:cubicBezTo>
                    <a:pt x="338408" y="155449"/>
                    <a:pt x="389703" y="159664"/>
                    <a:pt x="417107" y="135071"/>
                  </a:cubicBezTo>
                  <a:cubicBezTo>
                    <a:pt x="448024" y="108370"/>
                    <a:pt x="448024" y="90803"/>
                    <a:pt x="417809" y="64102"/>
                  </a:cubicBezTo>
                  <a:cubicBezTo>
                    <a:pt x="410080" y="57076"/>
                    <a:pt x="396027" y="52157"/>
                    <a:pt x="401648" y="36698"/>
                  </a:cubicBezTo>
                  <a:cubicBezTo>
                    <a:pt x="407972" y="19132"/>
                    <a:pt x="419215" y="4376"/>
                    <a:pt x="437484" y="3673"/>
                  </a:cubicBezTo>
                  <a:cubicBezTo>
                    <a:pt x="484562" y="1565"/>
                    <a:pt x="532343" y="2970"/>
                    <a:pt x="579422" y="2268"/>
                  </a:cubicBezTo>
                  <a:cubicBezTo>
                    <a:pt x="593475" y="2268"/>
                    <a:pt x="589962" y="12105"/>
                    <a:pt x="589962" y="19132"/>
                  </a:cubicBezTo>
                  <a:cubicBezTo>
                    <a:pt x="589962" y="57778"/>
                    <a:pt x="589962" y="95722"/>
                    <a:pt x="589962" y="134369"/>
                  </a:cubicBezTo>
                  <a:cubicBezTo>
                    <a:pt x="589962" y="146314"/>
                    <a:pt x="591367" y="157556"/>
                    <a:pt x="599799" y="167394"/>
                  </a:cubicBezTo>
                  <a:cubicBezTo>
                    <a:pt x="611042" y="180042"/>
                    <a:pt x="619474" y="182852"/>
                    <a:pt x="632122" y="167394"/>
                  </a:cubicBezTo>
                  <a:cubicBezTo>
                    <a:pt x="665147" y="128747"/>
                    <a:pt x="700983" y="132261"/>
                    <a:pt x="729089" y="176528"/>
                  </a:cubicBezTo>
                  <a:cubicBezTo>
                    <a:pt x="750872" y="210959"/>
                    <a:pt x="740332" y="268577"/>
                    <a:pt x="708009" y="292468"/>
                  </a:cubicBezTo>
                  <a:cubicBezTo>
                    <a:pt x="681308" y="312142"/>
                    <a:pt x="661634" y="309332"/>
                    <a:pt x="638446" y="286144"/>
                  </a:cubicBezTo>
                  <a:cubicBezTo>
                    <a:pt x="631419" y="279117"/>
                    <a:pt x="628608" y="260848"/>
                    <a:pt x="612447" y="269280"/>
                  </a:cubicBezTo>
                  <a:cubicBezTo>
                    <a:pt x="599096" y="276307"/>
                    <a:pt x="591367" y="288252"/>
                    <a:pt x="591367" y="305116"/>
                  </a:cubicBezTo>
                  <a:cubicBezTo>
                    <a:pt x="592070" y="343762"/>
                    <a:pt x="590665" y="381706"/>
                    <a:pt x="592070" y="420353"/>
                  </a:cubicBezTo>
                  <a:cubicBezTo>
                    <a:pt x="592773" y="438622"/>
                    <a:pt x="589259" y="445649"/>
                    <a:pt x="568882" y="444243"/>
                  </a:cubicBezTo>
                  <a:cubicBezTo>
                    <a:pt x="532343" y="442135"/>
                    <a:pt x="495805" y="443541"/>
                    <a:pt x="459267" y="443541"/>
                  </a:cubicBezTo>
                  <a:cubicBezTo>
                    <a:pt x="448024" y="443541"/>
                    <a:pt x="437484" y="444243"/>
                    <a:pt x="428349" y="451270"/>
                  </a:cubicBezTo>
                  <a:cubicBezTo>
                    <a:pt x="414999" y="462513"/>
                    <a:pt x="410080" y="470944"/>
                    <a:pt x="426944" y="484998"/>
                  </a:cubicBezTo>
                  <a:cubicBezTo>
                    <a:pt x="463482" y="515213"/>
                    <a:pt x="462077" y="544724"/>
                    <a:pt x="425539" y="574939"/>
                  </a:cubicBezTo>
                  <a:cubicBezTo>
                    <a:pt x="391811" y="602343"/>
                    <a:pt x="329274" y="596019"/>
                    <a:pt x="302573" y="561588"/>
                  </a:cubicBezTo>
                  <a:cubicBezTo>
                    <a:pt x="281493" y="534887"/>
                    <a:pt x="283601" y="513104"/>
                    <a:pt x="308194" y="489214"/>
                  </a:cubicBezTo>
                  <a:cubicBezTo>
                    <a:pt x="315220" y="482187"/>
                    <a:pt x="331382" y="479376"/>
                    <a:pt x="325760" y="465323"/>
                  </a:cubicBezTo>
                  <a:cubicBezTo>
                    <a:pt x="319436" y="450567"/>
                    <a:pt x="306086" y="442135"/>
                    <a:pt x="288519" y="442838"/>
                  </a:cubicBezTo>
                  <a:cubicBezTo>
                    <a:pt x="249873" y="443541"/>
                    <a:pt x="211929" y="441433"/>
                    <a:pt x="173282" y="443541"/>
                  </a:cubicBezTo>
                  <a:cubicBezTo>
                    <a:pt x="153608" y="444243"/>
                    <a:pt x="149391" y="437920"/>
                    <a:pt x="150094" y="418947"/>
                  </a:cubicBezTo>
                  <a:cubicBezTo>
                    <a:pt x="151500" y="382409"/>
                    <a:pt x="150797" y="345870"/>
                    <a:pt x="150797" y="309332"/>
                  </a:cubicBezTo>
                  <a:cubicBezTo>
                    <a:pt x="150797" y="299495"/>
                    <a:pt x="150797" y="288955"/>
                    <a:pt x="143770" y="280523"/>
                  </a:cubicBezTo>
                  <a:cubicBezTo>
                    <a:pt x="133230" y="267172"/>
                    <a:pt x="124096" y="258740"/>
                    <a:pt x="107935" y="278415"/>
                  </a:cubicBezTo>
                  <a:cubicBezTo>
                    <a:pt x="76315" y="317061"/>
                    <a:pt x="37668" y="311440"/>
                    <a:pt x="10967" y="267172"/>
                  </a:cubicBezTo>
                  <a:cubicBezTo>
                    <a:pt x="-10113" y="232742"/>
                    <a:pt x="427" y="177934"/>
                    <a:pt x="32047" y="153341"/>
                  </a:cubicBezTo>
                  <a:cubicBezTo>
                    <a:pt x="59451" y="132261"/>
                    <a:pt x="79828" y="135071"/>
                    <a:pt x="103718" y="159664"/>
                  </a:cubicBezTo>
                  <a:cubicBezTo>
                    <a:pt x="110745" y="166691"/>
                    <a:pt x="113556" y="182852"/>
                    <a:pt x="127609" y="176528"/>
                  </a:cubicBezTo>
                  <a:cubicBezTo>
                    <a:pt x="141662" y="170204"/>
                    <a:pt x="149391" y="157556"/>
                    <a:pt x="149391" y="141395"/>
                  </a:cubicBezTo>
                  <a:cubicBezTo>
                    <a:pt x="149391" y="105559"/>
                    <a:pt x="151500" y="70426"/>
                    <a:pt x="148689" y="34590"/>
                  </a:cubicBezTo>
                  <a:cubicBezTo>
                    <a:pt x="146581" y="7889"/>
                    <a:pt x="153608" y="-3354"/>
                    <a:pt x="181714" y="862"/>
                  </a:cubicBezTo>
                  <a:cubicBezTo>
                    <a:pt x="197875" y="3673"/>
                    <a:pt x="214037" y="1565"/>
                    <a:pt x="230901" y="156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2C80CA70-C433-48A6-93B8-4C7F917F9E44}"/>
                </a:ext>
              </a:extLst>
            </p:cNvPr>
            <p:cNvSpPr/>
            <p:nvPr/>
          </p:nvSpPr>
          <p:spPr>
            <a:xfrm>
              <a:off x="2797860" y="3807503"/>
              <a:ext cx="1282731" cy="1026186"/>
            </a:xfrm>
            <a:custGeom>
              <a:avLst/>
              <a:gdLst>
                <a:gd name="connsiteX0" fmla="*/ 230901 w 737797"/>
                <a:gd name="connsiteY0" fmla="*/ 1565 h 590237"/>
                <a:gd name="connsiteX1" fmla="*/ 291330 w 737797"/>
                <a:gd name="connsiteY1" fmla="*/ 1565 h 590237"/>
                <a:gd name="connsiteX2" fmla="*/ 336300 w 737797"/>
                <a:gd name="connsiteY2" fmla="*/ 31077 h 590237"/>
                <a:gd name="connsiteX3" fmla="*/ 317328 w 737797"/>
                <a:gd name="connsiteY3" fmla="*/ 68318 h 590237"/>
                <a:gd name="connsiteX4" fmla="*/ 313815 w 737797"/>
                <a:gd name="connsiteY4" fmla="*/ 126639 h 590237"/>
                <a:gd name="connsiteX5" fmla="*/ 417107 w 737797"/>
                <a:gd name="connsiteY5" fmla="*/ 135071 h 590237"/>
                <a:gd name="connsiteX6" fmla="*/ 417809 w 737797"/>
                <a:gd name="connsiteY6" fmla="*/ 64102 h 590237"/>
                <a:gd name="connsiteX7" fmla="*/ 401648 w 737797"/>
                <a:gd name="connsiteY7" fmla="*/ 36698 h 590237"/>
                <a:gd name="connsiteX8" fmla="*/ 437484 w 737797"/>
                <a:gd name="connsiteY8" fmla="*/ 3673 h 590237"/>
                <a:gd name="connsiteX9" fmla="*/ 579422 w 737797"/>
                <a:gd name="connsiteY9" fmla="*/ 2268 h 590237"/>
                <a:gd name="connsiteX10" fmla="*/ 589962 w 737797"/>
                <a:gd name="connsiteY10" fmla="*/ 19132 h 590237"/>
                <a:gd name="connsiteX11" fmla="*/ 589962 w 737797"/>
                <a:gd name="connsiteY11" fmla="*/ 134369 h 590237"/>
                <a:gd name="connsiteX12" fmla="*/ 599799 w 737797"/>
                <a:gd name="connsiteY12" fmla="*/ 167394 h 590237"/>
                <a:gd name="connsiteX13" fmla="*/ 632122 w 737797"/>
                <a:gd name="connsiteY13" fmla="*/ 167394 h 590237"/>
                <a:gd name="connsiteX14" fmla="*/ 729089 w 737797"/>
                <a:gd name="connsiteY14" fmla="*/ 176528 h 590237"/>
                <a:gd name="connsiteX15" fmla="*/ 708009 w 737797"/>
                <a:gd name="connsiteY15" fmla="*/ 292468 h 590237"/>
                <a:gd name="connsiteX16" fmla="*/ 638446 w 737797"/>
                <a:gd name="connsiteY16" fmla="*/ 286144 h 590237"/>
                <a:gd name="connsiteX17" fmla="*/ 612447 w 737797"/>
                <a:gd name="connsiteY17" fmla="*/ 269280 h 590237"/>
                <a:gd name="connsiteX18" fmla="*/ 591367 w 737797"/>
                <a:gd name="connsiteY18" fmla="*/ 305116 h 590237"/>
                <a:gd name="connsiteX19" fmla="*/ 592070 w 737797"/>
                <a:gd name="connsiteY19" fmla="*/ 420353 h 590237"/>
                <a:gd name="connsiteX20" fmla="*/ 568882 w 737797"/>
                <a:gd name="connsiteY20" fmla="*/ 444243 h 590237"/>
                <a:gd name="connsiteX21" fmla="*/ 459267 w 737797"/>
                <a:gd name="connsiteY21" fmla="*/ 443541 h 590237"/>
                <a:gd name="connsiteX22" fmla="*/ 428349 w 737797"/>
                <a:gd name="connsiteY22" fmla="*/ 451270 h 590237"/>
                <a:gd name="connsiteX23" fmla="*/ 426944 w 737797"/>
                <a:gd name="connsiteY23" fmla="*/ 484998 h 590237"/>
                <a:gd name="connsiteX24" fmla="*/ 425539 w 737797"/>
                <a:gd name="connsiteY24" fmla="*/ 574939 h 590237"/>
                <a:gd name="connsiteX25" fmla="*/ 302573 w 737797"/>
                <a:gd name="connsiteY25" fmla="*/ 561588 h 590237"/>
                <a:gd name="connsiteX26" fmla="*/ 308194 w 737797"/>
                <a:gd name="connsiteY26" fmla="*/ 489214 h 590237"/>
                <a:gd name="connsiteX27" fmla="*/ 325760 w 737797"/>
                <a:gd name="connsiteY27" fmla="*/ 465323 h 590237"/>
                <a:gd name="connsiteX28" fmla="*/ 288519 w 737797"/>
                <a:gd name="connsiteY28" fmla="*/ 442838 h 590237"/>
                <a:gd name="connsiteX29" fmla="*/ 173282 w 737797"/>
                <a:gd name="connsiteY29" fmla="*/ 443541 h 590237"/>
                <a:gd name="connsiteX30" fmla="*/ 150094 w 737797"/>
                <a:gd name="connsiteY30" fmla="*/ 418947 h 590237"/>
                <a:gd name="connsiteX31" fmla="*/ 150797 w 737797"/>
                <a:gd name="connsiteY31" fmla="*/ 309332 h 590237"/>
                <a:gd name="connsiteX32" fmla="*/ 143770 w 737797"/>
                <a:gd name="connsiteY32" fmla="*/ 280523 h 590237"/>
                <a:gd name="connsiteX33" fmla="*/ 107935 w 737797"/>
                <a:gd name="connsiteY33" fmla="*/ 278415 h 590237"/>
                <a:gd name="connsiteX34" fmla="*/ 10967 w 737797"/>
                <a:gd name="connsiteY34" fmla="*/ 267172 h 590237"/>
                <a:gd name="connsiteX35" fmla="*/ 32047 w 737797"/>
                <a:gd name="connsiteY35" fmla="*/ 153341 h 590237"/>
                <a:gd name="connsiteX36" fmla="*/ 103718 w 737797"/>
                <a:gd name="connsiteY36" fmla="*/ 159664 h 590237"/>
                <a:gd name="connsiteX37" fmla="*/ 127609 w 737797"/>
                <a:gd name="connsiteY37" fmla="*/ 176528 h 590237"/>
                <a:gd name="connsiteX38" fmla="*/ 149391 w 737797"/>
                <a:gd name="connsiteY38" fmla="*/ 141395 h 590237"/>
                <a:gd name="connsiteX39" fmla="*/ 148689 w 737797"/>
                <a:gd name="connsiteY39" fmla="*/ 34590 h 590237"/>
                <a:gd name="connsiteX40" fmla="*/ 181714 w 737797"/>
                <a:gd name="connsiteY40" fmla="*/ 862 h 590237"/>
                <a:gd name="connsiteX41" fmla="*/ 230901 w 737797"/>
                <a:gd name="connsiteY41" fmla="*/ 156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37797" h="590237">
                  <a:moveTo>
                    <a:pt x="230901" y="1565"/>
                  </a:moveTo>
                  <a:cubicBezTo>
                    <a:pt x="251278" y="1565"/>
                    <a:pt x="270953" y="2268"/>
                    <a:pt x="291330" y="1565"/>
                  </a:cubicBezTo>
                  <a:cubicBezTo>
                    <a:pt x="313113" y="862"/>
                    <a:pt x="327868" y="12808"/>
                    <a:pt x="336300" y="31077"/>
                  </a:cubicBezTo>
                  <a:cubicBezTo>
                    <a:pt x="346137" y="50751"/>
                    <a:pt x="327868" y="57778"/>
                    <a:pt x="317328" y="68318"/>
                  </a:cubicBezTo>
                  <a:cubicBezTo>
                    <a:pt x="294843" y="89398"/>
                    <a:pt x="293438" y="102749"/>
                    <a:pt x="313815" y="126639"/>
                  </a:cubicBezTo>
                  <a:cubicBezTo>
                    <a:pt x="338408" y="155449"/>
                    <a:pt x="389703" y="159664"/>
                    <a:pt x="417107" y="135071"/>
                  </a:cubicBezTo>
                  <a:cubicBezTo>
                    <a:pt x="448024" y="108370"/>
                    <a:pt x="448024" y="90803"/>
                    <a:pt x="417809" y="64102"/>
                  </a:cubicBezTo>
                  <a:cubicBezTo>
                    <a:pt x="410080" y="57076"/>
                    <a:pt x="396027" y="52157"/>
                    <a:pt x="401648" y="36698"/>
                  </a:cubicBezTo>
                  <a:cubicBezTo>
                    <a:pt x="407972" y="19132"/>
                    <a:pt x="419215" y="4376"/>
                    <a:pt x="437484" y="3673"/>
                  </a:cubicBezTo>
                  <a:cubicBezTo>
                    <a:pt x="484562" y="1565"/>
                    <a:pt x="532343" y="2970"/>
                    <a:pt x="579422" y="2268"/>
                  </a:cubicBezTo>
                  <a:cubicBezTo>
                    <a:pt x="593475" y="2268"/>
                    <a:pt x="589962" y="12105"/>
                    <a:pt x="589962" y="19132"/>
                  </a:cubicBezTo>
                  <a:cubicBezTo>
                    <a:pt x="589962" y="57778"/>
                    <a:pt x="589962" y="95722"/>
                    <a:pt x="589962" y="134369"/>
                  </a:cubicBezTo>
                  <a:cubicBezTo>
                    <a:pt x="589962" y="146314"/>
                    <a:pt x="591367" y="157556"/>
                    <a:pt x="599799" y="167394"/>
                  </a:cubicBezTo>
                  <a:cubicBezTo>
                    <a:pt x="611042" y="180042"/>
                    <a:pt x="619474" y="182852"/>
                    <a:pt x="632122" y="167394"/>
                  </a:cubicBezTo>
                  <a:cubicBezTo>
                    <a:pt x="665147" y="128747"/>
                    <a:pt x="700983" y="132261"/>
                    <a:pt x="729089" y="176528"/>
                  </a:cubicBezTo>
                  <a:cubicBezTo>
                    <a:pt x="750872" y="210959"/>
                    <a:pt x="740332" y="268577"/>
                    <a:pt x="708009" y="292468"/>
                  </a:cubicBezTo>
                  <a:cubicBezTo>
                    <a:pt x="681308" y="312142"/>
                    <a:pt x="661634" y="309332"/>
                    <a:pt x="638446" y="286144"/>
                  </a:cubicBezTo>
                  <a:cubicBezTo>
                    <a:pt x="631419" y="279117"/>
                    <a:pt x="628608" y="260848"/>
                    <a:pt x="612447" y="269280"/>
                  </a:cubicBezTo>
                  <a:cubicBezTo>
                    <a:pt x="599096" y="276307"/>
                    <a:pt x="591367" y="288252"/>
                    <a:pt x="591367" y="305116"/>
                  </a:cubicBezTo>
                  <a:cubicBezTo>
                    <a:pt x="592070" y="343762"/>
                    <a:pt x="590665" y="381706"/>
                    <a:pt x="592070" y="420353"/>
                  </a:cubicBezTo>
                  <a:cubicBezTo>
                    <a:pt x="592773" y="438622"/>
                    <a:pt x="589259" y="445649"/>
                    <a:pt x="568882" y="444243"/>
                  </a:cubicBezTo>
                  <a:cubicBezTo>
                    <a:pt x="532343" y="442135"/>
                    <a:pt x="495805" y="443541"/>
                    <a:pt x="459267" y="443541"/>
                  </a:cubicBezTo>
                  <a:cubicBezTo>
                    <a:pt x="448024" y="443541"/>
                    <a:pt x="437484" y="444243"/>
                    <a:pt x="428349" y="451270"/>
                  </a:cubicBezTo>
                  <a:cubicBezTo>
                    <a:pt x="414999" y="462513"/>
                    <a:pt x="410080" y="470944"/>
                    <a:pt x="426944" y="484998"/>
                  </a:cubicBezTo>
                  <a:cubicBezTo>
                    <a:pt x="463482" y="515213"/>
                    <a:pt x="462077" y="544724"/>
                    <a:pt x="425539" y="574939"/>
                  </a:cubicBezTo>
                  <a:cubicBezTo>
                    <a:pt x="391811" y="602343"/>
                    <a:pt x="329274" y="596019"/>
                    <a:pt x="302573" y="561588"/>
                  </a:cubicBezTo>
                  <a:cubicBezTo>
                    <a:pt x="281493" y="534887"/>
                    <a:pt x="283601" y="513104"/>
                    <a:pt x="308194" y="489214"/>
                  </a:cubicBezTo>
                  <a:cubicBezTo>
                    <a:pt x="315220" y="482187"/>
                    <a:pt x="331382" y="479376"/>
                    <a:pt x="325760" y="465323"/>
                  </a:cubicBezTo>
                  <a:cubicBezTo>
                    <a:pt x="319436" y="450567"/>
                    <a:pt x="306086" y="442135"/>
                    <a:pt x="288519" y="442838"/>
                  </a:cubicBezTo>
                  <a:cubicBezTo>
                    <a:pt x="249873" y="443541"/>
                    <a:pt x="211929" y="441433"/>
                    <a:pt x="173282" y="443541"/>
                  </a:cubicBezTo>
                  <a:cubicBezTo>
                    <a:pt x="153608" y="444243"/>
                    <a:pt x="149391" y="437920"/>
                    <a:pt x="150094" y="418947"/>
                  </a:cubicBezTo>
                  <a:cubicBezTo>
                    <a:pt x="151500" y="382409"/>
                    <a:pt x="150797" y="345870"/>
                    <a:pt x="150797" y="309332"/>
                  </a:cubicBezTo>
                  <a:cubicBezTo>
                    <a:pt x="150797" y="299495"/>
                    <a:pt x="150797" y="288955"/>
                    <a:pt x="143770" y="280523"/>
                  </a:cubicBezTo>
                  <a:cubicBezTo>
                    <a:pt x="133230" y="267172"/>
                    <a:pt x="124096" y="258740"/>
                    <a:pt x="107935" y="278415"/>
                  </a:cubicBezTo>
                  <a:cubicBezTo>
                    <a:pt x="76315" y="317061"/>
                    <a:pt x="37668" y="311440"/>
                    <a:pt x="10967" y="267172"/>
                  </a:cubicBezTo>
                  <a:cubicBezTo>
                    <a:pt x="-10113" y="232742"/>
                    <a:pt x="427" y="177934"/>
                    <a:pt x="32047" y="153341"/>
                  </a:cubicBezTo>
                  <a:cubicBezTo>
                    <a:pt x="59451" y="132261"/>
                    <a:pt x="79828" y="135071"/>
                    <a:pt x="103718" y="159664"/>
                  </a:cubicBezTo>
                  <a:cubicBezTo>
                    <a:pt x="110745" y="166691"/>
                    <a:pt x="113556" y="182852"/>
                    <a:pt x="127609" y="176528"/>
                  </a:cubicBezTo>
                  <a:cubicBezTo>
                    <a:pt x="141662" y="170204"/>
                    <a:pt x="149391" y="157556"/>
                    <a:pt x="149391" y="141395"/>
                  </a:cubicBezTo>
                  <a:cubicBezTo>
                    <a:pt x="149391" y="105559"/>
                    <a:pt x="151500" y="70426"/>
                    <a:pt x="148689" y="34590"/>
                  </a:cubicBezTo>
                  <a:cubicBezTo>
                    <a:pt x="146581" y="7889"/>
                    <a:pt x="153608" y="-3354"/>
                    <a:pt x="181714" y="862"/>
                  </a:cubicBezTo>
                  <a:cubicBezTo>
                    <a:pt x="197875" y="3673"/>
                    <a:pt x="214037" y="1565"/>
                    <a:pt x="230901" y="156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A4C1DF02-DB84-4440-8BB4-E4F1C61A1FF3}"/>
                </a:ext>
              </a:extLst>
            </p:cNvPr>
            <p:cNvSpPr/>
            <p:nvPr/>
          </p:nvSpPr>
          <p:spPr>
            <a:xfrm>
              <a:off x="4308266" y="3818184"/>
              <a:ext cx="1026185" cy="1026186"/>
            </a:xfrm>
            <a:custGeom>
              <a:avLst/>
              <a:gdLst>
                <a:gd name="connsiteX0" fmla="*/ 514551 w 590237"/>
                <a:gd name="connsiteY0" fmla="*/ 275 h 590237"/>
                <a:gd name="connsiteX1" fmla="*/ 572169 w 590237"/>
                <a:gd name="connsiteY1" fmla="*/ 275 h 590237"/>
                <a:gd name="connsiteX2" fmla="*/ 595357 w 590237"/>
                <a:gd name="connsiteY2" fmla="*/ 22057 h 590237"/>
                <a:gd name="connsiteX3" fmla="*/ 595357 w 590237"/>
                <a:gd name="connsiteY3" fmla="*/ 137294 h 590237"/>
                <a:gd name="connsiteX4" fmla="*/ 574277 w 590237"/>
                <a:gd name="connsiteY4" fmla="*/ 182265 h 590237"/>
                <a:gd name="connsiteX5" fmla="*/ 534928 w 590237"/>
                <a:gd name="connsiteY5" fmla="*/ 178751 h 590237"/>
                <a:gd name="connsiteX6" fmla="*/ 491363 w 590237"/>
                <a:gd name="connsiteY6" fmla="*/ 152753 h 590237"/>
                <a:gd name="connsiteX7" fmla="*/ 446392 w 590237"/>
                <a:gd name="connsiteY7" fmla="*/ 208966 h 590237"/>
                <a:gd name="connsiteX8" fmla="*/ 468878 w 590237"/>
                <a:gd name="connsiteY8" fmla="*/ 278530 h 590237"/>
                <a:gd name="connsiteX9" fmla="*/ 527199 w 590237"/>
                <a:gd name="connsiteY9" fmla="*/ 274313 h 590237"/>
                <a:gd name="connsiteX10" fmla="*/ 560927 w 590237"/>
                <a:gd name="connsiteY10" fmla="*/ 254639 h 590237"/>
                <a:gd name="connsiteX11" fmla="*/ 593952 w 590237"/>
                <a:gd name="connsiteY11" fmla="*/ 300312 h 590237"/>
                <a:gd name="connsiteX12" fmla="*/ 594654 w 590237"/>
                <a:gd name="connsiteY12" fmla="*/ 426089 h 590237"/>
                <a:gd name="connsiteX13" fmla="*/ 574980 w 590237"/>
                <a:gd name="connsiteY13" fmla="*/ 442953 h 590237"/>
                <a:gd name="connsiteX14" fmla="*/ 459743 w 590237"/>
                <a:gd name="connsiteY14" fmla="*/ 442953 h 590237"/>
                <a:gd name="connsiteX15" fmla="*/ 428826 w 590237"/>
                <a:gd name="connsiteY15" fmla="*/ 451385 h 590237"/>
                <a:gd name="connsiteX16" fmla="*/ 428123 w 590237"/>
                <a:gd name="connsiteY16" fmla="*/ 484410 h 590237"/>
                <a:gd name="connsiteX17" fmla="*/ 426718 w 590237"/>
                <a:gd name="connsiteY17" fmla="*/ 575054 h 590237"/>
                <a:gd name="connsiteX18" fmla="*/ 302346 w 590237"/>
                <a:gd name="connsiteY18" fmla="*/ 559595 h 590237"/>
                <a:gd name="connsiteX19" fmla="*/ 308670 w 590237"/>
                <a:gd name="connsiteY19" fmla="*/ 490031 h 590237"/>
                <a:gd name="connsiteX20" fmla="*/ 326237 w 590237"/>
                <a:gd name="connsiteY20" fmla="*/ 466141 h 590237"/>
                <a:gd name="connsiteX21" fmla="*/ 288996 w 590237"/>
                <a:gd name="connsiteY21" fmla="*/ 443656 h 590237"/>
                <a:gd name="connsiteX22" fmla="*/ 173759 w 590237"/>
                <a:gd name="connsiteY22" fmla="*/ 444358 h 590237"/>
                <a:gd name="connsiteX23" fmla="*/ 150571 w 590237"/>
                <a:gd name="connsiteY23" fmla="*/ 422576 h 590237"/>
                <a:gd name="connsiteX24" fmla="*/ 151273 w 590237"/>
                <a:gd name="connsiteY24" fmla="*/ 310150 h 590237"/>
                <a:gd name="connsiteX25" fmla="*/ 144247 w 590237"/>
                <a:gd name="connsiteY25" fmla="*/ 281340 h 590237"/>
                <a:gd name="connsiteX26" fmla="*/ 108411 w 590237"/>
                <a:gd name="connsiteY26" fmla="*/ 279232 h 590237"/>
                <a:gd name="connsiteX27" fmla="*/ 19875 w 590237"/>
                <a:gd name="connsiteY27" fmla="*/ 278530 h 590237"/>
                <a:gd name="connsiteX28" fmla="*/ 49387 w 590237"/>
                <a:gd name="connsiteY28" fmla="*/ 144321 h 590237"/>
                <a:gd name="connsiteX29" fmla="*/ 104898 w 590237"/>
                <a:gd name="connsiteY29" fmla="*/ 160482 h 590237"/>
                <a:gd name="connsiteX30" fmla="*/ 129491 w 590237"/>
                <a:gd name="connsiteY30" fmla="*/ 177346 h 590237"/>
                <a:gd name="connsiteX31" fmla="*/ 151273 w 590237"/>
                <a:gd name="connsiteY31" fmla="*/ 142213 h 590237"/>
                <a:gd name="connsiteX32" fmla="*/ 150571 w 590237"/>
                <a:gd name="connsiteY32" fmla="*/ 26976 h 590237"/>
                <a:gd name="connsiteX33" fmla="*/ 175867 w 590237"/>
                <a:gd name="connsiteY33" fmla="*/ 1680 h 590237"/>
                <a:gd name="connsiteX34" fmla="*/ 291104 w 590237"/>
                <a:gd name="connsiteY34" fmla="*/ 2382 h 590237"/>
                <a:gd name="connsiteX35" fmla="*/ 328345 w 590237"/>
                <a:gd name="connsiteY35" fmla="*/ 16436 h 590237"/>
                <a:gd name="connsiteX36" fmla="*/ 326939 w 590237"/>
                <a:gd name="connsiteY36" fmla="*/ 62812 h 590237"/>
                <a:gd name="connsiteX37" fmla="*/ 303049 w 590237"/>
                <a:gd name="connsiteY37" fmla="*/ 102161 h 590237"/>
                <a:gd name="connsiteX38" fmla="*/ 349425 w 590237"/>
                <a:gd name="connsiteY38" fmla="*/ 147834 h 590237"/>
                <a:gd name="connsiteX39" fmla="*/ 428826 w 590237"/>
                <a:gd name="connsiteY39" fmla="*/ 126052 h 590237"/>
                <a:gd name="connsiteX40" fmla="*/ 424610 w 590237"/>
                <a:gd name="connsiteY40" fmla="*/ 67731 h 590237"/>
                <a:gd name="connsiteX41" fmla="*/ 405638 w 590237"/>
                <a:gd name="connsiteY41" fmla="*/ 31192 h 590237"/>
                <a:gd name="connsiteX42" fmla="*/ 451311 w 590237"/>
                <a:gd name="connsiteY42" fmla="*/ 1680 h 590237"/>
                <a:gd name="connsiteX43" fmla="*/ 514551 w 590237"/>
                <a:gd name="connsiteY43" fmla="*/ 27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590237">
                  <a:moveTo>
                    <a:pt x="514551" y="275"/>
                  </a:moveTo>
                  <a:cubicBezTo>
                    <a:pt x="533523" y="275"/>
                    <a:pt x="553197" y="977"/>
                    <a:pt x="572169" y="275"/>
                  </a:cubicBezTo>
                  <a:cubicBezTo>
                    <a:pt x="589033" y="-1131"/>
                    <a:pt x="596762" y="2382"/>
                    <a:pt x="595357" y="22057"/>
                  </a:cubicBezTo>
                  <a:cubicBezTo>
                    <a:pt x="593249" y="60001"/>
                    <a:pt x="593952" y="98647"/>
                    <a:pt x="595357" y="137294"/>
                  </a:cubicBezTo>
                  <a:cubicBezTo>
                    <a:pt x="596060" y="156266"/>
                    <a:pt x="589033" y="170319"/>
                    <a:pt x="574277" y="182265"/>
                  </a:cubicBezTo>
                  <a:cubicBezTo>
                    <a:pt x="560224" y="193507"/>
                    <a:pt x="547576" y="194913"/>
                    <a:pt x="534928" y="178751"/>
                  </a:cubicBezTo>
                  <a:cubicBezTo>
                    <a:pt x="524388" y="164698"/>
                    <a:pt x="513145" y="145726"/>
                    <a:pt x="491363" y="152753"/>
                  </a:cubicBezTo>
                  <a:cubicBezTo>
                    <a:pt x="466067" y="161185"/>
                    <a:pt x="448500" y="179454"/>
                    <a:pt x="446392" y="208966"/>
                  </a:cubicBezTo>
                  <a:cubicBezTo>
                    <a:pt x="444284" y="235667"/>
                    <a:pt x="446392" y="259558"/>
                    <a:pt x="468878" y="278530"/>
                  </a:cubicBezTo>
                  <a:cubicBezTo>
                    <a:pt x="492768" y="298204"/>
                    <a:pt x="506821" y="296799"/>
                    <a:pt x="527199" y="274313"/>
                  </a:cubicBezTo>
                  <a:cubicBezTo>
                    <a:pt x="536333" y="264476"/>
                    <a:pt x="541955" y="246207"/>
                    <a:pt x="560927" y="254639"/>
                  </a:cubicBezTo>
                  <a:cubicBezTo>
                    <a:pt x="581304" y="263071"/>
                    <a:pt x="593952" y="277827"/>
                    <a:pt x="593952" y="300312"/>
                  </a:cubicBezTo>
                  <a:cubicBezTo>
                    <a:pt x="594654" y="342472"/>
                    <a:pt x="593249" y="383929"/>
                    <a:pt x="594654" y="426089"/>
                  </a:cubicBezTo>
                  <a:cubicBezTo>
                    <a:pt x="595357" y="442250"/>
                    <a:pt x="587628" y="443656"/>
                    <a:pt x="574980" y="442953"/>
                  </a:cubicBezTo>
                  <a:cubicBezTo>
                    <a:pt x="536333" y="442250"/>
                    <a:pt x="498389" y="442953"/>
                    <a:pt x="459743" y="442953"/>
                  </a:cubicBezTo>
                  <a:cubicBezTo>
                    <a:pt x="448500" y="442953"/>
                    <a:pt x="437960" y="443656"/>
                    <a:pt x="428826" y="451385"/>
                  </a:cubicBezTo>
                  <a:cubicBezTo>
                    <a:pt x="415475" y="462627"/>
                    <a:pt x="409151" y="471762"/>
                    <a:pt x="428123" y="484410"/>
                  </a:cubicBezTo>
                  <a:cubicBezTo>
                    <a:pt x="469580" y="512517"/>
                    <a:pt x="457635" y="548352"/>
                    <a:pt x="426718" y="575054"/>
                  </a:cubicBezTo>
                  <a:cubicBezTo>
                    <a:pt x="392287" y="603863"/>
                    <a:pt x="329047" y="595431"/>
                    <a:pt x="302346" y="559595"/>
                  </a:cubicBezTo>
                  <a:cubicBezTo>
                    <a:pt x="282672" y="532894"/>
                    <a:pt x="284779" y="513219"/>
                    <a:pt x="308670" y="490031"/>
                  </a:cubicBezTo>
                  <a:cubicBezTo>
                    <a:pt x="315697" y="483005"/>
                    <a:pt x="331858" y="480194"/>
                    <a:pt x="326237" y="466141"/>
                  </a:cubicBezTo>
                  <a:cubicBezTo>
                    <a:pt x="319913" y="450682"/>
                    <a:pt x="305859" y="443656"/>
                    <a:pt x="288996" y="443656"/>
                  </a:cubicBezTo>
                  <a:cubicBezTo>
                    <a:pt x="250349" y="443656"/>
                    <a:pt x="212405" y="442953"/>
                    <a:pt x="173759" y="444358"/>
                  </a:cubicBezTo>
                  <a:cubicBezTo>
                    <a:pt x="156895" y="445061"/>
                    <a:pt x="149868" y="441547"/>
                    <a:pt x="150571" y="422576"/>
                  </a:cubicBezTo>
                  <a:cubicBezTo>
                    <a:pt x="151976" y="385334"/>
                    <a:pt x="150571" y="348093"/>
                    <a:pt x="151273" y="310150"/>
                  </a:cubicBezTo>
                  <a:cubicBezTo>
                    <a:pt x="151273" y="299610"/>
                    <a:pt x="150571" y="289772"/>
                    <a:pt x="144247" y="281340"/>
                  </a:cubicBezTo>
                  <a:cubicBezTo>
                    <a:pt x="133004" y="267287"/>
                    <a:pt x="123869" y="260260"/>
                    <a:pt x="108411" y="279232"/>
                  </a:cubicBezTo>
                  <a:cubicBezTo>
                    <a:pt x="79602" y="314365"/>
                    <a:pt x="50090" y="312960"/>
                    <a:pt x="19875" y="278530"/>
                  </a:cubicBezTo>
                  <a:cubicBezTo>
                    <a:pt x="-16663" y="237072"/>
                    <a:pt x="-502" y="166806"/>
                    <a:pt x="49387" y="144321"/>
                  </a:cubicBezTo>
                  <a:cubicBezTo>
                    <a:pt x="73278" y="133781"/>
                    <a:pt x="88736" y="144321"/>
                    <a:pt x="104898" y="160482"/>
                  </a:cubicBezTo>
                  <a:cubicBezTo>
                    <a:pt x="111924" y="167508"/>
                    <a:pt x="114735" y="183670"/>
                    <a:pt x="129491" y="177346"/>
                  </a:cubicBezTo>
                  <a:cubicBezTo>
                    <a:pt x="143544" y="171022"/>
                    <a:pt x="151273" y="159077"/>
                    <a:pt x="151273" y="142213"/>
                  </a:cubicBezTo>
                  <a:cubicBezTo>
                    <a:pt x="151273" y="103566"/>
                    <a:pt x="152679" y="65622"/>
                    <a:pt x="150571" y="26976"/>
                  </a:cubicBezTo>
                  <a:cubicBezTo>
                    <a:pt x="149868" y="6599"/>
                    <a:pt x="154084" y="275"/>
                    <a:pt x="175867" y="1680"/>
                  </a:cubicBezTo>
                  <a:cubicBezTo>
                    <a:pt x="213811" y="3788"/>
                    <a:pt x="252457" y="2382"/>
                    <a:pt x="291104" y="2382"/>
                  </a:cubicBezTo>
                  <a:cubicBezTo>
                    <a:pt x="305859" y="2382"/>
                    <a:pt x="317805" y="5896"/>
                    <a:pt x="328345" y="16436"/>
                  </a:cubicBezTo>
                  <a:cubicBezTo>
                    <a:pt x="346614" y="34705"/>
                    <a:pt x="346614" y="45948"/>
                    <a:pt x="326939" y="62812"/>
                  </a:cubicBezTo>
                  <a:cubicBezTo>
                    <a:pt x="314994" y="73352"/>
                    <a:pt x="298130" y="83892"/>
                    <a:pt x="303049" y="102161"/>
                  </a:cubicBezTo>
                  <a:cubicBezTo>
                    <a:pt x="309373" y="124646"/>
                    <a:pt x="324831" y="142213"/>
                    <a:pt x="349425" y="147834"/>
                  </a:cubicBezTo>
                  <a:cubicBezTo>
                    <a:pt x="379639" y="154158"/>
                    <a:pt x="407746" y="152050"/>
                    <a:pt x="428826" y="126052"/>
                  </a:cubicBezTo>
                  <a:cubicBezTo>
                    <a:pt x="448500" y="102161"/>
                    <a:pt x="447798" y="88810"/>
                    <a:pt x="424610" y="67731"/>
                  </a:cubicBezTo>
                  <a:cubicBezTo>
                    <a:pt x="413367" y="57893"/>
                    <a:pt x="395801" y="50164"/>
                    <a:pt x="405638" y="31192"/>
                  </a:cubicBezTo>
                  <a:cubicBezTo>
                    <a:pt x="414772" y="13625"/>
                    <a:pt x="428826" y="977"/>
                    <a:pt x="451311" y="1680"/>
                  </a:cubicBezTo>
                  <a:cubicBezTo>
                    <a:pt x="472391" y="977"/>
                    <a:pt x="493471" y="275"/>
                    <a:pt x="514551" y="27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2A8CA2F2-1574-4353-A972-6639B5920D32}"/>
                </a:ext>
              </a:extLst>
            </p:cNvPr>
            <p:cNvSpPr/>
            <p:nvPr/>
          </p:nvSpPr>
          <p:spPr>
            <a:xfrm>
              <a:off x="8391857" y="2016100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CE801A8B-973E-45BD-81D4-A4E629689E6C}"/>
                </a:ext>
              </a:extLst>
            </p:cNvPr>
            <p:cNvSpPr/>
            <p:nvPr/>
          </p:nvSpPr>
          <p:spPr>
            <a:xfrm flipH="1">
              <a:off x="6609652" y="3036853"/>
              <a:ext cx="1026185" cy="1026186"/>
            </a:xfrm>
            <a:custGeom>
              <a:avLst/>
              <a:gdLst>
                <a:gd name="connsiteX0" fmla="*/ 527 w 590237"/>
                <a:gd name="connsiteY0" fmla="*/ 78746 h 590237"/>
                <a:gd name="connsiteX1" fmla="*/ 527 w 590237"/>
                <a:gd name="connsiteY1" fmla="*/ 21128 h 590237"/>
                <a:gd name="connsiteX2" fmla="*/ 19499 w 590237"/>
                <a:gd name="connsiteY2" fmla="*/ 751 h 590237"/>
                <a:gd name="connsiteX3" fmla="*/ 139654 w 590237"/>
                <a:gd name="connsiteY3" fmla="*/ 751 h 590237"/>
                <a:gd name="connsiteX4" fmla="*/ 181814 w 590237"/>
                <a:gd name="connsiteY4" fmla="*/ 21128 h 590237"/>
                <a:gd name="connsiteX5" fmla="*/ 179004 w 590237"/>
                <a:gd name="connsiteY5" fmla="*/ 60477 h 590237"/>
                <a:gd name="connsiteX6" fmla="*/ 153708 w 590237"/>
                <a:gd name="connsiteY6" fmla="*/ 106150 h 590237"/>
                <a:gd name="connsiteX7" fmla="*/ 211326 w 590237"/>
                <a:gd name="connsiteY7" fmla="*/ 149013 h 590237"/>
                <a:gd name="connsiteX8" fmla="*/ 278079 w 590237"/>
                <a:gd name="connsiteY8" fmla="*/ 126528 h 590237"/>
                <a:gd name="connsiteX9" fmla="*/ 274566 w 590237"/>
                <a:gd name="connsiteY9" fmla="*/ 68206 h 590237"/>
                <a:gd name="connsiteX10" fmla="*/ 254188 w 590237"/>
                <a:gd name="connsiteY10" fmla="*/ 34479 h 590237"/>
                <a:gd name="connsiteX11" fmla="*/ 301970 w 590237"/>
                <a:gd name="connsiteY11" fmla="*/ 751 h 590237"/>
                <a:gd name="connsiteX12" fmla="*/ 424936 w 590237"/>
                <a:gd name="connsiteY12" fmla="*/ 48 h 590237"/>
                <a:gd name="connsiteX13" fmla="*/ 442503 w 590237"/>
                <a:gd name="connsiteY13" fmla="*/ 19723 h 590237"/>
                <a:gd name="connsiteX14" fmla="*/ 442503 w 590237"/>
                <a:gd name="connsiteY14" fmla="*/ 134959 h 590237"/>
                <a:gd name="connsiteX15" fmla="*/ 450934 w 590237"/>
                <a:gd name="connsiteY15" fmla="*/ 165877 h 590237"/>
                <a:gd name="connsiteX16" fmla="*/ 484663 w 590237"/>
                <a:gd name="connsiteY16" fmla="*/ 167282 h 590237"/>
                <a:gd name="connsiteX17" fmla="*/ 574603 w 590237"/>
                <a:gd name="connsiteY17" fmla="*/ 167985 h 590237"/>
                <a:gd name="connsiteX18" fmla="*/ 559145 w 590237"/>
                <a:gd name="connsiteY18" fmla="*/ 292356 h 590237"/>
                <a:gd name="connsiteX19" fmla="*/ 489581 w 590237"/>
                <a:gd name="connsiteY19" fmla="*/ 286032 h 590237"/>
                <a:gd name="connsiteX20" fmla="*/ 462880 w 590237"/>
                <a:gd name="connsiteY20" fmla="*/ 269168 h 590237"/>
                <a:gd name="connsiteX21" fmla="*/ 442503 w 590237"/>
                <a:gd name="connsiteY21" fmla="*/ 305004 h 590237"/>
                <a:gd name="connsiteX22" fmla="*/ 442503 w 590237"/>
                <a:gd name="connsiteY22" fmla="*/ 406188 h 590237"/>
                <a:gd name="connsiteX23" fmla="*/ 404559 w 590237"/>
                <a:gd name="connsiteY23" fmla="*/ 442726 h 590237"/>
                <a:gd name="connsiteX24" fmla="*/ 308997 w 590237"/>
                <a:gd name="connsiteY24" fmla="*/ 442726 h 590237"/>
                <a:gd name="connsiteX25" fmla="*/ 278079 w 590237"/>
                <a:gd name="connsiteY25" fmla="*/ 451158 h 590237"/>
                <a:gd name="connsiteX26" fmla="*/ 276674 w 590237"/>
                <a:gd name="connsiteY26" fmla="*/ 483481 h 590237"/>
                <a:gd name="connsiteX27" fmla="*/ 301267 w 590237"/>
                <a:gd name="connsiteY27" fmla="*/ 541099 h 590237"/>
                <a:gd name="connsiteX28" fmla="*/ 235919 w 590237"/>
                <a:gd name="connsiteY28" fmla="*/ 590988 h 590237"/>
                <a:gd name="connsiteX29" fmla="*/ 153005 w 590237"/>
                <a:gd name="connsiteY29" fmla="*/ 560774 h 590237"/>
                <a:gd name="connsiteX30" fmla="*/ 160032 w 590237"/>
                <a:gd name="connsiteY30" fmla="*/ 489102 h 590237"/>
                <a:gd name="connsiteX31" fmla="*/ 176193 w 590237"/>
                <a:gd name="connsiteY31" fmla="*/ 465211 h 590237"/>
                <a:gd name="connsiteX32" fmla="*/ 141060 w 590237"/>
                <a:gd name="connsiteY32" fmla="*/ 443429 h 590237"/>
                <a:gd name="connsiteX33" fmla="*/ 20904 w 590237"/>
                <a:gd name="connsiteY33" fmla="*/ 444132 h 590237"/>
                <a:gd name="connsiteX34" fmla="*/ 527 w 590237"/>
                <a:gd name="connsiteY34" fmla="*/ 423052 h 590237"/>
                <a:gd name="connsiteX35" fmla="*/ 527 w 590237"/>
                <a:gd name="connsiteY35" fmla="*/ 307815 h 590237"/>
                <a:gd name="connsiteX36" fmla="*/ 14580 w 590237"/>
                <a:gd name="connsiteY36" fmla="*/ 267763 h 590237"/>
                <a:gd name="connsiteX37" fmla="*/ 61659 w 590237"/>
                <a:gd name="connsiteY37" fmla="*/ 268466 h 590237"/>
                <a:gd name="connsiteX38" fmla="*/ 103819 w 590237"/>
                <a:gd name="connsiteY38" fmla="*/ 291654 h 590237"/>
                <a:gd name="connsiteX39" fmla="*/ 147384 w 590237"/>
                <a:gd name="connsiteY39" fmla="*/ 243872 h 590237"/>
                <a:gd name="connsiteX40" fmla="*/ 123493 w 590237"/>
                <a:gd name="connsiteY40" fmla="*/ 165174 h 590237"/>
                <a:gd name="connsiteX41" fmla="*/ 67280 w 590237"/>
                <a:gd name="connsiteY41" fmla="*/ 170795 h 590237"/>
                <a:gd name="connsiteX42" fmla="*/ 32849 w 590237"/>
                <a:gd name="connsiteY42" fmla="*/ 191173 h 590237"/>
                <a:gd name="connsiteX43" fmla="*/ 527 w 590237"/>
                <a:gd name="connsiteY43" fmla="*/ 147607 h 590237"/>
                <a:gd name="connsiteX44" fmla="*/ 527 w 590237"/>
                <a:gd name="connsiteY44" fmla="*/ 111772 h 590237"/>
                <a:gd name="connsiteX45" fmla="*/ 527 w 590237"/>
                <a:gd name="connsiteY45" fmla="*/ 78746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90237">
                  <a:moveTo>
                    <a:pt x="527" y="78746"/>
                  </a:moveTo>
                  <a:cubicBezTo>
                    <a:pt x="527" y="59774"/>
                    <a:pt x="1229" y="40100"/>
                    <a:pt x="527" y="21128"/>
                  </a:cubicBezTo>
                  <a:cubicBezTo>
                    <a:pt x="-176" y="7075"/>
                    <a:pt x="2635" y="48"/>
                    <a:pt x="19499" y="751"/>
                  </a:cubicBezTo>
                  <a:cubicBezTo>
                    <a:pt x="59551" y="2156"/>
                    <a:pt x="99602" y="1453"/>
                    <a:pt x="139654" y="751"/>
                  </a:cubicBezTo>
                  <a:cubicBezTo>
                    <a:pt x="157924" y="751"/>
                    <a:pt x="171274" y="7777"/>
                    <a:pt x="181814" y="21128"/>
                  </a:cubicBezTo>
                  <a:cubicBezTo>
                    <a:pt x="193057" y="35181"/>
                    <a:pt x="195165" y="47829"/>
                    <a:pt x="179004" y="60477"/>
                  </a:cubicBezTo>
                  <a:cubicBezTo>
                    <a:pt x="164247" y="71720"/>
                    <a:pt x="144573" y="82962"/>
                    <a:pt x="153708" y="106150"/>
                  </a:cubicBezTo>
                  <a:cubicBezTo>
                    <a:pt x="163545" y="131446"/>
                    <a:pt x="181814" y="147607"/>
                    <a:pt x="211326" y="149013"/>
                  </a:cubicBezTo>
                  <a:cubicBezTo>
                    <a:pt x="236622" y="149715"/>
                    <a:pt x="260513" y="148310"/>
                    <a:pt x="278079" y="126528"/>
                  </a:cubicBezTo>
                  <a:cubicBezTo>
                    <a:pt x="297051" y="102637"/>
                    <a:pt x="296348" y="88584"/>
                    <a:pt x="274566" y="68206"/>
                  </a:cubicBezTo>
                  <a:cubicBezTo>
                    <a:pt x="264728" y="59072"/>
                    <a:pt x="246459" y="54153"/>
                    <a:pt x="254188" y="34479"/>
                  </a:cubicBezTo>
                  <a:cubicBezTo>
                    <a:pt x="262620" y="13399"/>
                    <a:pt x="278079" y="751"/>
                    <a:pt x="301970" y="751"/>
                  </a:cubicBezTo>
                  <a:cubicBezTo>
                    <a:pt x="342724" y="751"/>
                    <a:pt x="384181" y="1453"/>
                    <a:pt x="424936" y="48"/>
                  </a:cubicBezTo>
                  <a:cubicBezTo>
                    <a:pt x="441097" y="-655"/>
                    <a:pt x="442503" y="6372"/>
                    <a:pt x="442503" y="19723"/>
                  </a:cubicBezTo>
                  <a:cubicBezTo>
                    <a:pt x="441800" y="58369"/>
                    <a:pt x="442503" y="96313"/>
                    <a:pt x="442503" y="134959"/>
                  </a:cubicBezTo>
                  <a:cubicBezTo>
                    <a:pt x="442503" y="146202"/>
                    <a:pt x="443205" y="156742"/>
                    <a:pt x="450934" y="165877"/>
                  </a:cubicBezTo>
                  <a:cubicBezTo>
                    <a:pt x="461474" y="179227"/>
                    <a:pt x="470609" y="184849"/>
                    <a:pt x="484663" y="167282"/>
                  </a:cubicBezTo>
                  <a:cubicBezTo>
                    <a:pt x="513472" y="131446"/>
                    <a:pt x="545091" y="132149"/>
                    <a:pt x="574603" y="167985"/>
                  </a:cubicBezTo>
                  <a:cubicBezTo>
                    <a:pt x="604115" y="203118"/>
                    <a:pt x="595683" y="265655"/>
                    <a:pt x="559145" y="292356"/>
                  </a:cubicBezTo>
                  <a:cubicBezTo>
                    <a:pt x="531741" y="312031"/>
                    <a:pt x="512769" y="309923"/>
                    <a:pt x="489581" y="286032"/>
                  </a:cubicBezTo>
                  <a:cubicBezTo>
                    <a:pt x="482554" y="278303"/>
                    <a:pt x="479041" y="260736"/>
                    <a:pt x="462880" y="269168"/>
                  </a:cubicBezTo>
                  <a:cubicBezTo>
                    <a:pt x="449529" y="276195"/>
                    <a:pt x="442503" y="288843"/>
                    <a:pt x="442503" y="305004"/>
                  </a:cubicBezTo>
                  <a:cubicBezTo>
                    <a:pt x="442503" y="338732"/>
                    <a:pt x="442503" y="372460"/>
                    <a:pt x="442503" y="406188"/>
                  </a:cubicBezTo>
                  <a:cubicBezTo>
                    <a:pt x="442503" y="442726"/>
                    <a:pt x="442503" y="442726"/>
                    <a:pt x="404559" y="442726"/>
                  </a:cubicBezTo>
                  <a:cubicBezTo>
                    <a:pt x="372939" y="442726"/>
                    <a:pt x="340616" y="442726"/>
                    <a:pt x="308997" y="442726"/>
                  </a:cubicBezTo>
                  <a:cubicBezTo>
                    <a:pt x="297754" y="442726"/>
                    <a:pt x="287214" y="443429"/>
                    <a:pt x="278079" y="451158"/>
                  </a:cubicBezTo>
                  <a:cubicBezTo>
                    <a:pt x="266837" y="460995"/>
                    <a:pt x="259107" y="470130"/>
                    <a:pt x="276674" y="483481"/>
                  </a:cubicBezTo>
                  <a:cubicBezTo>
                    <a:pt x="295646" y="497534"/>
                    <a:pt x="312510" y="514398"/>
                    <a:pt x="301267" y="541099"/>
                  </a:cubicBezTo>
                  <a:cubicBezTo>
                    <a:pt x="289322" y="569206"/>
                    <a:pt x="268945" y="588880"/>
                    <a:pt x="235919" y="590988"/>
                  </a:cubicBezTo>
                  <a:cubicBezTo>
                    <a:pt x="203597" y="593096"/>
                    <a:pt x="174085" y="588880"/>
                    <a:pt x="153005" y="560774"/>
                  </a:cubicBezTo>
                  <a:cubicBezTo>
                    <a:pt x="132628" y="533370"/>
                    <a:pt x="134736" y="512290"/>
                    <a:pt x="160032" y="489102"/>
                  </a:cubicBezTo>
                  <a:cubicBezTo>
                    <a:pt x="167058" y="482778"/>
                    <a:pt x="183219" y="479967"/>
                    <a:pt x="176193" y="465211"/>
                  </a:cubicBezTo>
                  <a:cubicBezTo>
                    <a:pt x="169869" y="451861"/>
                    <a:pt x="157924" y="443429"/>
                    <a:pt x="141060" y="443429"/>
                  </a:cubicBezTo>
                  <a:cubicBezTo>
                    <a:pt x="101008" y="443429"/>
                    <a:pt x="60956" y="442726"/>
                    <a:pt x="20904" y="444132"/>
                  </a:cubicBezTo>
                  <a:cubicBezTo>
                    <a:pt x="3338" y="444834"/>
                    <a:pt x="-176" y="439213"/>
                    <a:pt x="527" y="423052"/>
                  </a:cubicBezTo>
                  <a:cubicBezTo>
                    <a:pt x="1932" y="385108"/>
                    <a:pt x="1229" y="346461"/>
                    <a:pt x="527" y="307815"/>
                  </a:cubicBezTo>
                  <a:cubicBezTo>
                    <a:pt x="527" y="292356"/>
                    <a:pt x="3338" y="279006"/>
                    <a:pt x="14580" y="267763"/>
                  </a:cubicBezTo>
                  <a:cubicBezTo>
                    <a:pt x="33552" y="249494"/>
                    <a:pt x="44092" y="249494"/>
                    <a:pt x="61659" y="268466"/>
                  </a:cubicBezTo>
                  <a:cubicBezTo>
                    <a:pt x="72901" y="281114"/>
                    <a:pt x="82739" y="297978"/>
                    <a:pt x="103819" y="291654"/>
                  </a:cubicBezTo>
                  <a:cubicBezTo>
                    <a:pt x="126304" y="283924"/>
                    <a:pt x="143168" y="269168"/>
                    <a:pt x="147384" y="243872"/>
                  </a:cubicBezTo>
                  <a:cubicBezTo>
                    <a:pt x="153005" y="213658"/>
                    <a:pt x="150897" y="185551"/>
                    <a:pt x="123493" y="165174"/>
                  </a:cubicBezTo>
                  <a:cubicBezTo>
                    <a:pt x="101008" y="147607"/>
                    <a:pt x="86954" y="149013"/>
                    <a:pt x="67280" y="170795"/>
                  </a:cubicBezTo>
                  <a:cubicBezTo>
                    <a:pt x="58145" y="181335"/>
                    <a:pt x="51821" y="198902"/>
                    <a:pt x="32849" y="191173"/>
                  </a:cubicBezTo>
                  <a:cubicBezTo>
                    <a:pt x="13878" y="183443"/>
                    <a:pt x="1932" y="168687"/>
                    <a:pt x="527" y="147607"/>
                  </a:cubicBezTo>
                  <a:cubicBezTo>
                    <a:pt x="-176" y="135662"/>
                    <a:pt x="527" y="123717"/>
                    <a:pt x="527" y="111772"/>
                  </a:cubicBezTo>
                  <a:cubicBezTo>
                    <a:pt x="-176" y="100529"/>
                    <a:pt x="-176" y="89989"/>
                    <a:pt x="527" y="787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4D16A5C4-0F71-4C8D-9C01-9E0252EA49D0}"/>
                </a:ext>
              </a:extLst>
            </p:cNvPr>
            <p:cNvSpPr/>
            <p:nvPr/>
          </p:nvSpPr>
          <p:spPr>
            <a:xfrm>
              <a:off x="7384903" y="4566984"/>
              <a:ext cx="1282731" cy="769640"/>
            </a:xfrm>
            <a:custGeom>
              <a:avLst/>
              <a:gdLst>
                <a:gd name="connsiteX0" fmla="*/ 220814 w 737797"/>
                <a:gd name="connsiteY0" fmla="*/ 442759 h 442678"/>
                <a:gd name="connsiteX1" fmla="*/ 153359 w 737797"/>
                <a:gd name="connsiteY1" fmla="*/ 437841 h 442678"/>
                <a:gd name="connsiteX2" fmla="*/ 149143 w 737797"/>
                <a:gd name="connsiteY2" fmla="*/ 366169 h 442678"/>
                <a:gd name="connsiteX3" fmla="*/ 149143 w 737797"/>
                <a:gd name="connsiteY3" fmla="*/ 302929 h 442678"/>
                <a:gd name="connsiteX4" fmla="*/ 127360 w 737797"/>
                <a:gd name="connsiteY4" fmla="*/ 267796 h 442678"/>
                <a:gd name="connsiteX5" fmla="*/ 103470 w 737797"/>
                <a:gd name="connsiteY5" fmla="*/ 283957 h 442678"/>
                <a:gd name="connsiteX6" fmla="*/ 31095 w 737797"/>
                <a:gd name="connsiteY6" fmla="*/ 290984 h 442678"/>
                <a:gd name="connsiteX7" fmla="*/ 28987 w 737797"/>
                <a:gd name="connsiteY7" fmla="*/ 153965 h 442678"/>
                <a:gd name="connsiteX8" fmla="*/ 102767 w 737797"/>
                <a:gd name="connsiteY8" fmla="*/ 160288 h 442678"/>
                <a:gd name="connsiteX9" fmla="*/ 127360 w 737797"/>
                <a:gd name="connsiteY9" fmla="*/ 175747 h 442678"/>
                <a:gd name="connsiteX10" fmla="*/ 148440 w 737797"/>
                <a:gd name="connsiteY10" fmla="*/ 142722 h 442678"/>
                <a:gd name="connsiteX11" fmla="*/ 147738 w 737797"/>
                <a:gd name="connsiteY11" fmla="*/ 24674 h 442678"/>
                <a:gd name="connsiteX12" fmla="*/ 173736 w 737797"/>
                <a:gd name="connsiteY12" fmla="*/ 81 h 442678"/>
                <a:gd name="connsiteX13" fmla="*/ 288973 w 737797"/>
                <a:gd name="connsiteY13" fmla="*/ 81 h 442678"/>
                <a:gd name="connsiteX14" fmla="*/ 325511 w 737797"/>
                <a:gd name="connsiteY14" fmla="*/ 14134 h 442678"/>
                <a:gd name="connsiteX15" fmla="*/ 323404 w 737797"/>
                <a:gd name="connsiteY15" fmla="*/ 60510 h 442678"/>
                <a:gd name="connsiteX16" fmla="*/ 300918 w 737797"/>
                <a:gd name="connsiteY16" fmla="*/ 100562 h 442678"/>
                <a:gd name="connsiteX17" fmla="*/ 342376 w 737797"/>
                <a:gd name="connsiteY17" fmla="*/ 144127 h 442678"/>
                <a:gd name="connsiteX18" fmla="*/ 425290 w 737797"/>
                <a:gd name="connsiteY18" fmla="*/ 125155 h 442678"/>
                <a:gd name="connsiteX19" fmla="*/ 421074 w 737797"/>
                <a:gd name="connsiteY19" fmla="*/ 64726 h 442678"/>
                <a:gd name="connsiteX20" fmla="*/ 401399 w 737797"/>
                <a:gd name="connsiteY20" fmla="*/ 33106 h 442678"/>
                <a:gd name="connsiteX21" fmla="*/ 441451 w 737797"/>
                <a:gd name="connsiteY21" fmla="*/ 783 h 442678"/>
                <a:gd name="connsiteX22" fmla="*/ 578470 w 737797"/>
                <a:gd name="connsiteY22" fmla="*/ 81 h 442678"/>
                <a:gd name="connsiteX23" fmla="*/ 591821 w 737797"/>
                <a:gd name="connsiteY23" fmla="*/ 17648 h 442678"/>
                <a:gd name="connsiteX24" fmla="*/ 591821 w 737797"/>
                <a:gd name="connsiteY24" fmla="*/ 135695 h 442678"/>
                <a:gd name="connsiteX25" fmla="*/ 602361 w 737797"/>
                <a:gd name="connsiteY25" fmla="*/ 168018 h 442678"/>
                <a:gd name="connsiteX26" fmla="*/ 631170 w 737797"/>
                <a:gd name="connsiteY26" fmla="*/ 166612 h 442678"/>
                <a:gd name="connsiteX27" fmla="*/ 683168 w 737797"/>
                <a:gd name="connsiteY27" fmla="*/ 139208 h 442678"/>
                <a:gd name="connsiteX28" fmla="*/ 737975 w 737797"/>
                <a:gd name="connsiteY28" fmla="*/ 194719 h 442678"/>
                <a:gd name="connsiteX29" fmla="*/ 711977 w 737797"/>
                <a:gd name="connsiteY29" fmla="*/ 286768 h 442678"/>
                <a:gd name="connsiteX30" fmla="*/ 636089 w 737797"/>
                <a:gd name="connsiteY30" fmla="*/ 281849 h 442678"/>
                <a:gd name="connsiteX31" fmla="*/ 614306 w 737797"/>
                <a:gd name="connsiteY31" fmla="*/ 266391 h 442678"/>
                <a:gd name="connsiteX32" fmla="*/ 592524 w 737797"/>
                <a:gd name="connsiteY32" fmla="*/ 298011 h 442678"/>
                <a:gd name="connsiteX33" fmla="*/ 593226 w 737797"/>
                <a:gd name="connsiteY33" fmla="*/ 418166 h 442678"/>
                <a:gd name="connsiteX34" fmla="*/ 571444 w 737797"/>
                <a:gd name="connsiteY34" fmla="*/ 441354 h 442678"/>
                <a:gd name="connsiteX35" fmla="*/ 453396 w 737797"/>
                <a:gd name="connsiteY35" fmla="*/ 441354 h 442678"/>
                <a:gd name="connsiteX36" fmla="*/ 411939 w 737797"/>
                <a:gd name="connsiteY36" fmla="*/ 424490 h 442678"/>
                <a:gd name="connsiteX37" fmla="*/ 415452 w 737797"/>
                <a:gd name="connsiteY37" fmla="*/ 380925 h 442678"/>
                <a:gd name="connsiteX38" fmla="*/ 439343 w 737797"/>
                <a:gd name="connsiteY38" fmla="*/ 338765 h 442678"/>
                <a:gd name="connsiteX39" fmla="*/ 394372 w 737797"/>
                <a:gd name="connsiteY39" fmla="*/ 295902 h 442678"/>
                <a:gd name="connsiteX40" fmla="*/ 318485 w 737797"/>
                <a:gd name="connsiteY40" fmla="*/ 312766 h 442678"/>
                <a:gd name="connsiteX41" fmla="*/ 320593 w 737797"/>
                <a:gd name="connsiteY41" fmla="*/ 377412 h 442678"/>
                <a:gd name="connsiteX42" fmla="*/ 338862 w 737797"/>
                <a:gd name="connsiteY42" fmla="*/ 409032 h 442678"/>
                <a:gd name="connsiteX43" fmla="*/ 298107 w 737797"/>
                <a:gd name="connsiteY43" fmla="*/ 440651 h 442678"/>
                <a:gd name="connsiteX44" fmla="*/ 220814 w 737797"/>
                <a:gd name="connsiteY44" fmla="*/ 442759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37797" h="442678">
                  <a:moveTo>
                    <a:pt x="220814" y="442759"/>
                  </a:moveTo>
                  <a:cubicBezTo>
                    <a:pt x="201140" y="440651"/>
                    <a:pt x="167412" y="454002"/>
                    <a:pt x="153359" y="437841"/>
                  </a:cubicBezTo>
                  <a:cubicBezTo>
                    <a:pt x="140711" y="423787"/>
                    <a:pt x="149845" y="390762"/>
                    <a:pt x="149143" y="366169"/>
                  </a:cubicBezTo>
                  <a:cubicBezTo>
                    <a:pt x="149143" y="345089"/>
                    <a:pt x="148440" y="324009"/>
                    <a:pt x="149143" y="302929"/>
                  </a:cubicBezTo>
                  <a:cubicBezTo>
                    <a:pt x="149845" y="286065"/>
                    <a:pt x="141413" y="274120"/>
                    <a:pt x="127360" y="267796"/>
                  </a:cubicBezTo>
                  <a:cubicBezTo>
                    <a:pt x="112604" y="260769"/>
                    <a:pt x="109794" y="276931"/>
                    <a:pt x="103470" y="283957"/>
                  </a:cubicBezTo>
                  <a:cubicBezTo>
                    <a:pt x="79579" y="309253"/>
                    <a:pt x="59905" y="309956"/>
                    <a:pt x="31095" y="290984"/>
                  </a:cubicBezTo>
                  <a:cubicBezTo>
                    <a:pt x="-10362" y="263580"/>
                    <a:pt x="-9659" y="181368"/>
                    <a:pt x="28987" y="153965"/>
                  </a:cubicBezTo>
                  <a:cubicBezTo>
                    <a:pt x="58499" y="133587"/>
                    <a:pt x="78174" y="133587"/>
                    <a:pt x="102767" y="160288"/>
                  </a:cubicBezTo>
                  <a:cubicBezTo>
                    <a:pt x="109091" y="167315"/>
                    <a:pt x="112604" y="183476"/>
                    <a:pt x="127360" y="175747"/>
                  </a:cubicBezTo>
                  <a:cubicBezTo>
                    <a:pt x="140008" y="169423"/>
                    <a:pt x="148440" y="158883"/>
                    <a:pt x="148440" y="142722"/>
                  </a:cubicBezTo>
                  <a:cubicBezTo>
                    <a:pt x="148440" y="103373"/>
                    <a:pt x="149845" y="64023"/>
                    <a:pt x="147738" y="24674"/>
                  </a:cubicBezTo>
                  <a:cubicBezTo>
                    <a:pt x="146332" y="2892"/>
                    <a:pt x="154061" y="-621"/>
                    <a:pt x="173736" y="81"/>
                  </a:cubicBezTo>
                  <a:cubicBezTo>
                    <a:pt x="211680" y="1486"/>
                    <a:pt x="250326" y="783"/>
                    <a:pt x="288973" y="81"/>
                  </a:cubicBezTo>
                  <a:cubicBezTo>
                    <a:pt x="303729" y="81"/>
                    <a:pt x="315674" y="3594"/>
                    <a:pt x="325511" y="14134"/>
                  </a:cubicBezTo>
                  <a:cubicBezTo>
                    <a:pt x="343781" y="33106"/>
                    <a:pt x="343781" y="42943"/>
                    <a:pt x="323404" y="60510"/>
                  </a:cubicBezTo>
                  <a:cubicBezTo>
                    <a:pt x="310756" y="71050"/>
                    <a:pt x="295999" y="80887"/>
                    <a:pt x="300918" y="100562"/>
                  </a:cubicBezTo>
                  <a:cubicBezTo>
                    <a:pt x="306539" y="122345"/>
                    <a:pt x="320593" y="137803"/>
                    <a:pt x="342376" y="144127"/>
                  </a:cubicBezTo>
                  <a:cubicBezTo>
                    <a:pt x="373292" y="152559"/>
                    <a:pt x="402102" y="151154"/>
                    <a:pt x="425290" y="125155"/>
                  </a:cubicBezTo>
                  <a:cubicBezTo>
                    <a:pt x="446370" y="101967"/>
                    <a:pt x="444964" y="85103"/>
                    <a:pt x="421074" y="64726"/>
                  </a:cubicBezTo>
                  <a:cubicBezTo>
                    <a:pt x="411237" y="56294"/>
                    <a:pt x="395075" y="49970"/>
                    <a:pt x="401399" y="33106"/>
                  </a:cubicBezTo>
                  <a:cubicBezTo>
                    <a:pt x="408426" y="14837"/>
                    <a:pt x="421074" y="783"/>
                    <a:pt x="441451" y="783"/>
                  </a:cubicBezTo>
                  <a:cubicBezTo>
                    <a:pt x="487124" y="81"/>
                    <a:pt x="532797" y="783"/>
                    <a:pt x="578470" y="81"/>
                  </a:cubicBezTo>
                  <a:cubicBezTo>
                    <a:pt x="592524" y="81"/>
                    <a:pt x="591821" y="8513"/>
                    <a:pt x="591821" y="17648"/>
                  </a:cubicBezTo>
                  <a:cubicBezTo>
                    <a:pt x="591821" y="56997"/>
                    <a:pt x="591821" y="96346"/>
                    <a:pt x="591821" y="135695"/>
                  </a:cubicBezTo>
                  <a:cubicBezTo>
                    <a:pt x="591821" y="147640"/>
                    <a:pt x="592524" y="158883"/>
                    <a:pt x="602361" y="168018"/>
                  </a:cubicBezTo>
                  <a:cubicBezTo>
                    <a:pt x="612901" y="177855"/>
                    <a:pt x="621333" y="180666"/>
                    <a:pt x="631170" y="166612"/>
                  </a:cubicBezTo>
                  <a:cubicBezTo>
                    <a:pt x="643818" y="149046"/>
                    <a:pt x="659277" y="132182"/>
                    <a:pt x="683168" y="139208"/>
                  </a:cubicBezTo>
                  <a:cubicBezTo>
                    <a:pt x="710571" y="146938"/>
                    <a:pt x="731651" y="165207"/>
                    <a:pt x="737975" y="194719"/>
                  </a:cubicBezTo>
                  <a:cubicBezTo>
                    <a:pt x="745002" y="229149"/>
                    <a:pt x="742191" y="261472"/>
                    <a:pt x="711977" y="286768"/>
                  </a:cubicBezTo>
                  <a:cubicBezTo>
                    <a:pt x="683168" y="309956"/>
                    <a:pt x="660682" y="308551"/>
                    <a:pt x="636089" y="281849"/>
                  </a:cubicBezTo>
                  <a:cubicBezTo>
                    <a:pt x="629765" y="275525"/>
                    <a:pt x="626954" y="260769"/>
                    <a:pt x="614306" y="266391"/>
                  </a:cubicBezTo>
                  <a:cubicBezTo>
                    <a:pt x="601658" y="272012"/>
                    <a:pt x="592524" y="282552"/>
                    <a:pt x="592524" y="298011"/>
                  </a:cubicBezTo>
                  <a:cubicBezTo>
                    <a:pt x="592524" y="338062"/>
                    <a:pt x="591821" y="378114"/>
                    <a:pt x="593226" y="418166"/>
                  </a:cubicBezTo>
                  <a:cubicBezTo>
                    <a:pt x="593929" y="435030"/>
                    <a:pt x="590416" y="442057"/>
                    <a:pt x="571444" y="441354"/>
                  </a:cubicBezTo>
                  <a:cubicBezTo>
                    <a:pt x="532095" y="439948"/>
                    <a:pt x="492745" y="440651"/>
                    <a:pt x="453396" y="441354"/>
                  </a:cubicBezTo>
                  <a:cubicBezTo>
                    <a:pt x="436532" y="441354"/>
                    <a:pt x="423182" y="437138"/>
                    <a:pt x="411939" y="424490"/>
                  </a:cubicBezTo>
                  <a:cubicBezTo>
                    <a:pt x="397886" y="408329"/>
                    <a:pt x="396480" y="394275"/>
                    <a:pt x="415452" y="380925"/>
                  </a:cubicBezTo>
                  <a:cubicBezTo>
                    <a:pt x="429506" y="371087"/>
                    <a:pt x="445667" y="359142"/>
                    <a:pt x="439343" y="338765"/>
                  </a:cubicBezTo>
                  <a:cubicBezTo>
                    <a:pt x="432316" y="316982"/>
                    <a:pt x="417560" y="301524"/>
                    <a:pt x="394372" y="295902"/>
                  </a:cubicBezTo>
                  <a:cubicBezTo>
                    <a:pt x="366266" y="289579"/>
                    <a:pt x="340267" y="290984"/>
                    <a:pt x="318485" y="312766"/>
                  </a:cubicBezTo>
                  <a:cubicBezTo>
                    <a:pt x="294594" y="336657"/>
                    <a:pt x="295999" y="354224"/>
                    <a:pt x="320593" y="377412"/>
                  </a:cubicBezTo>
                  <a:cubicBezTo>
                    <a:pt x="329727" y="385844"/>
                    <a:pt x="347294" y="390060"/>
                    <a:pt x="338862" y="409032"/>
                  </a:cubicBezTo>
                  <a:cubicBezTo>
                    <a:pt x="330430" y="426598"/>
                    <a:pt x="319187" y="439948"/>
                    <a:pt x="298107" y="440651"/>
                  </a:cubicBezTo>
                  <a:cubicBezTo>
                    <a:pt x="274217" y="443462"/>
                    <a:pt x="250326" y="442759"/>
                    <a:pt x="220814" y="44275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8D4D9AE3-A307-449D-8C18-EADD3C194537}"/>
                </a:ext>
              </a:extLst>
            </p:cNvPr>
            <p:cNvSpPr/>
            <p:nvPr/>
          </p:nvSpPr>
          <p:spPr>
            <a:xfrm flipH="1">
              <a:off x="7372679" y="2785516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95F5219B-3F7B-4FA9-BF34-07C00E3E7D9F}"/>
                </a:ext>
              </a:extLst>
            </p:cNvPr>
            <p:cNvSpPr/>
            <p:nvPr/>
          </p:nvSpPr>
          <p:spPr>
            <a:xfrm>
              <a:off x="1515006" y="5062507"/>
              <a:ext cx="769640" cy="1282732"/>
            </a:xfrm>
            <a:custGeom>
              <a:avLst/>
              <a:gdLst>
                <a:gd name="connsiteX0" fmla="*/ 443445 w 442678"/>
                <a:gd name="connsiteY0" fmla="*/ 516659 h 737797"/>
                <a:gd name="connsiteX1" fmla="*/ 438526 w 442678"/>
                <a:gd name="connsiteY1" fmla="*/ 588331 h 737797"/>
                <a:gd name="connsiteX2" fmla="*/ 364746 w 442678"/>
                <a:gd name="connsiteY2" fmla="*/ 591844 h 737797"/>
                <a:gd name="connsiteX3" fmla="*/ 301506 w 442678"/>
                <a:gd name="connsiteY3" fmla="*/ 591844 h 737797"/>
                <a:gd name="connsiteX4" fmla="*/ 269184 w 442678"/>
                <a:gd name="connsiteY4" fmla="*/ 612924 h 737797"/>
                <a:gd name="connsiteX5" fmla="*/ 285345 w 442678"/>
                <a:gd name="connsiteY5" fmla="*/ 637517 h 737797"/>
                <a:gd name="connsiteX6" fmla="*/ 264968 w 442678"/>
                <a:gd name="connsiteY6" fmla="*/ 732377 h 737797"/>
                <a:gd name="connsiteX7" fmla="*/ 153947 w 442678"/>
                <a:gd name="connsiteY7" fmla="*/ 708486 h 737797"/>
                <a:gd name="connsiteX8" fmla="*/ 159569 w 442678"/>
                <a:gd name="connsiteY8" fmla="*/ 638220 h 737797"/>
                <a:gd name="connsiteX9" fmla="*/ 177135 w 442678"/>
                <a:gd name="connsiteY9" fmla="*/ 612221 h 737797"/>
                <a:gd name="connsiteX10" fmla="*/ 139191 w 442678"/>
                <a:gd name="connsiteY10" fmla="*/ 591141 h 737797"/>
                <a:gd name="connsiteX11" fmla="*/ 23954 w 442678"/>
                <a:gd name="connsiteY11" fmla="*/ 591844 h 737797"/>
                <a:gd name="connsiteX12" fmla="*/ 64 w 442678"/>
                <a:gd name="connsiteY12" fmla="*/ 567251 h 737797"/>
                <a:gd name="connsiteX13" fmla="*/ 64 w 442678"/>
                <a:gd name="connsiteY13" fmla="*/ 454824 h 737797"/>
                <a:gd name="connsiteX14" fmla="*/ 20441 w 442678"/>
                <a:gd name="connsiteY14" fmla="*/ 409151 h 737797"/>
                <a:gd name="connsiteX15" fmla="*/ 59790 w 442678"/>
                <a:gd name="connsiteY15" fmla="*/ 412665 h 737797"/>
                <a:gd name="connsiteX16" fmla="*/ 106166 w 442678"/>
                <a:gd name="connsiteY16" fmla="*/ 437258 h 737797"/>
                <a:gd name="connsiteX17" fmla="*/ 149029 w 442678"/>
                <a:gd name="connsiteY17" fmla="*/ 382450 h 737797"/>
                <a:gd name="connsiteX18" fmla="*/ 125840 w 442678"/>
                <a:gd name="connsiteY18" fmla="*/ 313589 h 737797"/>
                <a:gd name="connsiteX19" fmla="*/ 67519 w 442678"/>
                <a:gd name="connsiteY19" fmla="*/ 317102 h 737797"/>
                <a:gd name="connsiteX20" fmla="*/ 34494 w 442678"/>
                <a:gd name="connsiteY20" fmla="*/ 337480 h 737797"/>
                <a:gd name="connsiteX21" fmla="*/ 766 w 442678"/>
                <a:gd name="connsiteY21" fmla="*/ 292509 h 737797"/>
                <a:gd name="connsiteX22" fmla="*/ 64 w 442678"/>
                <a:gd name="connsiteY22" fmla="*/ 163921 h 737797"/>
                <a:gd name="connsiteX23" fmla="*/ 19036 w 442678"/>
                <a:gd name="connsiteY23" fmla="*/ 149166 h 737797"/>
                <a:gd name="connsiteX24" fmla="*/ 137083 w 442678"/>
                <a:gd name="connsiteY24" fmla="*/ 149166 h 737797"/>
                <a:gd name="connsiteX25" fmla="*/ 167298 w 442678"/>
                <a:gd name="connsiteY25" fmla="*/ 139328 h 737797"/>
                <a:gd name="connsiteX26" fmla="*/ 167298 w 442678"/>
                <a:gd name="connsiteY26" fmla="*/ 107708 h 737797"/>
                <a:gd name="connsiteX27" fmla="*/ 142705 w 442678"/>
                <a:gd name="connsiteY27" fmla="*/ 52198 h 737797"/>
                <a:gd name="connsiteX28" fmla="*/ 201728 w 442678"/>
                <a:gd name="connsiteY28" fmla="*/ 1606 h 737797"/>
                <a:gd name="connsiteX29" fmla="*/ 292372 w 442678"/>
                <a:gd name="connsiteY29" fmla="*/ 32523 h 737797"/>
                <a:gd name="connsiteX30" fmla="*/ 286048 w 442678"/>
                <a:gd name="connsiteY30" fmla="*/ 102087 h 737797"/>
                <a:gd name="connsiteX31" fmla="*/ 269887 w 442678"/>
                <a:gd name="connsiteY31" fmla="*/ 128788 h 737797"/>
                <a:gd name="connsiteX32" fmla="*/ 305723 w 442678"/>
                <a:gd name="connsiteY32" fmla="*/ 149166 h 737797"/>
                <a:gd name="connsiteX33" fmla="*/ 420959 w 442678"/>
                <a:gd name="connsiteY33" fmla="*/ 148463 h 737797"/>
                <a:gd name="connsiteX34" fmla="*/ 444148 w 442678"/>
                <a:gd name="connsiteY34" fmla="*/ 173056 h 737797"/>
                <a:gd name="connsiteX35" fmla="*/ 444148 w 442678"/>
                <a:gd name="connsiteY35" fmla="*/ 291104 h 737797"/>
                <a:gd name="connsiteX36" fmla="*/ 424473 w 442678"/>
                <a:gd name="connsiteY36" fmla="*/ 331155 h 737797"/>
                <a:gd name="connsiteX37" fmla="*/ 385826 w 442678"/>
                <a:gd name="connsiteY37" fmla="*/ 327642 h 737797"/>
                <a:gd name="connsiteX38" fmla="*/ 340153 w 442678"/>
                <a:gd name="connsiteY38" fmla="*/ 302346 h 737797"/>
                <a:gd name="connsiteX39" fmla="*/ 296588 w 442678"/>
                <a:gd name="connsiteY39" fmla="*/ 359965 h 737797"/>
                <a:gd name="connsiteX40" fmla="*/ 321884 w 442678"/>
                <a:gd name="connsiteY40" fmla="*/ 428123 h 737797"/>
                <a:gd name="connsiteX41" fmla="*/ 378097 w 442678"/>
                <a:gd name="connsiteY41" fmla="*/ 423205 h 737797"/>
                <a:gd name="connsiteX42" fmla="*/ 414636 w 442678"/>
                <a:gd name="connsiteY42" fmla="*/ 403530 h 737797"/>
                <a:gd name="connsiteX43" fmla="*/ 444850 w 442678"/>
                <a:gd name="connsiteY43" fmla="*/ 451311 h 737797"/>
                <a:gd name="connsiteX44" fmla="*/ 443445 w 442678"/>
                <a:gd name="connsiteY44" fmla="*/ 516659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42678" h="737797">
                  <a:moveTo>
                    <a:pt x="443445" y="516659"/>
                  </a:moveTo>
                  <a:cubicBezTo>
                    <a:pt x="441337" y="538441"/>
                    <a:pt x="454688" y="573574"/>
                    <a:pt x="438526" y="588331"/>
                  </a:cubicBezTo>
                  <a:cubicBezTo>
                    <a:pt x="424473" y="600979"/>
                    <a:pt x="390042" y="591844"/>
                    <a:pt x="364746" y="591844"/>
                  </a:cubicBezTo>
                  <a:cubicBezTo>
                    <a:pt x="343666" y="591844"/>
                    <a:pt x="322586" y="591844"/>
                    <a:pt x="301506" y="591844"/>
                  </a:cubicBezTo>
                  <a:cubicBezTo>
                    <a:pt x="286751" y="591844"/>
                    <a:pt x="274805" y="599573"/>
                    <a:pt x="269184" y="612924"/>
                  </a:cubicBezTo>
                  <a:cubicBezTo>
                    <a:pt x="262860" y="627680"/>
                    <a:pt x="278319" y="630490"/>
                    <a:pt x="285345" y="637517"/>
                  </a:cubicBezTo>
                  <a:cubicBezTo>
                    <a:pt x="317668" y="667732"/>
                    <a:pt x="309236" y="708486"/>
                    <a:pt x="264968" y="732377"/>
                  </a:cubicBezTo>
                  <a:cubicBezTo>
                    <a:pt x="229835" y="751349"/>
                    <a:pt x="177838" y="740106"/>
                    <a:pt x="153947" y="708486"/>
                  </a:cubicBezTo>
                  <a:cubicBezTo>
                    <a:pt x="134272" y="683190"/>
                    <a:pt x="137083" y="661407"/>
                    <a:pt x="159569" y="638220"/>
                  </a:cubicBezTo>
                  <a:cubicBezTo>
                    <a:pt x="166595" y="631193"/>
                    <a:pt x="184864" y="629085"/>
                    <a:pt x="177135" y="612221"/>
                  </a:cubicBezTo>
                  <a:cubicBezTo>
                    <a:pt x="170109" y="596763"/>
                    <a:pt x="156055" y="590439"/>
                    <a:pt x="139191" y="591141"/>
                  </a:cubicBezTo>
                  <a:cubicBezTo>
                    <a:pt x="100545" y="591844"/>
                    <a:pt x="62601" y="589736"/>
                    <a:pt x="23954" y="591844"/>
                  </a:cubicBezTo>
                  <a:cubicBezTo>
                    <a:pt x="4280" y="592546"/>
                    <a:pt x="-639" y="586223"/>
                    <a:pt x="64" y="567251"/>
                  </a:cubicBezTo>
                  <a:cubicBezTo>
                    <a:pt x="1469" y="530010"/>
                    <a:pt x="766" y="492768"/>
                    <a:pt x="64" y="454824"/>
                  </a:cubicBezTo>
                  <a:cubicBezTo>
                    <a:pt x="64" y="435852"/>
                    <a:pt x="6388" y="421097"/>
                    <a:pt x="20441" y="409151"/>
                  </a:cubicBezTo>
                  <a:cubicBezTo>
                    <a:pt x="34494" y="397908"/>
                    <a:pt x="47142" y="396503"/>
                    <a:pt x="59790" y="412665"/>
                  </a:cubicBezTo>
                  <a:cubicBezTo>
                    <a:pt x="71033" y="427420"/>
                    <a:pt x="82978" y="447095"/>
                    <a:pt x="106166" y="437258"/>
                  </a:cubicBezTo>
                  <a:cubicBezTo>
                    <a:pt x="130057" y="427420"/>
                    <a:pt x="146920" y="410557"/>
                    <a:pt x="149029" y="382450"/>
                  </a:cubicBezTo>
                  <a:cubicBezTo>
                    <a:pt x="151137" y="355749"/>
                    <a:pt x="148326" y="331858"/>
                    <a:pt x="125840" y="313589"/>
                  </a:cubicBezTo>
                  <a:cubicBezTo>
                    <a:pt x="101950" y="293914"/>
                    <a:pt x="88599" y="295320"/>
                    <a:pt x="67519" y="317102"/>
                  </a:cubicBezTo>
                  <a:cubicBezTo>
                    <a:pt x="58385" y="326237"/>
                    <a:pt x="54169" y="345209"/>
                    <a:pt x="34494" y="337480"/>
                  </a:cubicBezTo>
                  <a:cubicBezTo>
                    <a:pt x="14117" y="329750"/>
                    <a:pt x="1469" y="314292"/>
                    <a:pt x="766" y="292509"/>
                  </a:cubicBezTo>
                  <a:cubicBezTo>
                    <a:pt x="-639" y="249647"/>
                    <a:pt x="766" y="206784"/>
                    <a:pt x="64" y="163921"/>
                  </a:cubicBezTo>
                  <a:cubicBezTo>
                    <a:pt x="-639" y="147760"/>
                    <a:pt x="8496" y="149166"/>
                    <a:pt x="19036" y="149166"/>
                  </a:cubicBezTo>
                  <a:cubicBezTo>
                    <a:pt x="58385" y="149166"/>
                    <a:pt x="97734" y="149166"/>
                    <a:pt x="137083" y="149166"/>
                  </a:cubicBezTo>
                  <a:cubicBezTo>
                    <a:pt x="148326" y="149166"/>
                    <a:pt x="158163" y="147760"/>
                    <a:pt x="167298" y="139328"/>
                  </a:cubicBezTo>
                  <a:cubicBezTo>
                    <a:pt x="179243" y="128086"/>
                    <a:pt x="184162" y="118951"/>
                    <a:pt x="167298" y="107708"/>
                  </a:cubicBezTo>
                  <a:cubicBezTo>
                    <a:pt x="148326" y="94358"/>
                    <a:pt x="133570" y="76791"/>
                    <a:pt x="142705" y="52198"/>
                  </a:cubicBezTo>
                  <a:cubicBezTo>
                    <a:pt x="152542" y="25497"/>
                    <a:pt x="171514" y="5120"/>
                    <a:pt x="201728" y="1606"/>
                  </a:cubicBezTo>
                  <a:cubicBezTo>
                    <a:pt x="236159" y="-2610"/>
                    <a:pt x="269184" y="-502"/>
                    <a:pt x="292372" y="32523"/>
                  </a:cubicBezTo>
                  <a:cubicBezTo>
                    <a:pt x="312046" y="59927"/>
                    <a:pt x="309938" y="78899"/>
                    <a:pt x="286048" y="102087"/>
                  </a:cubicBezTo>
                  <a:cubicBezTo>
                    <a:pt x="278319" y="109114"/>
                    <a:pt x="261455" y="113330"/>
                    <a:pt x="269887" y="128788"/>
                  </a:cubicBezTo>
                  <a:cubicBezTo>
                    <a:pt x="276913" y="142139"/>
                    <a:pt x="289561" y="149166"/>
                    <a:pt x="305723" y="149166"/>
                  </a:cubicBezTo>
                  <a:cubicBezTo>
                    <a:pt x="344369" y="148463"/>
                    <a:pt x="382313" y="150571"/>
                    <a:pt x="420959" y="148463"/>
                  </a:cubicBezTo>
                  <a:cubicBezTo>
                    <a:pt x="441337" y="147760"/>
                    <a:pt x="444850" y="154084"/>
                    <a:pt x="444148" y="173056"/>
                  </a:cubicBezTo>
                  <a:cubicBezTo>
                    <a:pt x="442742" y="212405"/>
                    <a:pt x="443445" y="251754"/>
                    <a:pt x="444148" y="291104"/>
                  </a:cubicBezTo>
                  <a:cubicBezTo>
                    <a:pt x="444148" y="308670"/>
                    <a:pt x="437121" y="320615"/>
                    <a:pt x="424473" y="331155"/>
                  </a:cubicBezTo>
                  <a:cubicBezTo>
                    <a:pt x="410419" y="342398"/>
                    <a:pt x="397771" y="344506"/>
                    <a:pt x="385826" y="327642"/>
                  </a:cubicBezTo>
                  <a:cubicBezTo>
                    <a:pt x="374584" y="312886"/>
                    <a:pt x="363341" y="293212"/>
                    <a:pt x="340153" y="302346"/>
                  </a:cubicBezTo>
                  <a:cubicBezTo>
                    <a:pt x="314857" y="312184"/>
                    <a:pt x="298696" y="331155"/>
                    <a:pt x="296588" y="359965"/>
                  </a:cubicBezTo>
                  <a:cubicBezTo>
                    <a:pt x="294480" y="386666"/>
                    <a:pt x="298696" y="410557"/>
                    <a:pt x="321884" y="428123"/>
                  </a:cubicBezTo>
                  <a:cubicBezTo>
                    <a:pt x="345072" y="445690"/>
                    <a:pt x="357720" y="444987"/>
                    <a:pt x="378097" y="423205"/>
                  </a:cubicBezTo>
                  <a:cubicBezTo>
                    <a:pt x="387934" y="412665"/>
                    <a:pt x="394961" y="393693"/>
                    <a:pt x="414636" y="403530"/>
                  </a:cubicBezTo>
                  <a:cubicBezTo>
                    <a:pt x="433608" y="412665"/>
                    <a:pt x="445553" y="428123"/>
                    <a:pt x="444850" y="451311"/>
                  </a:cubicBezTo>
                  <a:cubicBezTo>
                    <a:pt x="442742" y="472391"/>
                    <a:pt x="443445" y="492066"/>
                    <a:pt x="443445" y="51665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F425FB57-7496-41AD-86DC-2BC6D9F697C2}"/>
                </a:ext>
              </a:extLst>
            </p:cNvPr>
            <p:cNvSpPr/>
            <p:nvPr/>
          </p:nvSpPr>
          <p:spPr>
            <a:xfrm flipH="1">
              <a:off x="3559383" y="5076501"/>
              <a:ext cx="1026185" cy="1013970"/>
            </a:xfrm>
            <a:custGeom>
              <a:avLst/>
              <a:gdLst>
                <a:gd name="connsiteX0" fmla="*/ 710 w 590237"/>
                <a:gd name="connsiteY0" fmla="*/ 508487 h 583211"/>
                <a:gd name="connsiteX1" fmla="*/ 710 w 590237"/>
                <a:gd name="connsiteY1" fmla="*/ 448058 h 583211"/>
                <a:gd name="connsiteX2" fmla="*/ 16168 w 590237"/>
                <a:gd name="connsiteY2" fmla="*/ 411520 h 583211"/>
                <a:gd name="connsiteX3" fmla="*/ 61841 w 590237"/>
                <a:gd name="connsiteY3" fmla="*/ 413628 h 583211"/>
                <a:gd name="connsiteX4" fmla="*/ 103298 w 590237"/>
                <a:gd name="connsiteY4" fmla="*/ 437518 h 583211"/>
                <a:gd name="connsiteX5" fmla="*/ 146864 w 590237"/>
                <a:gd name="connsiteY5" fmla="*/ 389737 h 583211"/>
                <a:gd name="connsiteX6" fmla="*/ 125081 w 590237"/>
                <a:gd name="connsiteY6" fmla="*/ 312444 h 583211"/>
                <a:gd name="connsiteX7" fmla="*/ 66760 w 590237"/>
                <a:gd name="connsiteY7" fmla="*/ 316660 h 583211"/>
                <a:gd name="connsiteX8" fmla="*/ 33032 w 590237"/>
                <a:gd name="connsiteY8" fmla="*/ 336335 h 583211"/>
                <a:gd name="connsiteX9" fmla="*/ 710 w 590237"/>
                <a:gd name="connsiteY9" fmla="*/ 290661 h 583211"/>
                <a:gd name="connsiteX10" fmla="*/ 710 w 590237"/>
                <a:gd name="connsiteY10" fmla="*/ 164884 h 583211"/>
                <a:gd name="connsiteX11" fmla="*/ 17574 w 590237"/>
                <a:gd name="connsiteY11" fmla="*/ 148021 h 583211"/>
                <a:gd name="connsiteX12" fmla="*/ 135621 w 590237"/>
                <a:gd name="connsiteY12" fmla="*/ 148723 h 583211"/>
                <a:gd name="connsiteX13" fmla="*/ 165836 w 590237"/>
                <a:gd name="connsiteY13" fmla="*/ 139589 h 583211"/>
                <a:gd name="connsiteX14" fmla="*/ 167241 w 590237"/>
                <a:gd name="connsiteY14" fmla="*/ 107969 h 583211"/>
                <a:gd name="connsiteX15" fmla="*/ 141242 w 590237"/>
                <a:gd name="connsiteY15" fmla="*/ 52458 h 583211"/>
                <a:gd name="connsiteX16" fmla="*/ 203077 w 590237"/>
                <a:gd name="connsiteY16" fmla="*/ 1164 h 583211"/>
                <a:gd name="connsiteX17" fmla="*/ 293018 w 590237"/>
                <a:gd name="connsiteY17" fmla="*/ 32784 h 583211"/>
                <a:gd name="connsiteX18" fmla="*/ 286694 w 590237"/>
                <a:gd name="connsiteY18" fmla="*/ 100239 h 583211"/>
                <a:gd name="connsiteX19" fmla="*/ 268424 w 590237"/>
                <a:gd name="connsiteY19" fmla="*/ 126238 h 583211"/>
                <a:gd name="connsiteX20" fmla="*/ 306368 w 590237"/>
                <a:gd name="connsiteY20" fmla="*/ 148021 h 583211"/>
                <a:gd name="connsiteX21" fmla="*/ 421605 w 590237"/>
                <a:gd name="connsiteY21" fmla="*/ 147318 h 583211"/>
                <a:gd name="connsiteX22" fmla="*/ 443388 w 590237"/>
                <a:gd name="connsiteY22" fmla="*/ 169803 h 583211"/>
                <a:gd name="connsiteX23" fmla="*/ 442685 w 590237"/>
                <a:gd name="connsiteY23" fmla="*/ 282229 h 583211"/>
                <a:gd name="connsiteX24" fmla="*/ 453928 w 590237"/>
                <a:gd name="connsiteY24" fmla="*/ 314552 h 583211"/>
                <a:gd name="connsiteX25" fmla="*/ 482737 w 590237"/>
                <a:gd name="connsiteY25" fmla="*/ 314552 h 583211"/>
                <a:gd name="connsiteX26" fmla="*/ 539653 w 590237"/>
                <a:gd name="connsiteY26" fmla="*/ 288554 h 583211"/>
                <a:gd name="connsiteX27" fmla="*/ 590947 w 590237"/>
                <a:gd name="connsiteY27" fmla="*/ 353198 h 583211"/>
                <a:gd name="connsiteX28" fmla="*/ 560030 w 590237"/>
                <a:gd name="connsiteY28" fmla="*/ 438221 h 583211"/>
                <a:gd name="connsiteX29" fmla="*/ 489763 w 590237"/>
                <a:gd name="connsiteY29" fmla="*/ 431897 h 583211"/>
                <a:gd name="connsiteX30" fmla="*/ 465873 w 590237"/>
                <a:gd name="connsiteY30" fmla="*/ 414330 h 583211"/>
                <a:gd name="connsiteX31" fmla="*/ 441982 w 590237"/>
                <a:gd name="connsiteY31" fmla="*/ 450869 h 583211"/>
                <a:gd name="connsiteX32" fmla="*/ 442685 w 590237"/>
                <a:gd name="connsiteY32" fmla="*/ 568214 h 583211"/>
                <a:gd name="connsiteX33" fmla="*/ 419497 w 590237"/>
                <a:gd name="connsiteY33" fmla="*/ 589996 h 583211"/>
                <a:gd name="connsiteX34" fmla="*/ 307071 w 590237"/>
                <a:gd name="connsiteY34" fmla="*/ 589996 h 583211"/>
                <a:gd name="connsiteX35" fmla="*/ 263506 w 590237"/>
                <a:gd name="connsiteY35" fmla="*/ 572430 h 583211"/>
                <a:gd name="connsiteX36" fmla="*/ 266316 w 590237"/>
                <a:gd name="connsiteY36" fmla="*/ 528864 h 583211"/>
                <a:gd name="connsiteX37" fmla="*/ 289504 w 590237"/>
                <a:gd name="connsiteY37" fmla="*/ 485299 h 583211"/>
                <a:gd name="connsiteX38" fmla="*/ 237507 w 590237"/>
                <a:gd name="connsiteY38" fmla="*/ 442437 h 583211"/>
                <a:gd name="connsiteX39" fmla="*/ 167241 w 590237"/>
                <a:gd name="connsiteY39" fmla="*/ 462111 h 583211"/>
                <a:gd name="connsiteX40" fmla="*/ 170051 w 590237"/>
                <a:gd name="connsiteY40" fmla="*/ 523946 h 583211"/>
                <a:gd name="connsiteX41" fmla="*/ 189023 w 590237"/>
                <a:gd name="connsiteY41" fmla="*/ 555566 h 583211"/>
                <a:gd name="connsiteX42" fmla="*/ 148971 w 590237"/>
                <a:gd name="connsiteY42" fmla="*/ 587888 h 583211"/>
                <a:gd name="connsiteX43" fmla="*/ 11952 w 590237"/>
                <a:gd name="connsiteY43" fmla="*/ 589294 h 583211"/>
                <a:gd name="connsiteX44" fmla="*/ 7 w 590237"/>
                <a:gd name="connsiteY44" fmla="*/ 573132 h 583211"/>
                <a:gd name="connsiteX45" fmla="*/ 710 w 590237"/>
                <a:gd name="connsiteY45" fmla="*/ 508487 h 58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83211">
                  <a:moveTo>
                    <a:pt x="710" y="508487"/>
                  </a:moveTo>
                  <a:cubicBezTo>
                    <a:pt x="710" y="488110"/>
                    <a:pt x="1412" y="468435"/>
                    <a:pt x="710" y="448058"/>
                  </a:cubicBezTo>
                  <a:cubicBezTo>
                    <a:pt x="7" y="433302"/>
                    <a:pt x="5628" y="421357"/>
                    <a:pt x="16168" y="411520"/>
                  </a:cubicBezTo>
                  <a:cubicBezTo>
                    <a:pt x="32329" y="396764"/>
                    <a:pt x="47085" y="393250"/>
                    <a:pt x="61841" y="413628"/>
                  </a:cubicBezTo>
                  <a:cubicBezTo>
                    <a:pt x="71678" y="427681"/>
                    <a:pt x="83624" y="444545"/>
                    <a:pt x="103298" y="437518"/>
                  </a:cubicBezTo>
                  <a:cubicBezTo>
                    <a:pt x="125081" y="429789"/>
                    <a:pt x="142648" y="415033"/>
                    <a:pt x="146864" y="389737"/>
                  </a:cubicBezTo>
                  <a:cubicBezTo>
                    <a:pt x="151782" y="360928"/>
                    <a:pt x="150377" y="333524"/>
                    <a:pt x="125081" y="312444"/>
                  </a:cubicBezTo>
                  <a:cubicBezTo>
                    <a:pt x="101893" y="293472"/>
                    <a:pt x="87840" y="294877"/>
                    <a:pt x="66760" y="316660"/>
                  </a:cubicBezTo>
                  <a:cubicBezTo>
                    <a:pt x="57625" y="325795"/>
                    <a:pt x="53409" y="345469"/>
                    <a:pt x="33032" y="336335"/>
                  </a:cubicBezTo>
                  <a:cubicBezTo>
                    <a:pt x="13357" y="327903"/>
                    <a:pt x="710" y="313849"/>
                    <a:pt x="710" y="290661"/>
                  </a:cubicBezTo>
                  <a:cubicBezTo>
                    <a:pt x="710" y="248502"/>
                    <a:pt x="1412" y="207044"/>
                    <a:pt x="710" y="164884"/>
                  </a:cubicBezTo>
                  <a:cubicBezTo>
                    <a:pt x="710" y="151534"/>
                    <a:pt x="4223" y="148021"/>
                    <a:pt x="17574" y="148021"/>
                  </a:cubicBezTo>
                  <a:cubicBezTo>
                    <a:pt x="56923" y="148723"/>
                    <a:pt x="96272" y="148021"/>
                    <a:pt x="135621" y="148723"/>
                  </a:cubicBezTo>
                  <a:cubicBezTo>
                    <a:pt x="146864" y="148723"/>
                    <a:pt x="157404" y="147318"/>
                    <a:pt x="165836" y="139589"/>
                  </a:cubicBezTo>
                  <a:cubicBezTo>
                    <a:pt x="177781" y="129049"/>
                    <a:pt x="184808" y="119914"/>
                    <a:pt x="167241" y="107969"/>
                  </a:cubicBezTo>
                  <a:cubicBezTo>
                    <a:pt x="148269" y="95321"/>
                    <a:pt x="134216" y="77754"/>
                    <a:pt x="141242" y="52458"/>
                  </a:cubicBezTo>
                  <a:cubicBezTo>
                    <a:pt x="147566" y="27865"/>
                    <a:pt x="177078" y="3974"/>
                    <a:pt x="203077" y="1164"/>
                  </a:cubicBezTo>
                  <a:cubicBezTo>
                    <a:pt x="238210" y="-2349"/>
                    <a:pt x="270533" y="461"/>
                    <a:pt x="293018" y="32784"/>
                  </a:cubicBezTo>
                  <a:cubicBezTo>
                    <a:pt x="311287" y="58782"/>
                    <a:pt x="308476" y="78457"/>
                    <a:pt x="286694" y="100239"/>
                  </a:cubicBezTo>
                  <a:cubicBezTo>
                    <a:pt x="279667" y="107969"/>
                    <a:pt x="261398" y="110779"/>
                    <a:pt x="268424" y="126238"/>
                  </a:cubicBezTo>
                  <a:cubicBezTo>
                    <a:pt x="275451" y="140994"/>
                    <a:pt x="288802" y="148021"/>
                    <a:pt x="306368" y="148021"/>
                  </a:cubicBezTo>
                  <a:cubicBezTo>
                    <a:pt x="345015" y="147318"/>
                    <a:pt x="382959" y="148723"/>
                    <a:pt x="421605" y="147318"/>
                  </a:cubicBezTo>
                  <a:cubicBezTo>
                    <a:pt x="440577" y="146615"/>
                    <a:pt x="444090" y="152939"/>
                    <a:pt x="443388" y="169803"/>
                  </a:cubicBezTo>
                  <a:cubicBezTo>
                    <a:pt x="441982" y="207044"/>
                    <a:pt x="443388" y="244285"/>
                    <a:pt x="442685" y="282229"/>
                  </a:cubicBezTo>
                  <a:cubicBezTo>
                    <a:pt x="442685" y="294877"/>
                    <a:pt x="445496" y="305417"/>
                    <a:pt x="453928" y="314552"/>
                  </a:cubicBezTo>
                  <a:cubicBezTo>
                    <a:pt x="463765" y="324389"/>
                    <a:pt x="472197" y="328605"/>
                    <a:pt x="482737" y="314552"/>
                  </a:cubicBezTo>
                  <a:cubicBezTo>
                    <a:pt x="496790" y="295580"/>
                    <a:pt x="512952" y="278014"/>
                    <a:pt x="539653" y="288554"/>
                  </a:cubicBezTo>
                  <a:cubicBezTo>
                    <a:pt x="568462" y="299796"/>
                    <a:pt x="588136" y="320173"/>
                    <a:pt x="590947" y="353198"/>
                  </a:cubicBezTo>
                  <a:cubicBezTo>
                    <a:pt x="593758" y="386927"/>
                    <a:pt x="589542" y="416438"/>
                    <a:pt x="560030" y="438221"/>
                  </a:cubicBezTo>
                  <a:cubicBezTo>
                    <a:pt x="534032" y="457193"/>
                    <a:pt x="512952" y="455085"/>
                    <a:pt x="489763" y="431897"/>
                  </a:cubicBezTo>
                  <a:cubicBezTo>
                    <a:pt x="482737" y="424870"/>
                    <a:pt x="479224" y="408709"/>
                    <a:pt x="465873" y="414330"/>
                  </a:cubicBezTo>
                  <a:cubicBezTo>
                    <a:pt x="451117" y="420654"/>
                    <a:pt x="441982" y="433302"/>
                    <a:pt x="441982" y="450869"/>
                  </a:cubicBezTo>
                  <a:cubicBezTo>
                    <a:pt x="441982" y="490218"/>
                    <a:pt x="440577" y="529567"/>
                    <a:pt x="442685" y="568214"/>
                  </a:cubicBezTo>
                  <a:cubicBezTo>
                    <a:pt x="443388" y="587186"/>
                    <a:pt x="437064" y="590699"/>
                    <a:pt x="419497" y="589996"/>
                  </a:cubicBezTo>
                  <a:cubicBezTo>
                    <a:pt x="382256" y="588591"/>
                    <a:pt x="345015" y="589294"/>
                    <a:pt x="307071" y="589996"/>
                  </a:cubicBezTo>
                  <a:cubicBezTo>
                    <a:pt x="289504" y="589996"/>
                    <a:pt x="274748" y="586483"/>
                    <a:pt x="263506" y="572430"/>
                  </a:cubicBezTo>
                  <a:cubicBezTo>
                    <a:pt x="250155" y="556971"/>
                    <a:pt x="247344" y="543621"/>
                    <a:pt x="266316" y="528864"/>
                  </a:cubicBezTo>
                  <a:cubicBezTo>
                    <a:pt x="280370" y="518324"/>
                    <a:pt x="297936" y="507082"/>
                    <a:pt x="289504" y="485299"/>
                  </a:cubicBezTo>
                  <a:cubicBezTo>
                    <a:pt x="280370" y="462111"/>
                    <a:pt x="264911" y="445248"/>
                    <a:pt x="237507" y="442437"/>
                  </a:cubicBezTo>
                  <a:cubicBezTo>
                    <a:pt x="211509" y="439626"/>
                    <a:pt x="186915" y="440329"/>
                    <a:pt x="167241" y="462111"/>
                  </a:cubicBezTo>
                  <a:cubicBezTo>
                    <a:pt x="144756" y="487407"/>
                    <a:pt x="145458" y="502163"/>
                    <a:pt x="170051" y="523946"/>
                  </a:cubicBezTo>
                  <a:cubicBezTo>
                    <a:pt x="179186" y="532378"/>
                    <a:pt x="196050" y="537296"/>
                    <a:pt x="189023" y="555566"/>
                  </a:cubicBezTo>
                  <a:cubicBezTo>
                    <a:pt x="181997" y="573835"/>
                    <a:pt x="168646" y="587186"/>
                    <a:pt x="148971" y="587888"/>
                  </a:cubicBezTo>
                  <a:cubicBezTo>
                    <a:pt x="103298" y="589294"/>
                    <a:pt x="57625" y="588591"/>
                    <a:pt x="11952" y="589294"/>
                  </a:cubicBezTo>
                  <a:cubicBezTo>
                    <a:pt x="-696" y="589294"/>
                    <a:pt x="7" y="581564"/>
                    <a:pt x="7" y="573132"/>
                  </a:cubicBezTo>
                  <a:cubicBezTo>
                    <a:pt x="1412" y="552053"/>
                    <a:pt x="1412" y="530270"/>
                    <a:pt x="710" y="50848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32F10874-F28B-4EB1-A36D-3D9E67783D05}"/>
                </a:ext>
              </a:extLst>
            </p:cNvPr>
            <p:cNvSpPr/>
            <p:nvPr/>
          </p:nvSpPr>
          <p:spPr>
            <a:xfrm>
              <a:off x="8148432" y="3556239"/>
              <a:ext cx="1026185" cy="1026186"/>
            </a:xfrm>
            <a:custGeom>
              <a:avLst/>
              <a:gdLst>
                <a:gd name="connsiteX0" fmla="*/ 228795 w 590237"/>
                <a:gd name="connsiteY0" fmla="*/ 149140 h 590237"/>
                <a:gd name="connsiteX1" fmla="*/ 292034 w 590237"/>
                <a:gd name="connsiteY1" fmla="*/ 149140 h 590237"/>
                <a:gd name="connsiteX2" fmla="*/ 323654 w 590237"/>
                <a:gd name="connsiteY2" fmla="*/ 127358 h 590237"/>
                <a:gd name="connsiteX3" fmla="*/ 308898 w 590237"/>
                <a:gd name="connsiteY3" fmla="*/ 104872 h 590237"/>
                <a:gd name="connsiteX4" fmla="*/ 322952 w 590237"/>
                <a:gd name="connsiteY4" fmla="*/ 11418 h 590237"/>
                <a:gd name="connsiteX5" fmla="*/ 438891 w 590237"/>
                <a:gd name="connsiteY5" fmla="*/ 33201 h 590237"/>
                <a:gd name="connsiteX6" fmla="*/ 432567 w 590237"/>
                <a:gd name="connsiteY6" fmla="*/ 103467 h 590237"/>
                <a:gd name="connsiteX7" fmla="*/ 415703 w 590237"/>
                <a:gd name="connsiteY7" fmla="*/ 128763 h 590237"/>
                <a:gd name="connsiteX8" fmla="*/ 451539 w 590237"/>
                <a:gd name="connsiteY8" fmla="*/ 149140 h 590237"/>
                <a:gd name="connsiteX9" fmla="*/ 571695 w 590237"/>
                <a:gd name="connsiteY9" fmla="*/ 148438 h 590237"/>
                <a:gd name="connsiteX10" fmla="*/ 592072 w 590237"/>
                <a:gd name="connsiteY10" fmla="*/ 168112 h 590237"/>
                <a:gd name="connsiteX11" fmla="*/ 591369 w 590237"/>
                <a:gd name="connsiteY11" fmla="*/ 288268 h 590237"/>
                <a:gd name="connsiteX12" fmla="*/ 570289 w 590237"/>
                <a:gd name="connsiteY12" fmla="*/ 330428 h 590237"/>
                <a:gd name="connsiteX13" fmla="*/ 530940 w 590237"/>
                <a:gd name="connsiteY13" fmla="*/ 326915 h 590237"/>
                <a:gd name="connsiteX14" fmla="*/ 484564 w 590237"/>
                <a:gd name="connsiteY14" fmla="*/ 302321 h 590237"/>
                <a:gd name="connsiteX15" fmla="*/ 442405 w 590237"/>
                <a:gd name="connsiteY15" fmla="*/ 357831 h 590237"/>
                <a:gd name="connsiteX16" fmla="*/ 463485 w 590237"/>
                <a:gd name="connsiteY16" fmla="*/ 425287 h 590237"/>
                <a:gd name="connsiteX17" fmla="*/ 523913 w 590237"/>
                <a:gd name="connsiteY17" fmla="*/ 422477 h 590237"/>
                <a:gd name="connsiteX18" fmla="*/ 558344 w 590237"/>
                <a:gd name="connsiteY18" fmla="*/ 402802 h 590237"/>
                <a:gd name="connsiteX19" fmla="*/ 590667 w 590237"/>
                <a:gd name="connsiteY19" fmla="*/ 446367 h 590237"/>
                <a:gd name="connsiteX20" fmla="*/ 591369 w 590237"/>
                <a:gd name="connsiteY20" fmla="*/ 577765 h 590237"/>
                <a:gd name="connsiteX21" fmla="*/ 574505 w 590237"/>
                <a:gd name="connsiteY21" fmla="*/ 592521 h 590237"/>
                <a:gd name="connsiteX22" fmla="*/ 445918 w 590237"/>
                <a:gd name="connsiteY22" fmla="*/ 592521 h 590237"/>
                <a:gd name="connsiteX23" fmla="*/ 410785 w 590237"/>
                <a:gd name="connsiteY23" fmla="*/ 574955 h 590237"/>
                <a:gd name="connsiteX24" fmla="*/ 413595 w 590237"/>
                <a:gd name="connsiteY24" fmla="*/ 531390 h 590237"/>
                <a:gd name="connsiteX25" fmla="*/ 436783 w 590237"/>
                <a:gd name="connsiteY25" fmla="*/ 487122 h 590237"/>
                <a:gd name="connsiteX26" fmla="*/ 381975 w 590237"/>
                <a:gd name="connsiteY26" fmla="*/ 444962 h 590237"/>
                <a:gd name="connsiteX27" fmla="*/ 311006 w 590237"/>
                <a:gd name="connsiteY27" fmla="*/ 469555 h 590237"/>
                <a:gd name="connsiteX28" fmla="*/ 316628 w 590237"/>
                <a:gd name="connsiteY28" fmla="*/ 525768 h 590237"/>
                <a:gd name="connsiteX29" fmla="*/ 337005 w 590237"/>
                <a:gd name="connsiteY29" fmla="*/ 558794 h 590237"/>
                <a:gd name="connsiteX30" fmla="*/ 289224 w 590237"/>
                <a:gd name="connsiteY30" fmla="*/ 592521 h 590237"/>
                <a:gd name="connsiteX31" fmla="*/ 166258 w 590237"/>
                <a:gd name="connsiteY31" fmla="*/ 592521 h 590237"/>
                <a:gd name="connsiteX32" fmla="*/ 148691 w 590237"/>
                <a:gd name="connsiteY32" fmla="*/ 573549 h 590237"/>
                <a:gd name="connsiteX33" fmla="*/ 149394 w 590237"/>
                <a:gd name="connsiteY33" fmla="*/ 458312 h 590237"/>
                <a:gd name="connsiteX34" fmla="*/ 137448 w 590237"/>
                <a:gd name="connsiteY34" fmla="*/ 423179 h 590237"/>
                <a:gd name="connsiteX35" fmla="*/ 109342 w 590237"/>
                <a:gd name="connsiteY35" fmla="*/ 423882 h 590237"/>
                <a:gd name="connsiteX36" fmla="*/ 49615 w 590237"/>
                <a:gd name="connsiteY36" fmla="*/ 449178 h 590237"/>
                <a:gd name="connsiteX37" fmla="*/ 429 w 590237"/>
                <a:gd name="connsiteY37" fmla="*/ 382425 h 590237"/>
                <a:gd name="connsiteX38" fmla="*/ 32049 w 590237"/>
                <a:gd name="connsiteY38" fmla="*/ 300213 h 590237"/>
                <a:gd name="connsiteX39" fmla="*/ 101613 w 590237"/>
                <a:gd name="connsiteY39" fmla="*/ 305835 h 590237"/>
                <a:gd name="connsiteX40" fmla="*/ 128314 w 590237"/>
                <a:gd name="connsiteY40" fmla="*/ 322698 h 590237"/>
                <a:gd name="connsiteX41" fmla="*/ 148691 w 590237"/>
                <a:gd name="connsiteY41" fmla="*/ 286863 h 590237"/>
                <a:gd name="connsiteX42" fmla="*/ 147988 w 590237"/>
                <a:gd name="connsiteY42" fmla="*/ 168815 h 590237"/>
                <a:gd name="connsiteX43" fmla="*/ 168366 w 590237"/>
                <a:gd name="connsiteY43" fmla="*/ 147032 h 590237"/>
                <a:gd name="connsiteX44" fmla="*/ 228795 w 590237"/>
                <a:gd name="connsiteY44" fmla="*/ 14914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90237" h="590237">
                  <a:moveTo>
                    <a:pt x="228795" y="149140"/>
                  </a:moveTo>
                  <a:cubicBezTo>
                    <a:pt x="249874" y="149140"/>
                    <a:pt x="270954" y="148438"/>
                    <a:pt x="292034" y="149140"/>
                  </a:cubicBezTo>
                  <a:cubicBezTo>
                    <a:pt x="308196" y="149843"/>
                    <a:pt x="318033" y="140006"/>
                    <a:pt x="323654" y="127358"/>
                  </a:cubicBezTo>
                  <a:cubicBezTo>
                    <a:pt x="329276" y="114710"/>
                    <a:pt x="315222" y="110494"/>
                    <a:pt x="308898" y="104872"/>
                  </a:cubicBezTo>
                  <a:cubicBezTo>
                    <a:pt x="275873" y="73956"/>
                    <a:pt x="280792" y="38119"/>
                    <a:pt x="322952" y="11418"/>
                  </a:cubicBezTo>
                  <a:cubicBezTo>
                    <a:pt x="358085" y="-10364"/>
                    <a:pt x="413595" y="176"/>
                    <a:pt x="438891" y="33201"/>
                  </a:cubicBezTo>
                  <a:cubicBezTo>
                    <a:pt x="457863" y="59199"/>
                    <a:pt x="455755" y="80982"/>
                    <a:pt x="432567" y="103467"/>
                  </a:cubicBezTo>
                  <a:cubicBezTo>
                    <a:pt x="425540" y="110494"/>
                    <a:pt x="406569" y="111899"/>
                    <a:pt x="415703" y="128763"/>
                  </a:cubicBezTo>
                  <a:cubicBezTo>
                    <a:pt x="422730" y="142816"/>
                    <a:pt x="434675" y="149140"/>
                    <a:pt x="451539" y="149140"/>
                  </a:cubicBezTo>
                  <a:cubicBezTo>
                    <a:pt x="491591" y="148438"/>
                    <a:pt x="531643" y="149843"/>
                    <a:pt x="571695" y="148438"/>
                  </a:cubicBezTo>
                  <a:cubicBezTo>
                    <a:pt x="587153" y="147735"/>
                    <a:pt x="592072" y="151951"/>
                    <a:pt x="592072" y="168112"/>
                  </a:cubicBezTo>
                  <a:cubicBezTo>
                    <a:pt x="590667" y="208164"/>
                    <a:pt x="591369" y="248216"/>
                    <a:pt x="591369" y="288268"/>
                  </a:cubicBezTo>
                  <a:cubicBezTo>
                    <a:pt x="591369" y="305835"/>
                    <a:pt x="584343" y="319888"/>
                    <a:pt x="570289" y="330428"/>
                  </a:cubicBezTo>
                  <a:cubicBezTo>
                    <a:pt x="555533" y="341670"/>
                    <a:pt x="543588" y="343076"/>
                    <a:pt x="530940" y="326915"/>
                  </a:cubicBezTo>
                  <a:cubicBezTo>
                    <a:pt x="519698" y="312158"/>
                    <a:pt x="507752" y="293186"/>
                    <a:pt x="484564" y="302321"/>
                  </a:cubicBezTo>
                  <a:cubicBezTo>
                    <a:pt x="459971" y="312158"/>
                    <a:pt x="444512" y="329725"/>
                    <a:pt x="442405" y="357831"/>
                  </a:cubicBezTo>
                  <a:cubicBezTo>
                    <a:pt x="440296" y="383128"/>
                    <a:pt x="442405" y="407018"/>
                    <a:pt x="463485" y="425287"/>
                  </a:cubicBezTo>
                  <a:cubicBezTo>
                    <a:pt x="486672" y="445664"/>
                    <a:pt x="502834" y="444962"/>
                    <a:pt x="523913" y="422477"/>
                  </a:cubicBezTo>
                  <a:cubicBezTo>
                    <a:pt x="533048" y="412639"/>
                    <a:pt x="539372" y="394370"/>
                    <a:pt x="558344" y="402802"/>
                  </a:cubicBezTo>
                  <a:cubicBezTo>
                    <a:pt x="577316" y="410531"/>
                    <a:pt x="589964" y="425990"/>
                    <a:pt x="590667" y="446367"/>
                  </a:cubicBezTo>
                  <a:cubicBezTo>
                    <a:pt x="592072" y="489932"/>
                    <a:pt x="590667" y="534200"/>
                    <a:pt x="591369" y="577765"/>
                  </a:cubicBezTo>
                  <a:cubicBezTo>
                    <a:pt x="591369" y="591116"/>
                    <a:pt x="585748" y="592521"/>
                    <a:pt x="574505" y="592521"/>
                  </a:cubicBezTo>
                  <a:cubicBezTo>
                    <a:pt x="531643" y="591819"/>
                    <a:pt x="488780" y="592521"/>
                    <a:pt x="445918" y="592521"/>
                  </a:cubicBezTo>
                  <a:cubicBezTo>
                    <a:pt x="431162" y="592521"/>
                    <a:pt x="419919" y="584792"/>
                    <a:pt x="410785" y="574955"/>
                  </a:cubicBezTo>
                  <a:cubicBezTo>
                    <a:pt x="396731" y="559496"/>
                    <a:pt x="394623" y="545443"/>
                    <a:pt x="413595" y="531390"/>
                  </a:cubicBezTo>
                  <a:cubicBezTo>
                    <a:pt x="428351" y="520850"/>
                    <a:pt x="445918" y="508904"/>
                    <a:pt x="436783" y="487122"/>
                  </a:cubicBezTo>
                  <a:cubicBezTo>
                    <a:pt x="426946" y="463231"/>
                    <a:pt x="410082" y="446367"/>
                    <a:pt x="381975" y="444962"/>
                  </a:cubicBezTo>
                  <a:cubicBezTo>
                    <a:pt x="354572" y="443557"/>
                    <a:pt x="329276" y="444962"/>
                    <a:pt x="311006" y="469555"/>
                  </a:cubicBezTo>
                  <a:cubicBezTo>
                    <a:pt x="294142" y="492743"/>
                    <a:pt x="294845" y="506094"/>
                    <a:pt x="316628" y="525768"/>
                  </a:cubicBezTo>
                  <a:cubicBezTo>
                    <a:pt x="326465" y="534903"/>
                    <a:pt x="345437" y="539119"/>
                    <a:pt x="337005" y="558794"/>
                  </a:cubicBezTo>
                  <a:cubicBezTo>
                    <a:pt x="328573" y="579874"/>
                    <a:pt x="313114" y="592521"/>
                    <a:pt x="289224" y="592521"/>
                  </a:cubicBezTo>
                  <a:cubicBezTo>
                    <a:pt x="248469" y="592521"/>
                    <a:pt x="207012" y="591819"/>
                    <a:pt x="166258" y="592521"/>
                  </a:cubicBezTo>
                  <a:cubicBezTo>
                    <a:pt x="150799" y="593224"/>
                    <a:pt x="148691" y="586900"/>
                    <a:pt x="148691" y="573549"/>
                  </a:cubicBezTo>
                  <a:cubicBezTo>
                    <a:pt x="149394" y="534903"/>
                    <a:pt x="148691" y="496959"/>
                    <a:pt x="149394" y="458312"/>
                  </a:cubicBezTo>
                  <a:cubicBezTo>
                    <a:pt x="149394" y="444962"/>
                    <a:pt x="147286" y="433017"/>
                    <a:pt x="137448" y="423179"/>
                  </a:cubicBezTo>
                  <a:cubicBezTo>
                    <a:pt x="127611" y="413342"/>
                    <a:pt x="119179" y="409126"/>
                    <a:pt x="109342" y="423882"/>
                  </a:cubicBezTo>
                  <a:cubicBezTo>
                    <a:pt x="95288" y="444259"/>
                    <a:pt x="77019" y="461123"/>
                    <a:pt x="49615" y="449178"/>
                  </a:cubicBezTo>
                  <a:cubicBezTo>
                    <a:pt x="21509" y="436530"/>
                    <a:pt x="2537" y="416153"/>
                    <a:pt x="429" y="382425"/>
                  </a:cubicBezTo>
                  <a:cubicBezTo>
                    <a:pt x="-1679" y="350102"/>
                    <a:pt x="3240" y="320590"/>
                    <a:pt x="32049" y="300213"/>
                  </a:cubicBezTo>
                  <a:cubicBezTo>
                    <a:pt x="59453" y="280538"/>
                    <a:pt x="78425" y="281944"/>
                    <a:pt x="101613" y="305835"/>
                  </a:cubicBezTo>
                  <a:cubicBezTo>
                    <a:pt x="108639" y="313564"/>
                    <a:pt x="112153" y="330428"/>
                    <a:pt x="128314" y="322698"/>
                  </a:cubicBezTo>
                  <a:cubicBezTo>
                    <a:pt x="142367" y="315672"/>
                    <a:pt x="148691" y="303024"/>
                    <a:pt x="148691" y="286863"/>
                  </a:cubicBezTo>
                  <a:cubicBezTo>
                    <a:pt x="148691" y="247513"/>
                    <a:pt x="149394" y="208164"/>
                    <a:pt x="147988" y="168815"/>
                  </a:cubicBezTo>
                  <a:cubicBezTo>
                    <a:pt x="147286" y="152654"/>
                    <a:pt x="150096" y="145627"/>
                    <a:pt x="168366" y="147032"/>
                  </a:cubicBezTo>
                  <a:cubicBezTo>
                    <a:pt x="188743" y="150546"/>
                    <a:pt x="209120" y="149140"/>
                    <a:pt x="228795" y="14914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C0C395A1-7709-4B41-9B4F-9A83E2CD91E9}"/>
                </a:ext>
              </a:extLst>
            </p:cNvPr>
            <p:cNvSpPr/>
            <p:nvPr/>
          </p:nvSpPr>
          <p:spPr>
            <a:xfrm flipH="1">
              <a:off x="6619535" y="5076501"/>
              <a:ext cx="1026185" cy="1013970"/>
            </a:xfrm>
            <a:custGeom>
              <a:avLst/>
              <a:gdLst>
                <a:gd name="connsiteX0" fmla="*/ 710 w 590237"/>
                <a:gd name="connsiteY0" fmla="*/ 508487 h 583211"/>
                <a:gd name="connsiteX1" fmla="*/ 710 w 590237"/>
                <a:gd name="connsiteY1" fmla="*/ 448058 h 583211"/>
                <a:gd name="connsiteX2" fmla="*/ 16168 w 590237"/>
                <a:gd name="connsiteY2" fmla="*/ 411520 h 583211"/>
                <a:gd name="connsiteX3" fmla="*/ 61841 w 590237"/>
                <a:gd name="connsiteY3" fmla="*/ 413628 h 583211"/>
                <a:gd name="connsiteX4" fmla="*/ 103298 w 590237"/>
                <a:gd name="connsiteY4" fmla="*/ 437518 h 583211"/>
                <a:gd name="connsiteX5" fmla="*/ 146864 w 590237"/>
                <a:gd name="connsiteY5" fmla="*/ 389737 h 583211"/>
                <a:gd name="connsiteX6" fmla="*/ 125081 w 590237"/>
                <a:gd name="connsiteY6" fmla="*/ 312444 h 583211"/>
                <a:gd name="connsiteX7" fmla="*/ 66760 w 590237"/>
                <a:gd name="connsiteY7" fmla="*/ 316660 h 583211"/>
                <a:gd name="connsiteX8" fmla="*/ 33032 w 590237"/>
                <a:gd name="connsiteY8" fmla="*/ 336335 h 583211"/>
                <a:gd name="connsiteX9" fmla="*/ 710 w 590237"/>
                <a:gd name="connsiteY9" fmla="*/ 290661 h 583211"/>
                <a:gd name="connsiteX10" fmla="*/ 710 w 590237"/>
                <a:gd name="connsiteY10" fmla="*/ 164884 h 583211"/>
                <a:gd name="connsiteX11" fmla="*/ 17574 w 590237"/>
                <a:gd name="connsiteY11" fmla="*/ 148021 h 583211"/>
                <a:gd name="connsiteX12" fmla="*/ 135621 w 590237"/>
                <a:gd name="connsiteY12" fmla="*/ 148723 h 583211"/>
                <a:gd name="connsiteX13" fmla="*/ 165836 w 590237"/>
                <a:gd name="connsiteY13" fmla="*/ 139589 h 583211"/>
                <a:gd name="connsiteX14" fmla="*/ 167241 w 590237"/>
                <a:gd name="connsiteY14" fmla="*/ 107969 h 583211"/>
                <a:gd name="connsiteX15" fmla="*/ 141242 w 590237"/>
                <a:gd name="connsiteY15" fmla="*/ 52458 h 583211"/>
                <a:gd name="connsiteX16" fmla="*/ 203077 w 590237"/>
                <a:gd name="connsiteY16" fmla="*/ 1164 h 583211"/>
                <a:gd name="connsiteX17" fmla="*/ 293018 w 590237"/>
                <a:gd name="connsiteY17" fmla="*/ 32784 h 583211"/>
                <a:gd name="connsiteX18" fmla="*/ 286694 w 590237"/>
                <a:gd name="connsiteY18" fmla="*/ 100239 h 583211"/>
                <a:gd name="connsiteX19" fmla="*/ 268424 w 590237"/>
                <a:gd name="connsiteY19" fmla="*/ 126238 h 583211"/>
                <a:gd name="connsiteX20" fmla="*/ 306368 w 590237"/>
                <a:gd name="connsiteY20" fmla="*/ 148021 h 583211"/>
                <a:gd name="connsiteX21" fmla="*/ 421605 w 590237"/>
                <a:gd name="connsiteY21" fmla="*/ 147318 h 583211"/>
                <a:gd name="connsiteX22" fmla="*/ 443388 w 590237"/>
                <a:gd name="connsiteY22" fmla="*/ 169803 h 583211"/>
                <a:gd name="connsiteX23" fmla="*/ 442685 w 590237"/>
                <a:gd name="connsiteY23" fmla="*/ 282229 h 583211"/>
                <a:gd name="connsiteX24" fmla="*/ 453928 w 590237"/>
                <a:gd name="connsiteY24" fmla="*/ 314552 h 583211"/>
                <a:gd name="connsiteX25" fmla="*/ 482737 w 590237"/>
                <a:gd name="connsiteY25" fmla="*/ 314552 h 583211"/>
                <a:gd name="connsiteX26" fmla="*/ 539653 w 590237"/>
                <a:gd name="connsiteY26" fmla="*/ 288554 h 583211"/>
                <a:gd name="connsiteX27" fmla="*/ 590947 w 590237"/>
                <a:gd name="connsiteY27" fmla="*/ 353198 h 583211"/>
                <a:gd name="connsiteX28" fmla="*/ 560030 w 590237"/>
                <a:gd name="connsiteY28" fmla="*/ 438221 h 583211"/>
                <a:gd name="connsiteX29" fmla="*/ 489763 w 590237"/>
                <a:gd name="connsiteY29" fmla="*/ 431897 h 583211"/>
                <a:gd name="connsiteX30" fmla="*/ 465873 w 590237"/>
                <a:gd name="connsiteY30" fmla="*/ 414330 h 583211"/>
                <a:gd name="connsiteX31" fmla="*/ 441982 w 590237"/>
                <a:gd name="connsiteY31" fmla="*/ 450869 h 583211"/>
                <a:gd name="connsiteX32" fmla="*/ 442685 w 590237"/>
                <a:gd name="connsiteY32" fmla="*/ 568214 h 583211"/>
                <a:gd name="connsiteX33" fmla="*/ 419497 w 590237"/>
                <a:gd name="connsiteY33" fmla="*/ 589996 h 583211"/>
                <a:gd name="connsiteX34" fmla="*/ 307071 w 590237"/>
                <a:gd name="connsiteY34" fmla="*/ 589996 h 583211"/>
                <a:gd name="connsiteX35" fmla="*/ 263506 w 590237"/>
                <a:gd name="connsiteY35" fmla="*/ 572430 h 583211"/>
                <a:gd name="connsiteX36" fmla="*/ 266316 w 590237"/>
                <a:gd name="connsiteY36" fmla="*/ 528864 h 583211"/>
                <a:gd name="connsiteX37" fmla="*/ 289504 w 590237"/>
                <a:gd name="connsiteY37" fmla="*/ 485299 h 583211"/>
                <a:gd name="connsiteX38" fmla="*/ 237507 w 590237"/>
                <a:gd name="connsiteY38" fmla="*/ 442437 h 583211"/>
                <a:gd name="connsiteX39" fmla="*/ 167241 w 590237"/>
                <a:gd name="connsiteY39" fmla="*/ 462111 h 583211"/>
                <a:gd name="connsiteX40" fmla="*/ 170051 w 590237"/>
                <a:gd name="connsiteY40" fmla="*/ 523946 h 583211"/>
                <a:gd name="connsiteX41" fmla="*/ 189023 w 590237"/>
                <a:gd name="connsiteY41" fmla="*/ 555566 h 583211"/>
                <a:gd name="connsiteX42" fmla="*/ 148971 w 590237"/>
                <a:gd name="connsiteY42" fmla="*/ 587888 h 583211"/>
                <a:gd name="connsiteX43" fmla="*/ 11952 w 590237"/>
                <a:gd name="connsiteY43" fmla="*/ 589294 h 583211"/>
                <a:gd name="connsiteX44" fmla="*/ 7 w 590237"/>
                <a:gd name="connsiteY44" fmla="*/ 573132 h 583211"/>
                <a:gd name="connsiteX45" fmla="*/ 710 w 590237"/>
                <a:gd name="connsiteY45" fmla="*/ 508487 h 58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583211">
                  <a:moveTo>
                    <a:pt x="710" y="508487"/>
                  </a:moveTo>
                  <a:cubicBezTo>
                    <a:pt x="710" y="488110"/>
                    <a:pt x="1412" y="468435"/>
                    <a:pt x="710" y="448058"/>
                  </a:cubicBezTo>
                  <a:cubicBezTo>
                    <a:pt x="7" y="433302"/>
                    <a:pt x="5628" y="421357"/>
                    <a:pt x="16168" y="411520"/>
                  </a:cubicBezTo>
                  <a:cubicBezTo>
                    <a:pt x="32329" y="396764"/>
                    <a:pt x="47085" y="393250"/>
                    <a:pt x="61841" y="413628"/>
                  </a:cubicBezTo>
                  <a:cubicBezTo>
                    <a:pt x="71678" y="427681"/>
                    <a:pt x="83624" y="444545"/>
                    <a:pt x="103298" y="437518"/>
                  </a:cubicBezTo>
                  <a:cubicBezTo>
                    <a:pt x="125081" y="429789"/>
                    <a:pt x="142648" y="415033"/>
                    <a:pt x="146864" y="389737"/>
                  </a:cubicBezTo>
                  <a:cubicBezTo>
                    <a:pt x="151782" y="360928"/>
                    <a:pt x="150377" y="333524"/>
                    <a:pt x="125081" y="312444"/>
                  </a:cubicBezTo>
                  <a:cubicBezTo>
                    <a:pt x="101893" y="293472"/>
                    <a:pt x="87840" y="294877"/>
                    <a:pt x="66760" y="316660"/>
                  </a:cubicBezTo>
                  <a:cubicBezTo>
                    <a:pt x="57625" y="325795"/>
                    <a:pt x="53409" y="345469"/>
                    <a:pt x="33032" y="336335"/>
                  </a:cubicBezTo>
                  <a:cubicBezTo>
                    <a:pt x="13357" y="327903"/>
                    <a:pt x="710" y="313849"/>
                    <a:pt x="710" y="290661"/>
                  </a:cubicBezTo>
                  <a:cubicBezTo>
                    <a:pt x="710" y="248502"/>
                    <a:pt x="1412" y="207044"/>
                    <a:pt x="710" y="164884"/>
                  </a:cubicBezTo>
                  <a:cubicBezTo>
                    <a:pt x="710" y="151534"/>
                    <a:pt x="4223" y="148021"/>
                    <a:pt x="17574" y="148021"/>
                  </a:cubicBezTo>
                  <a:cubicBezTo>
                    <a:pt x="56923" y="148723"/>
                    <a:pt x="96272" y="148021"/>
                    <a:pt x="135621" y="148723"/>
                  </a:cubicBezTo>
                  <a:cubicBezTo>
                    <a:pt x="146864" y="148723"/>
                    <a:pt x="157404" y="147318"/>
                    <a:pt x="165836" y="139589"/>
                  </a:cubicBezTo>
                  <a:cubicBezTo>
                    <a:pt x="177781" y="129049"/>
                    <a:pt x="184808" y="119914"/>
                    <a:pt x="167241" y="107969"/>
                  </a:cubicBezTo>
                  <a:cubicBezTo>
                    <a:pt x="148269" y="95321"/>
                    <a:pt x="134216" y="77754"/>
                    <a:pt x="141242" y="52458"/>
                  </a:cubicBezTo>
                  <a:cubicBezTo>
                    <a:pt x="147566" y="27865"/>
                    <a:pt x="177078" y="3974"/>
                    <a:pt x="203077" y="1164"/>
                  </a:cubicBezTo>
                  <a:cubicBezTo>
                    <a:pt x="238210" y="-2349"/>
                    <a:pt x="270533" y="461"/>
                    <a:pt x="293018" y="32784"/>
                  </a:cubicBezTo>
                  <a:cubicBezTo>
                    <a:pt x="311287" y="58782"/>
                    <a:pt x="308476" y="78457"/>
                    <a:pt x="286694" y="100239"/>
                  </a:cubicBezTo>
                  <a:cubicBezTo>
                    <a:pt x="279667" y="107969"/>
                    <a:pt x="261398" y="110779"/>
                    <a:pt x="268424" y="126238"/>
                  </a:cubicBezTo>
                  <a:cubicBezTo>
                    <a:pt x="275451" y="140994"/>
                    <a:pt x="288802" y="148021"/>
                    <a:pt x="306368" y="148021"/>
                  </a:cubicBezTo>
                  <a:cubicBezTo>
                    <a:pt x="345015" y="147318"/>
                    <a:pt x="382959" y="148723"/>
                    <a:pt x="421605" y="147318"/>
                  </a:cubicBezTo>
                  <a:cubicBezTo>
                    <a:pt x="440577" y="146615"/>
                    <a:pt x="444090" y="152939"/>
                    <a:pt x="443388" y="169803"/>
                  </a:cubicBezTo>
                  <a:cubicBezTo>
                    <a:pt x="441982" y="207044"/>
                    <a:pt x="443388" y="244285"/>
                    <a:pt x="442685" y="282229"/>
                  </a:cubicBezTo>
                  <a:cubicBezTo>
                    <a:pt x="442685" y="294877"/>
                    <a:pt x="445496" y="305417"/>
                    <a:pt x="453928" y="314552"/>
                  </a:cubicBezTo>
                  <a:cubicBezTo>
                    <a:pt x="463765" y="324389"/>
                    <a:pt x="472197" y="328605"/>
                    <a:pt x="482737" y="314552"/>
                  </a:cubicBezTo>
                  <a:cubicBezTo>
                    <a:pt x="496790" y="295580"/>
                    <a:pt x="512952" y="278014"/>
                    <a:pt x="539653" y="288554"/>
                  </a:cubicBezTo>
                  <a:cubicBezTo>
                    <a:pt x="568462" y="299796"/>
                    <a:pt x="588136" y="320173"/>
                    <a:pt x="590947" y="353198"/>
                  </a:cubicBezTo>
                  <a:cubicBezTo>
                    <a:pt x="593758" y="386927"/>
                    <a:pt x="589542" y="416438"/>
                    <a:pt x="560030" y="438221"/>
                  </a:cubicBezTo>
                  <a:cubicBezTo>
                    <a:pt x="534032" y="457193"/>
                    <a:pt x="512952" y="455085"/>
                    <a:pt x="489763" y="431897"/>
                  </a:cubicBezTo>
                  <a:cubicBezTo>
                    <a:pt x="482737" y="424870"/>
                    <a:pt x="479224" y="408709"/>
                    <a:pt x="465873" y="414330"/>
                  </a:cubicBezTo>
                  <a:cubicBezTo>
                    <a:pt x="451117" y="420654"/>
                    <a:pt x="441982" y="433302"/>
                    <a:pt x="441982" y="450869"/>
                  </a:cubicBezTo>
                  <a:cubicBezTo>
                    <a:pt x="441982" y="490218"/>
                    <a:pt x="440577" y="529567"/>
                    <a:pt x="442685" y="568214"/>
                  </a:cubicBezTo>
                  <a:cubicBezTo>
                    <a:pt x="443388" y="587186"/>
                    <a:pt x="437064" y="590699"/>
                    <a:pt x="419497" y="589996"/>
                  </a:cubicBezTo>
                  <a:cubicBezTo>
                    <a:pt x="382256" y="588591"/>
                    <a:pt x="345015" y="589294"/>
                    <a:pt x="307071" y="589996"/>
                  </a:cubicBezTo>
                  <a:cubicBezTo>
                    <a:pt x="289504" y="589996"/>
                    <a:pt x="274748" y="586483"/>
                    <a:pt x="263506" y="572430"/>
                  </a:cubicBezTo>
                  <a:cubicBezTo>
                    <a:pt x="250155" y="556971"/>
                    <a:pt x="247344" y="543621"/>
                    <a:pt x="266316" y="528864"/>
                  </a:cubicBezTo>
                  <a:cubicBezTo>
                    <a:pt x="280370" y="518324"/>
                    <a:pt x="297936" y="507082"/>
                    <a:pt x="289504" y="485299"/>
                  </a:cubicBezTo>
                  <a:cubicBezTo>
                    <a:pt x="280370" y="462111"/>
                    <a:pt x="264911" y="445248"/>
                    <a:pt x="237507" y="442437"/>
                  </a:cubicBezTo>
                  <a:cubicBezTo>
                    <a:pt x="211509" y="439626"/>
                    <a:pt x="186915" y="440329"/>
                    <a:pt x="167241" y="462111"/>
                  </a:cubicBezTo>
                  <a:cubicBezTo>
                    <a:pt x="144756" y="487407"/>
                    <a:pt x="145458" y="502163"/>
                    <a:pt x="170051" y="523946"/>
                  </a:cubicBezTo>
                  <a:cubicBezTo>
                    <a:pt x="179186" y="532378"/>
                    <a:pt x="196050" y="537296"/>
                    <a:pt x="189023" y="555566"/>
                  </a:cubicBezTo>
                  <a:cubicBezTo>
                    <a:pt x="181997" y="573835"/>
                    <a:pt x="168646" y="587186"/>
                    <a:pt x="148971" y="587888"/>
                  </a:cubicBezTo>
                  <a:cubicBezTo>
                    <a:pt x="103298" y="589294"/>
                    <a:pt x="57625" y="588591"/>
                    <a:pt x="11952" y="589294"/>
                  </a:cubicBezTo>
                  <a:cubicBezTo>
                    <a:pt x="-696" y="589294"/>
                    <a:pt x="7" y="581564"/>
                    <a:pt x="7" y="573132"/>
                  </a:cubicBezTo>
                  <a:cubicBezTo>
                    <a:pt x="1412" y="552053"/>
                    <a:pt x="1412" y="530270"/>
                    <a:pt x="710" y="50848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98A1071A-AF20-481C-9447-9B6E0620EB37}"/>
                </a:ext>
              </a:extLst>
            </p:cNvPr>
            <p:cNvSpPr/>
            <p:nvPr/>
          </p:nvSpPr>
          <p:spPr>
            <a:xfrm>
              <a:off x="-8381" y="1258953"/>
              <a:ext cx="1026185" cy="1282732"/>
            </a:xfrm>
            <a:custGeom>
              <a:avLst/>
              <a:gdLst>
                <a:gd name="connsiteX0" fmla="*/ 590940 w 590237"/>
                <a:gd name="connsiteY0" fmla="*/ 398837 h 737797"/>
                <a:gd name="connsiteX1" fmla="*/ 564239 w 590237"/>
                <a:gd name="connsiteY1" fmla="*/ 435375 h 737797"/>
                <a:gd name="connsiteX2" fmla="*/ 486946 w 590237"/>
                <a:gd name="connsiteY2" fmla="*/ 431159 h 737797"/>
                <a:gd name="connsiteX3" fmla="*/ 464461 w 590237"/>
                <a:gd name="connsiteY3" fmla="*/ 416403 h 737797"/>
                <a:gd name="connsiteX4" fmla="*/ 443381 w 590237"/>
                <a:gd name="connsiteY4" fmla="*/ 448726 h 737797"/>
                <a:gd name="connsiteX5" fmla="*/ 444084 w 590237"/>
                <a:gd name="connsiteY5" fmla="*/ 568881 h 737797"/>
                <a:gd name="connsiteX6" fmla="*/ 422301 w 590237"/>
                <a:gd name="connsiteY6" fmla="*/ 592069 h 737797"/>
                <a:gd name="connsiteX7" fmla="*/ 307064 w 590237"/>
                <a:gd name="connsiteY7" fmla="*/ 591367 h 737797"/>
                <a:gd name="connsiteX8" fmla="*/ 274741 w 590237"/>
                <a:gd name="connsiteY8" fmla="*/ 603312 h 737797"/>
                <a:gd name="connsiteX9" fmla="*/ 276147 w 590237"/>
                <a:gd name="connsiteY9" fmla="*/ 631418 h 737797"/>
                <a:gd name="connsiteX10" fmla="*/ 302146 w 590237"/>
                <a:gd name="connsiteY10" fmla="*/ 688334 h 737797"/>
                <a:gd name="connsiteX11" fmla="*/ 236798 w 590237"/>
                <a:gd name="connsiteY11" fmla="*/ 738926 h 737797"/>
                <a:gd name="connsiteX12" fmla="*/ 153884 w 590237"/>
                <a:gd name="connsiteY12" fmla="*/ 709414 h 737797"/>
                <a:gd name="connsiteX13" fmla="*/ 158802 w 590237"/>
                <a:gd name="connsiteY13" fmla="*/ 637742 h 737797"/>
                <a:gd name="connsiteX14" fmla="*/ 175666 w 590237"/>
                <a:gd name="connsiteY14" fmla="*/ 611744 h 737797"/>
                <a:gd name="connsiteX15" fmla="*/ 139830 w 590237"/>
                <a:gd name="connsiteY15" fmla="*/ 591367 h 737797"/>
                <a:gd name="connsiteX16" fmla="*/ 24593 w 590237"/>
                <a:gd name="connsiteY16" fmla="*/ 592069 h 737797"/>
                <a:gd name="connsiteX17" fmla="*/ 0 w 590237"/>
                <a:gd name="connsiteY17" fmla="*/ 568881 h 737797"/>
                <a:gd name="connsiteX18" fmla="*/ 0 w 590237"/>
                <a:gd name="connsiteY18" fmla="*/ 171876 h 737797"/>
                <a:gd name="connsiteX19" fmla="*/ 24593 w 590237"/>
                <a:gd name="connsiteY19" fmla="*/ 147986 h 737797"/>
                <a:gd name="connsiteX20" fmla="*/ 134209 w 590237"/>
                <a:gd name="connsiteY20" fmla="*/ 148688 h 737797"/>
                <a:gd name="connsiteX21" fmla="*/ 163018 w 590237"/>
                <a:gd name="connsiteY21" fmla="*/ 143067 h 737797"/>
                <a:gd name="connsiteX22" fmla="*/ 165829 w 590237"/>
                <a:gd name="connsiteY22" fmla="*/ 107231 h 737797"/>
                <a:gd name="connsiteX23" fmla="*/ 165126 w 590237"/>
                <a:gd name="connsiteY23" fmla="*/ 19398 h 737797"/>
                <a:gd name="connsiteX24" fmla="*/ 291606 w 590237"/>
                <a:gd name="connsiteY24" fmla="*/ 33451 h 737797"/>
                <a:gd name="connsiteX25" fmla="*/ 285281 w 590237"/>
                <a:gd name="connsiteY25" fmla="*/ 103015 h 737797"/>
                <a:gd name="connsiteX26" fmla="*/ 268418 w 590237"/>
                <a:gd name="connsiteY26" fmla="*/ 129014 h 737797"/>
                <a:gd name="connsiteX27" fmla="*/ 304253 w 590237"/>
                <a:gd name="connsiteY27" fmla="*/ 148688 h 737797"/>
                <a:gd name="connsiteX28" fmla="*/ 405437 w 590237"/>
                <a:gd name="connsiteY28" fmla="*/ 148688 h 737797"/>
                <a:gd name="connsiteX29" fmla="*/ 443381 w 590237"/>
                <a:gd name="connsiteY29" fmla="*/ 188037 h 737797"/>
                <a:gd name="connsiteX30" fmla="*/ 443381 w 590237"/>
                <a:gd name="connsiteY30" fmla="*/ 286410 h 737797"/>
                <a:gd name="connsiteX31" fmla="*/ 455326 w 590237"/>
                <a:gd name="connsiteY31" fmla="*/ 318030 h 737797"/>
                <a:gd name="connsiteX32" fmla="*/ 482027 w 590237"/>
                <a:gd name="connsiteY32" fmla="*/ 317328 h 737797"/>
                <a:gd name="connsiteX33" fmla="*/ 586022 w 590237"/>
                <a:gd name="connsiteY33" fmla="*/ 332084 h 737797"/>
                <a:gd name="connsiteX34" fmla="*/ 591643 w 590237"/>
                <a:gd name="connsiteY34" fmla="*/ 343326 h 737797"/>
                <a:gd name="connsiteX35" fmla="*/ 590940 w 590237"/>
                <a:gd name="connsiteY35" fmla="*/ 398837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90237" h="737797">
                  <a:moveTo>
                    <a:pt x="590940" y="398837"/>
                  </a:moveTo>
                  <a:cubicBezTo>
                    <a:pt x="583211" y="411485"/>
                    <a:pt x="575482" y="424835"/>
                    <a:pt x="564239" y="435375"/>
                  </a:cubicBezTo>
                  <a:cubicBezTo>
                    <a:pt x="534727" y="461374"/>
                    <a:pt x="512945" y="459968"/>
                    <a:pt x="486946" y="431159"/>
                  </a:cubicBezTo>
                  <a:cubicBezTo>
                    <a:pt x="480622" y="424133"/>
                    <a:pt x="477109" y="410782"/>
                    <a:pt x="464461" y="416403"/>
                  </a:cubicBezTo>
                  <a:cubicBezTo>
                    <a:pt x="451813" y="422025"/>
                    <a:pt x="442678" y="432565"/>
                    <a:pt x="443381" y="448726"/>
                  </a:cubicBezTo>
                  <a:cubicBezTo>
                    <a:pt x="443381" y="488778"/>
                    <a:pt x="442678" y="528830"/>
                    <a:pt x="444084" y="568881"/>
                  </a:cubicBezTo>
                  <a:cubicBezTo>
                    <a:pt x="444786" y="585745"/>
                    <a:pt x="441273" y="592772"/>
                    <a:pt x="422301" y="592069"/>
                  </a:cubicBezTo>
                  <a:cubicBezTo>
                    <a:pt x="384357" y="590664"/>
                    <a:pt x="345711" y="592069"/>
                    <a:pt x="307064" y="591367"/>
                  </a:cubicBezTo>
                  <a:cubicBezTo>
                    <a:pt x="294416" y="591367"/>
                    <a:pt x="283876" y="594177"/>
                    <a:pt x="274741" y="603312"/>
                  </a:cubicBezTo>
                  <a:cubicBezTo>
                    <a:pt x="264904" y="613149"/>
                    <a:pt x="261391" y="621581"/>
                    <a:pt x="276147" y="631418"/>
                  </a:cubicBezTo>
                  <a:cubicBezTo>
                    <a:pt x="295119" y="644769"/>
                    <a:pt x="311280" y="661633"/>
                    <a:pt x="302146" y="688334"/>
                  </a:cubicBezTo>
                  <a:cubicBezTo>
                    <a:pt x="293011" y="715035"/>
                    <a:pt x="265607" y="736818"/>
                    <a:pt x="236798" y="738926"/>
                  </a:cubicBezTo>
                  <a:cubicBezTo>
                    <a:pt x="204475" y="741737"/>
                    <a:pt x="174963" y="738223"/>
                    <a:pt x="153884" y="709414"/>
                  </a:cubicBezTo>
                  <a:cubicBezTo>
                    <a:pt x="132804" y="681308"/>
                    <a:pt x="134209" y="662336"/>
                    <a:pt x="158802" y="637742"/>
                  </a:cubicBezTo>
                  <a:cubicBezTo>
                    <a:pt x="165829" y="630716"/>
                    <a:pt x="184098" y="627905"/>
                    <a:pt x="175666" y="611744"/>
                  </a:cubicBezTo>
                  <a:cubicBezTo>
                    <a:pt x="168639" y="598393"/>
                    <a:pt x="155991" y="591367"/>
                    <a:pt x="139830" y="591367"/>
                  </a:cubicBezTo>
                  <a:cubicBezTo>
                    <a:pt x="101184" y="592069"/>
                    <a:pt x="63240" y="590664"/>
                    <a:pt x="24593" y="592069"/>
                  </a:cubicBezTo>
                  <a:cubicBezTo>
                    <a:pt x="6324" y="592772"/>
                    <a:pt x="0" y="589961"/>
                    <a:pt x="0" y="568881"/>
                  </a:cubicBezTo>
                  <a:cubicBezTo>
                    <a:pt x="702" y="436780"/>
                    <a:pt x="702" y="303977"/>
                    <a:pt x="0" y="171876"/>
                  </a:cubicBezTo>
                  <a:cubicBezTo>
                    <a:pt x="0" y="152202"/>
                    <a:pt x="5621" y="147283"/>
                    <a:pt x="24593" y="147986"/>
                  </a:cubicBezTo>
                  <a:cubicBezTo>
                    <a:pt x="61132" y="149391"/>
                    <a:pt x="97670" y="148688"/>
                    <a:pt x="134209" y="148688"/>
                  </a:cubicBezTo>
                  <a:cubicBezTo>
                    <a:pt x="144046" y="148688"/>
                    <a:pt x="154586" y="150094"/>
                    <a:pt x="163018" y="143067"/>
                  </a:cubicBezTo>
                  <a:cubicBezTo>
                    <a:pt x="177071" y="132527"/>
                    <a:pt x="185503" y="123392"/>
                    <a:pt x="165829" y="107231"/>
                  </a:cubicBezTo>
                  <a:cubicBezTo>
                    <a:pt x="129290" y="77719"/>
                    <a:pt x="129993" y="50315"/>
                    <a:pt x="165126" y="19398"/>
                  </a:cubicBezTo>
                  <a:cubicBezTo>
                    <a:pt x="200259" y="-11519"/>
                    <a:pt x="263499" y="-4492"/>
                    <a:pt x="291606" y="33451"/>
                  </a:cubicBezTo>
                  <a:cubicBezTo>
                    <a:pt x="311280" y="60153"/>
                    <a:pt x="309172" y="79827"/>
                    <a:pt x="285281" y="103015"/>
                  </a:cubicBezTo>
                  <a:cubicBezTo>
                    <a:pt x="278255" y="110042"/>
                    <a:pt x="260688" y="112150"/>
                    <a:pt x="268418" y="129014"/>
                  </a:cubicBezTo>
                  <a:cubicBezTo>
                    <a:pt x="275444" y="143770"/>
                    <a:pt x="288092" y="148688"/>
                    <a:pt x="304253" y="148688"/>
                  </a:cubicBezTo>
                  <a:cubicBezTo>
                    <a:pt x="337981" y="148688"/>
                    <a:pt x="371709" y="148688"/>
                    <a:pt x="405437" y="148688"/>
                  </a:cubicBezTo>
                  <a:cubicBezTo>
                    <a:pt x="443381" y="148688"/>
                    <a:pt x="443381" y="148688"/>
                    <a:pt x="443381" y="188037"/>
                  </a:cubicBezTo>
                  <a:cubicBezTo>
                    <a:pt x="443381" y="221063"/>
                    <a:pt x="443381" y="253385"/>
                    <a:pt x="443381" y="286410"/>
                  </a:cubicBezTo>
                  <a:cubicBezTo>
                    <a:pt x="443381" y="299058"/>
                    <a:pt x="445489" y="309598"/>
                    <a:pt x="455326" y="318030"/>
                  </a:cubicBezTo>
                  <a:cubicBezTo>
                    <a:pt x="464461" y="326462"/>
                    <a:pt x="471487" y="329273"/>
                    <a:pt x="482027" y="317328"/>
                  </a:cubicBezTo>
                  <a:cubicBezTo>
                    <a:pt x="519971" y="274465"/>
                    <a:pt x="560023" y="280087"/>
                    <a:pt x="586022" y="332084"/>
                  </a:cubicBezTo>
                  <a:cubicBezTo>
                    <a:pt x="588130" y="335597"/>
                    <a:pt x="590238" y="339813"/>
                    <a:pt x="591643" y="343326"/>
                  </a:cubicBezTo>
                  <a:cubicBezTo>
                    <a:pt x="590940" y="362298"/>
                    <a:pt x="590940" y="380567"/>
                    <a:pt x="590940" y="39883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07FCFA90-E122-44FE-B824-422C24BF8D09}"/>
                </a:ext>
              </a:extLst>
            </p:cNvPr>
            <p:cNvSpPr/>
            <p:nvPr/>
          </p:nvSpPr>
          <p:spPr>
            <a:xfrm>
              <a:off x="-8381" y="3563792"/>
              <a:ext cx="769640" cy="1282732"/>
            </a:xfrm>
            <a:custGeom>
              <a:avLst/>
              <a:gdLst>
                <a:gd name="connsiteX0" fmla="*/ 755 w 442678"/>
                <a:gd name="connsiteY0" fmla="*/ 370037 h 737797"/>
                <a:gd name="connsiteX1" fmla="*/ 52 w 442678"/>
                <a:gd name="connsiteY1" fmla="*/ 173292 h 737797"/>
                <a:gd name="connsiteX2" fmla="*/ 24645 w 442678"/>
                <a:gd name="connsiteY2" fmla="*/ 149401 h 737797"/>
                <a:gd name="connsiteX3" fmla="*/ 131450 w 442678"/>
                <a:gd name="connsiteY3" fmla="*/ 149401 h 737797"/>
                <a:gd name="connsiteX4" fmla="*/ 158151 w 442678"/>
                <a:gd name="connsiteY4" fmla="*/ 146590 h 737797"/>
                <a:gd name="connsiteX5" fmla="*/ 166583 w 442678"/>
                <a:gd name="connsiteY5" fmla="*/ 109349 h 737797"/>
                <a:gd name="connsiteX6" fmla="*/ 180637 w 442678"/>
                <a:gd name="connsiteY6" fmla="*/ 8868 h 737797"/>
                <a:gd name="connsiteX7" fmla="*/ 293063 w 442678"/>
                <a:gd name="connsiteY7" fmla="*/ 35569 h 737797"/>
                <a:gd name="connsiteX8" fmla="*/ 286036 w 442678"/>
                <a:gd name="connsiteY8" fmla="*/ 103025 h 737797"/>
                <a:gd name="connsiteX9" fmla="*/ 268470 w 442678"/>
                <a:gd name="connsiteY9" fmla="*/ 129024 h 737797"/>
                <a:gd name="connsiteX10" fmla="*/ 304305 w 442678"/>
                <a:gd name="connsiteY10" fmla="*/ 149401 h 737797"/>
                <a:gd name="connsiteX11" fmla="*/ 419543 w 442678"/>
                <a:gd name="connsiteY11" fmla="*/ 148698 h 737797"/>
                <a:gd name="connsiteX12" fmla="*/ 443433 w 442678"/>
                <a:gd name="connsiteY12" fmla="*/ 172589 h 737797"/>
                <a:gd name="connsiteX13" fmla="*/ 443433 w 442678"/>
                <a:gd name="connsiteY13" fmla="*/ 289934 h 737797"/>
                <a:gd name="connsiteX14" fmla="*/ 420245 w 442678"/>
                <a:gd name="connsiteY14" fmla="*/ 333499 h 737797"/>
                <a:gd name="connsiteX15" fmla="*/ 387220 w 442678"/>
                <a:gd name="connsiteY15" fmla="*/ 329986 h 737797"/>
                <a:gd name="connsiteX16" fmla="*/ 316953 w 442678"/>
                <a:gd name="connsiteY16" fmla="*/ 315932 h 737797"/>
                <a:gd name="connsiteX17" fmla="*/ 308521 w 442678"/>
                <a:gd name="connsiteY17" fmla="*/ 415711 h 737797"/>
                <a:gd name="connsiteX18" fmla="*/ 382301 w 442678"/>
                <a:gd name="connsiteY18" fmla="*/ 417819 h 737797"/>
                <a:gd name="connsiteX19" fmla="*/ 409705 w 442678"/>
                <a:gd name="connsiteY19" fmla="*/ 401657 h 737797"/>
                <a:gd name="connsiteX20" fmla="*/ 442730 w 442678"/>
                <a:gd name="connsiteY20" fmla="*/ 438196 h 737797"/>
                <a:gd name="connsiteX21" fmla="*/ 444136 w 442678"/>
                <a:gd name="connsiteY21" fmla="*/ 580134 h 737797"/>
                <a:gd name="connsiteX22" fmla="*/ 427272 w 442678"/>
                <a:gd name="connsiteY22" fmla="*/ 590674 h 737797"/>
                <a:gd name="connsiteX23" fmla="*/ 312035 w 442678"/>
                <a:gd name="connsiteY23" fmla="*/ 590674 h 737797"/>
                <a:gd name="connsiteX24" fmla="*/ 281118 w 442678"/>
                <a:gd name="connsiteY24" fmla="*/ 598403 h 737797"/>
                <a:gd name="connsiteX25" fmla="*/ 279712 w 442678"/>
                <a:gd name="connsiteY25" fmla="*/ 632834 h 737797"/>
                <a:gd name="connsiteX26" fmla="*/ 305008 w 442678"/>
                <a:gd name="connsiteY26" fmla="*/ 685534 h 737797"/>
                <a:gd name="connsiteX27" fmla="*/ 244579 w 442678"/>
                <a:gd name="connsiteY27" fmla="*/ 738233 h 737797"/>
                <a:gd name="connsiteX28" fmla="*/ 153935 w 442678"/>
                <a:gd name="connsiteY28" fmla="*/ 708019 h 737797"/>
                <a:gd name="connsiteX29" fmla="*/ 160962 w 442678"/>
                <a:gd name="connsiteY29" fmla="*/ 637752 h 737797"/>
                <a:gd name="connsiteX30" fmla="*/ 178528 w 442678"/>
                <a:gd name="connsiteY30" fmla="*/ 614565 h 737797"/>
                <a:gd name="connsiteX31" fmla="*/ 141990 w 442678"/>
                <a:gd name="connsiteY31" fmla="*/ 591377 h 737797"/>
                <a:gd name="connsiteX32" fmla="*/ 24645 w 442678"/>
                <a:gd name="connsiteY32" fmla="*/ 592079 h 737797"/>
                <a:gd name="connsiteX33" fmla="*/ 2160 w 442678"/>
                <a:gd name="connsiteY33" fmla="*/ 569594 h 737797"/>
                <a:gd name="connsiteX34" fmla="*/ 755 w 442678"/>
                <a:gd name="connsiteY34" fmla="*/ 370037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42678" h="737797">
                  <a:moveTo>
                    <a:pt x="755" y="370037"/>
                  </a:moveTo>
                  <a:cubicBezTo>
                    <a:pt x="755" y="304690"/>
                    <a:pt x="1457" y="238639"/>
                    <a:pt x="52" y="173292"/>
                  </a:cubicBezTo>
                  <a:cubicBezTo>
                    <a:pt x="-651" y="153617"/>
                    <a:pt x="5673" y="148698"/>
                    <a:pt x="24645" y="149401"/>
                  </a:cubicBezTo>
                  <a:cubicBezTo>
                    <a:pt x="60481" y="150806"/>
                    <a:pt x="95614" y="150104"/>
                    <a:pt x="131450" y="149401"/>
                  </a:cubicBezTo>
                  <a:cubicBezTo>
                    <a:pt x="140585" y="149401"/>
                    <a:pt x="150422" y="149401"/>
                    <a:pt x="158151" y="146590"/>
                  </a:cubicBezTo>
                  <a:cubicBezTo>
                    <a:pt x="178528" y="139564"/>
                    <a:pt x="181339" y="122700"/>
                    <a:pt x="166583" y="109349"/>
                  </a:cubicBezTo>
                  <a:cubicBezTo>
                    <a:pt x="127937" y="74919"/>
                    <a:pt x="133558" y="33461"/>
                    <a:pt x="180637" y="8868"/>
                  </a:cubicBezTo>
                  <a:cubicBezTo>
                    <a:pt x="216472" y="-10104"/>
                    <a:pt x="270578" y="2544"/>
                    <a:pt x="293063" y="35569"/>
                  </a:cubicBezTo>
                  <a:cubicBezTo>
                    <a:pt x="311332" y="61568"/>
                    <a:pt x="309224" y="80540"/>
                    <a:pt x="286036" y="103025"/>
                  </a:cubicBezTo>
                  <a:cubicBezTo>
                    <a:pt x="278307" y="110052"/>
                    <a:pt x="260740" y="112862"/>
                    <a:pt x="268470" y="129024"/>
                  </a:cubicBezTo>
                  <a:cubicBezTo>
                    <a:pt x="275496" y="143077"/>
                    <a:pt x="288144" y="149401"/>
                    <a:pt x="304305" y="149401"/>
                  </a:cubicBezTo>
                  <a:cubicBezTo>
                    <a:pt x="342952" y="148698"/>
                    <a:pt x="380896" y="150104"/>
                    <a:pt x="419543" y="148698"/>
                  </a:cubicBezTo>
                  <a:cubicBezTo>
                    <a:pt x="438514" y="147996"/>
                    <a:pt x="444136" y="153617"/>
                    <a:pt x="443433" y="172589"/>
                  </a:cubicBezTo>
                  <a:cubicBezTo>
                    <a:pt x="442027" y="211938"/>
                    <a:pt x="442730" y="251287"/>
                    <a:pt x="443433" y="289934"/>
                  </a:cubicBezTo>
                  <a:cubicBezTo>
                    <a:pt x="444136" y="309608"/>
                    <a:pt x="435001" y="322959"/>
                    <a:pt x="420245" y="333499"/>
                  </a:cubicBezTo>
                  <a:cubicBezTo>
                    <a:pt x="408300" y="341931"/>
                    <a:pt x="397760" y="341931"/>
                    <a:pt x="387220" y="329986"/>
                  </a:cubicBezTo>
                  <a:cubicBezTo>
                    <a:pt x="352789" y="293447"/>
                    <a:pt x="342952" y="292042"/>
                    <a:pt x="316953" y="315932"/>
                  </a:cubicBezTo>
                  <a:cubicBezTo>
                    <a:pt x="290955" y="339823"/>
                    <a:pt x="286739" y="389009"/>
                    <a:pt x="308521" y="415711"/>
                  </a:cubicBezTo>
                  <a:cubicBezTo>
                    <a:pt x="334520" y="447331"/>
                    <a:pt x="354897" y="448033"/>
                    <a:pt x="382301" y="417819"/>
                  </a:cubicBezTo>
                  <a:cubicBezTo>
                    <a:pt x="389328" y="410089"/>
                    <a:pt x="393544" y="395333"/>
                    <a:pt x="409705" y="401657"/>
                  </a:cubicBezTo>
                  <a:cubicBezTo>
                    <a:pt x="427272" y="408684"/>
                    <a:pt x="442027" y="419927"/>
                    <a:pt x="442730" y="438196"/>
                  </a:cubicBezTo>
                  <a:cubicBezTo>
                    <a:pt x="444838" y="485274"/>
                    <a:pt x="443433" y="533055"/>
                    <a:pt x="444136" y="580134"/>
                  </a:cubicBezTo>
                  <a:cubicBezTo>
                    <a:pt x="444136" y="594187"/>
                    <a:pt x="434298" y="590674"/>
                    <a:pt x="427272" y="590674"/>
                  </a:cubicBezTo>
                  <a:cubicBezTo>
                    <a:pt x="388625" y="590674"/>
                    <a:pt x="350681" y="590674"/>
                    <a:pt x="312035" y="590674"/>
                  </a:cubicBezTo>
                  <a:cubicBezTo>
                    <a:pt x="300792" y="590674"/>
                    <a:pt x="290252" y="590674"/>
                    <a:pt x="281118" y="598403"/>
                  </a:cubicBezTo>
                  <a:cubicBezTo>
                    <a:pt x="268470" y="608943"/>
                    <a:pt x="260740" y="619483"/>
                    <a:pt x="279712" y="632834"/>
                  </a:cubicBezTo>
                  <a:cubicBezTo>
                    <a:pt x="297279" y="645482"/>
                    <a:pt x="313440" y="661643"/>
                    <a:pt x="305008" y="685534"/>
                  </a:cubicBezTo>
                  <a:cubicBezTo>
                    <a:pt x="295171" y="713640"/>
                    <a:pt x="276199" y="734720"/>
                    <a:pt x="244579" y="738233"/>
                  </a:cubicBezTo>
                  <a:cubicBezTo>
                    <a:pt x="210148" y="742449"/>
                    <a:pt x="177123" y="740341"/>
                    <a:pt x="153935" y="708019"/>
                  </a:cubicBezTo>
                  <a:cubicBezTo>
                    <a:pt x="135666" y="682020"/>
                    <a:pt x="137072" y="660238"/>
                    <a:pt x="160962" y="637752"/>
                  </a:cubicBezTo>
                  <a:cubicBezTo>
                    <a:pt x="167988" y="630726"/>
                    <a:pt x="184150" y="627915"/>
                    <a:pt x="178528" y="614565"/>
                  </a:cubicBezTo>
                  <a:cubicBezTo>
                    <a:pt x="172205" y="599809"/>
                    <a:pt x="159557" y="590674"/>
                    <a:pt x="141990" y="591377"/>
                  </a:cubicBezTo>
                  <a:cubicBezTo>
                    <a:pt x="102641" y="592079"/>
                    <a:pt x="63292" y="590674"/>
                    <a:pt x="24645" y="592079"/>
                  </a:cubicBezTo>
                  <a:cubicBezTo>
                    <a:pt x="6376" y="592782"/>
                    <a:pt x="1457" y="587863"/>
                    <a:pt x="2160" y="569594"/>
                  </a:cubicBezTo>
                  <a:cubicBezTo>
                    <a:pt x="1457" y="503544"/>
                    <a:pt x="755" y="436791"/>
                    <a:pt x="755" y="37003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CB44DF58-4276-4D79-B4A4-043AD3F17938}"/>
                </a:ext>
              </a:extLst>
            </p:cNvPr>
            <p:cNvSpPr/>
            <p:nvPr/>
          </p:nvSpPr>
          <p:spPr>
            <a:xfrm>
              <a:off x="7368419" y="3818184"/>
              <a:ext cx="1026185" cy="1026186"/>
            </a:xfrm>
            <a:custGeom>
              <a:avLst/>
              <a:gdLst>
                <a:gd name="connsiteX0" fmla="*/ 514551 w 590237"/>
                <a:gd name="connsiteY0" fmla="*/ 275 h 590237"/>
                <a:gd name="connsiteX1" fmla="*/ 572169 w 590237"/>
                <a:gd name="connsiteY1" fmla="*/ 275 h 590237"/>
                <a:gd name="connsiteX2" fmla="*/ 595357 w 590237"/>
                <a:gd name="connsiteY2" fmla="*/ 22057 h 590237"/>
                <a:gd name="connsiteX3" fmla="*/ 595357 w 590237"/>
                <a:gd name="connsiteY3" fmla="*/ 137294 h 590237"/>
                <a:gd name="connsiteX4" fmla="*/ 574277 w 590237"/>
                <a:gd name="connsiteY4" fmla="*/ 182265 h 590237"/>
                <a:gd name="connsiteX5" fmla="*/ 534928 w 590237"/>
                <a:gd name="connsiteY5" fmla="*/ 178751 h 590237"/>
                <a:gd name="connsiteX6" fmla="*/ 491363 w 590237"/>
                <a:gd name="connsiteY6" fmla="*/ 152753 h 590237"/>
                <a:gd name="connsiteX7" fmla="*/ 446392 w 590237"/>
                <a:gd name="connsiteY7" fmla="*/ 208966 h 590237"/>
                <a:gd name="connsiteX8" fmla="*/ 468878 w 590237"/>
                <a:gd name="connsiteY8" fmla="*/ 278530 h 590237"/>
                <a:gd name="connsiteX9" fmla="*/ 527199 w 590237"/>
                <a:gd name="connsiteY9" fmla="*/ 274313 h 590237"/>
                <a:gd name="connsiteX10" fmla="*/ 560927 w 590237"/>
                <a:gd name="connsiteY10" fmla="*/ 254639 h 590237"/>
                <a:gd name="connsiteX11" fmla="*/ 593952 w 590237"/>
                <a:gd name="connsiteY11" fmla="*/ 300312 h 590237"/>
                <a:gd name="connsiteX12" fmla="*/ 594654 w 590237"/>
                <a:gd name="connsiteY12" fmla="*/ 426089 h 590237"/>
                <a:gd name="connsiteX13" fmla="*/ 574980 w 590237"/>
                <a:gd name="connsiteY13" fmla="*/ 442953 h 590237"/>
                <a:gd name="connsiteX14" fmla="*/ 459743 w 590237"/>
                <a:gd name="connsiteY14" fmla="*/ 442953 h 590237"/>
                <a:gd name="connsiteX15" fmla="*/ 428826 w 590237"/>
                <a:gd name="connsiteY15" fmla="*/ 451385 h 590237"/>
                <a:gd name="connsiteX16" fmla="*/ 428123 w 590237"/>
                <a:gd name="connsiteY16" fmla="*/ 484410 h 590237"/>
                <a:gd name="connsiteX17" fmla="*/ 426718 w 590237"/>
                <a:gd name="connsiteY17" fmla="*/ 575054 h 590237"/>
                <a:gd name="connsiteX18" fmla="*/ 302346 w 590237"/>
                <a:gd name="connsiteY18" fmla="*/ 559595 h 590237"/>
                <a:gd name="connsiteX19" fmla="*/ 308670 w 590237"/>
                <a:gd name="connsiteY19" fmla="*/ 490031 h 590237"/>
                <a:gd name="connsiteX20" fmla="*/ 326237 w 590237"/>
                <a:gd name="connsiteY20" fmla="*/ 466141 h 590237"/>
                <a:gd name="connsiteX21" fmla="*/ 288996 w 590237"/>
                <a:gd name="connsiteY21" fmla="*/ 443656 h 590237"/>
                <a:gd name="connsiteX22" fmla="*/ 173759 w 590237"/>
                <a:gd name="connsiteY22" fmla="*/ 444358 h 590237"/>
                <a:gd name="connsiteX23" fmla="*/ 150571 w 590237"/>
                <a:gd name="connsiteY23" fmla="*/ 422576 h 590237"/>
                <a:gd name="connsiteX24" fmla="*/ 151273 w 590237"/>
                <a:gd name="connsiteY24" fmla="*/ 310150 h 590237"/>
                <a:gd name="connsiteX25" fmla="*/ 144247 w 590237"/>
                <a:gd name="connsiteY25" fmla="*/ 281340 h 590237"/>
                <a:gd name="connsiteX26" fmla="*/ 108411 w 590237"/>
                <a:gd name="connsiteY26" fmla="*/ 279232 h 590237"/>
                <a:gd name="connsiteX27" fmla="*/ 19875 w 590237"/>
                <a:gd name="connsiteY27" fmla="*/ 278530 h 590237"/>
                <a:gd name="connsiteX28" fmla="*/ 49387 w 590237"/>
                <a:gd name="connsiteY28" fmla="*/ 144321 h 590237"/>
                <a:gd name="connsiteX29" fmla="*/ 104898 w 590237"/>
                <a:gd name="connsiteY29" fmla="*/ 160482 h 590237"/>
                <a:gd name="connsiteX30" fmla="*/ 129491 w 590237"/>
                <a:gd name="connsiteY30" fmla="*/ 177346 h 590237"/>
                <a:gd name="connsiteX31" fmla="*/ 151273 w 590237"/>
                <a:gd name="connsiteY31" fmla="*/ 142213 h 590237"/>
                <a:gd name="connsiteX32" fmla="*/ 150571 w 590237"/>
                <a:gd name="connsiteY32" fmla="*/ 26976 h 590237"/>
                <a:gd name="connsiteX33" fmla="*/ 175867 w 590237"/>
                <a:gd name="connsiteY33" fmla="*/ 1680 h 590237"/>
                <a:gd name="connsiteX34" fmla="*/ 291104 w 590237"/>
                <a:gd name="connsiteY34" fmla="*/ 2382 h 590237"/>
                <a:gd name="connsiteX35" fmla="*/ 328345 w 590237"/>
                <a:gd name="connsiteY35" fmla="*/ 16436 h 590237"/>
                <a:gd name="connsiteX36" fmla="*/ 326939 w 590237"/>
                <a:gd name="connsiteY36" fmla="*/ 62812 h 590237"/>
                <a:gd name="connsiteX37" fmla="*/ 303049 w 590237"/>
                <a:gd name="connsiteY37" fmla="*/ 102161 h 590237"/>
                <a:gd name="connsiteX38" fmla="*/ 349425 w 590237"/>
                <a:gd name="connsiteY38" fmla="*/ 147834 h 590237"/>
                <a:gd name="connsiteX39" fmla="*/ 428826 w 590237"/>
                <a:gd name="connsiteY39" fmla="*/ 126052 h 590237"/>
                <a:gd name="connsiteX40" fmla="*/ 424610 w 590237"/>
                <a:gd name="connsiteY40" fmla="*/ 67731 h 590237"/>
                <a:gd name="connsiteX41" fmla="*/ 405638 w 590237"/>
                <a:gd name="connsiteY41" fmla="*/ 31192 h 590237"/>
                <a:gd name="connsiteX42" fmla="*/ 451311 w 590237"/>
                <a:gd name="connsiteY42" fmla="*/ 1680 h 590237"/>
                <a:gd name="connsiteX43" fmla="*/ 514551 w 590237"/>
                <a:gd name="connsiteY43" fmla="*/ 27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590237">
                  <a:moveTo>
                    <a:pt x="514551" y="275"/>
                  </a:moveTo>
                  <a:cubicBezTo>
                    <a:pt x="533523" y="275"/>
                    <a:pt x="553197" y="977"/>
                    <a:pt x="572169" y="275"/>
                  </a:cubicBezTo>
                  <a:cubicBezTo>
                    <a:pt x="589033" y="-1131"/>
                    <a:pt x="596762" y="2382"/>
                    <a:pt x="595357" y="22057"/>
                  </a:cubicBezTo>
                  <a:cubicBezTo>
                    <a:pt x="593249" y="60001"/>
                    <a:pt x="593952" y="98647"/>
                    <a:pt x="595357" y="137294"/>
                  </a:cubicBezTo>
                  <a:cubicBezTo>
                    <a:pt x="596060" y="156266"/>
                    <a:pt x="589033" y="170319"/>
                    <a:pt x="574277" y="182265"/>
                  </a:cubicBezTo>
                  <a:cubicBezTo>
                    <a:pt x="560224" y="193507"/>
                    <a:pt x="547576" y="194913"/>
                    <a:pt x="534928" y="178751"/>
                  </a:cubicBezTo>
                  <a:cubicBezTo>
                    <a:pt x="524388" y="164698"/>
                    <a:pt x="513145" y="145726"/>
                    <a:pt x="491363" y="152753"/>
                  </a:cubicBezTo>
                  <a:cubicBezTo>
                    <a:pt x="466067" y="161185"/>
                    <a:pt x="448500" y="179454"/>
                    <a:pt x="446392" y="208966"/>
                  </a:cubicBezTo>
                  <a:cubicBezTo>
                    <a:pt x="444284" y="235667"/>
                    <a:pt x="446392" y="259558"/>
                    <a:pt x="468878" y="278530"/>
                  </a:cubicBezTo>
                  <a:cubicBezTo>
                    <a:pt x="492768" y="298204"/>
                    <a:pt x="506821" y="296799"/>
                    <a:pt x="527199" y="274313"/>
                  </a:cubicBezTo>
                  <a:cubicBezTo>
                    <a:pt x="536333" y="264476"/>
                    <a:pt x="541955" y="246207"/>
                    <a:pt x="560927" y="254639"/>
                  </a:cubicBezTo>
                  <a:cubicBezTo>
                    <a:pt x="581304" y="263071"/>
                    <a:pt x="593952" y="277827"/>
                    <a:pt x="593952" y="300312"/>
                  </a:cubicBezTo>
                  <a:cubicBezTo>
                    <a:pt x="594654" y="342472"/>
                    <a:pt x="593249" y="383929"/>
                    <a:pt x="594654" y="426089"/>
                  </a:cubicBezTo>
                  <a:cubicBezTo>
                    <a:pt x="595357" y="442250"/>
                    <a:pt x="587628" y="443656"/>
                    <a:pt x="574980" y="442953"/>
                  </a:cubicBezTo>
                  <a:cubicBezTo>
                    <a:pt x="536333" y="442250"/>
                    <a:pt x="498389" y="442953"/>
                    <a:pt x="459743" y="442953"/>
                  </a:cubicBezTo>
                  <a:cubicBezTo>
                    <a:pt x="448500" y="442953"/>
                    <a:pt x="437960" y="443656"/>
                    <a:pt x="428826" y="451385"/>
                  </a:cubicBezTo>
                  <a:cubicBezTo>
                    <a:pt x="415475" y="462627"/>
                    <a:pt x="409151" y="471762"/>
                    <a:pt x="428123" y="484410"/>
                  </a:cubicBezTo>
                  <a:cubicBezTo>
                    <a:pt x="469580" y="512517"/>
                    <a:pt x="457635" y="548352"/>
                    <a:pt x="426718" y="575054"/>
                  </a:cubicBezTo>
                  <a:cubicBezTo>
                    <a:pt x="392287" y="603863"/>
                    <a:pt x="329047" y="595431"/>
                    <a:pt x="302346" y="559595"/>
                  </a:cubicBezTo>
                  <a:cubicBezTo>
                    <a:pt x="282672" y="532894"/>
                    <a:pt x="284779" y="513219"/>
                    <a:pt x="308670" y="490031"/>
                  </a:cubicBezTo>
                  <a:cubicBezTo>
                    <a:pt x="315697" y="483005"/>
                    <a:pt x="331858" y="480194"/>
                    <a:pt x="326237" y="466141"/>
                  </a:cubicBezTo>
                  <a:cubicBezTo>
                    <a:pt x="319913" y="450682"/>
                    <a:pt x="305859" y="443656"/>
                    <a:pt x="288996" y="443656"/>
                  </a:cubicBezTo>
                  <a:cubicBezTo>
                    <a:pt x="250349" y="443656"/>
                    <a:pt x="212405" y="442953"/>
                    <a:pt x="173759" y="444358"/>
                  </a:cubicBezTo>
                  <a:cubicBezTo>
                    <a:pt x="156895" y="445061"/>
                    <a:pt x="149868" y="441547"/>
                    <a:pt x="150571" y="422576"/>
                  </a:cubicBezTo>
                  <a:cubicBezTo>
                    <a:pt x="151976" y="385334"/>
                    <a:pt x="150571" y="348093"/>
                    <a:pt x="151273" y="310150"/>
                  </a:cubicBezTo>
                  <a:cubicBezTo>
                    <a:pt x="151273" y="299610"/>
                    <a:pt x="150571" y="289772"/>
                    <a:pt x="144247" y="281340"/>
                  </a:cubicBezTo>
                  <a:cubicBezTo>
                    <a:pt x="133004" y="267287"/>
                    <a:pt x="123869" y="260260"/>
                    <a:pt x="108411" y="279232"/>
                  </a:cubicBezTo>
                  <a:cubicBezTo>
                    <a:pt x="79602" y="314365"/>
                    <a:pt x="50090" y="312960"/>
                    <a:pt x="19875" y="278530"/>
                  </a:cubicBezTo>
                  <a:cubicBezTo>
                    <a:pt x="-16663" y="237072"/>
                    <a:pt x="-502" y="166806"/>
                    <a:pt x="49387" y="144321"/>
                  </a:cubicBezTo>
                  <a:cubicBezTo>
                    <a:pt x="73278" y="133781"/>
                    <a:pt x="88736" y="144321"/>
                    <a:pt x="104898" y="160482"/>
                  </a:cubicBezTo>
                  <a:cubicBezTo>
                    <a:pt x="111924" y="167508"/>
                    <a:pt x="114735" y="183670"/>
                    <a:pt x="129491" y="177346"/>
                  </a:cubicBezTo>
                  <a:cubicBezTo>
                    <a:pt x="143544" y="171022"/>
                    <a:pt x="151273" y="159077"/>
                    <a:pt x="151273" y="142213"/>
                  </a:cubicBezTo>
                  <a:cubicBezTo>
                    <a:pt x="151273" y="103566"/>
                    <a:pt x="152679" y="65622"/>
                    <a:pt x="150571" y="26976"/>
                  </a:cubicBezTo>
                  <a:cubicBezTo>
                    <a:pt x="149868" y="6599"/>
                    <a:pt x="154084" y="275"/>
                    <a:pt x="175867" y="1680"/>
                  </a:cubicBezTo>
                  <a:cubicBezTo>
                    <a:pt x="213811" y="3788"/>
                    <a:pt x="252457" y="2382"/>
                    <a:pt x="291104" y="2382"/>
                  </a:cubicBezTo>
                  <a:cubicBezTo>
                    <a:pt x="305859" y="2382"/>
                    <a:pt x="317805" y="5896"/>
                    <a:pt x="328345" y="16436"/>
                  </a:cubicBezTo>
                  <a:cubicBezTo>
                    <a:pt x="346614" y="34705"/>
                    <a:pt x="346614" y="45948"/>
                    <a:pt x="326939" y="62812"/>
                  </a:cubicBezTo>
                  <a:cubicBezTo>
                    <a:pt x="314994" y="73352"/>
                    <a:pt x="298130" y="83892"/>
                    <a:pt x="303049" y="102161"/>
                  </a:cubicBezTo>
                  <a:cubicBezTo>
                    <a:pt x="309373" y="124646"/>
                    <a:pt x="324831" y="142213"/>
                    <a:pt x="349425" y="147834"/>
                  </a:cubicBezTo>
                  <a:cubicBezTo>
                    <a:pt x="379639" y="154158"/>
                    <a:pt x="407746" y="152050"/>
                    <a:pt x="428826" y="126052"/>
                  </a:cubicBezTo>
                  <a:cubicBezTo>
                    <a:pt x="448500" y="102161"/>
                    <a:pt x="447798" y="88810"/>
                    <a:pt x="424610" y="67731"/>
                  </a:cubicBezTo>
                  <a:cubicBezTo>
                    <a:pt x="413367" y="57893"/>
                    <a:pt x="395801" y="50164"/>
                    <a:pt x="405638" y="31192"/>
                  </a:cubicBezTo>
                  <a:cubicBezTo>
                    <a:pt x="414772" y="13625"/>
                    <a:pt x="428826" y="977"/>
                    <a:pt x="451311" y="1680"/>
                  </a:cubicBezTo>
                  <a:cubicBezTo>
                    <a:pt x="472391" y="977"/>
                    <a:pt x="493471" y="275"/>
                    <a:pt x="514551" y="27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AC325328-A134-4142-9ACA-8FD8EAD42C44}"/>
                </a:ext>
              </a:extLst>
            </p:cNvPr>
            <p:cNvSpPr/>
            <p:nvPr/>
          </p:nvSpPr>
          <p:spPr>
            <a:xfrm>
              <a:off x="495565" y="4295092"/>
              <a:ext cx="1026185" cy="1026186"/>
            </a:xfrm>
            <a:custGeom>
              <a:avLst/>
              <a:gdLst>
                <a:gd name="connsiteX0" fmla="*/ 228795 w 590237"/>
                <a:gd name="connsiteY0" fmla="*/ 149140 h 590237"/>
                <a:gd name="connsiteX1" fmla="*/ 292034 w 590237"/>
                <a:gd name="connsiteY1" fmla="*/ 149140 h 590237"/>
                <a:gd name="connsiteX2" fmla="*/ 323654 w 590237"/>
                <a:gd name="connsiteY2" fmla="*/ 127358 h 590237"/>
                <a:gd name="connsiteX3" fmla="*/ 308898 w 590237"/>
                <a:gd name="connsiteY3" fmla="*/ 104872 h 590237"/>
                <a:gd name="connsiteX4" fmla="*/ 322952 w 590237"/>
                <a:gd name="connsiteY4" fmla="*/ 11418 h 590237"/>
                <a:gd name="connsiteX5" fmla="*/ 438891 w 590237"/>
                <a:gd name="connsiteY5" fmla="*/ 33201 h 590237"/>
                <a:gd name="connsiteX6" fmla="*/ 432567 w 590237"/>
                <a:gd name="connsiteY6" fmla="*/ 103467 h 590237"/>
                <a:gd name="connsiteX7" fmla="*/ 415703 w 590237"/>
                <a:gd name="connsiteY7" fmla="*/ 128763 h 590237"/>
                <a:gd name="connsiteX8" fmla="*/ 451539 w 590237"/>
                <a:gd name="connsiteY8" fmla="*/ 149140 h 590237"/>
                <a:gd name="connsiteX9" fmla="*/ 571695 w 590237"/>
                <a:gd name="connsiteY9" fmla="*/ 148438 h 590237"/>
                <a:gd name="connsiteX10" fmla="*/ 592072 w 590237"/>
                <a:gd name="connsiteY10" fmla="*/ 168112 h 590237"/>
                <a:gd name="connsiteX11" fmla="*/ 591369 w 590237"/>
                <a:gd name="connsiteY11" fmla="*/ 288268 h 590237"/>
                <a:gd name="connsiteX12" fmla="*/ 570289 w 590237"/>
                <a:gd name="connsiteY12" fmla="*/ 330428 h 590237"/>
                <a:gd name="connsiteX13" fmla="*/ 530940 w 590237"/>
                <a:gd name="connsiteY13" fmla="*/ 326915 h 590237"/>
                <a:gd name="connsiteX14" fmla="*/ 484564 w 590237"/>
                <a:gd name="connsiteY14" fmla="*/ 302321 h 590237"/>
                <a:gd name="connsiteX15" fmla="*/ 442405 w 590237"/>
                <a:gd name="connsiteY15" fmla="*/ 357831 h 590237"/>
                <a:gd name="connsiteX16" fmla="*/ 463485 w 590237"/>
                <a:gd name="connsiteY16" fmla="*/ 425287 h 590237"/>
                <a:gd name="connsiteX17" fmla="*/ 523913 w 590237"/>
                <a:gd name="connsiteY17" fmla="*/ 422477 h 590237"/>
                <a:gd name="connsiteX18" fmla="*/ 558344 w 590237"/>
                <a:gd name="connsiteY18" fmla="*/ 402802 h 590237"/>
                <a:gd name="connsiteX19" fmla="*/ 590667 w 590237"/>
                <a:gd name="connsiteY19" fmla="*/ 446367 h 590237"/>
                <a:gd name="connsiteX20" fmla="*/ 591369 w 590237"/>
                <a:gd name="connsiteY20" fmla="*/ 577765 h 590237"/>
                <a:gd name="connsiteX21" fmla="*/ 574505 w 590237"/>
                <a:gd name="connsiteY21" fmla="*/ 592521 h 590237"/>
                <a:gd name="connsiteX22" fmla="*/ 445918 w 590237"/>
                <a:gd name="connsiteY22" fmla="*/ 592521 h 590237"/>
                <a:gd name="connsiteX23" fmla="*/ 410785 w 590237"/>
                <a:gd name="connsiteY23" fmla="*/ 574955 h 590237"/>
                <a:gd name="connsiteX24" fmla="*/ 413595 w 590237"/>
                <a:gd name="connsiteY24" fmla="*/ 531390 h 590237"/>
                <a:gd name="connsiteX25" fmla="*/ 436783 w 590237"/>
                <a:gd name="connsiteY25" fmla="*/ 487122 h 590237"/>
                <a:gd name="connsiteX26" fmla="*/ 381975 w 590237"/>
                <a:gd name="connsiteY26" fmla="*/ 444962 h 590237"/>
                <a:gd name="connsiteX27" fmla="*/ 311006 w 590237"/>
                <a:gd name="connsiteY27" fmla="*/ 469555 h 590237"/>
                <a:gd name="connsiteX28" fmla="*/ 316628 w 590237"/>
                <a:gd name="connsiteY28" fmla="*/ 525768 h 590237"/>
                <a:gd name="connsiteX29" fmla="*/ 337005 w 590237"/>
                <a:gd name="connsiteY29" fmla="*/ 558794 h 590237"/>
                <a:gd name="connsiteX30" fmla="*/ 289224 w 590237"/>
                <a:gd name="connsiteY30" fmla="*/ 592521 h 590237"/>
                <a:gd name="connsiteX31" fmla="*/ 166258 w 590237"/>
                <a:gd name="connsiteY31" fmla="*/ 592521 h 590237"/>
                <a:gd name="connsiteX32" fmla="*/ 148691 w 590237"/>
                <a:gd name="connsiteY32" fmla="*/ 573549 h 590237"/>
                <a:gd name="connsiteX33" fmla="*/ 149394 w 590237"/>
                <a:gd name="connsiteY33" fmla="*/ 458312 h 590237"/>
                <a:gd name="connsiteX34" fmla="*/ 137448 w 590237"/>
                <a:gd name="connsiteY34" fmla="*/ 423179 h 590237"/>
                <a:gd name="connsiteX35" fmla="*/ 109342 w 590237"/>
                <a:gd name="connsiteY35" fmla="*/ 423882 h 590237"/>
                <a:gd name="connsiteX36" fmla="*/ 49615 w 590237"/>
                <a:gd name="connsiteY36" fmla="*/ 449178 h 590237"/>
                <a:gd name="connsiteX37" fmla="*/ 429 w 590237"/>
                <a:gd name="connsiteY37" fmla="*/ 382425 h 590237"/>
                <a:gd name="connsiteX38" fmla="*/ 32049 w 590237"/>
                <a:gd name="connsiteY38" fmla="*/ 300213 h 590237"/>
                <a:gd name="connsiteX39" fmla="*/ 101613 w 590237"/>
                <a:gd name="connsiteY39" fmla="*/ 305835 h 590237"/>
                <a:gd name="connsiteX40" fmla="*/ 128314 w 590237"/>
                <a:gd name="connsiteY40" fmla="*/ 322698 h 590237"/>
                <a:gd name="connsiteX41" fmla="*/ 148691 w 590237"/>
                <a:gd name="connsiteY41" fmla="*/ 286863 h 590237"/>
                <a:gd name="connsiteX42" fmla="*/ 147988 w 590237"/>
                <a:gd name="connsiteY42" fmla="*/ 168815 h 590237"/>
                <a:gd name="connsiteX43" fmla="*/ 168366 w 590237"/>
                <a:gd name="connsiteY43" fmla="*/ 147032 h 590237"/>
                <a:gd name="connsiteX44" fmla="*/ 228795 w 590237"/>
                <a:gd name="connsiteY44" fmla="*/ 14914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90237" h="590237">
                  <a:moveTo>
                    <a:pt x="228795" y="149140"/>
                  </a:moveTo>
                  <a:cubicBezTo>
                    <a:pt x="249874" y="149140"/>
                    <a:pt x="270954" y="148438"/>
                    <a:pt x="292034" y="149140"/>
                  </a:cubicBezTo>
                  <a:cubicBezTo>
                    <a:pt x="308196" y="149843"/>
                    <a:pt x="318033" y="140006"/>
                    <a:pt x="323654" y="127358"/>
                  </a:cubicBezTo>
                  <a:cubicBezTo>
                    <a:pt x="329276" y="114710"/>
                    <a:pt x="315222" y="110494"/>
                    <a:pt x="308898" y="104872"/>
                  </a:cubicBezTo>
                  <a:cubicBezTo>
                    <a:pt x="275873" y="73956"/>
                    <a:pt x="280792" y="38119"/>
                    <a:pt x="322952" y="11418"/>
                  </a:cubicBezTo>
                  <a:cubicBezTo>
                    <a:pt x="358085" y="-10364"/>
                    <a:pt x="413595" y="176"/>
                    <a:pt x="438891" y="33201"/>
                  </a:cubicBezTo>
                  <a:cubicBezTo>
                    <a:pt x="457863" y="59199"/>
                    <a:pt x="455755" y="80982"/>
                    <a:pt x="432567" y="103467"/>
                  </a:cubicBezTo>
                  <a:cubicBezTo>
                    <a:pt x="425540" y="110494"/>
                    <a:pt x="406569" y="111899"/>
                    <a:pt x="415703" y="128763"/>
                  </a:cubicBezTo>
                  <a:cubicBezTo>
                    <a:pt x="422730" y="142816"/>
                    <a:pt x="434675" y="149140"/>
                    <a:pt x="451539" y="149140"/>
                  </a:cubicBezTo>
                  <a:cubicBezTo>
                    <a:pt x="491591" y="148438"/>
                    <a:pt x="531643" y="149843"/>
                    <a:pt x="571695" y="148438"/>
                  </a:cubicBezTo>
                  <a:cubicBezTo>
                    <a:pt x="587153" y="147735"/>
                    <a:pt x="592072" y="151951"/>
                    <a:pt x="592072" y="168112"/>
                  </a:cubicBezTo>
                  <a:cubicBezTo>
                    <a:pt x="590667" y="208164"/>
                    <a:pt x="591369" y="248216"/>
                    <a:pt x="591369" y="288268"/>
                  </a:cubicBezTo>
                  <a:cubicBezTo>
                    <a:pt x="591369" y="305835"/>
                    <a:pt x="584343" y="319888"/>
                    <a:pt x="570289" y="330428"/>
                  </a:cubicBezTo>
                  <a:cubicBezTo>
                    <a:pt x="555533" y="341670"/>
                    <a:pt x="543588" y="343076"/>
                    <a:pt x="530940" y="326915"/>
                  </a:cubicBezTo>
                  <a:cubicBezTo>
                    <a:pt x="519698" y="312158"/>
                    <a:pt x="507752" y="293186"/>
                    <a:pt x="484564" y="302321"/>
                  </a:cubicBezTo>
                  <a:cubicBezTo>
                    <a:pt x="459971" y="312158"/>
                    <a:pt x="444512" y="329725"/>
                    <a:pt x="442405" y="357831"/>
                  </a:cubicBezTo>
                  <a:cubicBezTo>
                    <a:pt x="440296" y="383128"/>
                    <a:pt x="442405" y="407018"/>
                    <a:pt x="463485" y="425287"/>
                  </a:cubicBezTo>
                  <a:cubicBezTo>
                    <a:pt x="486672" y="445664"/>
                    <a:pt x="502834" y="444962"/>
                    <a:pt x="523913" y="422477"/>
                  </a:cubicBezTo>
                  <a:cubicBezTo>
                    <a:pt x="533048" y="412639"/>
                    <a:pt x="539372" y="394370"/>
                    <a:pt x="558344" y="402802"/>
                  </a:cubicBezTo>
                  <a:cubicBezTo>
                    <a:pt x="577316" y="410531"/>
                    <a:pt x="589964" y="425990"/>
                    <a:pt x="590667" y="446367"/>
                  </a:cubicBezTo>
                  <a:cubicBezTo>
                    <a:pt x="592072" y="489932"/>
                    <a:pt x="590667" y="534200"/>
                    <a:pt x="591369" y="577765"/>
                  </a:cubicBezTo>
                  <a:cubicBezTo>
                    <a:pt x="591369" y="591116"/>
                    <a:pt x="585748" y="592521"/>
                    <a:pt x="574505" y="592521"/>
                  </a:cubicBezTo>
                  <a:cubicBezTo>
                    <a:pt x="531643" y="591819"/>
                    <a:pt x="488780" y="592521"/>
                    <a:pt x="445918" y="592521"/>
                  </a:cubicBezTo>
                  <a:cubicBezTo>
                    <a:pt x="431162" y="592521"/>
                    <a:pt x="419919" y="584792"/>
                    <a:pt x="410785" y="574955"/>
                  </a:cubicBezTo>
                  <a:cubicBezTo>
                    <a:pt x="396731" y="559496"/>
                    <a:pt x="394623" y="545443"/>
                    <a:pt x="413595" y="531390"/>
                  </a:cubicBezTo>
                  <a:cubicBezTo>
                    <a:pt x="428351" y="520850"/>
                    <a:pt x="445918" y="508904"/>
                    <a:pt x="436783" y="487122"/>
                  </a:cubicBezTo>
                  <a:cubicBezTo>
                    <a:pt x="426946" y="463231"/>
                    <a:pt x="410082" y="446367"/>
                    <a:pt x="381975" y="444962"/>
                  </a:cubicBezTo>
                  <a:cubicBezTo>
                    <a:pt x="354572" y="443557"/>
                    <a:pt x="329276" y="444962"/>
                    <a:pt x="311006" y="469555"/>
                  </a:cubicBezTo>
                  <a:cubicBezTo>
                    <a:pt x="294142" y="492743"/>
                    <a:pt x="294845" y="506094"/>
                    <a:pt x="316628" y="525768"/>
                  </a:cubicBezTo>
                  <a:cubicBezTo>
                    <a:pt x="326465" y="534903"/>
                    <a:pt x="345437" y="539119"/>
                    <a:pt x="337005" y="558794"/>
                  </a:cubicBezTo>
                  <a:cubicBezTo>
                    <a:pt x="328573" y="579874"/>
                    <a:pt x="313114" y="592521"/>
                    <a:pt x="289224" y="592521"/>
                  </a:cubicBezTo>
                  <a:cubicBezTo>
                    <a:pt x="248469" y="592521"/>
                    <a:pt x="207012" y="591819"/>
                    <a:pt x="166258" y="592521"/>
                  </a:cubicBezTo>
                  <a:cubicBezTo>
                    <a:pt x="150799" y="593224"/>
                    <a:pt x="148691" y="586900"/>
                    <a:pt x="148691" y="573549"/>
                  </a:cubicBezTo>
                  <a:cubicBezTo>
                    <a:pt x="149394" y="534903"/>
                    <a:pt x="148691" y="496959"/>
                    <a:pt x="149394" y="458312"/>
                  </a:cubicBezTo>
                  <a:cubicBezTo>
                    <a:pt x="149394" y="444962"/>
                    <a:pt x="147286" y="433017"/>
                    <a:pt x="137448" y="423179"/>
                  </a:cubicBezTo>
                  <a:cubicBezTo>
                    <a:pt x="127611" y="413342"/>
                    <a:pt x="119179" y="409126"/>
                    <a:pt x="109342" y="423882"/>
                  </a:cubicBezTo>
                  <a:cubicBezTo>
                    <a:pt x="95288" y="444259"/>
                    <a:pt x="77019" y="461123"/>
                    <a:pt x="49615" y="449178"/>
                  </a:cubicBezTo>
                  <a:cubicBezTo>
                    <a:pt x="21509" y="436530"/>
                    <a:pt x="2537" y="416153"/>
                    <a:pt x="429" y="382425"/>
                  </a:cubicBezTo>
                  <a:cubicBezTo>
                    <a:pt x="-1679" y="350102"/>
                    <a:pt x="3240" y="320590"/>
                    <a:pt x="32049" y="300213"/>
                  </a:cubicBezTo>
                  <a:cubicBezTo>
                    <a:pt x="59453" y="280538"/>
                    <a:pt x="78425" y="281944"/>
                    <a:pt x="101613" y="305835"/>
                  </a:cubicBezTo>
                  <a:cubicBezTo>
                    <a:pt x="108639" y="313564"/>
                    <a:pt x="112153" y="330428"/>
                    <a:pt x="128314" y="322698"/>
                  </a:cubicBezTo>
                  <a:cubicBezTo>
                    <a:pt x="142367" y="315672"/>
                    <a:pt x="148691" y="303024"/>
                    <a:pt x="148691" y="286863"/>
                  </a:cubicBezTo>
                  <a:cubicBezTo>
                    <a:pt x="148691" y="247513"/>
                    <a:pt x="149394" y="208164"/>
                    <a:pt x="147988" y="168815"/>
                  </a:cubicBezTo>
                  <a:cubicBezTo>
                    <a:pt x="147286" y="152654"/>
                    <a:pt x="150096" y="145627"/>
                    <a:pt x="168366" y="147032"/>
                  </a:cubicBezTo>
                  <a:cubicBezTo>
                    <a:pt x="188743" y="150546"/>
                    <a:pt x="209120" y="149140"/>
                    <a:pt x="228795" y="14914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F8592CBC-AEAD-471B-AD81-084F2A6A4C4C}"/>
                </a:ext>
              </a:extLst>
            </p:cNvPr>
            <p:cNvSpPr/>
            <p:nvPr/>
          </p:nvSpPr>
          <p:spPr>
            <a:xfrm>
              <a:off x="-8381" y="492008"/>
              <a:ext cx="769640" cy="1026186"/>
            </a:xfrm>
            <a:custGeom>
              <a:avLst/>
              <a:gdLst>
                <a:gd name="connsiteX0" fmla="*/ 703 w 442678"/>
                <a:gd name="connsiteY0" fmla="*/ 367448 h 590237"/>
                <a:gd name="connsiteX1" fmla="*/ 0 w 442678"/>
                <a:gd name="connsiteY1" fmla="*/ 167891 h 590237"/>
                <a:gd name="connsiteX2" fmla="*/ 21080 w 442678"/>
                <a:gd name="connsiteY2" fmla="*/ 146811 h 590237"/>
                <a:gd name="connsiteX3" fmla="*/ 136317 w 442678"/>
                <a:gd name="connsiteY3" fmla="*/ 147514 h 590237"/>
                <a:gd name="connsiteX4" fmla="*/ 166531 w 442678"/>
                <a:gd name="connsiteY4" fmla="*/ 138379 h 590237"/>
                <a:gd name="connsiteX5" fmla="*/ 165829 w 442678"/>
                <a:gd name="connsiteY5" fmla="*/ 108165 h 590237"/>
                <a:gd name="connsiteX6" fmla="*/ 139830 w 442678"/>
                <a:gd name="connsiteY6" fmla="*/ 56168 h 590237"/>
                <a:gd name="connsiteX7" fmla="*/ 196746 w 442678"/>
                <a:gd name="connsiteY7" fmla="*/ 2765 h 590237"/>
                <a:gd name="connsiteX8" fmla="*/ 288795 w 442678"/>
                <a:gd name="connsiteY8" fmla="*/ 29466 h 590237"/>
                <a:gd name="connsiteX9" fmla="*/ 283876 w 442678"/>
                <a:gd name="connsiteY9" fmla="*/ 103246 h 590237"/>
                <a:gd name="connsiteX10" fmla="*/ 267012 w 442678"/>
                <a:gd name="connsiteY10" fmla="*/ 127137 h 590237"/>
                <a:gd name="connsiteX11" fmla="*/ 302146 w 442678"/>
                <a:gd name="connsiteY11" fmla="*/ 148217 h 590237"/>
                <a:gd name="connsiteX12" fmla="*/ 420193 w 442678"/>
                <a:gd name="connsiteY12" fmla="*/ 147514 h 590237"/>
                <a:gd name="connsiteX13" fmla="*/ 444084 w 442678"/>
                <a:gd name="connsiteY13" fmla="*/ 171405 h 590237"/>
                <a:gd name="connsiteX14" fmla="*/ 444084 w 442678"/>
                <a:gd name="connsiteY14" fmla="*/ 286642 h 590237"/>
                <a:gd name="connsiteX15" fmla="*/ 424409 w 442678"/>
                <a:gd name="connsiteY15" fmla="*/ 329504 h 590237"/>
                <a:gd name="connsiteX16" fmla="*/ 382952 w 442678"/>
                <a:gd name="connsiteY16" fmla="*/ 325991 h 590237"/>
                <a:gd name="connsiteX17" fmla="*/ 338684 w 442678"/>
                <a:gd name="connsiteY17" fmla="*/ 301397 h 590237"/>
                <a:gd name="connsiteX18" fmla="*/ 295822 w 442678"/>
                <a:gd name="connsiteY18" fmla="*/ 352692 h 590237"/>
                <a:gd name="connsiteX19" fmla="*/ 314794 w 442678"/>
                <a:gd name="connsiteY19" fmla="*/ 422958 h 590237"/>
                <a:gd name="connsiteX20" fmla="*/ 377331 w 442678"/>
                <a:gd name="connsiteY20" fmla="*/ 420148 h 590237"/>
                <a:gd name="connsiteX21" fmla="*/ 408248 w 442678"/>
                <a:gd name="connsiteY21" fmla="*/ 400473 h 590237"/>
                <a:gd name="connsiteX22" fmla="*/ 442678 w 442678"/>
                <a:gd name="connsiteY22" fmla="*/ 441930 h 590237"/>
                <a:gd name="connsiteX23" fmla="*/ 443381 w 442678"/>
                <a:gd name="connsiteY23" fmla="*/ 576139 h 590237"/>
                <a:gd name="connsiteX24" fmla="*/ 425112 w 442678"/>
                <a:gd name="connsiteY24" fmla="*/ 589490 h 590237"/>
                <a:gd name="connsiteX25" fmla="*/ 299335 w 442678"/>
                <a:gd name="connsiteY25" fmla="*/ 589490 h 590237"/>
                <a:gd name="connsiteX26" fmla="*/ 254364 w 442678"/>
                <a:gd name="connsiteY26" fmla="*/ 559978 h 590237"/>
                <a:gd name="connsiteX27" fmla="*/ 273336 w 442678"/>
                <a:gd name="connsiteY27" fmla="*/ 523439 h 590237"/>
                <a:gd name="connsiteX28" fmla="*/ 277552 w 442678"/>
                <a:gd name="connsiteY28" fmla="*/ 465118 h 590237"/>
                <a:gd name="connsiteX29" fmla="*/ 164424 w 442678"/>
                <a:gd name="connsiteY29" fmla="*/ 465821 h 590237"/>
                <a:gd name="connsiteX30" fmla="*/ 168639 w 442678"/>
                <a:gd name="connsiteY30" fmla="*/ 524142 h 590237"/>
                <a:gd name="connsiteX31" fmla="*/ 188314 w 442678"/>
                <a:gd name="connsiteY31" fmla="*/ 557870 h 590237"/>
                <a:gd name="connsiteX32" fmla="*/ 142641 w 442678"/>
                <a:gd name="connsiteY32" fmla="*/ 590192 h 590237"/>
                <a:gd name="connsiteX33" fmla="*/ 19675 w 442678"/>
                <a:gd name="connsiteY33" fmla="*/ 590192 h 590237"/>
                <a:gd name="connsiteX34" fmla="*/ 0 w 442678"/>
                <a:gd name="connsiteY34" fmla="*/ 570518 h 590237"/>
                <a:gd name="connsiteX35" fmla="*/ 703 w 442678"/>
                <a:gd name="connsiteY35" fmla="*/ 367448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703" y="367448"/>
                  </a:moveTo>
                  <a:cubicBezTo>
                    <a:pt x="703" y="300695"/>
                    <a:pt x="1405" y="233942"/>
                    <a:pt x="0" y="167891"/>
                  </a:cubicBezTo>
                  <a:cubicBezTo>
                    <a:pt x="0" y="151027"/>
                    <a:pt x="4216" y="146109"/>
                    <a:pt x="21080" y="146811"/>
                  </a:cubicBezTo>
                  <a:cubicBezTo>
                    <a:pt x="59024" y="148217"/>
                    <a:pt x="97670" y="147514"/>
                    <a:pt x="136317" y="147514"/>
                  </a:cubicBezTo>
                  <a:cubicBezTo>
                    <a:pt x="147559" y="147514"/>
                    <a:pt x="158099" y="146811"/>
                    <a:pt x="166531" y="138379"/>
                  </a:cubicBezTo>
                  <a:cubicBezTo>
                    <a:pt x="177774" y="127839"/>
                    <a:pt x="181287" y="118705"/>
                    <a:pt x="165829" y="108165"/>
                  </a:cubicBezTo>
                  <a:cubicBezTo>
                    <a:pt x="148262" y="95517"/>
                    <a:pt x="132101" y="79356"/>
                    <a:pt x="139830" y="56168"/>
                  </a:cubicBezTo>
                  <a:cubicBezTo>
                    <a:pt x="148965" y="29466"/>
                    <a:pt x="166531" y="8387"/>
                    <a:pt x="196746" y="2765"/>
                  </a:cubicBezTo>
                  <a:cubicBezTo>
                    <a:pt x="231879" y="-3559"/>
                    <a:pt x="264202" y="-748"/>
                    <a:pt x="288795" y="29466"/>
                  </a:cubicBezTo>
                  <a:cubicBezTo>
                    <a:pt x="310578" y="56870"/>
                    <a:pt x="309172" y="79356"/>
                    <a:pt x="283876" y="103246"/>
                  </a:cubicBezTo>
                  <a:cubicBezTo>
                    <a:pt x="276850" y="109570"/>
                    <a:pt x="260688" y="112381"/>
                    <a:pt x="267012" y="127137"/>
                  </a:cubicBezTo>
                  <a:cubicBezTo>
                    <a:pt x="273336" y="141190"/>
                    <a:pt x="285984" y="148217"/>
                    <a:pt x="302146" y="148217"/>
                  </a:cubicBezTo>
                  <a:cubicBezTo>
                    <a:pt x="341495" y="147514"/>
                    <a:pt x="380844" y="148919"/>
                    <a:pt x="420193" y="147514"/>
                  </a:cubicBezTo>
                  <a:cubicBezTo>
                    <a:pt x="439868" y="146811"/>
                    <a:pt x="444786" y="152433"/>
                    <a:pt x="444084" y="171405"/>
                  </a:cubicBezTo>
                  <a:cubicBezTo>
                    <a:pt x="442678" y="209348"/>
                    <a:pt x="443381" y="247995"/>
                    <a:pt x="444084" y="286642"/>
                  </a:cubicBezTo>
                  <a:cubicBezTo>
                    <a:pt x="444084" y="304911"/>
                    <a:pt x="437760" y="318261"/>
                    <a:pt x="424409" y="329504"/>
                  </a:cubicBezTo>
                  <a:cubicBezTo>
                    <a:pt x="409653" y="342152"/>
                    <a:pt x="396303" y="343557"/>
                    <a:pt x="382952" y="325991"/>
                  </a:cubicBezTo>
                  <a:cubicBezTo>
                    <a:pt x="372412" y="311235"/>
                    <a:pt x="360467" y="293668"/>
                    <a:pt x="338684" y="301397"/>
                  </a:cubicBezTo>
                  <a:cubicBezTo>
                    <a:pt x="316199" y="309829"/>
                    <a:pt x="297930" y="325991"/>
                    <a:pt x="295822" y="352692"/>
                  </a:cubicBezTo>
                  <a:cubicBezTo>
                    <a:pt x="293714" y="378690"/>
                    <a:pt x="293011" y="403986"/>
                    <a:pt x="314794" y="422958"/>
                  </a:cubicBezTo>
                  <a:cubicBezTo>
                    <a:pt x="339387" y="445444"/>
                    <a:pt x="354845" y="444741"/>
                    <a:pt x="377331" y="420148"/>
                  </a:cubicBezTo>
                  <a:cubicBezTo>
                    <a:pt x="385763" y="411013"/>
                    <a:pt x="390681" y="394149"/>
                    <a:pt x="408248" y="400473"/>
                  </a:cubicBezTo>
                  <a:cubicBezTo>
                    <a:pt x="427923" y="407500"/>
                    <a:pt x="441976" y="421553"/>
                    <a:pt x="442678" y="441930"/>
                  </a:cubicBezTo>
                  <a:cubicBezTo>
                    <a:pt x="444084" y="486901"/>
                    <a:pt x="442678" y="531169"/>
                    <a:pt x="443381" y="576139"/>
                  </a:cubicBezTo>
                  <a:cubicBezTo>
                    <a:pt x="443381" y="590895"/>
                    <a:pt x="434949" y="589490"/>
                    <a:pt x="425112" y="589490"/>
                  </a:cubicBezTo>
                  <a:cubicBezTo>
                    <a:pt x="382952" y="589490"/>
                    <a:pt x="341495" y="589490"/>
                    <a:pt x="299335" y="589490"/>
                  </a:cubicBezTo>
                  <a:cubicBezTo>
                    <a:pt x="277552" y="589490"/>
                    <a:pt x="262796" y="577544"/>
                    <a:pt x="254364" y="559978"/>
                  </a:cubicBezTo>
                  <a:cubicBezTo>
                    <a:pt x="244527" y="540303"/>
                    <a:pt x="262796" y="533277"/>
                    <a:pt x="273336" y="523439"/>
                  </a:cubicBezTo>
                  <a:cubicBezTo>
                    <a:pt x="295822" y="502359"/>
                    <a:pt x="297227" y="489009"/>
                    <a:pt x="277552" y="465118"/>
                  </a:cubicBezTo>
                  <a:cubicBezTo>
                    <a:pt x="249446" y="431390"/>
                    <a:pt x="193233" y="431390"/>
                    <a:pt x="164424" y="465821"/>
                  </a:cubicBezTo>
                  <a:cubicBezTo>
                    <a:pt x="144749" y="489009"/>
                    <a:pt x="146154" y="502359"/>
                    <a:pt x="168639" y="524142"/>
                  </a:cubicBezTo>
                  <a:cubicBezTo>
                    <a:pt x="177774" y="533277"/>
                    <a:pt x="197449" y="537493"/>
                    <a:pt x="188314" y="557870"/>
                  </a:cubicBezTo>
                  <a:cubicBezTo>
                    <a:pt x="179882" y="577544"/>
                    <a:pt x="165829" y="590192"/>
                    <a:pt x="142641" y="590192"/>
                  </a:cubicBezTo>
                  <a:cubicBezTo>
                    <a:pt x="101886" y="590192"/>
                    <a:pt x="60429" y="589490"/>
                    <a:pt x="19675" y="590192"/>
                  </a:cubicBezTo>
                  <a:cubicBezTo>
                    <a:pt x="4216" y="590895"/>
                    <a:pt x="0" y="585274"/>
                    <a:pt x="0" y="570518"/>
                  </a:cubicBezTo>
                  <a:cubicBezTo>
                    <a:pt x="1405" y="502359"/>
                    <a:pt x="703" y="434904"/>
                    <a:pt x="703" y="36744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9FB938CB-49FC-483D-AEF2-81E3EF8A9E8F}"/>
                </a:ext>
              </a:extLst>
            </p:cNvPr>
            <p:cNvSpPr/>
            <p:nvPr/>
          </p:nvSpPr>
          <p:spPr>
            <a:xfrm>
              <a:off x="759395" y="1253949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71444B81-85EE-4F27-B817-5472FAC2A076}"/>
                </a:ext>
              </a:extLst>
            </p:cNvPr>
            <p:cNvSpPr/>
            <p:nvPr/>
          </p:nvSpPr>
          <p:spPr>
            <a:xfrm>
              <a:off x="1510534" y="2291233"/>
              <a:ext cx="1026185" cy="769640"/>
            </a:xfrm>
            <a:custGeom>
              <a:avLst/>
              <a:gdLst>
                <a:gd name="connsiteX0" fmla="*/ 362604 w 590237"/>
                <a:gd name="connsiteY0" fmla="*/ 443446 h 442678"/>
                <a:gd name="connsiteX1" fmla="*/ 302175 w 590237"/>
                <a:gd name="connsiteY1" fmla="*/ 443446 h 442678"/>
                <a:gd name="connsiteX2" fmla="*/ 261420 w 590237"/>
                <a:gd name="connsiteY2" fmla="*/ 424474 h 442678"/>
                <a:gd name="connsiteX3" fmla="*/ 264934 w 590237"/>
                <a:gd name="connsiteY3" fmla="*/ 383017 h 442678"/>
                <a:gd name="connsiteX4" fmla="*/ 288122 w 590237"/>
                <a:gd name="connsiteY4" fmla="*/ 335938 h 442678"/>
                <a:gd name="connsiteX5" fmla="*/ 234719 w 590237"/>
                <a:gd name="connsiteY5" fmla="*/ 295184 h 442678"/>
                <a:gd name="connsiteX6" fmla="*/ 165155 w 590237"/>
                <a:gd name="connsiteY6" fmla="*/ 316966 h 442678"/>
                <a:gd name="connsiteX7" fmla="*/ 170074 w 590237"/>
                <a:gd name="connsiteY7" fmla="*/ 377395 h 442678"/>
                <a:gd name="connsiteX8" fmla="*/ 189749 w 590237"/>
                <a:gd name="connsiteY8" fmla="*/ 409015 h 442678"/>
                <a:gd name="connsiteX9" fmla="*/ 149697 w 590237"/>
                <a:gd name="connsiteY9" fmla="*/ 442041 h 442678"/>
                <a:gd name="connsiteX10" fmla="*/ 12677 w 590237"/>
                <a:gd name="connsiteY10" fmla="*/ 442743 h 442678"/>
                <a:gd name="connsiteX11" fmla="*/ 29 w 590237"/>
                <a:gd name="connsiteY11" fmla="*/ 427285 h 442678"/>
                <a:gd name="connsiteX12" fmla="*/ 29 w 590237"/>
                <a:gd name="connsiteY12" fmla="*/ 298697 h 442678"/>
                <a:gd name="connsiteX13" fmla="*/ 17596 w 590237"/>
                <a:gd name="connsiteY13" fmla="*/ 263564 h 442678"/>
                <a:gd name="connsiteX14" fmla="*/ 60458 w 590237"/>
                <a:gd name="connsiteY14" fmla="*/ 266375 h 442678"/>
                <a:gd name="connsiteX15" fmla="*/ 104024 w 590237"/>
                <a:gd name="connsiteY15" fmla="*/ 290265 h 442678"/>
                <a:gd name="connsiteX16" fmla="*/ 147589 w 590237"/>
                <a:gd name="connsiteY16" fmla="*/ 236160 h 442678"/>
                <a:gd name="connsiteX17" fmla="*/ 122996 w 590237"/>
                <a:gd name="connsiteY17" fmla="*/ 164488 h 442678"/>
                <a:gd name="connsiteX18" fmla="*/ 66782 w 590237"/>
                <a:gd name="connsiteY18" fmla="*/ 169407 h 442678"/>
                <a:gd name="connsiteX19" fmla="*/ 30244 w 590237"/>
                <a:gd name="connsiteY19" fmla="*/ 189082 h 442678"/>
                <a:gd name="connsiteX20" fmla="*/ 29 w 590237"/>
                <a:gd name="connsiteY20" fmla="*/ 141300 h 442678"/>
                <a:gd name="connsiteX21" fmla="*/ 29 w 590237"/>
                <a:gd name="connsiteY21" fmla="*/ 18334 h 442678"/>
                <a:gd name="connsiteX22" fmla="*/ 18298 w 590237"/>
                <a:gd name="connsiteY22" fmla="*/ 65 h 442678"/>
                <a:gd name="connsiteX23" fmla="*/ 138454 w 590237"/>
                <a:gd name="connsiteY23" fmla="*/ 65 h 442678"/>
                <a:gd name="connsiteX24" fmla="*/ 179209 w 590237"/>
                <a:gd name="connsiteY24" fmla="*/ 18334 h 442678"/>
                <a:gd name="connsiteX25" fmla="*/ 176398 w 590237"/>
                <a:gd name="connsiteY25" fmla="*/ 61197 h 442678"/>
                <a:gd name="connsiteX26" fmla="*/ 153913 w 590237"/>
                <a:gd name="connsiteY26" fmla="*/ 108275 h 442678"/>
                <a:gd name="connsiteX27" fmla="*/ 208018 w 590237"/>
                <a:gd name="connsiteY27" fmla="*/ 148327 h 442678"/>
                <a:gd name="connsiteX28" fmla="*/ 277582 w 590237"/>
                <a:gd name="connsiteY28" fmla="*/ 126545 h 442678"/>
                <a:gd name="connsiteX29" fmla="*/ 274068 w 590237"/>
                <a:gd name="connsiteY29" fmla="*/ 67521 h 442678"/>
                <a:gd name="connsiteX30" fmla="*/ 253691 w 590237"/>
                <a:gd name="connsiteY30" fmla="*/ 33793 h 442678"/>
                <a:gd name="connsiteX31" fmla="*/ 299364 w 590237"/>
                <a:gd name="connsiteY31" fmla="*/ 768 h 442678"/>
                <a:gd name="connsiteX32" fmla="*/ 427952 w 590237"/>
                <a:gd name="connsiteY32" fmla="*/ 65 h 442678"/>
                <a:gd name="connsiteX33" fmla="*/ 442708 w 590237"/>
                <a:gd name="connsiteY33" fmla="*/ 19037 h 442678"/>
                <a:gd name="connsiteX34" fmla="*/ 442708 w 590237"/>
                <a:gd name="connsiteY34" fmla="*/ 139192 h 442678"/>
                <a:gd name="connsiteX35" fmla="*/ 453248 w 590237"/>
                <a:gd name="connsiteY35" fmla="*/ 168704 h 442678"/>
                <a:gd name="connsiteX36" fmla="*/ 481354 w 590237"/>
                <a:gd name="connsiteY36" fmla="*/ 168002 h 442678"/>
                <a:gd name="connsiteX37" fmla="*/ 538973 w 590237"/>
                <a:gd name="connsiteY37" fmla="*/ 142003 h 442678"/>
                <a:gd name="connsiteX38" fmla="*/ 589565 w 590237"/>
                <a:gd name="connsiteY38" fmla="*/ 198216 h 442678"/>
                <a:gd name="connsiteX39" fmla="*/ 559350 w 590237"/>
                <a:gd name="connsiteY39" fmla="*/ 290968 h 442678"/>
                <a:gd name="connsiteX40" fmla="*/ 487678 w 590237"/>
                <a:gd name="connsiteY40" fmla="*/ 283239 h 442678"/>
                <a:gd name="connsiteX41" fmla="*/ 463085 w 590237"/>
                <a:gd name="connsiteY41" fmla="*/ 267780 h 442678"/>
                <a:gd name="connsiteX42" fmla="*/ 442708 w 590237"/>
                <a:gd name="connsiteY42" fmla="*/ 300805 h 442678"/>
                <a:gd name="connsiteX43" fmla="*/ 443410 w 590237"/>
                <a:gd name="connsiteY43" fmla="*/ 423771 h 442678"/>
                <a:gd name="connsiteX44" fmla="*/ 425844 w 590237"/>
                <a:gd name="connsiteY44" fmla="*/ 442743 h 442678"/>
                <a:gd name="connsiteX45" fmla="*/ 362604 w 590237"/>
                <a:gd name="connsiteY45" fmla="*/ 443446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0237" h="442678">
                  <a:moveTo>
                    <a:pt x="362604" y="443446"/>
                  </a:moveTo>
                  <a:cubicBezTo>
                    <a:pt x="342227" y="443446"/>
                    <a:pt x="322552" y="442743"/>
                    <a:pt x="302175" y="443446"/>
                  </a:cubicBezTo>
                  <a:cubicBezTo>
                    <a:pt x="285311" y="444149"/>
                    <a:pt x="272663" y="437122"/>
                    <a:pt x="261420" y="424474"/>
                  </a:cubicBezTo>
                  <a:cubicBezTo>
                    <a:pt x="248070" y="409718"/>
                    <a:pt x="247367" y="396367"/>
                    <a:pt x="264934" y="383017"/>
                  </a:cubicBezTo>
                  <a:cubicBezTo>
                    <a:pt x="280392" y="371774"/>
                    <a:pt x="297959" y="359126"/>
                    <a:pt x="288122" y="335938"/>
                  </a:cubicBezTo>
                  <a:cubicBezTo>
                    <a:pt x="278284" y="312751"/>
                    <a:pt x="261420" y="297292"/>
                    <a:pt x="234719" y="295184"/>
                  </a:cubicBezTo>
                  <a:cubicBezTo>
                    <a:pt x="208721" y="293076"/>
                    <a:pt x="184127" y="295184"/>
                    <a:pt x="165155" y="316966"/>
                  </a:cubicBezTo>
                  <a:cubicBezTo>
                    <a:pt x="145481" y="340154"/>
                    <a:pt x="146886" y="357018"/>
                    <a:pt x="170074" y="377395"/>
                  </a:cubicBezTo>
                  <a:cubicBezTo>
                    <a:pt x="179209" y="385828"/>
                    <a:pt x="196775" y="390746"/>
                    <a:pt x="189749" y="409015"/>
                  </a:cubicBezTo>
                  <a:cubicBezTo>
                    <a:pt x="182722" y="426582"/>
                    <a:pt x="169371" y="441338"/>
                    <a:pt x="149697" y="442041"/>
                  </a:cubicBezTo>
                  <a:cubicBezTo>
                    <a:pt x="104024" y="443446"/>
                    <a:pt x="58350" y="442041"/>
                    <a:pt x="12677" y="442743"/>
                  </a:cubicBezTo>
                  <a:cubicBezTo>
                    <a:pt x="732" y="442743"/>
                    <a:pt x="29" y="437122"/>
                    <a:pt x="29" y="427285"/>
                  </a:cubicBezTo>
                  <a:cubicBezTo>
                    <a:pt x="29" y="384422"/>
                    <a:pt x="732" y="341560"/>
                    <a:pt x="29" y="298697"/>
                  </a:cubicBezTo>
                  <a:cubicBezTo>
                    <a:pt x="29" y="283239"/>
                    <a:pt x="7056" y="272699"/>
                    <a:pt x="17596" y="263564"/>
                  </a:cubicBezTo>
                  <a:cubicBezTo>
                    <a:pt x="32352" y="250213"/>
                    <a:pt x="46405" y="245997"/>
                    <a:pt x="60458" y="266375"/>
                  </a:cubicBezTo>
                  <a:cubicBezTo>
                    <a:pt x="70998" y="281131"/>
                    <a:pt x="82241" y="297995"/>
                    <a:pt x="104024" y="290265"/>
                  </a:cubicBezTo>
                  <a:cubicBezTo>
                    <a:pt x="128617" y="281131"/>
                    <a:pt x="145481" y="263564"/>
                    <a:pt x="147589" y="236160"/>
                  </a:cubicBezTo>
                  <a:cubicBezTo>
                    <a:pt x="149697" y="208756"/>
                    <a:pt x="147589" y="183460"/>
                    <a:pt x="122996" y="164488"/>
                  </a:cubicBezTo>
                  <a:cubicBezTo>
                    <a:pt x="99808" y="146922"/>
                    <a:pt x="86457" y="147624"/>
                    <a:pt x="66782" y="169407"/>
                  </a:cubicBezTo>
                  <a:cubicBezTo>
                    <a:pt x="56945" y="179947"/>
                    <a:pt x="49918" y="198919"/>
                    <a:pt x="30244" y="189082"/>
                  </a:cubicBezTo>
                  <a:cubicBezTo>
                    <a:pt x="11272" y="179947"/>
                    <a:pt x="-673" y="165191"/>
                    <a:pt x="29" y="141300"/>
                  </a:cubicBezTo>
                  <a:cubicBezTo>
                    <a:pt x="732" y="100546"/>
                    <a:pt x="732" y="59089"/>
                    <a:pt x="29" y="18334"/>
                  </a:cubicBezTo>
                  <a:cubicBezTo>
                    <a:pt x="29" y="4281"/>
                    <a:pt x="4245" y="-638"/>
                    <a:pt x="18298" y="65"/>
                  </a:cubicBezTo>
                  <a:cubicBezTo>
                    <a:pt x="58350" y="768"/>
                    <a:pt x="98402" y="768"/>
                    <a:pt x="138454" y="65"/>
                  </a:cubicBezTo>
                  <a:cubicBezTo>
                    <a:pt x="155318" y="65"/>
                    <a:pt x="168669" y="5686"/>
                    <a:pt x="179209" y="18334"/>
                  </a:cubicBezTo>
                  <a:cubicBezTo>
                    <a:pt x="192559" y="33090"/>
                    <a:pt x="196073" y="47143"/>
                    <a:pt x="176398" y="61197"/>
                  </a:cubicBezTo>
                  <a:cubicBezTo>
                    <a:pt x="160940" y="72439"/>
                    <a:pt x="143373" y="85790"/>
                    <a:pt x="153913" y="108275"/>
                  </a:cubicBezTo>
                  <a:cubicBezTo>
                    <a:pt x="163750" y="130760"/>
                    <a:pt x="180614" y="146922"/>
                    <a:pt x="208018" y="148327"/>
                  </a:cubicBezTo>
                  <a:cubicBezTo>
                    <a:pt x="234016" y="149732"/>
                    <a:pt x="258610" y="149030"/>
                    <a:pt x="277582" y="126545"/>
                  </a:cubicBezTo>
                  <a:cubicBezTo>
                    <a:pt x="296554" y="103357"/>
                    <a:pt x="295851" y="88601"/>
                    <a:pt x="274068" y="67521"/>
                  </a:cubicBezTo>
                  <a:cubicBezTo>
                    <a:pt x="264231" y="58386"/>
                    <a:pt x="245962" y="52765"/>
                    <a:pt x="253691" y="33793"/>
                  </a:cubicBezTo>
                  <a:cubicBezTo>
                    <a:pt x="262123" y="14118"/>
                    <a:pt x="277582" y="768"/>
                    <a:pt x="299364" y="768"/>
                  </a:cubicBezTo>
                  <a:cubicBezTo>
                    <a:pt x="342227" y="65"/>
                    <a:pt x="385089" y="768"/>
                    <a:pt x="427952" y="65"/>
                  </a:cubicBezTo>
                  <a:cubicBezTo>
                    <a:pt x="443410" y="65"/>
                    <a:pt x="443410" y="7794"/>
                    <a:pt x="442708" y="19037"/>
                  </a:cubicBezTo>
                  <a:cubicBezTo>
                    <a:pt x="442708" y="59089"/>
                    <a:pt x="442708" y="99140"/>
                    <a:pt x="442708" y="139192"/>
                  </a:cubicBezTo>
                  <a:cubicBezTo>
                    <a:pt x="442708" y="150435"/>
                    <a:pt x="444113" y="160975"/>
                    <a:pt x="453248" y="168704"/>
                  </a:cubicBezTo>
                  <a:cubicBezTo>
                    <a:pt x="463085" y="177839"/>
                    <a:pt x="471517" y="182758"/>
                    <a:pt x="481354" y="168002"/>
                  </a:cubicBezTo>
                  <a:cubicBezTo>
                    <a:pt x="494705" y="148327"/>
                    <a:pt x="512272" y="132868"/>
                    <a:pt x="538973" y="142003"/>
                  </a:cubicBezTo>
                  <a:cubicBezTo>
                    <a:pt x="564971" y="151138"/>
                    <a:pt x="584646" y="170110"/>
                    <a:pt x="589565" y="198216"/>
                  </a:cubicBezTo>
                  <a:cubicBezTo>
                    <a:pt x="595888" y="234052"/>
                    <a:pt x="591673" y="267077"/>
                    <a:pt x="559350" y="290968"/>
                  </a:cubicBezTo>
                  <a:cubicBezTo>
                    <a:pt x="531243" y="311345"/>
                    <a:pt x="512272" y="309237"/>
                    <a:pt x="487678" y="283239"/>
                  </a:cubicBezTo>
                  <a:cubicBezTo>
                    <a:pt x="481354" y="276212"/>
                    <a:pt x="477841" y="260753"/>
                    <a:pt x="463085" y="267780"/>
                  </a:cubicBezTo>
                  <a:cubicBezTo>
                    <a:pt x="450437" y="274104"/>
                    <a:pt x="442708" y="284644"/>
                    <a:pt x="442708" y="300805"/>
                  </a:cubicBezTo>
                  <a:cubicBezTo>
                    <a:pt x="443410" y="341560"/>
                    <a:pt x="442005" y="383017"/>
                    <a:pt x="443410" y="423771"/>
                  </a:cubicBezTo>
                  <a:cubicBezTo>
                    <a:pt x="443410" y="437825"/>
                    <a:pt x="440600" y="443446"/>
                    <a:pt x="425844" y="442743"/>
                  </a:cubicBezTo>
                  <a:cubicBezTo>
                    <a:pt x="404764" y="442041"/>
                    <a:pt x="383684" y="443446"/>
                    <a:pt x="362604" y="44344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9112B266-BC9A-4000-AC73-D444C322ADE4}"/>
                </a:ext>
              </a:extLst>
            </p:cNvPr>
            <p:cNvSpPr/>
            <p:nvPr/>
          </p:nvSpPr>
          <p:spPr>
            <a:xfrm>
              <a:off x="5070197" y="3052093"/>
              <a:ext cx="1026185" cy="757423"/>
            </a:xfrm>
            <a:custGeom>
              <a:avLst/>
              <a:gdLst>
                <a:gd name="connsiteX0" fmla="*/ 593135 w 590237"/>
                <a:gd name="connsiteY0" fmla="*/ 360467 h 435651"/>
                <a:gd name="connsiteX1" fmla="*/ 593135 w 590237"/>
                <a:gd name="connsiteY1" fmla="*/ 426517 h 435651"/>
                <a:gd name="connsiteX2" fmla="*/ 577676 w 590237"/>
                <a:gd name="connsiteY2" fmla="*/ 441976 h 435651"/>
                <a:gd name="connsiteX3" fmla="*/ 446278 w 590237"/>
                <a:gd name="connsiteY3" fmla="*/ 441273 h 435651"/>
                <a:gd name="connsiteX4" fmla="*/ 403415 w 590237"/>
                <a:gd name="connsiteY4" fmla="*/ 408248 h 435651"/>
                <a:gd name="connsiteX5" fmla="*/ 422387 w 590237"/>
                <a:gd name="connsiteY5" fmla="*/ 376628 h 435651"/>
                <a:gd name="connsiteX6" fmla="*/ 425198 w 590237"/>
                <a:gd name="connsiteY6" fmla="*/ 314091 h 435651"/>
                <a:gd name="connsiteX7" fmla="*/ 316988 w 590237"/>
                <a:gd name="connsiteY7" fmla="*/ 314091 h 435651"/>
                <a:gd name="connsiteX8" fmla="*/ 320501 w 590237"/>
                <a:gd name="connsiteY8" fmla="*/ 376628 h 435651"/>
                <a:gd name="connsiteX9" fmla="*/ 339473 w 590237"/>
                <a:gd name="connsiteY9" fmla="*/ 408951 h 435651"/>
                <a:gd name="connsiteX10" fmla="*/ 301529 w 590237"/>
                <a:gd name="connsiteY10" fmla="*/ 440570 h 435651"/>
                <a:gd name="connsiteX11" fmla="*/ 161699 w 590237"/>
                <a:gd name="connsiteY11" fmla="*/ 441273 h 435651"/>
                <a:gd name="connsiteX12" fmla="*/ 149754 w 590237"/>
                <a:gd name="connsiteY12" fmla="*/ 423004 h 435651"/>
                <a:gd name="connsiteX13" fmla="*/ 149754 w 590237"/>
                <a:gd name="connsiteY13" fmla="*/ 304956 h 435651"/>
                <a:gd name="connsiteX14" fmla="*/ 140619 w 590237"/>
                <a:gd name="connsiteY14" fmla="*/ 274742 h 435651"/>
                <a:gd name="connsiteX15" fmla="*/ 109702 w 590237"/>
                <a:gd name="connsiteY15" fmla="*/ 274742 h 435651"/>
                <a:gd name="connsiteX16" fmla="*/ 5708 w 590237"/>
                <a:gd name="connsiteY16" fmla="*/ 252959 h 435651"/>
                <a:gd name="connsiteX17" fmla="*/ 32409 w 590237"/>
                <a:gd name="connsiteY17" fmla="*/ 151776 h 435651"/>
                <a:gd name="connsiteX18" fmla="*/ 104081 w 590237"/>
                <a:gd name="connsiteY18" fmla="*/ 158099 h 435651"/>
                <a:gd name="connsiteX19" fmla="*/ 127971 w 590237"/>
                <a:gd name="connsiteY19" fmla="*/ 174963 h 435651"/>
                <a:gd name="connsiteX20" fmla="*/ 149051 w 590237"/>
                <a:gd name="connsiteY20" fmla="*/ 139830 h 435651"/>
                <a:gd name="connsiteX21" fmla="*/ 148348 w 590237"/>
                <a:gd name="connsiteY21" fmla="*/ 19675 h 435651"/>
                <a:gd name="connsiteX22" fmla="*/ 168023 w 590237"/>
                <a:gd name="connsiteY22" fmla="*/ 0 h 435651"/>
                <a:gd name="connsiteX23" fmla="*/ 290989 w 590237"/>
                <a:gd name="connsiteY23" fmla="*/ 0 h 435651"/>
                <a:gd name="connsiteX24" fmla="*/ 328933 w 590237"/>
                <a:gd name="connsiteY24" fmla="*/ 17567 h 435651"/>
                <a:gd name="connsiteX25" fmla="*/ 326122 w 590237"/>
                <a:gd name="connsiteY25" fmla="*/ 59024 h 435651"/>
                <a:gd name="connsiteX26" fmla="*/ 301529 w 590237"/>
                <a:gd name="connsiteY26" fmla="*/ 103292 h 435651"/>
                <a:gd name="connsiteX27" fmla="*/ 352824 w 590237"/>
                <a:gd name="connsiteY27" fmla="*/ 146857 h 435651"/>
                <a:gd name="connsiteX28" fmla="*/ 421685 w 590237"/>
                <a:gd name="connsiteY28" fmla="*/ 129993 h 435651"/>
                <a:gd name="connsiteX29" fmla="*/ 419577 w 590237"/>
                <a:gd name="connsiteY29" fmla="*/ 63943 h 435651"/>
                <a:gd name="connsiteX30" fmla="*/ 402010 w 590237"/>
                <a:gd name="connsiteY30" fmla="*/ 34431 h 435651"/>
                <a:gd name="connsiteX31" fmla="*/ 436441 w 590237"/>
                <a:gd name="connsiteY31" fmla="*/ 2811 h 435651"/>
                <a:gd name="connsiteX32" fmla="*/ 581190 w 590237"/>
                <a:gd name="connsiteY32" fmla="*/ 703 h 435651"/>
                <a:gd name="connsiteX33" fmla="*/ 591027 w 590237"/>
                <a:gd name="connsiteY33" fmla="*/ 15459 h 435651"/>
                <a:gd name="connsiteX34" fmla="*/ 591027 w 590237"/>
                <a:gd name="connsiteY34" fmla="*/ 146857 h 435651"/>
                <a:gd name="connsiteX35" fmla="*/ 560110 w 590237"/>
                <a:gd name="connsiteY35" fmla="*/ 188314 h 435651"/>
                <a:gd name="connsiteX36" fmla="*/ 525679 w 590237"/>
                <a:gd name="connsiteY36" fmla="*/ 170045 h 435651"/>
                <a:gd name="connsiteX37" fmla="*/ 465953 w 590237"/>
                <a:gd name="connsiteY37" fmla="*/ 165126 h 435651"/>
                <a:gd name="connsiteX38" fmla="*/ 463845 w 590237"/>
                <a:gd name="connsiteY38" fmla="*/ 274742 h 435651"/>
                <a:gd name="connsiteX39" fmla="*/ 526382 w 590237"/>
                <a:gd name="connsiteY39" fmla="*/ 271931 h 435651"/>
                <a:gd name="connsiteX40" fmla="*/ 560812 w 590237"/>
                <a:gd name="connsiteY40" fmla="*/ 253662 h 435651"/>
                <a:gd name="connsiteX41" fmla="*/ 591729 w 590237"/>
                <a:gd name="connsiteY41" fmla="*/ 297930 h 435651"/>
                <a:gd name="connsiteX42" fmla="*/ 593135 w 590237"/>
                <a:gd name="connsiteY42" fmla="*/ 360467 h 43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90237" h="435651">
                  <a:moveTo>
                    <a:pt x="593135" y="360467"/>
                  </a:moveTo>
                  <a:cubicBezTo>
                    <a:pt x="593135" y="382249"/>
                    <a:pt x="592432" y="404032"/>
                    <a:pt x="593135" y="426517"/>
                  </a:cubicBezTo>
                  <a:cubicBezTo>
                    <a:pt x="593837" y="438462"/>
                    <a:pt x="589621" y="441976"/>
                    <a:pt x="577676" y="441976"/>
                  </a:cubicBezTo>
                  <a:cubicBezTo>
                    <a:pt x="534111" y="441273"/>
                    <a:pt x="489843" y="441976"/>
                    <a:pt x="446278" y="441273"/>
                  </a:cubicBezTo>
                  <a:cubicBezTo>
                    <a:pt x="424495" y="441273"/>
                    <a:pt x="411145" y="427220"/>
                    <a:pt x="403415" y="408248"/>
                  </a:cubicBezTo>
                  <a:cubicBezTo>
                    <a:pt x="395686" y="389978"/>
                    <a:pt x="413253" y="385060"/>
                    <a:pt x="422387" y="376628"/>
                  </a:cubicBezTo>
                  <a:cubicBezTo>
                    <a:pt x="446278" y="354143"/>
                    <a:pt x="447683" y="337279"/>
                    <a:pt x="425198" y="314091"/>
                  </a:cubicBezTo>
                  <a:cubicBezTo>
                    <a:pt x="397794" y="285282"/>
                    <a:pt x="344392" y="285282"/>
                    <a:pt x="316988" y="314091"/>
                  </a:cubicBezTo>
                  <a:cubicBezTo>
                    <a:pt x="295205" y="337982"/>
                    <a:pt x="295908" y="355548"/>
                    <a:pt x="320501" y="376628"/>
                  </a:cubicBezTo>
                  <a:cubicBezTo>
                    <a:pt x="330338" y="385060"/>
                    <a:pt x="346500" y="391384"/>
                    <a:pt x="339473" y="408951"/>
                  </a:cubicBezTo>
                  <a:cubicBezTo>
                    <a:pt x="332447" y="425815"/>
                    <a:pt x="321204" y="439868"/>
                    <a:pt x="301529" y="440570"/>
                  </a:cubicBezTo>
                  <a:cubicBezTo>
                    <a:pt x="255153" y="441976"/>
                    <a:pt x="208778" y="441273"/>
                    <a:pt x="161699" y="441273"/>
                  </a:cubicBezTo>
                  <a:cubicBezTo>
                    <a:pt x="146241" y="441273"/>
                    <a:pt x="149754" y="431436"/>
                    <a:pt x="149754" y="423004"/>
                  </a:cubicBezTo>
                  <a:cubicBezTo>
                    <a:pt x="149754" y="383655"/>
                    <a:pt x="149754" y="344305"/>
                    <a:pt x="149754" y="304956"/>
                  </a:cubicBezTo>
                  <a:cubicBezTo>
                    <a:pt x="149754" y="293713"/>
                    <a:pt x="149051" y="283173"/>
                    <a:pt x="140619" y="274742"/>
                  </a:cubicBezTo>
                  <a:cubicBezTo>
                    <a:pt x="130079" y="264904"/>
                    <a:pt x="122350" y="259986"/>
                    <a:pt x="109702" y="274742"/>
                  </a:cubicBezTo>
                  <a:cubicBezTo>
                    <a:pt x="74569" y="316902"/>
                    <a:pt x="23977" y="305659"/>
                    <a:pt x="5708" y="252959"/>
                  </a:cubicBezTo>
                  <a:cubicBezTo>
                    <a:pt x="-7643" y="214313"/>
                    <a:pt x="2897" y="174963"/>
                    <a:pt x="32409" y="151776"/>
                  </a:cubicBezTo>
                  <a:cubicBezTo>
                    <a:pt x="59110" y="130696"/>
                    <a:pt x="81595" y="132804"/>
                    <a:pt x="104081" y="158099"/>
                  </a:cubicBezTo>
                  <a:cubicBezTo>
                    <a:pt x="111107" y="165126"/>
                    <a:pt x="113918" y="181287"/>
                    <a:pt x="127971" y="174963"/>
                  </a:cubicBezTo>
                  <a:cubicBezTo>
                    <a:pt x="142025" y="168639"/>
                    <a:pt x="149754" y="156694"/>
                    <a:pt x="149051" y="139830"/>
                  </a:cubicBezTo>
                  <a:cubicBezTo>
                    <a:pt x="148348" y="99778"/>
                    <a:pt x="149754" y="59726"/>
                    <a:pt x="148348" y="19675"/>
                  </a:cubicBezTo>
                  <a:cubicBezTo>
                    <a:pt x="147646" y="3513"/>
                    <a:pt x="152564" y="0"/>
                    <a:pt x="168023" y="0"/>
                  </a:cubicBezTo>
                  <a:cubicBezTo>
                    <a:pt x="208778" y="703"/>
                    <a:pt x="250235" y="703"/>
                    <a:pt x="290989" y="0"/>
                  </a:cubicBezTo>
                  <a:cubicBezTo>
                    <a:pt x="307151" y="0"/>
                    <a:pt x="319096" y="5621"/>
                    <a:pt x="328933" y="17567"/>
                  </a:cubicBezTo>
                  <a:cubicBezTo>
                    <a:pt x="341581" y="32323"/>
                    <a:pt x="344392" y="45673"/>
                    <a:pt x="326122" y="59024"/>
                  </a:cubicBezTo>
                  <a:cubicBezTo>
                    <a:pt x="311367" y="69564"/>
                    <a:pt x="294502" y="81509"/>
                    <a:pt x="301529" y="103292"/>
                  </a:cubicBezTo>
                  <a:cubicBezTo>
                    <a:pt x="309258" y="127182"/>
                    <a:pt x="326825" y="143344"/>
                    <a:pt x="352824" y="146857"/>
                  </a:cubicBezTo>
                  <a:cubicBezTo>
                    <a:pt x="378120" y="150370"/>
                    <a:pt x="402010" y="148965"/>
                    <a:pt x="421685" y="129993"/>
                  </a:cubicBezTo>
                  <a:cubicBezTo>
                    <a:pt x="446278" y="105400"/>
                    <a:pt x="445575" y="86428"/>
                    <a:pt x="419577" y="63943"/>
                  </a:cubicBezTo>
                  <a:cubicBezTo>
                    <a:pt x="410442" y="56213"/>
                    <a:pt x="394984" y="51294"/>
                    <a:pt x="402010" y="34431"/>
                  </a:cubicBezTo>
                  <a:cubicBezTo>
                    <a:pt x="408334" y="18972"/>
                    <a:pt x="418874" y="3513"/>
                    <a:pt x="436441" y="2811"/>
                  </a:cubicBezTo>
                  <a:cubicBezTo>
                    <a:pt x="484924" y="703"/>
                    <a:pt x="533408" y="1405"/>
                    <a:pt x="581190" y="703"/>
                  </a:cubicBezTo>
                  <a:cubicBezTo>
                    <a:pt x="593135" y="703"/>
                    <a:pt x="591027" y="8432"/>
                    <a:pt x="591027" y="15459"/>
                  </a:cubicBezTo>
                  <a:cubicBezTo>
                    <a:pt x="591027" y="59024"/>
                    <a:pt x="591729" y="103292"/>
                    <a:pt x="591027" y="146857"/>
                  </a:cubicBezTo>
                  <a:cubicBezTo>
                    <a:pt x="591027" y="167234"/>
                    <a:pt x="577676" y="179882"/>
                    <a:pt x="560110" y="188314"/>
                  </a:cubicBezTo>
                  <a:cubicBezTo>
                    <a:pt x="541138" y="197449"/>
                    <a:pt x="534814" y="179882"/>
                    <a:pt x="525679" y="170045"/>
                  </a:cubicBezTo>
                  <a:cubicBezTo>
                    <a:pt x="503896" y="145452"/>
                    <a:pt x="490546" y="144749"/>
                    <a:pt x="465953" y="165126"/>
                  </a:cubicBezTo>
                  <a:cubicBezTo>
                    <a:pt x="434333" y="191827"/>
                    <a:pt x="432927" y="246635"/>
                    <a:pt x="463845" y="274742"/>
                  </a:cubicBezTo>
                  <a:cubicBezTo>
                    <a:pt x="488438" y="297227"/>
                    <a:pt x="503896" y="296524"/>
                    <a:pt x="526382" y="271931"/>
                  </a:cubicBezTo>
                  <a:cubicBezTo>
                    <a:pt x="535516" y="262094"/>
                    <a:pt x="541840" y="244527"/>
                    <a:pt x="560812" y="253662"/>
                  </a:cubicBezTo>
                  <a:cubicBezTo>
                    <a:pt x="579081" y="262094"/>
                    <a:pt x="591729" y="275444"/>
                    <a:pt x="591729" y="297930"/>
                  </a:cubicBezTo>
                  <a:cubicBezTo>
                    <a:pt x="593135" y="318307"/>
                    <a:pt x="593135" y="339387"/>
                    <a:pt x="593135" y="36046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EFFA54A4-F19C-4EF2-9829-E4D5317F327A}"/>
                </a:ext>
              </a:extLst>
            </p:cNvPr>
            <p:cNvSpPr/>
            <p:nvPr/>
          </p:nvSpPr>
          <p:spPr>
            <a:xfrm>
              <a:off x="5849540" y="3819740"/>
              <a:ext cx="1282731" cy="1026186"/>
            </a:xfrm>
            <a:custGeom>
              <a:avLst/>
              <a:gdLst>
                <a:gd name="connsiteX0" fmla="*/ 230901 w 737797"/>
                <a:gd name="connsiteY0" fmla="*/ 1565 h 590237"/>
                <a:gd name="connsiteX1" fmla="*/ 291330 w 737797"/>
                <a:gd name="connsiteY1" fmla="*/ 1565 h 590237"/>
                <a:gd name="connsiteX2" fmla="*/ 336300 w 737797"/>
                <a:gd name="connsiteY2" fmla="*/ 31077 h 590237"/>
                <a:gd name="connsiteX3" fmla="*/ 317328 w 737797"/>
                <a:gd name="connsiteY3" fmla="*/ 68318 h 590237"/>
                <a:gd name="connsiteX4" fmla="*/ 313815 w 737797"/>
                <a:gd name="connsiteY4" fmla="*/ 126639 h 590237"/>
                <a:gd name="connsiteX5" fmla="*/ 417107 w 737797"/>
                <a:gd name="connsiteY5" fmla="*/ 135071 h 590237"/>
                <a:gd name="connsiteX6" fmla="*/ 417809 w 737797"/>
                <a:gd name="connsiteY6" fmla="*/ 64102 h 590237"/>
                <a:gd name="connsiteX7" fmla="*/ 401648 w 737797"/>
                <a:gd name="connsiteY7" fmla="*/ 36698 h 590237"/>
                <a:gd name="connsiteX8" fmla="*/ 437484 w 737797"/>
                <a:gd name="connsiteY8" fmla="*/ 3673 h 590237"/>
                <a:gd name="connsiteX9" fmla="*/ 579422 w 737797"/>
                <a:gd name="connsiteY9" fmla="*/ 2268 h 590237"/>
                <a:gd name="connsiteX10" fmla="*/ 589962 w 737797"/>
                <a:gd name="connsiteY10" fmla="*/ 19132 h 590237"/>
                <a:gd name="connsiteX11" fmla="*/ 589962 w 737797"/>
                <a:gd name="connsiteY11" fmla="*/ 134369 h 590237"/>
                <a:gd name="connsiteX12" fmla="*/ 599799 w 737797"/>
                <a:gd name="connsiteY12" fmla="*/ 167394 h 590237"/>
                <a:gd name="connsiteX13" fmla="*/ 632122 w 737797"/>
                <a:gd name="connsiteY13" fmla="*/ 167394 h 590237"/>
                <a:gd name="connsiteX14" fmla="*/ 729089 w 737797"/>
                <a:gd name="connsiteY14" fmla="*/ 176528 h 590237"/>
                <a:gd name="connsiteX15" fmla="*/ 708009 w 737797"/>
                <a:gd name="connsiteY15" fmla="*/ 292468 h 590237"/>
                <a:gd name="connsiteX16" fmla="*/ 638446 w 737797"/>
                <a:gd name="connsiteY16" fmla="*/ 286144 h 590237"/>
                <a:gd name="connsiteX17" fmla="*/ 612447 w 737797"/>
                <a:gd name="connsiteY17" fmla="*/ 269280 h 590237"/>
                <a:gd name="connsiteX18" fmla="*/ 591367 w 737797"/>
                <a:gd name="connsiteY18" fmla="*/ 305116 h 590237"/>
                <a:gd name="connsiteX19" fmla="*/ 592070 w 737797"/>
                <a:gd name="connsiteY19" fmla="*/ 420353 h 590237"/>
                <a:gd name="connsiteX20" fmla="*/ 568882 w 737797"/>
                <a:gd name="connsiteY20" fmla="*/ 444243 h 590237"/>
                <a:gd name="connsiteX21" fmla="*/ 459267 w 737797"/>
                <a:gd name="connsiteY21" fmla="*/ 443541 h 590237"/>
                <a:gd name="connsiteX22" fmla="*/ 428349 w 737797"/>
                <a:gd name="connsiteY22" fmla="*/ 451270 h 590237"/>
                <a:gd name="connsiteX23" fmla="*/ 426944 w 737797"/>
                <a:gd name="connsiteY23" fmla="*/ 484998 h 590237"/>
                <a:gd name="connsiteX24" fmla="*/ 425539 w 737797"/>
                <a:gd name="connsiteY24" fmla="*/ 574939 h 590237"/>
                <a:gd name="connsiteX25" fmla="*/ 302573 w 737797"/>
                <a:gd name="connsiteY25" fmla="*/ 561588 h 590237"/>
                <a:gd name="connsiteX26" fmla="*/ 308194 w 737797"/>
                <a:gd name="connsiteY26" fmla="*/ 489214 h 590237"/>
                <a:gd name="connsiteX27" fmla="*/ 325760 w 737797"/>
                <a:gd name="connsiteY27" fmla="*/ 465323 h 590237"/>
                <a:gd name="connsiteX28" fmla="*/ 288519 w 737797"/>
                <a:gd name="connsiteY28" fmla="*/ 442838 h 590237"/>
                <a:gd name="connsiteX29" fmla="*/ 173282 w 737797"/>
                <a:gd name="connsiteY29" fmla="*/ 443541 h 590237"/>
                <a:gd name="connsiteX30" fmla="*/ 150094 w 737797"/>
                <a:gd name="connsiteY30" fmla="*/ 418947 h 590237"/>
                <a:gd name="connsiteX31" fmla="*/ 150797 w 737797"/>
                <a:gd name="connsiteY31" fmla="*/ 309332 h 590237"/>
                <a:gd name="connsiteX32" fmla="*/ 143770 w 737797"/>
                <a:gd name="connsiteY32" fmla="*/ 280523 h 590237"/>
                <a:gd name="connsiteX33" fmla="*/ 107935 w 737797"/>
                <a:gd name="connsiteY33" fmla="*/ 278415 h 590237"/>
                <a:gd name="connsiteX34" fmla="*/ 10967 w 737797"/>
                <a:gd name="connsiteY34" fmla="*/ 267172 h 590237"/>
                <a:gd name="connsiteX35" fmla="*/ 32047 w 737797"/>
                <a:gd name="connsiteY35" fmla="*/ 153341 h 590237"/>
                <a:gd name="connsiteX36" fmla="*/ 103718 w 737797"/>
                <a:gd name="connsiteY36" fmla="*/ 159664 h 590237"/>
                <a:gd name="connsiteX37" fmla="*/ 127609 w 737797"/>
                <a:gd name="connsiteY37" fmla="*/ 176528 h 590237"/>
                <a:gd name="connsiteX38" fmla="*/ 149391 w 737797"/>
                <a:gd name="connsiteY38" fmla="*/ 141395 h 590237"/>
                <a:gd name="connsiteX39" fmla="*/ 148689 w 737797"/>
                <a:gd name="connsiteY39" fmla="*/ 34590 h 590237"/>
                <a:gd name="connsiteX40" fmla="*/ 181714 w 737797"/>
                <a:gd name="connsiteY40" fmla="*/ 862 h 590237"/>
                <a:gd name="connsiteX41" fmla="*/ 230901 w 737797"/>
                <a:gd name="connsiteY41" fmla="*/ 156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37797" h="590237">
                  <a:moveTo>
                    <a:pt x="230901" y="1565"/>
                  </a:moveTo>
                  <a:cubicBezTo>
                    <a:pt x="251278" y="1565"/>
                    <a:pt x="270953" y="2268"/>
                    <a:pt x="291330" y="1565"/>
                  </a:cubicBezTo>
                  <a:cubicBezTo>
                    <a:pt x="313113" y="862"/>
                    <a:pt x="327868" y="12808"/>
                    <a:pt x="336300" y="31077"/>
                  </a:cubicBezTo>
                  <a:cubicBezTo>
                    <a:pt x="346137" y="50751"/>
                    <a:pt x="327868" y="57778"/>
                    <a:pt x="317328" y="68318"/>
                  </a:cubicBezTo>
                  <a:cubicBezTo>
                    <a:pt x="294843" y="89398"/>
                    <a:pt x="293438" y="102749"/>
                    <a:pt x="313815" y="126639"/>
                  </a:cubicBezTo>
                  <a:cubicBezTo>
                    <a:pt x="338408" y="155449"/>
                    <a:pt x="389703" y="159664"/>
                    <a:pt x="417107" y="135071"/>
                  </a:cubicBezTo>
                  <a:cubicBezTo>
                    <a:pt x="448024" y="108370"/>
                    <a:pt x="448024" y="90803"/>
                    <a:pt x="417809" y="64102"/>
                  </a:cubicBezTo>
                  <a:cubicBezTo>
                    <a:pt x="410080" y="57076"/>
                    <a:pt x="396027" y="52157"/>
                    <a:pt x="401648" y="36698"/>
                  </a:cubicBezTo>
                  <a:cubicBezTo>
                    <a:pt x="407972" y="19132"/>
                    <a:pt x="419215" y="4376"/>
                    <a:pt x="437484" y="3673"/>
                  </a:cubicBezTo>
                  <a:cubicBezTo>
                    <a:pt x="484562" y="1565"/>
                    <a:pt x="532343" y="2970"/>
                    <a:pt x="579422" y="2268"/>
                  </a:cubicBezTo>
                  <a:cubicBezTo>
                    <a:pt x="593475" y="2268"/>
                    <a:pt x="589962" y="12105"/>
                    <a:pt x="589962" y="19132"/>
                  </a:cubicBezTo>
                  <a:cubicBezTo>
                    <a:pt x="589962" y="57778"/>
                    <a:pt x="589962" y="95722"/>
                    <a:pt x="589962" y="134369"/>
                  </a:cubicBezTo>
                  <a:cubicBezTo>
                    <a:pt x="589962" y="146314"/>
                    <a:pt x="591367" y="157556"/>
                    <a:pt x="599799" y="167394"/>
                  </a:cubicBezTo>
                  <a:cubicBezTo>
                    <a:pt x="611042" y="180042"/>
                    <a:pt x="619474" y="182852"/>
                    <a:pt x="632122" y="167394"/>
                  </a:cubicBezTo>
                  <a:cubicBezTo>
                    <a:pt x="665147" y="128747"/>
                    <a:pt x="700983" y="132261"/>
                    <a:pt x="729089" y="176528"/>
                  </a:cubicBezTo>
                  <a:cubicBezTo>
                    <a:pt x="750872" y="210959"/>
                    <a:pt x="740332" y="268577"/>
                    <a:pt x="708009" y="292468"/>
                  </a:cubicBezTo>
                  <a:cubicBezTo>
                    <a:pt x="681308" y="312142"/>
                    <a:pt x="661634" y="309332"/>
                    <a:pt x="638446" y="286144"/>
                  </a:cubicBezTo>
                  <a:cubicBezTo>
                    <a:pt x="631419" y="279117"/>
                    <a:pt x="628608" y="260848"/>
                    <a:pt x="612447" y="269280"/>
                  </a:cubicBezTo>
                  <a:cubicBezTo>
                    <a:pt x="599096" y="276307"/>
                    <a:pt x="591367" y="288252"/>
                    <a:pt x="591367" y="305116"/>
                  </a:cubicBezTo>
                  <a:cubicBezTo>
                    <a:pt x="592070" y="343762"/>
                    <a:pt x="590665" y="381706"/>
                    <a:pt x="592070" y="420353"/>
                  </a:cubicBezTo>
                  <a:cubicBezTo>
                    <a:pt x="592773" y="438622"/>
                    <a:pt x="589259" y="445649"/>
                    <a:pt x="568882" y="444243"/>
                  </a:cubicBezTo>
                  <a:cubicBezTo>
                    <a:pt x="532343" y="442135"/>
                    <a:pt x="495805" y="443541"/>
                    <a:pt x="459267" y="443541"/>
                  </a:cubicBezTo>
                  <a:cubicBezTo>
                    <a:pt x="448024" y="443541"/>
                    <a:pt x="437484" y="444243"/>
                    <a:pt x="428349" y="451270"/>
                  </a:cubicBezTo>
                  <a:cubicBezTo>
                    <a:pt x="414999" y="462513"/>
                    <a:pt x="410080" y="470944"/>
                    <a:pt x="426944" y="484998"/>
                  </a:cubicBezTo>
                  <a:cubicBezTo>
                    <a:pt x="463482" y="515213"/>
                    <a:pt x="462077" y="544724"/>
                    <a:pt x="425539" y="574939"/>
                  </a:cubicBezTo>
                  <a:cubicBezTo>
                    <a:pt x="391811" y="602343"/>
                    <a:pt x="329274" y="596019"/>
                    <a:pt x="302573" y="561588"/>
                  </a:cubicBezTo>
                  <a:cubicBezTo>
                    <a:pt x="281493" y="534887"/>
                    <a:pt x="283601" y="513104"/>
                    <a:pt x="308194" y="489214"/>
                  </a:cubicBezTo>
                  <a:cubicBezTo>
                    <a:pt x="315220" y="482187"/>
                    <a:pt x="331382" y="479376"/>
                    <a:pt x="325760" y="465323"/>
                  </a:cubicBezTo>
                  <a:cubicBezTo>
                    <a:pt x="319436" y="450567"/>
                    <a:pt x="306086" y="442135"/>
                    <a:pt x="288519" y="442838"/>
                  </a:cubicBezTo>
                  <a:cubicBezTo>
                    <a:pt x="249873" y="443541"/>
                    <a:pt x="211929" y="441433"/>
                    <a:pt x="173282" y="443541"/>
                  </a:cubicBezTo>
                  <a:cubicBezTo>
                    <a:pt x="153608" y="444243"/>
                    <a:pt x="149391" y="437920"/>
                    <a:pt x="150094" y="418947"/>
                  </a:cubicBezTo>
                  <a:cubicBezTo>
                    <a:pt x="151500" y="382409"/>
                    <a:pt x="150797" y="345870"/>
                    <a:pt x="150797" y="309332"/>
                  </a:cubicBezTo>
                  <a:cubicBezTo>
                    <a:pt x="150797" y="299495"/>
                    <a:pt x="150797" y="288955"/>
                    <a:pt x="143770" y="280523"/>
                  </a:cubicBezTo>
                  <a:cubicBezTo>
                    <a:pt x="133230" y="267172"/>
                    <a:pt x="124096" y="258740"/>
                    <a:pt x="107935" y="278415"/>
                  </a:cubicBezTo>
                  <a:cubicBezTo>
                    <a:pt x="76315" y="317061"/>
                    <a:pt x="37668" y="311440"/>
                    <a:pt x="10967" y="267172"/>
                  </a:cubicBezTo>
                  <a:cubicBezTo>
                    <a:pt x="-10113" y="232742"/>
                    <a:pt x="427" y="177934"/>
                    <a:pt x="32047" y="153341"/>
                  </a:cubicBezTo>
                  <a:cubicBezTo>
                    <a:pt x="59451" y="132261"/>
                    <a:pt x="79828" y="135071"/>
                    <a:pt x="103718" y="159664"/>
                  </a:cubicBezTo>
                  <a:cubicBezTo>
                    <a:pt x="110745" y="166691"/>
                    <a:pt x="113556" y="182852"/>
                    <a:pt x="127609" y="176528"/>
                  </a:cubicBezTo>
                  <a:cubicBezTo>
                    <a:pt x="141662" y="170204"/>
                    <a:pt x="149391" y="157556"/>
                    <a:pt x="149391" y="141395"/>
                  </a:cubicBezTo>
                  <a:cubicBezTo>
                    <a:pt x="149391" y="105559"/>
                    <a:pt x="151500" y="70426"/>
                    <a:pt x="148689" y="34590"/>
                  </a:cubicBezTo>
                  <a:cubicBezTo>
                    <a:pt x="146581" y="7889"/>
                    <a:pt x="153608" y="-3354"/>
                    <a:pt x="181714" y="862"/>
                  </a:cubicBezTo>
                  <a:cubicBezTo>
                    <a:pt x="197875" y="3673"/>
                    <a:pt x="214037" y="1565"/>
                    <a:pt x="230901" y="156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6B113A9F-D22A-4BFA-82A9-91D6FB2D52F7}"/>
                </a:ext>
              </a:extLst>
            </p:cNvPr>
            <p:cNvSpPr/>
            <p:nvPr/>
          </p:nvSpPr>
          <p:spPr>
            <a:xfrm>
              <a:off x="5088279" y="3556239"/>
              <a:ext cx="1026185" cy="1026186"/>
            </a:xfrm>
            <a:custGeom>
              <a:avLst/>
              <a:gdLst>
                <a:gd name="connsiteX0" fmla="*/ 228795 w 590237"/>
                <a:gd name="connsiteY0" fmla="*/ 149140 h 590237"/>
                <a:gd name="connsiteX1" fmla="*/ 292034 w 590237"/>
                <a:gd name="connsiteY1" fmla="*/ 149140 h 590237"/>
                <a:gd name="connsiteX2" fmla="*/ 323654 w 590237"/>
                <a:gd name="connsiteY2" fmla="*/ 127358 h 590237"/>
                <a:gd name="connsiteX3" fmla="*/ 308898 w 590237"/>
                <a:gd name="connsiteY3" fmla="*/ 104872 h 590237"/>
                <a:gd name="connsiteX4" fmla="*/ 322952 w 590237"/>
                <a:gd name="connsiteY4" fmla="*/ 11418 h 590237"/>
                <a:gd name="connsiteX5" fmla="*/ 438891 w 590237"/>
                <a:gd name="connsiteY5" fmla="*/ 33201 h 590237"/>
                <a:gd name="connsiteX6" fmla="*/ 432567 w 590237"/>
                <a:gd name="connsiteY6" fmla="*/ 103467 h 590237"/>
                <a:gd name="connsiteX7" fmla="*/ 415703 w 590237"/>
                <a:gd name="connsiteY7" fmla="*/ 128763 h 590237"/>
                <a:gd name="connsiteX8" fmla="*/ 451539 w 590237"/>
                <a:gd name="connsiteY8" fmla="*/ 149140 h 590237"/>
                <a:gd name="connsiteX9" fmla="*/ 571695 w 590237"/>
                <a:gd name="connsiteY9" fmla="*/ 148438 h 590237"/>
                <a:gd name="connsiteX10" fmla="*/ 592072 w 590237"/>
                <a:gd name="connsiteY10" fmla="*/ 168112 h 590237"/>
                <a:gd name="connsiteX11" fmla="*/ 591369 w 590237"/>
                <a:gd name="connsiteY11" fmla="*/ 288268 h 590237"/>
                <a:gd name="connsiteX12" fmla="*/ 570289 w 590237"/>
                <a:gd name="connsiteY12" fmla="*/ 330428 h 590237"/>
                <a:gd name="connsiteX13" fmla="*/ 530940 w 590237"/>
                <a:gd name="connsiteY13" fmla="*/ 326915 h 590237"/>
                <a:gd name="connsiteX14" fmla="*/ 484564 w 590237"/>
                <a:gd name="connsiteY14" fmla="*/ 302321 h 590237"/>
                <a:gd name="connsiteX15" fmla="*/ 442405 w 590237"/>
                <a:gd name="connsiteY15" fmla="*/ 357831 h 590237"/>
                <a:gd name="connsiteX16" fmla="*/ 463485 w 590237"/>
                <a:gd name="connsiteY16" fmla="*/ 425287 h 590237"/>
                <a:gd name="connsiteX17" fmla="*/ 523913 w 590237"/>
                <a:gd name="connsiteY17" fmla="*/ 422477 h 590237"/>
                <a:gd name="connsiteX18" fmla="*/ 558344 w 590237"/>
                <a:gd name="connsiteY18" fmla="*/ 402802 h 590237"/>
                <a:gd name="connsiteX19" fmla="*/ 590667 w 590237"/>
                <a:gd name="connsiteY19" fmla="*/ 446367 h 590237"/>
                <a:gd name="connsiteX20" fmla="*/ 591369 w 590237"/>
                <a:gd name="connsiteY20" fmla="*/ 577765 h 590237"/>
                <a:gd name="connsiteX21" fmla="*/ 574505 w 590237"/>
                <a:gd name="connsiteY21" fmla="*/ 592521 h 590237"/>
                <a:gd name="connsiteX22" fmla="*/ 445918 w 590237"/>
                <a:gd name="connsiteY22" fmla="*/ 592521 h 590237"/>
                <a:gd name="connsiteX23" fmla="*/ 410785 w 590237"/>
                <a:gd name="connsiteY23" fmla="*/ 574955 h 590237"/>
                <a:gd name="connsiteX24" fmla="*/ 413595 w 590237"/>
                <a:gd name="connsiteY24" fmla="*/ 531390 h 590237"/>
                <a:gd name="connsiteX25" fmla="*/ 436783 w 590237"/>
                <a:gd name="connsiteY25" fmla="*/ 487122 h 590237"/>
                <a:gd name="connsiteX26" fmla="*/ 381975 w 590237"/>
                <a:gd name="connsiteY26" fmla="*/ 444962 h 590237"/>
                <a:gd name="connsiteX27" fmla="*/ 311006 w 590237"/>
                <a:gd name="connsiteY27" fmla="*/ 469555 h 590237"/>
                <a:gd name="connsiteX28" fmla="*/ 316628 w 590237"/>
                <a:gd name="connsiteY28" fmla="*/ 525768 h 590237"/>
                <a:gd name="connsiteX29" fmla="*/ 337005 w 590237"/>
                <a:gd name="connsiteY29" fmla="*/ 558794 h 590237"/>
                <a:gd name="connsiteX30" fmla="*/ 289224 w 590237"/>
                <a:gd name="connsiteY30" fmla="*/ 592521 h 590237"/>
                <a:gd name="connsiteX31" fmla="*/ 166258 w 590237"/>
                <a:gd name="connsiteY31" fmla="*/ 592521 h 590237"/>
                <a:gd name="connsiteX32" fmla="*/ 148691 w 590237"/>
                <a:gd name="connsiteY32" fmla="*/ 573549 h 590237"/>
                <a:gd name="connsiteX33" fmla="*/ 149394 w 590237"/>
                <a:gd name="connsiteY33" fmla="*/ 458312 h 590237"/>
                <a:gd name="connsiteX34" fmla="*/ 137448 w 590237"/>
                <a:gd name="connsiteY34" fmla="*/ 423179 h 590237"/>
                <a:gd name="connsiteX35" fmla="*/ 109342 w 590237"/>
                <a:gd name="connsiteY35" fmla="*/ 423882 h 590237"/>
                <a:gd name="connsiteX36" fmla="*/ 49615 w 590237"/>
                <a:gd name="connsiteY36" fmla="*/ 449178 h 590237"/>
                <a:gd name="connsiteX37" fmla="*/ 429 w 590237"/>
                <a:gd name="connsiteY37" fmla="*/ 382425 h 590237"/>
                <a:gd name="connsiteX38" fmla="*/ 32049 w 590237"/>
                <a:gd name="connsiteY38" fmla="*/ 300213 h 590237"/>
                <a:gd name="connsiteX39" fmla="*/ 101613 w 590237"/>
                <a:gd name="connsiteY39" fmla="*/ 305835 h 590237"/>
                <a:gd name="connsiteX40" fmla="*/ 128314 w 590237"/>
                <a:gd name="connsiteY40" fmla="*/ 322698 h 590237"/>
                <a:gd name="connsiteX41" fmla="*/ 148691 w 590237"/>
                <a:gd name="connsiteY41" fmla="*/ 286863 h 590237"/>
                <a:gd name="connsiteX42" fmla="*/ 147988 w 590237"/>
                <a:gd name="connsiteY42" fmla="*/ 168815 h 590237"/>
                <a:gd name="connsiteX43" fmla="*/ 168366 w 590237"/>
                <a:gd name="connsiteY43" fmla="*/ 147032 h 590237"/>
                <a:gd name="connsiteX44" fmla="*/ 228795 w 590237"/>
                <a:gd name="connsiteY44" fmla="*/ 14914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90237" h="590237">
                  <a:moveTo>
                    <a:pt x="228795" y="149140"/>
                  </a:moveTo>
                  <a:cubicBezTo>
                    <a:pt x="249874" y="149140"/>
                    <a:pt x="270954" y="148438"/>
                    <a:pt x="292034" y="149140"/>
                  </a:cubicBezTo>
                  <a:cubicBezTo>
                    <a:pt x="308196" y="149843"/>
                    <a:pt x="318033" y="140006"/>
                    <a:pt x="323654" y="127358"/>
                  </a:cubicBezTo>
                  <a:cubicBezTo>
                    <a:pt x="329276" y="114710"/>
                    <a:pt x="315222" y="110494"/>
                    <a:pt x="308898" y="104872"/>
                  </a:cubicBezTo>
                  <a:cubicBezTo>
                    <a:pt x="275873" y="73956"/>
                    <a:pt x="280792" y="38119"/>
                    <a:pt x="322952" y="11418"/>
                  </a:cubicBezTo>
                  <a:cubicBezTo>
                    <a:pt x="358085" y="-10364"/>
                    <a:pt x="413595" y="176"/>
                    <a:pt x="438891" y="33201"/>
                  </a:cubicBezTo>
                  <a:cubicBezTo>
                    <a:pt x="457863" y="59199"/>
                    <a:pt x="455755" y="80982"/>
                    <a:pt x="432567" y="103467"/>
                  </a:cubicBezTo>
                  <a:cubicBezTo>
                    <a:pt x="425540" y="110494"/>
                    <a:pt x="406569" y="111899"/>
                    <a:pt x="415703" y="128763"/>
                  </a:cubicBezTo>
                  <a:cubicBezTo>
                    <a:pt x="422730" y="142816"/>
                    <a:pt x="434675" y="149140"/>
                    <a:pt x="451539" y="149140"/>
                  </a:cubicBezTo>
                  <a:cubicBezTo>
                    <a:pt x="491591" y="148438"/>
                    <a:pt x="531643" y="149843"/>
                    <a:pt x="571695" y="148438"/>
                  </a:cubicBezTo>
                  <a:cubicBezTo>
                    <a:pt x="587153" y="147735"/>
                    <a:pt x="592072" y="151951"/>
                    <a:pt x="592072" y="168112"/>
                  </a:cubicBezTo>
                  <a:cubicBezTo>
                    <a:pt x="590667" y="208164"/>
                    <a:pt x="591369" y="248216"/>
                    <a:pt x="591369" y="288268"/>
                  </a:cubicBezTo>
                  <a:cubicBezTo>
                    <a:pt x="591369" y="305835"/>
                    <a:pt x="584343" y="319888"/>
                    <a:pt x="570289" y="330428"/>
                  </a:cubicBezTo>
                  <a:cubicBezTo>
                    <a:pt x="555533" y="341670"/>
                    <a:pt x="543588" y="343076"/>
                    <a:pt x="530940" y="326915"/>
                  </a:cubicBezTo>
                  <a:cubicBezTo>
                    <a:pt x="519698" y="312158"/>
                    <a:pt x="507752" y="293186"/>
                    <a:pt x="484564" y="302321"/>
                  </a:cubicBezTo>
                  <a:cubicBezTo>
                    <a:pt x="459971" y="312158"/>
                    <a:pt x="444512" y="329725"/>
                    <a:pt x="442405" y="357831"/>
                  </a:cubicBezTo>
                  <a:cubicBezTo>
                    <a:pt x="440296" y="383128"/>
                    <a:pt x="442405" y="407018"/>
                    <a:pt x="463485" y="425287"/>
                  </a:cubicBezTo>
                  <a:cubicBezTo>
                    <a:pt x="486672" y="445664"/>
                    <a:pt x="502834" y="444962"/>
                    <a:pt x="523913" y="422477"/>
                  </a:cubicBezTo>
                  <a:cubicBezTo>
                    <a:pt x="533048" y="412639"/>
                    <a:pt x="539372" y="394370"/>
                    <a:pt x="558344" y="402802"/>
                  </a:cubicBezTo>
                  <a:cubicBezTo>
                    <a:pt x="577316" y="410531"/>
                    <a:pt x="589964" y="425990"/>
                    <a:pt x="590667" y="446367"/>
                  </a:cubicBezTo>
                  <a:cubicBezTo>
                    <a:pt x="592072" y="489932"/>
                    <a:pt x="590667" y="534200"/>
                    <a:pt x="591369" y="577765"/>
                  </a:cubicBezTo>
                  <a:cubicBezTo>
                    <a:pt x="591369" y="591116"/>
                    <a:pt x="585748" y="592521"/>
                    <a:pt x="574505" y="592521"/>
                  </a:cubicBezTo>
                  <a:cubicBezTo>
                    <a:pt x="531643" y="591819"/>
                    <a:pt x="488780" y="592521"/>
                    <a:pt x="445918" y="592521"/>
                  </a:cubicBezTo>
                  <a:cubicBezTo>
                    <a:pt x="431162" y="592521"/>
                    <a:pt x="419919" y="584792"/>
                    <a:pt x="410785" y="574955"/>
                  </a:cubicBezTo>
                  <a:cubicBezTo>
                    <a:pt x="396731" y="559496"/>
                    <a:pt x="394623" y="545443"/>
                    <a:pt x="413595" y="531390"/>
                  </a:cubicBezTo>
                  <a:cubicBezTo>
                    <a:pt x="428351" y="520850"/>
                    <a:pt x="445918" y="508904"/>
                    <a:pt x="436783" y="487122"/>
                  </a:cubicBezTo>
                  <a:cubicBezTo>
                    <a:pt x="426946" y="463231"/>
                    <a:pt x="410082" y="446367"/>
                    <a:pt x="381975" y="444962"/>
                  </a:cubicBezTo>
                  <a:cubicBezTo>
                    <a:pt x="354572" y="443557"/>
                    <a:pt x="329276" y="444962"/>
                    <a:pt x="311006" y="469555"/>
                  </a:cubicBezTo>
                  <a:cubicBezTo>
                    <a:pt x="294142" y="492743"/>
                    <a:pt x="294845" y="506094"/>
                    <a:pt x="316628" y="525768"/>
                  </a:cubicBezTo>
                  <a:cubicBezTo>
                    <a:pt x="326465" y="534903"/>
                    <a:pt x="345437" y="539119"/>
                    <a:pt x="337005" y="558794"/>
                  </a:cubicBezTo>
                  <a:cubicBezTo>
                    <a:pt x="328573" y="579874"/>
                    <a:pt x="313114" y="592521"/>
                    <a:pt x="289224" y="592521"/>
                  </a:cubicBezTo>
                  <a:cubicBezTo>
                    <a:pt x="248469" y="592521"/>
                    <a:pt x="207012" y="591819"/>
                    <a:pt x="166258" y="592521"/>
                  </a:cubicBezTo>
                  <a:cubicBezTo>
                    <a:pt x="150799" y="593224"/>
                    <a:pt x="148691" y="586900"/>
                    <a:pt x="148691" y="573549"/>
                  </a:cubicBezTo>
                  <a:cubicBezTo>
                    <a:pt x="149394" y="534903"/>
                    <a:pt x="148691" y="496959"/>
                    <a:pt x="149394" y="458312"/>
                  </a:cubicBezTo>
                  <a:cubicBezTo>
                    <a:pt x="149394" y="444962"/>
                    <a:pt x="147286" y="433017"/>
                    <a:pt x="137448" y="423179"/>
                  </a:cubicBezTo>
                  <a:cubicBezTo>
                    <a:pt x="127611" y="413342"/>
                    <a:pt x="119179" y="409126"/>
                    <a:pt x="109342" y="423882"/>
                  </a:cubicBezTo>
                  <a:cubicBezTo>
                    <a:pt x="95288" y="444259"/>
                    <a:pt x="77019" y="461123"/>
                    <a:pt x="49615" y="449178"/>
                  </a:cubicBezTo>
                  <a:cubicBezTo>
                    <a:pt x="21509" y="436530"/>
                    <a:pt x="2537" y="416153"/>
                    <a:pt x="429" y="382425"/>
                  </a:cubicBezTo>
                  <a:cubicBezTo>
                    <a:pt x="-1679" y="350102"/>
                    <a:pt x="3240" y="320590"/>
                    <a:pt x="32049" y="300213"/>
                  </a:cubicBezTo>
                  <a:cubicBezTo>
                    <a:pt x="59453" y="280538"/>
                    <a:pt x="78425" y="281944"/>
                    <a:pt x="101613" y="305835"/>
                  </a:cubicBezTo>
                  <a:cubicBezTo>
                    <a:pt x="108639" y="313564"/>
                    <a:pt x="112153" y="330428"/>
                    <a:pt x="128314" y="322698"/>
                  </a:cubicBezTo>
                  <a:cubicBezTo>
                    <a:pt x="142367" y="315672"/>
                    <a:pt x="148691" y="303024"/>
                    <a:pt x="148691" y="286863"/>
                  </a:cubicBezTo>
                  <a:cubicBezTo>
                    <a:pt x="148691" y="247513"/>
                    <a:pt x="149394" y="208164"/>
                    <a:pt x="147988" y="168815"/>
                  </a:cubicBezTo>
                  <a:cubicBezTo>
                    <a:pt x="147286" y="152654"/>
                    <a:pt x="150096" y="145627"/>
                    <a:pt x="168366" y="147032"/>
                  </a:cubicBezTo>
                  <a:cubicBezTo>
                    <a:pt x="188743" y="150546"/>
                    <a:pt x="209120" y="149140"/>
                    <a:pt x="228795" y="14914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80021276-24D2-431E-A8B7-AB8195548558}"/>
                </a:ext>
              </a:extLst>
            </p:cNvPr>
            <p:cNvSpPr/>
            <p:nvPr/>
          </p:nvSpPr>
          <p:spPr>
            <a:xfrm>
              <a:off x="3547523" y="2260435"/>
              <a:ext cx="1282731" cy="1026186"/>
            </a:xfrm>
            <a:custGeom>
              <a:avLst/>
              <a:gdLst>
                <a:gd name="connsiteX0" fmla="*/ 230901 w 737797"/>
                <a:gd name="connsiteY0" fmla="*/ 1565 h 590237"/>
                <a:gd name="connsiteX1" fmla="*/ 291330 w 737797"/>
                <a:gd name="connsiteY1" fmla="*/ 1565 h 590237"/>
                <a:gd name="connsiteX2" fmla="*/ 336300 w 737797"/>
                <a:gd name="connsiteY2" fmla="*/ 31077 h 590237"/>
                <a:gd name="connsiteX3" fmla="*/ 317328 w 737797"/>
                <a:gd name="connsiteY3" fmla="*/ 68318 h 590237"/>
                <a:gd name="connsiteX4" fmla="*/ 313815 w 737797"/>
                <a:gd name="connsiteY4" fmla="*/ 126639 h 590237"/>
                <a:gd name="connsiteX5" fmla="*/ 417107 w 737797"/>
                <a:gd name="connsiteY5" fmla="*/ 135071 h 590237"/>
                <a:gd name="connsiteX6" fmla="*/ 417809 w 737797"/>
                <a:gd name="connsiteY6" fmla="*/ 64102 h 590237"/>
                <a:gd name="connsiteX7" fmla="*/ 401648 w 737797"/>
                <a:gd name="connsiteY7" fmla="*/ 36698 h 590237"/>
                <a:gd name="connsiteX8" fmla="*/ 437484 w 737797"/>
                <a:gd name="connsiteY8" fmla="*/ 3673 h 590237"/>
                <a:gd name="connsiteX9" fmla="*/ 579422 w 737797"/>
                <a:gd name="connsiteY9" fmla="*/ 2268 h 590237"/>
                <a:gd name="connsiteX10" fmla="*/ 589962 w 737797"/>
                <a:gd name="connsiteY10" fmla="*/ 19132 h 590237"/>
                <a:gd name="connsiteX11" fmla="*/ 589962 w 737797"/>
                <a:gd name="connsiteY11" fmla="*/ 134369 h 590237"/>
                <a:gd name="connsiteX12" fmla="*/ 599799 w 737797"/>
                <a:gd name="connsiteY12" fmla="*/ 167394 h 590237"/>
                <a:gd name="connsiteX13" fmla="*/ 632122 w 737797"/>
                <a:gd name="connsiteY13" fmla="*/ 167394 h 590237"/>
                <a:gd name="connsiteX14" fmla="*/ 729089 w 737797"/>
                <a:gd name="connsiteY14" fmla="*/ 176528 h 590237"/>
                <a:gd name="connsiteX15" fmla="*/ 708009 w 737797"/>
                <a:gd name="connsiteY15" fmla="*/ 292468 h 590237"/>
                <a:gd name="connsiteX16" fmla="*/ 638446 w 737797"/>
                <a:gd name="connsiteY16" fmla="*/ 286144 h 590237"/>
                <a:gd name="connsiteX17" fmla="*/ 612447 w 737797"/>
                <a:gd name="connsiteY17" fmla="*/ 269280 h 590237"/>
                <a:gd name="connsiteX18" fmla="*/ 591367 w 737797"/>
                <a:gd name="connsiteY18" fmla="*/ 305116 h 590237"/>
                <a:gd name="connsiteX19" fmla="*/ 592070 w 737797"/>
                <a:gd name="connsiteY19" fmla="*/ 420353 h 590237"/>
                <a:gd name="connsiteX20" fmla="*/ 568882 w 737797"/>
                <a:gd name="connsiteY20" fmla="*/ 444243 h 590237"/>
                <a:gd name="connsiteX21" fmla="*/ 459267 w 737797"/>
                <a:gd name="connsiteY21" fmla="*/ 443541 h 590237"/>
                <a:gd name="connsiteX22" fmla="*/ 428349 w 737797"/>
                <a:gd name="connsiteY22" fmla="*/ 451270 h 590237"/>
                <a:gd name="connsiteX23" fmla="*/ 426944 w 737797"/>
                <a:gd name="connsiteY23" fmla="*/ 484998 h 590237"/>
                <a:gd name="connsiteX24" fmla="*/ 425539 w 737797"/>
                <a:gd name="connsiteY24" fmla="*/ 574939 h 590237"/>
                <a:gd name="connsiteX25" fmla="*/ 302573 w 737797"/>
                <a:gd name="connsiteY25" fmla="*/ 561588 h 590237"/>
                <a:gd name="connsiteX26" fmla="*/ 308194 w 737797"/>
                <a:gd name="connsiteY26" fmla="*/ 489214 h 590237"/>
                <a:gd name="connsiteX27" fmla="*/ 325760 w 737797"/>
                <a:gd name="connsiteY27" fmla="*/ 465323 h 590237"/>
                <a:gd name="connsiteX28" fmla="*/ 288519 w 737797"/>
                <a:gd name="connsiteY28" fmla="*/ 442838 h 590237"/>
                <a:gd name="connsiteX29" fmla="*/ 173282 w 737797"/>
                <a:gd name="connsiteY29" fmla="*/ 443541 h 590237"/>
                <a:gd name="connsiteX30" fmla="*/ 150094 w 737797"/>
                <a:gd name="connsiteY30" fmla="*/ 418947 h 590237"/>
                <a:gd name="connsiteX31" fmla="*/ 150797 w 737797"/>
                <a:gd name="connsiteY31" fmla="*/ 309332 h 590237"/>
                <a:gd name="connsiteX32" fmla="*/ 143770 w 737797"/>
                <a:gd name="connsiteY32" fmla="*/ 280523 h 590237"/>
                <a:gd name="connsiteX33" fmla="*/ 107935 w 737797"/>
                <a:gd name="connsiteY33" fmla="*/ 278415 h 590237"/>
                <a:gd name="connsiteX34" fmla="*/ 10967 w 737797"/>
                <a:gd name="connsiteY34" fmla="*/ 267172 h 590237"/>
                <a:gd name="connsiteX35" fmla="*/ 32047 w 737797"/>
                <a:gd name="connsiteY35" fmla="*/ 153341 h 590237"/>
                <a:gd name="connsiteX36" fmla="*/ 103718 w 737797"/>
                <a:gd name="connsiteY36" fmla="*/ 159664 h 590237"/>
                <a:gd name="connsiteX37" fmla="*/ 127609 w 737797"/>
                <a:gd name="connsiteY37" fmla="*/ 176528 h 590237"/>
                <a:gd name="connsiteX38" fmla="*/ 149391 w 737797"/>
                <a:gd name="connsiteY38" fmla="*/ 141395 h 590237"/>
                <a:gd name="connsiteX39" fmla="*/ 148689 w 737797"/>
                <a:gd name="connsiteY39" fmla="*/ 34590 h 590237"/>
                <a:gd name="connsiteX40" fmla="*/ 181714 w 737797"/>
                <a:gd name="connsiteY40" fmla="*/ 862 h 590237"/>
                <a:gd name="connsiteX41" fmla="*/ 230901 w 737797"/>
                <a:gd name="connsiteY41" fmla="*/ 1565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37797" h="590237">
                  <a:moveTo>
                    <a:pt x="230901" y="1565"/>
                  </a:moveTo>
                  <a:cubicBezTo>
                    <a:pt x="251278" y="1565"/>
                    <a:pt x="270953" y="2268"/>
                    <a:pt x="291330" y="1565"/>
                  </a:cubicBezTo>
                  <a:cubicBezTo>
                    <a:pt x="313113" y="862"/>
                    <a:pt x="327868" y="12808"/>
                    <a:pt x="336300" y="31077"/>
                  </a:cubicBezTo>
                  <a:cubicBezTo>
                    <a:pt x="346137" y="50751"/>
                    <a:pt x="327868" y="57778"/>
                    <a:pt x="317328" y="68318"/>
                  </a:cubicBezTo>
                  <a:cubicBezTo>
                    <a:pt x="294843" y="89398"/>
                    <a:pt x="293438" y="102749"/>
                    <a:pt x="313815" y="126639"/>
                  </a:cubicBezTo>
                  <a:cubicBezTo>
                    <a:pt x="338408" y="155449"/>
                    <a:pt x="389703" y="159664"/>
                    <a:pt x="417107" y="135071"/>
                  </a:cubicBezTo>
                  <a:cubicBezTo>
                    <a:pt x="448024" y="108370"/>
                    <a:pt x="448024" y="90803"/>
                    <a:pt x="417809" y="64102"/>
                  </a:cubicBezTo>
                  <a:cubicBezTo>
                    <a:pt x="410080" y="57076"/>
                    <a:pt x="396027" y="52157"/>
                    <a:pt x="401648" y="36698"/>
                  </a:cubicBezTo>
                  <a:cubicBezTo>
                    <a:pt x="407972" y="19132"/>
                    <a:pt x="419215" y="4376"/>
                    <a:pt x="437484" y="3673"/>
                  </a:cubicBezTo>
                  <a:cubicBezTo>
                    <a:pt x="484562" y="1565"/>
                    <a:pt x="532343" y="2970"/>
                    <a:pt x="579422" y="2268"/>
                  </a:cubicBezTo>
                  <a:cubicBezTo>
                    <a:pt x="593475" y="2268"/>
                    <a:pt x="589962" y="12105"/>
                    <a:pt x="589962" y="19132"/>
                  </a:cubicBezTo>
                  <a:cubicBezTo>
                    <a:pt x="589962" y="57778"/>
                    <a:pt x="589962" y="95722"/>
                    <a:pt x="589962" y="134369"/>
                  </a:cubicBezTo>
                  <a:cubicBezTo>
                    <a:pt x="589962" y="146314"/>
                    <a:pt x="591367" y="157556"/>
                    <a:pt x="599799" y="167394"/>
                  </a:cubicBezTo>
                  <a:cubicBezTo>
                    <a:pt x="611042" y="180042"/>
                    <a:pt x="619474" y="182852"/>
                    <a:pt x="632122" y="167394"/>
                  </a:cubicBezTo>
                  <a:cubicBezTo>
                    <a:pt x="665147" y="128747"/>
                    <a:pt x="700983" y="132261"/>
                    <a:pt x="729089" y="176528"/>
                  </a:cubicBezTo>
                  <a:cubicBezTo>
                    <a:pt x="750872" y="210959"/>
                    <a:pt x="740332" y="268577"/>
                    <a:pt x="708009" y="292468"/>
                  </a:cubicBezTo>
                  <a:cubicBezTo>
                    <a:pt x="681308" y="312142"/>
                    <a:pt x="661634" y="309332"/>
                    <a:pt x="638446" y="286144"/>
                  </a:cubicBezTo>
                  <a:cubicBezTo>
                    <a:pt x="631419" y="279117"/>
                    <a:pt x="628608" y="260848"/>
                    <a:pt x="612447" y="269280"/>
                  </a:cubicBezTo>
                  <a:cubicBezTo>
                    <a:pt x="599096" y="276307"/>
                    <a:pt x="591367" y="288252"/>
                    <a:pt x="591367" y="305116"/>
                  </a:cubicBezTo>
                  <a:cubicBezTo>
                    <a:pt x="592070" y="343762"/>
                    <a:pt x="590665" y="381706"/>
                    <a:pt x="592070" y="420353"/>
                  </a:cubicBezTo>
                  <a:cubicBezTo>
                    <a:pt x="592773" y="438622"/>
                    <a:pt x="589259" y="445649"/>
                    <a:pt x="568882" y="444243"/>
                  </a:cubicBezTo>
                  <a:cubicBezTo>
                    <a:pt x="532343" y="442135"/>
                    <a:pt x="495805" y="443541"/>
                    <a:pt x="459267" y="443541"/>
                  </a:cubicBezTo>
                  <a:cubicBezTo>
                    <a:pt x="448024" y="443541"/>
                    <a:pt x="437484" y="444243"/>
                    <a:pt x="428349" y="451270"/>
                  </a:cubicBezTo>
                  <a:cubicBezTo>
                    <a:pt x="414999" y="462513"/>
                    <a:pt x="410080" y="470944"/>
                    <a:pt x="426944" y="484998"/>
                  </a:cubicBezTo>
                  <a:cubicBezTo>
                    <a:pt x="463482" y="515213"/>
                    <a:pt x="462077" y="544724"/>
                    <a:pt x="425539" y="574939"/>
                  </a:cubicBezTo>
                  <a:cubicBezTo>
                    <a:pt x="391811" y="602343"/>
                    <a:pt x="329274" y="596019"/>
                    <a:pt x="302573" y="561588"/>
                  </a:cubicBezTo>
                  <a:cubicBezTo>
                    <a:pt x="281493" y="534887"/>
                    <a:pt x="283601" y="513104"/>
                    <a:pt x="308194" y="489214"/>
                  </a:cubicBezTo>
                  <a:cubicBezTo>
                    <a:pt x="315220" y="482187"/>
                    <a:pt x="331382" y="479376"/>
                    <a:pt x="325760" y="465323"/>
                  </a:cubicBezTo>
                  <a:cubicBezTo>
                    <a:pt x="319436" y="450567"/>
                    <a:pt x="306086" y="442135"/>
                    <a:pt x="288519" y="442838"/>
                  </a:cubicBezTo>
                  <a:cubicBezTo>
                    <a:pt x="249873" y="443541"/>
                    <a:pt x="211929" y="441433"/>
                    <a:pt x="173282" y="443541"/>
                  </a:cubicBezTo>
                  <a:cubicBezTo>
                    <a:pt x="153608" y="444243"/>
                    <a:pt x="149391" y="437920"/>
                    <a:pt x="150094" y="418947"/>
                  </a:cubicBezTo>
                  <a:cubicBezTo>
                    <a:pt x="151500" y="382409"/>
                    <a:pt x="150797" y="345870"/>
                    <a:pt x="150797" y="309332"/>
                  </a:cubicBezTo>
                  <a:cubicBezTo>
                    <a:pt x="150797" y="299495"/>
                    <a:pt x="150797" y="288955"/>
                    <a:pt x="143770" y="280523"/>
                  </a:cubicBezTo>
                  <a:cubicBezTo>
                    <a:pt x="133230" y="267172"/>
                    <a:pt x="124096" y="258740"/>
                    <a:pt x="107935" y="278415"/>
                  </a:cubicBezTo>
                  <a:cubicBezTo>
                    <a:pt x="76315" y="317061"/>
                    <a:pt x="37668" y="311440"/>
                    <a:pt x="10967" y="267172"/>
                  </a:cubicBezTo>
                  <a:cubicBezTo>
                    <a:pt x="-10113" y="232742"/>
                    <a:pt x="427" y="177934"/>
                    <a:pt x="32047" y="153341"/>
                  </a:cubicBezTo>
                  <a:cubicBezTo>
                    <a:pt x="59451" y="132261"/>
                    <a:pt x="79828" y="135071"/>
                    <a:pt x="103718" y="159664"/>
                  </a:cubicBezTo>
                  <a:cubicBezTo>
                    <a:pt x="110745" y="166691"/>
                    <a:pt x="113556" y="182852"/>
                    <a:pt x="127609" y="176528"/>
                  </a:cubicBezTo>
                  <a:cubicBezTo>
                    <a:pt x="141662" y="170204"/>
                    <a:pt x="149391" y="157556"/>
                    <a:pt x="149391" y="141395"/>
                  </a:cubicBezTo>
                  <a:cubicBezTo>
                    <a:pt x="149391" y="105559"/>
                    <a:pt x="151500" y="70426"/>
                    <a:pt x="148689" y="34590"/>
                  </a:cubicBezTo>
                  <a:cubicBezTo>
                    <a:pt x="146581" y="7889"/>
                    <a:pt x="153608" y="-3354"/>
                    <a:pt x="181714" y="862"/>
                  </a:cubicBezTo>
                  <a:cubicBezTo>
                    <a:pt x="197875" y="3673"/>
                    <a:pt x="214037" y="1565"/>
                    <a:pt x="230901" y="156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8D12CFB5-E26D-4303-B959-A89359DBE8ED}"/>
                </a:ext>
              </a:extLst>
            </p:cNvPr>
            <p:cNvSpPr/>
            <p:nvPr/>
          </p:nvSpPr>
          <p:spPr>
            <a:xfrm flipH="1">
              <a:off x="8905282" y="5072255"/>
              <a:ext cx="1026185" cy="1282732"/>
            </a:xfrm>
            <a:custGeom>
              <a:avLst/>
              <a:gdLst>
                <a:gd name="connsiteX0" fmla="*/ 592346 w 590237"/>
                <a:gd name="connsiteY0" fmla="*/ 398251 h 737797"/>
                <a:gd name="connsiteX1" fmla="*/ 562131 w 590237"/>
                <a:gd name="connsiteY1" fmla="*/ 439005 h 737797"/>
                <a:gd name="connsiteX2" fmla="*/ 487649 w 590237"/>
                <a:gd name="connsiteY2" fmla="*/ 433384 h 737797"/>
                <a:gd name="connsiteX3" fmla="*/ 463758 w 590237"/>
                <a:gd name="connsiteY3" fmla="*/ 417926 h 737797"/>
                <a:gd name="connsiteX4" fmla="*/ 443381 w 590237"/>
                <a:gd name="connsiteY4" fmla="*/ 450950 h 737797"/>
                <a:gd name="connsiteX5" fmla="*/ 444084 w 590237"/>
                <a:gd name="connsiteY5" fmla="*/ 571106 h 737797"/>
                <a:gd name="connsiteX6" fmla="*/ 420896 w 590237"/>
                <a:gd name="connsiteY6" fmla="*/ 592889 h 737797"/>
                <a:gd name="connsiteX7" fmla="*/ 308470 w 590237"/>
                <a:gd name="connsiteY7" fmla="*/ 592186 h 737797"/>
                <a:gd name="connsiteX8" fmla="*/ 277552 w 590237"/>
                <a:gd name="connsiteY8" fmla="*/ 600618 h 737797"/>
                <a:gd name="connsiteX9" fmla="*/ 276850 w 590237"/>
                <a:gd name="connsiteY9" fmla="*/ 632941 h 737797"/>
                <a:gd name="connsiteX10" fmla="*/ 302848 w 590237"/>
                <a:gd name="connsiteY10" fmla="*/ 684938 h 737797"/>
                <a:gd name="connsiteX11" fmla="*/ 246635 w 590237"/>
                <a:gd name="connsiteY11" fmla="*/ 738340 h 737797"/>
                <a:gd name="connsiteX12" fmla="*/ 148965 w 590237"/>
                <a:gd name="connsiteY12" fmla="*/ 702504 h 737797"/>
                <a:gd name="connsiteX13" fmla="*/ 160207 w 590237"/>
                <a:gd name="connsiteY13" fmla="*/ 637859 h 737797"/>
                <a:gd name="connsiteX14" fmla="*/ 176369 w 590237"/>
                <a:gd name="connsiteY14" fmla="*/ 613969 h 737797"/>
                <a:gd name="connsiteX15" fmla="*/ 144046 w 590237"/>
                <a:gd name="connsiteY15" fmla="*/ 592186 h 737797"/>
                <a:gd name="connsiteX16" fmla="*/ 61834 w 590237"/>
                <a:gd name="connsiteY16" fmla="*/ 592186 h 737797"/>
                <a:gd name="connsiteX17" fmla="*/ 703 w 590237"/>
                <a:gd name="connsiteY17" fmla="*/ 530352 h 737797"/>
                <a:gd name="connsiteX18" fmla="*/ 703 w 590237"/>
                <a:gd name="connsiteY18" fmla="*/ 453761 h 737797"/>
                <a:gd name="connsiteX19" fmla="*/ 18972 w 590237"/>
                <a:gd name="connsiteY19" fmla="*/ 413007 h 737797"/>
                <a:gd name="connsiteX20" fmla="*/ 60429 w 590237"/>
                <a:gd name="connsiteY20" fmla="*/ 415115 h 737797"/>
                <a:gd name="connsiteX21" fmla="*/ 106805 w 590237"/>
                <a:gd name="connsiteY21" fmla="*/ 439708 h 737797"/>
                <a:gd name="connsiteX22" fmla="*/ 148965 w 590237"/>
                <a:gd name="connsiteY22" fmla="*/ 378576 h 737797"/>
                <a:gd name="connsiteX23" fmla="*/ 123669 w 590237"/>
                <a:gd name="connsiteY23" fmla="*/ 313228 h 737797"/>
                <a:gd name="connsiteX24" fmla="*/ 67456 w 590237"/>
                <a:gd name="connsiteY24" fmla="*/ 318850 h 737797"/>
                <a:gd name="connsiteX25" fmla="*/ 34431 w 590237"/>
                <a:gd name="connsiteY25" fmla="*/ 339227 h 737797"/>
                <a:gd name="connsiteX26" fmla="*/ 703 w 590237"/>
                <a:gd name="connsiteY26" fmla="*/ 294256 h 737797"/>
                <a:gd name="connsiteX27" fmla="*/ 0 w 590237"/>
                <a:gd name="connsiteY27" fmla="*/ 165669 h 737797"/>
                <a:gd name="connsiteX28" fmla="*/ 16161 w 590237"/>
                <a:gd name="connsiteY28" fmla="*/ 150913 h 737797"/>
                <a:gd name="connsiteX29" fmla="*/ 134209 w 590237"/>
                <a:gd name="connsiteY29" fmla="*/ 150913 h 737797"/>
                <a:gd name="connsiteX30" fmla="*/ 165126 w 590237"/>
                <a:gd name="connsiteY30" fmla="*/ 142481 h 737797"/>
                <a:gd name="connsiteX31" fmla="*/ 165829 w 590237"/>
                <a:gd name="connsiteY31" fmla="*/ 108050 h 737797"/>
                <a:gd name="connsiteX32" fmla="*/ 163018 w 590237"/>
                <a:gd name="connsiteY32" fmla="*/ 21623 h 737797"/>
                <a:gd name="connsiteX33" fmla="*/ 294416 w 590237"/>
                <a:gd name="connsiteY33" fmla="*/ 38487 h 737797"/>
                <a:gd name="connsiteX34" fmla="*/ 285984 w 590237"/>
                <a:gd name="connsiteY34" fmla="*/ 101727 h 737797"/>
                <a:gd name="connsiteX35" fmla="*/ 267012 w 590237"/>
                <a:gd name="connsiteY35" fmla="*/ 127022 h 737797"/>
                <a:gd name="connsiteX36" fmla="*/ 306362 w 590237"/>
                <a:gd name="connsiteY36" fmla="*/ 150210 h 737797"/>
                <a:gd name="connsiteX37" fmla="*/ 413166 w 590237"/>
                <a:gd name="connsiteY37" fmla="*/ 149508 h 737797"/>
                <a:gd name="connsiteX38" fmla="*/ 443381 w 590237"/>
                <a:gd name="connsiteY38" fmla="*/ 178317 h 737797"/>
                <a:gd name="connsiteX39" fmla="*/ 442678 w 590237"/>
                <a:gd name="connsiteY39" fmla="*/ 287933 h 737797"/>
                <a:gd name="connsiteX40" fmla="*/ 459542 w 590237"/>
                <a:gd name="connsiteY40" fmla="*/ 323066 h 737797"/>
                <a:gd name="connsiteX41" fmla="*/ 478514 w 590237"/>
                <a:gd name="connsiteY41" fmla="*/ 320958 h 737797"/>
                <a:gd name="connsiteX42" fmla="*/ 591643 w 590237"/>
                <a:gd name="connsiteY42" fmla="*/ 342740 h 737797"/>
                <a:gd name="connsiteX43" fmla="*/ 592346 w 590237"/>
                <a:gd name="connsiteY43" fmla="*/ 398251 h 7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90237" h="737797">
                  <a:moveTo>
                    <a:pt x="592346" y="398251"/>
                  </a:moveTo>
                  <a:cubicBezTo>
                    <a:pt x="583914" y="413007"/>
                    <a:pt x="576887" y="428466"/>
                    <a:pt x="562131" y="439005"/>
                  </a:cubicBezTo>
                  <a:cubicBezTo>
                    <a:pt x="534025" y="460788"/>
                    <a:pt x="511539" y="458680"/>
                    <a:pt x="487649" y="433384"/>
                  </a:cubicBezTo>
                  <a:cubicBezTo>
                    <a:pt x="481325" y="426357"/>
                    <a:pt x="478514" y="410196"/>
                    <a:pt x="463758" y="417926"/>
                  </a:cubicBezTo>
                  <a:cubicBezTo>
                    <a:pt x="451110" y="424249"/>
                    <a:pt x="443381" y="434789"/>
                    <a:pt x="443381" y="450950"/>
                  </a:cubicBezTo>
                  <a:cubicBezTo>
                    <a:pt x="444084" y="491002"/>
                    <a:pt x="442678" y="531054"/>
                    <a:pt x="444084" y="571106"/>
                  </a:cubicBezTo>
                  <a:cubicBezTo>
                    <a:pt x="444786" y="590078"/>
                    <a:pt x="438462" y="593592"/>
                    <a:pt x="420896" y="592889"/>
                  </a:cubicBezTo>
                  <a:cubicBezTo>
                    <a:pt x="383655" y="591483"/>
                    <a:pt x="345711" y="592186"/>
                    <a:pt x="308470" y="592186"/>
                  </a:cubicBezTo>
                  <a:cubicBezTo>
                    <a:pt x="297227" y="592186"/>
                    <a:pt x="286687" y="592889"/>
                    <a:pt x="277552" y="600618"/>
                  </a:cubicBezTo>
                  <a:cubicBezTo>
                    <a:pt x="266310" y="611158"/>
                    <a:pt x="259986" y="620995"/>
                    <a:pt x="276850" y="632941"/>
                  </a:cubicBezTo>
                  <a:cubicBezTo>
                    <a:pt x="294416" y="645588"/>
                    <a:pt x="309875" y="661047"/>
                    <a:pt x="302848" y="684938"/>
                  </a:cubicBezTo>
                  <a:cubicBezTo>
                    <a:pt x="294416" y="712341"/>
                    <a:pt x="276147" y="732016"/>
                    <a:pt x="246635" y="738340"/>
                  </a:cubicBezTo>
                  <a:cubicBezTo>
                    <a:pt x="202367" y="747475"/>
                    <a:pt x="168639" y="734827"/>
                    <a:pt x="148965" y="702504"/>
                  </a:cubicBezTo>
                  <a:cubicBezTo>
                    <a:pt x="133506" y="677208"/>
                    <a:pt x="137019" y="659642"/>
                    <a:pt x="160207" y="637859"/>
                  </a:cubicBezTo>
                  <a:cubicBezTo>
                    <a:pt x="167234" y="631535"/>
                    <a:pt x="182693" y="628725"/>
                    <a:pt x="176369" y="613969"/>
                  </a:cubicBezTo>
                  <a:cubicBezTo>
                    <a:pt x="170747" y="599915"/>
                    <a:pt x="158802" y="592889"/>
                    <a:pt x="144046" y="592186"/>
                  </a:cubicBezTo>
                  <a:cubicBezTo>
                    <a:pt x="116642" y="591483"/>
                    <a:pt x="89238" y="592186"/>
                    <a:pt x="61834" y="592186"/>
                  </a:cubicBezTo>
                  <a:cubicBezTo>
                    <a:pt x="703" y="592186"/>
                    <a:pt x="703" y="592186"/>
                    <a:pt x="703" y="530352"/>
                  </a:cubicBezTo>
                  <a:cubicBezTo>
                    <a:pt x="703" y="505056"/>
                    <a:pt x="1405" y="479057"/>
                    <a:pt x="703" y="453761"/>
                  </a:cubicBezTo>
                  <a:cubicBezTo>
                    <a:pt x="0" y="436897"/>
                    <a:pt x="7027" y="423547"/>
                    <a:pt x="18972" y="413007"/>
                  </a:cubicBezTo>
                  <a:cubicBezTo>
                    <a:pt x="33025" y="400359"/>
                    <a:pt x="46376" y="397548"/>
                    <a:pt x="60429" y="415115"/>
                  </a:cubicBezTo>
                  <a:cubicBezTo>
                    <a:pt x="71672" y="429870"/>
                    <a:pt x="82914" y="448140"/>
                    <a:pt x="106805" y="439708"/>
                  </a:cubicBezTo>
                  <a:cubicBezTo>
                    <a:pt x="132101" y="431276"/>
                    <a:pt x="147559" y="407386"/>
                    <a:pt x="148965" y="378576"/>
                  </a:cubicBezTo>
                  <a:cubicBezTo>
                    <a:pt x="150370" y="352577"/>
                    <a:pt x="146154" y="330093"/>
                    <a:pt x="123669" y="313228"/>
                  </a:cubicBezTo>
                  <a:cubicBezTo>
                    <a:pt x="100481" y="295662"/>
                    <a:pt x="87833" y="297067"/>
                    <a:pt x="67456" y="318850"/>
                  </a:cubicBezTo>
                  <a:cubicBezTo>
                    <a:pt x="58321" y="328687"/>
                    <a:pt x="54808" y="346956"/>
                    <a:pt x="34431" y="339227"/>
                  </a:cubicBezTo>
                  <a:cubicBezTo>
                    <a:pt x="14053" y="330795"/>
                    <a:pt x="1405" y="316039"/>
                    <a:pt x="703" y="294256"/>
                  </a:cubicBezTo>
                  <a:cubicBezTo>
                    <a:pt x="0" y="251394"/>
                    <a:pt x="703" y="208531"/>
                    <a:pt x="0" y="165669"/>
                  </a:cubicBezTo>
                  <a:cubicBezTo>
                    <a:pt x="0" y="152318"/>
                    <a:pt x="5621" y="150913"/>
                    <a:pt x="16161" y="150913"/>
                  </a:cubicBezTo>
                  <a:cubicBezTo>
                    <a:pt x="55511" y="151616"/>
                    <a:pt x="94860" y="150913"/>
                    <a:pt x="134209" y="150913"/>
                  </a:cubicBezTo>
                  <a:cubicBezTo>
                    <a:pt x="145452" y="150913"/>
                    <a:pt x="155991" y="150210"/>
                    <a:pt x="165126" y="142481"/>
                  </a:cubicBezTo>
                  <a:cubicBezTo>
                    <a:pt x="177774" y="131239"/>
                    <a:pt x="183396" y="122104"/>
                    <a:pt x="165829" y="108050"/>
                  </a:cubicBezTo>
                  <a:cubicBezTo>
                    <a:pt x="129290" y="78539"/>
                    <a:pt x="129993" y="53243"/>
                    <a:pt x="163018" y="21623"/>
                  </a:cubicBezTo>
                  <a:cubicBezTo>
                    <a:pt x="199557" y="-13510"/>
                    <a:pt x="267012" y="-4376"/>
                    <a:pt x="294416" y="38487"/>
                  </a:cubicBezTo>
                  <a:cubicBezTo>
                    <a:pt x="309875" y="62377"/>
                    <a:pt x="306362" y="81349"/>
                    <a:pt x="285984" y="101727"/>
                  </a:cubicBezTo>
                  <a:cubicBezTo>
                    <a:pt x="278255" y="109456"/>
                    <a:pt x="261391" y="111564"/>
                    <a:pt x="267012" y="127022"/>
                  </a:cubicBezTo>
                  <a:cubicBezTo>
                    <a:pt x="273336" y="143886"/>
                    <a:pt x="288092" y="150210"/>
                    <a:pt x="306362" y="150210"/>
                  </a:cubicBezTo>
                  <a:cubicBezTo>
                    <a:pt x="342197" y="149508"/>
                    <a:pt x="377331" y="151616"/>
                    <a:pt x="413166" y="149508"/>
                  </a:cubicBezTo>
                  <a:cubicBezTo>
                    <a:pt x="435652" y="148102"/>
                    <a:pt x="445489" y="152318"/>
                    <a:pt x="443381" y="178317"/>
                  </a:cubicBezTo>
                  <a:cubicBezTo>
                    <a:pt x="440570" y="214855"/>
                    <a:pt x="443381" y="251394"/>
                    <a:pt x="442678" y="287933"/>
                  </a:cubicBezTo>
                  <a:cubicBezTo>
                    <a:pt x="442678" y="303391"/>
                    <a:pt x="447597" y="313931"/>
                    <a:pt x="459542" y="323066"/>
                  </a:cubicBezTo>
                  <a:cubicBezTo>
                    <a:pt x="466569" y="327984"/>
                    <a:pt x="471488" y="327282"/>
                    <a:pt x="478514" y="320958"/>
                  </a:cubicBezTo>
                  <a:cubicBezTo>
                    <a:pt x="528403" y="275284"/>
                    <a:pt x="556510" y="280203"/>
                    <a:pt x="591643" y="342740"/>
                  </a:cubicBezTo>
                  <a:cubicBezTo>
                    <a:pt x="592346" y="361712"/>
                    <a:pt x="592346" y="379982"/>
                    <a:pt x="592346" y="39825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8CDB8501-D0F7-4CD1-8218-BE1346821840}"/>
                </a:ext>
              </a:extLst>
            </p:cNvPr>
            <p:cNvSpPr/>
            <p:nvPr/>
          </p:nvSpPr>
          <p:spPr>
            <a:xfrm>
              <a:off x="9669592" y="3806839"/>
              <a:ext cx="1026185" cy="757423"/>
            </a:xfrm>
            <a:custGeom>
              <a:avLst/>
              <a:gdLst>
                <a:gd name="connsiteX0" fmla="*/ 593135 w 590237"/>
                <a:gd name="connsiteY0" fmla="*/ 360467 h 435651"/>
                <a:gd name="connsiteX1" fmla="*/ 593135 w 590237"/>
                <a:gd name="connsiteY1" fmla="*/ 426517 h 435651"/>
                <a:gd name="connsiteX2" fmla="*/ 577676 w 590237"/>
                <a:gd name="connsiteY2" fmla="*/ 441976 h 435651"/>
                <a:gd name="connsiteX3" fmla="*/ 446278 w 590237"/>
                <a:gd name="connsiteY3" fmla="*/ 441273 h 435651"/>
                <a:gd name="connsiteX4" fmla="*/ 403415 w 590237"/>
                <a:gd name="connsiteY4" fmla="*/ 408248 h 435651"/>
                <a:gd name="connsiteX5" fmla="*/ 422387 w 590237"/>
                <a:gd name="connsiteY5" fmla="*/ 376628 h 435651"/>
                <a:gd name="connsiteX6" fmla="*/ 425198 w 590237"/>
                <a:gd name="connsiteY6" fmla="*/ 314091 h 435651"/>
                <a:gd name="connsiteX7" fmla="*/ 316988 w 590237"/>
                <a:gd name="connsiteY7" fmla="*/ 314091 h 435651"/>
                <a:gd name="connsiteX8" fmla="*/ 320501 w 590237"/>
                <a:gd name="connsiteY8" fmla="*/ 376628 h 435651"/>
                <a:gd name="connsiteX9" fmla="*/ 339473 w 590237"/>
                <a:gd name="connsiteY9" fmla="*/ 408951 h 435651"/>
                <a:gd name="connsiteX10" fmla="*/ 301529 w 590237"/>
                <a:gd name="connsiteY10" fmla="*/ 440570 h 435651"/>
                <a:gd name="connsiteX11" fmla="*/ 161699 w 590237"/>
                <a:gd name="connsiteY11" fmla="*/ 441273 h 435651"/>
                <a:gd name="connsiteX12" fmla="*/ 149754 w 590237"/>
                <a:gd name="connsiteY12" fmla="*/ 423004 h 435651"/>
                <a:gd name="connsiteX13" fmla="*/ 149754 w 590237"/>
                <a:gd name="connsiteY13" fmla="*/ 304956 h 435651"/>
                <a:gd name="connsiteX14" fmla="*/ 140619 w 590237"/>
                <a:gd name="connsiteY14" fmla="*/ 274742 h 435651"/>
                <a:gd name="connsiteX15" fmla="*/ 109702 w 590237"/>
                <a:gd name="connsiteY15" fmla="*/ 274742 h 435651"/>
                <a:gd name="connsiteX16" fmla="*/ 5708 w 590237"/>
                <a:gd name="connsiteY16" fmla="*/ 252959 h 435651"/>
                <a:gd name="connsiteX17" fmla="*/ 32409 w 590237"/>
                <a:gd name="connsiteY17" fmla="*/ 151776 h 435651"/>
                <a:gd name="connsiteX18" fmla="*/ 104081 w 590237"/>
                <a:gd name="connsiteY18" fmla="*/ 158099 h 435651"/>
                <a:gd name="connsiteX19" fmla="*/ 127971 w 590237"/>
                <a:gd name="connsiteY19" fmla="*/ 174963 h 435651"/>
                <a:gd name="connsiteX20" fmla="*/ 149051 w 590237"/>
                <a:gd name="connsiteY20" fmla="*/ 139830 h 435651"/>
                <a:gd name="connsiteX21" fmla="*/ 148348 w 590237"/>
                <a:gd name="connsiteY21" fmla="*/ 19675 h 435651"/>
                <a:gd name="connsiteX22" fmla="*/ 168023 w 590237"/>
                <a:gd name="connsiteY22" fmla="*/ 0 h 435651"/>
                <a:gd name="connsiteX23" fmla="*/ 290989 w 590237"/>
                <a:gd name="connsiteY23" fmla="*/ 0 h 435651"/>
                <a:gd name="connsiteX24" fmla="*/ 328933 w 590237"/>
                <a:gd name="connsiteY24" fmla="*/ 17567 h 435651"/>
                <a:gd name="connsiteX25" fmla="*/ 326122 w 590237"/>
                <a:gd name="connsiteY25" fmla="*/ 59024 h 435651"/>
                <a:gd name="connsiteX26" fmla="*/ 301529 w 590237"/>
                <a:gd name="connsiteY26" fmla="*/ 103292 h 435651"/>
                <a:gd name="connsiteX27" fmla="*/ 352824 w 590237"/>
                <a:gd name="connsiteY27" fmla="*/ 146857 h 435651"/>
                <a:gd name="connsiteX28" fmla="*/ 421685 w 590237"/>
                <a:gd name="connsiteY28" fmla="*/ 129993 h 435651"/>
                <a:gd name="connsiteX29" fmla="*/ 419577 w 590237"/>
                <a:gd name="connsiteY29" fmla="*/ 63943 h 435651"/>
                <a:gd name="connsiteX30" fmla="*/ 402010 w 590237"/>
                <a:gd name="connsiteY30" fmla="*/ 34431 h 435651"/>
                <a:gd name="connsiteX31" fmla="*/ 436441 w 590237"/>
                <a:gd name="connsiteY31" fmla="*/ 2811 h 435651"/>
                <a:gd name="connsiteX32" fmla="*/ 581190 w 590237"/>
                <a:gd name="connsiteY32" fmla="*/ 703 h 435651"/>
                <a:gd name="connsiteX33" fmla="*/ 591027 w 590237"/>
                <a:gd name="connsiteY33" fmla="*/ 15459 h 435651"/>
                <a:gd name="connsiteX34" fmla="*/ 591027 w 590237"/>
                <a:gd name="connsiteY34" fmla="*/ 146857 h 435651"/>
                <a:gd name="connsiteX35" fmla="*/ 560110 w 590237"/>
                <a:gd name="connsiteY35" fmla="*/ 188314 h 435651"/>
                <a:gd name="connsiteX36" fmla="*/ 525679 w 590237"/>
                <a:gd name="connsiteY36" fmla="*/ 170045 h 435651"/>
                <a:gd name="connsiteX37" fmla="*/ 465953 w 590237"/>
                <a:gd name="connsiteY37" fmla="*/ 165126 h 435651"/>
                <a:gd name="connsiteX38" fmla="*/ 463845 w 590237"/>
                <a:gd name="connsiteY38" fmla="*/ 274742 h 435651"/>
                <a:gd name="connsiteX39" fmla="*/ 526382 w 590237"/>
                <a:gd name="connsiteY39" fmla="*/ 271931 h 435651"/>
                <a:gd name="connsiteX40" fmla="*/ 560812 w 590237"/>
                <a:gd name="connsiteY40" fmla="*/ 253662 h 435651"/>
                <a:gd name="connsiteX41" fmla="*/ 591729 w 590237"/>
                <a:gd name="connsiteY41" fmla="*/ 297930 h 435651"/>
                <a:gd name="connsiteX42" fmla="*/ 593135 w 590237"/>
                <a:gd name="connsiteY42" fmla="*/ 360467 h 43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90237" h="435651">
                  <a:moveTo>
                    <a:pt x="593135" y="360467"/>
                  </a:moveTo>
                  <a:cubicBezTo>
                    <a:pt x="593135" y="382249"/>
                    <a:pt x="592432" y="404032"/>
                    <a:pt x="593135" y="426517"/>
                  </a:cubicBezTo>
                  <a:cubicBezTo>
                    <a:pt x="593837" y="438462"/>
                    <a:pt x="589621" y="441976"/>
                    <a:pt x="577676" y="441976"/>
                  </a:cubicBezTo>
                  <a:cubicBezTo>
                    <a:pt x="534111" y="441273"/>
                    <a:pt x="489843" y="441976"/>
                    <a:pt x="446278" y="441273"/>
                  </a:cubicBezTo>
                  <a:cubicBezTo>
                    <a:pt x="424495" y="441273"/>
                    <a:pt x="411145" y="427220"/>
                    <a:pt x="403415" y="408248"/>
                  </a:cubicBezTo>
                  <a:cubicBezTo>
                    <a:pt x="395686" y="389978"/>
                    <a:pt x="413253" y="385060"/>
                    <a:pt x="422387" y="376628"/>
                  </a:cubicBezTo>
                  <a:cubicBezTo>
                    <a:pt x="446278" y="354143"/>
                    <a:pt x="447683" y="337279"/>
                    <a:pt x="425198" y="314091"/>
                  </a:cubicBezTo>
                  <a:cubicBezTo>
                    <a:pt x="397794" y="285282"/>
                    <a:pt x="344392" y="285282"/>
                    <a:pt x="316988" y="314091"/>
                  </a:cubicBezTo>
                  <a:cubicBezTo>
                    <a:pt x="295205" y="337982"/>
                    <a:pt x="295908" y="355548"/>
                    <a:pt x="320501" y="376628"/>
                  </a:cubicBezTo>
                  <a:cubicBezTo>
                    <a:pt x="330338" y="385060"/>
                    <a:pt x="346500" y="391384"/>
                    <a:pt x="339473" y="408951"/>
                  </a:cubicBezTo>
                  <a:cubicBezTo>
                    <a:pt x="332447" y="425815"/>
                    <a:pt x="321204" y="439868"/>
                    <a:pt x="301529" y="440570"/>
                  </a:cubicBezTo>
                  <a:cubicBezTo>
                    <a:pt x="255153" y="441976"/>
                    <a:pt x="208778" y="441273"/>
                    <a:pt x="161699" y="441273"/>
                  </a:cubicBezTo>
                  <a:cubicBezTo>
                    <a:pt x="146241" y="441273"/>
                    <a:pt x="149754" y="431436"/>
                    <a:pt x="149754" y="423004"/>
                  </a:cubicBezTo>
                  <a:cubicBezTo>
                    <a:pt x="149754" y="383655"/>
                    <a:pt x="149754" y="344305"/>
                    <a:pt x="149754" y="304956"/>
                  </a:cubicBezTo>
                  <a:cubicBezTo>
                    <a:pt x="149754" y="293713"/>
                    <a:pt x="149051" y="283173"/>
                    <a:pt x="140619" y="274742"/>
                  </a:cubicBezTo>
                  <a:cubicBezTo>
                    <a:pt x="130079" y="264904"/>
                    <a:pt x="122350" y="259986"/>
                    <a:pt x="109702" y="274742"/>
                  </a:cubicBezTo>
                  <a:cubicBezTo>
                    <a:pt x="74569" y="316902"/>
                    <a:pt x="23977" y="305659"/>
                    <a:pt x="5708" y="252959"/>
                  </a:cubicBezTo>
                  <a:cubicBezTo>
                    <a:pt x="-7643" y="214313"/>
                    <a:pt x="2897" y="174963"/>
                    <a:pt x="32409" y="151776"/>
                  </a:cubicBezTo>
                  <a:cubicBezTo>
                    <a:pt x="59110" y="130696"/>
                    <a:pt x="81595" y="132804"/>
                    <a:pt x="104081" y="158099"/>
                  </a:cubicBezTo>
                  <a:cubicBezTo>
                    <a:pt x="111107" y="165126"/>
                    <a:pt x="113918" y="181287"/>
                    <a:pt x="127971" y="174963"/>
                  </a:cubicBezTo>
                  <a:cubicBezTo>
                    <a:pt x="142025" y="168639"/>
                    <a:pt x="149754" y="156694"/>
                    <a:pt x="149051" y="139830"/>
                  </a:cubicBezTo>
                  <a:cubicBezTo>
                    <a:pt x="148348" y="99778"/>
                    <a:pt x="149754" y="59726"/>
                    <a:pt x="148348" y="19675"/>
                  </a:cubicBezTo>
                  <a:cubicBezTo>
                    <a:pt x="147646" y="3513"/>
                    <a:pt x="152564" y="0"/>
                    <a:pt x="168023" y="0"/>
                  </a:cubicBezTo>
                  <a:cubicBezTo>
                    <a:pt x="208778" y="703"/>
                    <a:pt x="250235" y="703"/>
                    <a:pt x="290989" y="0"/>
                  </a:cubicBezTo>
                  <a:cubicBezTo>
                    <a:pt x="307151" y="0"/>
                    <a:pt x="319096" y="5621"/>
                    <a:pt x="328933" y="17567"/>
                  </a:cubicBezTo>
                  <a:cubicBezTo>
                    <a:pt x="341581" y="32323"/>
                    <a:pt x="344392" y="45673"/>
                    <a:pt x="326122" y="59024"/>
                  </a:cubicBezTo>
                  <a:cubicBezTo>
                    <a:pt x="311367" y="69564"/>
                    <a:pt x="294502" y="81509"/>
                    <a:pt x="301529" y="103292"/>
                  </a:cubicBezTo>
                  <a:cubicBezTo>
                    <a:pt x="309258" y="127182"/>
                    <a:pt x="326825" y="143344"/>
                    <a:pt x="352824" y="146857"/>
                  </a:cubicBezTo>
                  <a:cubicBezTo>
                    <a:pt x="378120" y="150370"/>
                    <a:pt x="402010" y="148965"/>
                    <a:pt x="421685" y="129993"/>
                  </a:cubicBezTo>
                  <a:cubicBezTo>
                    <a:pt x="446278" y="105400"/>
                    <a:pt x="445575" y="86428"/>
                    <a:pt x="419577" y="63943"/>
                  </a:cubicBezTo>
                  <a:cubicBezTo>
                    <a:pt x="410442" y="56213"/>
                    <a:pt x="394984" y="51294"/>
                    <a:pt x="402010" y="34431"/>
                  </a:cubicBezTo>
                  <a:cubicBezTo>
                    <a:pt x="408334" y="18972"/>
                    <a:pt x="418874" y="3513"/>
                    <a:pt x="436441" y="2811"/>
                  </a:cubicBezTo>
                  <a:cubicBezTo>
                    <a:pt x="484924" y="703"/>
                    <a:pt x="533408" y="1405"/>
                    <a:pt x="581190" y="703"/>
                  </a:cubicBezTo>
                  <a:cubicBezTo>
                    <a:pt x="593135" y="703"/>
                    <a:pt x="591027" y="8432"/>
                    <a:pt x="591027" y="15459"/>
                  </a:cubicBezTo>
                  <a:cubicBezTo>
                    <a:pt x="591027" y="59024"/>
                    <a:pt x="591729" y="103292"/>
                    <a:pt x="591027" y="146857"/>
                  </a:cubicBezTo>
                  <a:cubicBezTo>
                    <a:pt x="591027" y="167234"/>
                    <a:pt x="577676" y="179882"/>
                    <a:pt x="560110" y="188314"/>
                  </a:cubicBezTo>
                  <a:cubicBezTo>
                    <a:pt x="541138" y="197449"/>
                    <a:pt x="534814" y="179882"/>
                    <a:pt x="525679" y="170045"/>
                  </a:cubicBezTo>
                  <a:cubicBezTo>
                    <a:pt x="503896" y="145452"/>
                    <a:pt x="490546" y="144749"/>
                    <a:pt x="465953" y="165126"/>
                  </a:cubicBezTo>
                  <a:cubicBezTo>
                    <a:pt x="434333" y="191827"/>
                    <a:pt x="432927" y="246635"/>
                    <a:pt x="463845" y="274742"/>
                  </a:cubicBezTo>
                  <a:cubicBezTo>
                    <a:pt x="488438" y="297227"/>
                    <a:pt x="503896" y="296524"/>
                    <a:pt x="526382" y="271931"/>
                  </a:cubicBezTo>
                  <a:cubicBezTo>
                    <a:pt x="535516" y="262094"/>
                    <a:pt x="541840" y="244527"/>
                    <a:pt x="560812" y="253662"/>
                  </a:cubicBezTo>
                  <a:cubicBezTo>
                    <a:pt x="579081" y="262094"/>
                    <a:pt x="591729" y="275444"/>
                    <a:pt x="591729" y="297930"/>
                  </a:cubicBezTo>
                  <a:cubicBezTo>
                    <a:pt x="593135" y="318307"/>
                    <a:pt x="593135" y="339387"/>
                    <a:pt x="593135" y="36046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2531039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C6EF9B-7D9C-49D2-A37B-4955391BD7E9}"/>
              </a:ext>
            </a:extLst>
          </p:cNvPr>
          <p:cNvSpPr/>
          <p:nvPr userDrawn="1"/>
        </p:nvSpPr>
        <p:spPr>
          <a:xfrm>
            <a:off x="0" y="2247653"/>
            <a:ext cx="12192000" cy="19506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>
              <a:latin typeface="+mn-lt"/>
            </a:endParaRP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B305C347-EF7B-47EF-857F-33A1080EF71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952364" y="2103636"/>
            <a:ext cx="2167491" cy="22071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그림 개체 틀 2">
            <a:extLst>
              <a:ext uri="{FF2B5EF4-FFF2-40B4-BE49-F238E27FC236}">
                <a16:creationId xmlns:a16="http://schemas.microsoft.com/office/drawing/2014/main" id="{E51B4E3E-34E9-4A37-AF4B-6EEEE2067AC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024704" y="2103636"/>
            <a:ext cx="2167491" cy="22071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5" name="그림 개체 틀 2">
            <a:extLst>
              <a:ext uri="{FF2B5EF4-FFF2-40B4-BE49-F238E27FC236}">
                <a16:creationId xmlns:a16="http://schemas.microsoft.com/office/drawing/2014/main" id="{4196990E-F678-4E69-A979-6F00B801164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9127527" y="2103636"/>
            <a:ext cx="2167491" cy="22071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A359C50-2571-4061-9324-8424BB32AE24}"/>
              </a:ext>
            </a:extLst>
          </p:cNvPr>
          <p:cNvGrpSpPr/>
          <p:nvPr userDrawn="1"/>
        </p:nvGrpSpPr>
        <p:grpSpPr>
          <a:xfrm>
            <a:off x="7690813" y="-9527"/>
            <a:ext cx="4510712" cy="1287974"/>
            <a:chOff x="7690813" y="-9527"/>
            <a:chExt cx="4510712" cy="1287974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4AA31239-8361-4E54-B738-5BE54AA18AFC}"/>
                </a:ext>
              </a:extLst>
            </p:cNvPr>
            <p:cNvSpPr/>
            <p:nvPr userDrawn="1"/>
          </p:nvSpPr>
          <p:spPr>
            <a:xfrm rot="9719239">
              <a:off x="8748655" y="451183"/>
              <a:ext cx="1000612" cy="800490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5C20222A-2397-41C2-88C0-328D88A3B1D2}"/>
                </a:ext>
              </a:extLst>
            </p:cNvPr>
            <p:cNvSpPr/>
            <p:nvPr userDrawn="1"/>
          </p:nvSpPr>
          <p:spPr>
            <a:xfrm>
              <a:off x="10392406" y="-9525"/>
              <a:ext cx="800490" cy="800490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8FECB54-4CDF-415B-BB58-BA234574B71E}"/>
                </a:ext>
              </a:extLst>
            </p:cNvPr>
            <p:cNvSpPr/>
            <p:nvPr userDrawn="1"/>
          </p:nvSpPr>
          <p:spPr>
            <a:xfrm>
              <a:off x="11601157" y="-9525"/>
              <a:ext cx="600368" cy="800490"/>
            </a:xfrm>
            <a:custGeom>
              <a:avLst/>
              <a:gdLst>
                <a:gd name="connsiteX0" fmla="*/ 220672 w 442678"/>
                <a:gd name="connsiteY0" fmla="*/ 1219 h 590237"/>
                <a:gd name="connsiteX1" fmla="*/ 420228 w 442678"/>
                <a:gd name="connsiteY1" fmla="*/ 516 h 590237"/>
                <a:gd name="connsiteX2" fmla="*/ 443416 w 442678"/>
                <a:gd name="connsiteY2" fmla="*/ 23002 h 590237"/>
                <a:gd name="connsiteX3" fmla="*/ 443416 w 442678"/>
                <a:gd name="connsiteY3" fmla="*/ 420007 h 590237"/>
                <a:gd name="connsiteX4" fmla="*/ 419526 w 442678"/>
                <a:gd name="connsiteY4" fmla="*/ 443897 h 590237"/>
                <a:gd name="connsiteX5" fmla="*/ 304289 w 442678"/>
                <a:gd name="connsiteY5" fmla="*/ 443194 h 590237"/>
                <a:gd name="connsiteX6" fmla="*/ 274777 w 442678"/>
                <a:gd name="connsiteY6" fmla="*/ 453734 h 590237"/>
                <a:gd name="connsiteX7" fmla="*/ 275480 w 442678"/>
                <a:gd name="connsiteY7" fmla="*/ 481841 h 590237"/>
                <a:gd name="connsiteX8" fmla="*/ 302181 w 442678"/>
                <a:gd name="connsiteY8" fmla="*/ 536649 h 590237"/>
                <a:gd name="connsiteX9" fmla="*/ 244562 w 442678"/>
                <a:gd name="connsiteY9" fmla="*/ 589349 h 590237"/>
                <a:gd name="connsiteX10" fmla="*/ 147595 w 442678"/>
                <a:gd name="connsiteY10" fmla="*/ 552107 h 590237"/>
                <a:gd name="connsiteX11" fmla="*/ 160243 w 442678"/>
                <a:gd name="connsiteY11" fmla="*/ 487462 h 590237"/>
                <a:gd name="connsiteX12" fmla="*/ 175701 w 442678"/>
                <a:gd name="connsiteY12" fmla="*/ 464977 h 590237"/>
                <a:gd name="connsiteX13" fmla="*/ 144081 w 442678"/>
                <a:gd name="connsiteY13" fmla="*/ 443194 h 590237"/>
                <a:gd name="connsiteX14" fmla="*/ 23926 w 442678"/>
                <a:gd name="connsiteY14" fmla="*/ 443897 h 590237"/>
                <a:gd name="connsiteX15" fmla="*/ 35 w 442678"/>
                <a:gd name="connsiteY15" fmla="*/ 419304 h 590237"/>
                <a:gd name="connsiteX16" fmla="*/ 35 w 442678"/>
                <a:gd name="connsiteY16" fmla="*/ 301959 h 590237"/>
                <a:gd name="connsiteX17" fmla="*/ 25331 w 442678"/>
                <a:gd name="connsiteY17" fmla="*/ 256989 h 590237"/>
                <a:gd name="connsiteX18" fmla="*/ 54843 w 442678"/>
                <a:gd name="connsiteY18" fmla="*/ 259799 h 590237"/>
                <a:gd name="connsiteX19" fmla="*/ 129325 w 442678"/>
                <a:gd name="connsiteY19" fmla="*/ 273852 h 590237"/>
                <a:gd name="connsiteX20" fmla="*/ 132839 w 442678"/>
                <a:gd name="connsiteY20" fmla="*/ 174074 h 590237"/>
                <a:gd name="connsiteX21" fmla="*/ 63275 w 442678"/>
                <a:gd name="connsiteY21" fmla="*/ 172669 h 590237"/>
                <a:gd name="connsiteX22" fmla="*/ 36574 w 442678"/>
                <a:gd name="connsiteY22" fmla="*/ 190938 h 590237"/>
                <a:gd name="connsiteX23" fmla="*/ 2143 w 442678"/>
                <a:gd name="connsiteY23" fmla="*/ 155805 h 590237"/>
                <a:gd name="connsiteX24" fmla="*/ 738 w 442678"/>
                <a:gd name="connsiteY24" fmla="*/ 11056 h 590237"/>
                <a:gd name="connsiteX25" fmla="*/ 21115 w 442678"/>
                <a:gd name="connsiteY25" fmla="*/ 1219 h 590237"/>
                <a:gd name="connsiteX26" fmla="*/ 220672 w 442678"/>
                <a:gd name="connsiteY26" fmla="*/ 1219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42678" h="590237">
                  <a:moveTo>
                    <a:pt x="220672" y="1219"/>
                  </a:moveTo>
                  <a:cubicBezTo>
                    <a:pt x="287425" y="1219"/>
                    <a:pt x="354178" y="1922"/>
                    <a:pt x="420228" y="516"/>
                  </a:cubicBezTo>
                  <a:cubicBezTo>
                    <a:pt x="437795" y="516"/>
                    <a:pt x="443416" y="4732"/>
                    <a:pt x="443416" y="23002"/>
                  </a:cubicBezTo>
                  <a:cubicBezTo>
                    <a:pt x="442714" y="155102"/>
                    <a:pt x="442714" y="287906"/>
                    <a:pt x="443416" y="420007"/>
                  </a:cubicBezTo>
                  <a:cubicBezTo>
                    <a:pt x="443416" y="438978"/>
                    <a:pt x="438498" y="444600"/>
                    <a:pt x="419526" y="443897"/>
                  </a:cubicBezTo>
                  <a:cubicBezTo>
                    <a:pt x="381582" y="442492"/>
                    <a:pt x="342935" y="443194"/>
                    <a:pt x="304289" y="443194"/>
                  </a:cubicBezTo>
                  <a:cubicBezTo>
                    <a:pt x="293046" y="443194"/>
                    <a:pt x="283209" y="444600"/>
                    <a:pt x="274777" y="453734"/>
                  </a:cubicBezTo>
                  <a:cubicBezTo>
                    <a:pt x="264940" y="463572"/>
                    <a:pt x="261426" y="472004"/>
                    <a:pt x="275480" y="481841"/>
                  </a:cubicBezTo>
                  <a:cubicBezTo>
                    <a:pt x="294451" y="494489"/>
                    <a:pt x="310613" y="511353"/>
                    <a:pt x="302181" y="536649"/>
                  </a:cubicBezTo>
                  <a:cubicBezTo>
                    <a:pt x="293046" y="564053"/>
                    <a:pt x="274777" y="583025"/>
                    <a:pt x="244562" y="589349"/>
                  </a:cubicBezTo>
                  <a:cubicBezTo>
                    <a:pt x="200997" y="597781"/>
                    <a:pt x="167269" y="585133"/>
                    <a:pt x="147595" y="552107"/>
                  </a:cubicBezTo>
                  <a:cubicBezTo>
                    <a:pt x="132136" y="526811"/>
                    <a:pt x="136352" y="509948"/>
                    <a:pt x="160243" y="487462"/>
                  </a:cubicBezTo>
                  <a:cubicBezTo>
                    <a:pt x="167269" y="481138"/>
                    <a:pt x="181323" y="478328"/>
                    <a:pt x="175701" y="464977"/>
                  </a:cubicBezTo>
                  <a:cubicBezTo>
                    <a:pt x="170080" y="452329"/>
                    <a:pt x="159540" y="443194"/>
                    <a:pt x="144081" y="443194"/>
                  </a:cubicBezTo>
                  <a:cubicBezTo>
                    <a:pt x="104030" y="443194"/>
                    <a:pt x="63978" y="441789"/>
                    <a:pt x="23926" y="443897"/>
                  </a:cubicBezTo>
                  <a:cubicBezTo>
                    <a:pt x="4251" y="444600"/>
                    <a:pt x="35" y="438276"/>
                    <a:pt x="35" y="419304"/>
                  </a:cubicBezTo>
                  <a:cubicBezTo>
                    <a:pt x="1441" y="379955"/>
                    <a:pt x="738" y="340605"/>
                    <a:pt x="35" y="301959"/>
                  </a:cubicBezTo>
                  <a:cubicBezTo>
                    <a:pt x="-667" y="281582"/>
                    <a:pt x="9170" y="267528"/>
                    <a:pt x="25331" y="256989"/>
                  </a:cubicBezTo>
                  <a:cubicBezTo>
                    <a:pt x="35871" y="249962"/>
                    <a:pt x="45006" y="250665"/>
                    <a:pt x="54843" y="259799"/>
                  </a:cubicBezTo>
                  <a:cubicBezTo>
                    <a:pt x="94895" y="297743"/>
                    <a:pt x="103327" y="299148"/>
                    <a:pt x="129325" y="273852"/>
                  </a:cubicBezTo>
                  <a:cubicBezTo>
                    <a:pt x="153919" y="249259"/>
                    <a:pt x="156027" y="200073"/>
                    <a:pt x="132839" y="174074"/>
                  </a:cubicBezTo>
                  <a:cubicBezTo>
                    <a:pt x="107543" y="144562"/>
                    <a:pt x="87868" y="144562"/>
                    <a:pt x="63275" y="172669"/>
                  </a:cubicBezTo>
                  <a:cubicBezTo>
                    <a:pt x="56248" y="181101"/>
                    <a:pt x="50627" y="195154"/>
                    <a:pt x="36574" y="190938"/>
                  </a:cubicBezTo>
                  <a:cubicBezTo>
                    <a:pt x="19007" y="186019"/>
                    <a:pt x="2846" y="174074"/>
                    <a:pt x="2143" y="155805"/>
                  </a:cubicBezTo>
                  <a:cubicBezTo>
                    <a:pt x="-667" y="107321"/>
                    <a:pt x="738" y="58837"/>
                    <a:pt x="738" y="11056"/>
                  </a:cubicBezTo>
                  <a:cubicBezTo>
                    <a:pt x="738" y="-5105"/>
                    <a:pt x="13386" y="1219"/>
                    <a:pt x="21115" y="1219"/>
                  </a:cubicBezTo>
                  <a:cubicBezTo>
                    <a:pt x="87868" y="1219"/>
                    <a:pt x="153919" y="1219"/>
                    <a:pt x="220672" y="121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CC2F31C-BD6B-4F22-A4BC-64A4D4D4251D}"/>
                </a:ext>
              </a:extLst>
            </p:cNvPr>
            <p:cNvSpPr/>
            <p:nvPr userDrawn="1"/>
          </p:nvSpPr>
          <p:spPr>
            <a:xfrm>
              <a:off x="10992752" y="-9525"/>
              <a:ext cx="800490" cy="600368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E6676FE-6D0B-4E1A-99E1-A1A6BB9E7B89}"/>
                </a:ext>
              </a:extLst>
            </p:cNvPr>
            <p:cNvSpPr/>
            <p:nvPr userDrawn="1"/>
          </p:nvSpPr>
          <p:spPr>
            <a:xfrm>
              <a:off x="10197806" y="580875"/>
              <a:ext cx="1000612" cy="600368"/>
            </a:xfrm>
            <a:custGeom>
              <a:avLst/>
              <a:gdLst>
                <a:gd name="connsiteX0" fmla="*/ 370725 w 737797"/>
                <a:gd name="connsiteY0" fmla="*/ 441321 h 442678"/>
                <a:gd name="connsiteX1" fmla="*/ 178898 w 737797"/>
                <a:gd name="connsiteY1" fmla="*/ 442023 h 442678"/>
                <a:gd name="connsiteX2" fmla="*/ 148684 w 737797"/>
                <a:gd name="connsiteY2" fmla="*/ 413214 h 442678"/>
                <a:gd name="connsiteX3" fmla="*/ 149386 w 737797"/>
                <a:gd name="connsiteY3" fmla="*/ 303599 h 442678"/>
                <a:gd name="connsiteX4" fmla="*/ 138846 w 737797"/>
                <a:gd name="connsiteY4" fmla="*/ 274087 h 442678"/>
                <a:gd name="connsiteX5" fmla="*/ 110037 w 737797"/>
                <a:gd name="connsiteY5" fmla="*/ 274790 h 442678"/>
                <a:gd name="connsiteX6" fmla="*/ 55230 w 737797"/>
                <a:gd name="connsiteY6" fmla="*/ 301491 h 442678"/>
                <a:gd name="connsiteX7" fmla="*/ 2530 w 737797"/>
                <a:gd name="connsiteY7" fmla="*/ 243872 h 442678"/>
                <a:gd name="connsiteX8" fmla="*/ 40473 w 737797"/>
                <a:gd name="connsiteY8" fmla="*/ 146905 h 442678"/>
                <a:gd name="connsiteX9" fmla="*/ 105119 w 737797"/>
                <a:gd name="connsiteY9" fmla="*/ 160255 h 442678"/>
                <a:gd name="connsiteX10" fmla="*/ 127604 w 737797"/>
                <a:gd name="connsiteY10" fmla="*/ 175714 h 442678"/>
                <a:gd name="connsiteX11" fmla="*/ 149386 w 737797"/>
                <a:gd name="connsiteY11" fmla="*/ 143391 h 442678"/>
                <a:gd name="connsiteX12" fmla="*/ 148684 w 737797"/>
                <a:gd name="connsiteY12" fmla="*/ 23236 h 442678"/>
                <a:gd name="connsiteX13" fmla="*/ 170466 w 737797"/>
                <a:gd name="connsiteY13" fmla="*/ 48 h 442678"/>
                <a:gd name="connsiteX14" fmla="*/ 290622 w 737797"/>
                <a:gd name="connsiteY14" fmla="*/ 751 h 442678"/>
                <a:gd name="connsiteX15" fmla="*/ 330673 w 737797"/>
                <a:gd name="connsiteY15" fmla="*/ 19722 h 442678"/>
                <a:gd name="connsiteX16" fmla="*/ 327160 w 737797"/>
                <a:gd name="connsiteY16" fmla="*/ 59072 h 442678"/>
                <a:gd name="connsiteX17" fmla="*/ 301864 w 737797"/>
                <a:gd name="connsiteY17" fmla="*/ 105447 h 442678"/>
                <a:gd name="connsiteX18" fmla="*/ 357375 w 737797"/>
                <a:gd name="connsiteY18" fmla="*/ 148310 h 442678"/>
                <a:gd name="connsiteX19" fmla="*/ 419209 w 737797"/>
                <a:gd name="connsiteY19" fmla="*/ 132851 h 442678"/>
                <a:gd name="connsiteX20" fmla="*/ 419209 w 737797"/>
                <a:gd name="connsiteY20" fmla="*/ 63287 h 442678"/>
                <a:gd name="connsiteX21" fmla="*/ 401643 w 737797"/>
                <a:gd name="connsiteY21" fmla="*/ 35884 h 442678"/>
                <a:gd name="connsiteX22" fmla="*/ 437478 w 737797"/>
                <a:gd name="connsiteY22" fmla="*/ 2156 h 442678"/>
                <a:gd name="connsiteX23" fmla="*/ 582228 w 737797"/>
                <a:gd name="connsiteY23" fmla="*/ 751 h 442678"/>
                <a:gd name="connsiteX24" fmla="*/ 591362 w 737797"/>
                <a:gd name="connsiteY24" fmla="*/ 19020 h 442678"/>
                <a:gd name="connsiteX25" fmla="*/ 591362 w 737797"/>
                <a:gd name="connsiteY25" fmla="*/ 134257 h 442678"/>
                <a:gd name="connsiteX26" fmla="*/ 596983 w 737797"/>
                <a:gd name="connsiteY26" fmla="*/ 160255 h 442678"/>
                <a:gd name="connsiteX27" fmla="*/ 634224 w 737797"/>
                <a:gd name="connsiteY27" fmla="*/ 164471 h 442678"/>
                <a:gd name="connsiteX28" fmla="*/ 722760 w 737797"/>
                <a:gd name="connsiteY28" fmla="*/ 165174 h 442678"/>
                <a:gd name="connsiteX29" fmla="*/ 695356 w 737797"/>
                <a:gd name="connsiteY29" fmla="*/ 298680 h 442678"/>
                <a:gd name="connsiteX30" fmla="*/ 637035 w 737797"/>
                <a:gd name="connsiteY30" fmla="*/ 283221 h 442678"/>
                <a:gd name="connsiteX31" fmla="*/ 613144 w 737797"/>
                <a:gd name="connsiteY31" fmla="*/ 267060 h 442678"/>
                <a:gd name="connsiteX32" fmla="*/ 591362 w 737797"/>
                <a:gd name="connsiteY32" fmla="*/ 302193 h 442678"/>
                <a:gd name="connsiteX33" fmla="*/ 592065 w 737797"/>
                <a:gd name="connsiteY33" fmla="*/ 420241 h 442678"/>
                <a:gd name="connsiteX34" fmla="*/ 570282 w 737797"/>
                <a:gd name="connsiteY34" fmla="*/ 442726 h 442678"/>
                <a:gd name="connsiteX35" fmla="*/ 370725 w 737797"/>
                <a:gd name="connsiteY35" fmla="*/ 441321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37797" h="442678">
                  <a:moveTo>
                    <a:pt x="370725" y="441321"/>
                  </a:moveTo>
                  <a:cubicBezTo>
                    <a:pt x="306783" y="441321"/>
                    <a:pt x="242840" y="440618"/>
                    <a:pt x="178898" y="442023"/>
                  </a:cubicBezTo>
                  <a:cubicBezTo>
                    <a:pt x="155710" y="442726"/>
                    <a:pt x="146576" y="438510"/>
                    <a:pt x="148684" y="413214"/>
                  </a:cubicBezTo>
                  <a:cubicBezTo>
                    <a:pt x="151494" y="376676"/>
                    <a:pt x="149386" y="340137"/>
                    <a:pt x="149386" y="303599"/>
                  </a:cubicBezTo>
                  <a:cubicBezTo>
                    <a:pt x="149386" y="292356"/>
                    <a:pt x="147981" y="282519"/>
                    <a:pt x="138846" y="274087"/>
                  </a:cubicBezTo>
                  <a:cubicBezTo>
                    <a:pt x="128306" y="264250"/>
                    <a:pt x="119874" y="260736"/>
                    <a:pt x="110037" y="274790"/>
                  </a:cubicBezTo>
                  <a:cubicBezTo>
                    <a:pt x="96686" y="293761"/>
                    <a:pt x="79823" y="309923"/>
                    <a:pt x="55230" y="301491"/>
                  </a:cubicBezTo>
                  <a:cubicBezTo>
                    <a:pt x="28528" y="292356"/>
                    <a:pt x="8853" y="274087"/>
                    <a:pt x="2530" y="243872"/>
                  </a:cubicBezTo>
                  <a:cubicBezTo>
                    <a:pt x="-5902" y="201010"/>
                    <a:pt x="6746" y="166579"/>
                    <a:pt x="40473" y="146905"/>
                  </a:cubicBezTo>
                  <a:cubicBezTo>
                    <a:pt x="65067" y="132148"/>
                    <a:pt x="82633" y="136365"/>
                    <a:pt x="105119" y="160255"/>
                  </a:cubicBezTo>
                  <a:cubicBezTo>
                    <a:pt x="111443" y="167282"/>
                    <a:pt x="114956" y="181335"/>
                    <a:pt x="127604" y="175714"/>
                  </a:cubicBezTo>
                  <a:cubicBezTo>
                    <a:pt x="140252" y="170092"/>
                    <a:pt x="149386" y="159552"/>
                    <a:pt x="149386" y="143391"/>
                  </a:cubicBezTo>
                  <a:cubicBezTo>
                    <a:pt x="149386" y="103339"/>
                    <a:pt x="150089" y="63287"/>
                    <a:pt x="148684" y="23236"/>
                  </a:cubicBezTo>
                  <a:cubicBezTo>
                    <a:pt x="147981" y="6372"/>
                    <a:pt x="150792" y="-655"/>
                    <a:pt x="170466" y="48"/>
                  </a:cubicBezTo>
                  <a:cubicBezTo>
                    <a:pt x="210518" y="2156"/>
                    <a:pt x="250570" y="751"/>
                    <a:pt x="290622" y="751"/>
                  </a:cubicBezTo>
                  <a:cubicBezTo>
                    <a:pt x="307486" y="751"/>
                    <a:pt x="320836" y="7074"/>
                    <a:pt x="330673" y="19722"/>
                  </a:cubicBezTo>
                  <a:cubicBezTo>
                    <a:pt x="341916" y="33775"/>
                    <a:pt x="344024" y="46424"/>
                    <a:pt x="327160" y="59072"/>
                  </a:cubicBezTo>
                  <a:cubicBezTo>
                    <a:pt x="312404" y="70314"/>
                    <a:pt x="292730" y="82259"/>
                    <a:pt x="301864" y="105447"/>
                  </a:cubicBezTo>
                  <a:cubicBezTo>
                    <a:pt x="311702" y="129338"/>
                    <a:pt x="329268" y="146202"/>
                    <a:pt x="357375" y="148310"/>
                  </a:cubicBezTo>
                  <a:cubicBezTo>
                    <a:pt x="379860" y="150418"/>
                    <a:pt x="400940" y="149013"/>
                    <a:pt x="419209" y="132851"/>
                  </a:cubicBezTo>
                  <a:cubicBezTo>
                    <a:pt x="448018" y="106150"/>
                    <a:pt x="448018" y="89286"/>
                    <a:pt x="419209" y="63287"/>
                  </a:cubicBezTo>
                  <a:cubicBezTo>
                    <a:pt x="410777" y="56261"/>
                    <a:pt x="396724" y="50640"/>
                    <a:pt x="401643" y="35884"/>
                  </a:cubicBezTo>
                  <a:cubicBezTo>
                    <a:pt x="407264" y="19020"/>
                    <a:pt x="418506" y="2859"/>
                    <a:pt x="437478" y="2156"/>
                  </a:cubicBezTo>
                  <a:cubicBezTo>
                    <a:pt x="485962" y="48"/>
                    <a:pt x="534446" y="751"/>
                    <a:pt x="582228" y="751"/>
                  </a:cubicBezTo>
                  <a:cubicBezTo>
                    <a:pt x="596983" y="751"/>
                    <a:pt x="591362" y="11993"/>
                    <a:pt x="591362" y="19020"/>
                  </a:cubicBezTo>
                  <a:cubicBezTo>
                    <a:pt x="592065" y="57666"/>
                    <a:pt x="591362" y="95610"/>
                    <a:pt x="591362" y="134257"/>
                  </a:cubicBezTo>
                  <a:cubicBezTo>
                    <a:pt x="591362" y="143391"/>
                    <a:pt x="592065" y="152526"/>
                    <a:pt x="596983" y="160255"/>
                  </a:cubicBezTo>
                  <a:cubicBezTo>
                    <a:pt x="608929" y="179930"/>
                    <a:pt x="618766" y="180632"/>
                    <a:pt x="634224" y="164471"/>
                  </a:cubicBezTo>
                  <a:cubicBezTo>
                    <a:pt x="665142" y="130041"/>
                    <a:pt x="692545" y="130743"/>
                    <a:pt x="722760" y="165174"/>
                  </a:cubicBezTo>
                  <a:cubicBezTo>
                    <a:pt x="758596" y="205928"/>
                    <a:pt x="743840" y="274790"/>
                    <a:pt x="695356" y="298680"/>
                  </a:cubicBezTo>
                  <a:cubicBezTo>
                    <a:pt x="671465" y="310625"/>
                    <a:pt x="653899" y="300788"/>
                    <a:pt x="637035" y="283221"/>
                  </a:cubicBezTo>
                  <a:cubicBezTo>
                    <a:pt x="630711" y="276195"/>
                    <a:pt x="627901" y="260033"/>
                    <a:pt x="613144" y="267060"/>
                  </a:cubicBezTo>
                  <a:cubicBezTo>
                    <a:pt x="599794" y="273384"/>
                    <a:pt x="591362" y="285330"/>
                    <a:pt x="591362" y="302193"/>
                  </a:cubicBezTo>
                  <a:cubicBezTo>
                    <a:pt x="591362" y="341543"/>
                    <a:pt x="590659" y="380892"/>
                    <a:pt x="592065" y="420241"/>
                  </a:cubicBezTo>
                  <a:cubicBezTo>
                    <a:pt x="592767" y="437807"/>
                    <a:pt x="588551" y="443429"/>
                    <a:pt x="570282" y="442726"/>
                  </a:cubicBezTo>
                  <a:cubicBezTo>
                    <a:pt x="504232" y="440618"/>
                    <a:pt x="437478" y="441321"/>
                    <a:pt x="370725" y="44132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FABA71D-2255-469C-9114-E60C403D346C}"/>
                </a:ext>
              </a:extLst>
            </p:cNvPr>
            <p:cNvSpPr/>
            <p:nvPr userDrawn="1"/>
          </p:nvSpPr>
          <p:spPr>
            <a:xfrm>
              <a:off x="10998829" y="380752"/>
              <a:ext cx="600368" cy="800490"/>
            </a:xfrm>
            <a:custGeom>
              <a:avLst/>
              <a:gdLst>
                <a:gd name="connsiteX0" fmla="*/ 222808 w 442678"/>
                <a:gd name="connsiteY0" fmla="*/ 592910 h 590237"/>
                <a:gd name="connsiteX1" fmla="*/ 22549 w 442678"/>
                <a:gd name="connsiteY1" fmla="*/ 593613 h 590237"/>
                <a:gd name="connsiteX2" fmla="*/ 64 w 442678"/>
                <a:gd name="connsiteY2" fmla="*/ 570425 h 590237"/>
                <a:gd name="connsiteX3" fmla="*/ 64 w 442678"/>
                <a:gd name="connsiteY3" fmla="*/ 457998 h 590237"/>
                <a:gd name="connsiteX4" fmla="*/ 15523 w 442678"/>
                <a:gd name="connsiteY4" fmla="*/ 415839 h 590237"/>
                <a:gd name="connsiteX5" fmla="*/ 62601 w 442678"/>
                <a:gd name="connsiteY5" fmla="*/ 417947 h 590237"/>
                <a:gd name="connsiteX6" fmla="*/ 104761 w 442678"/>
                <a:gd name="connsiteY6" fmla="*/ 440432 h 590237"/>
                <a:gd name="connsiteX7" fmla="*/ 147624 w 442678"/>
                <a:gd name="connsiteY7" fmla="*/ 391245 h 590237"/>
                <a:gd name="connsiteX8" fmla="*/ 127246 w 442678"/>
                <a:gd name="connsiteY8" fmla="*/ 316061 h 590237"/>
                <a:gd name="connsiteX9" fmla="*/ 66817 w 442678"/>
                <a:gd name="connsiteY9" fmla="*/ 319574 h 590237"/>
                <a:gd name="connsiteX10" fmla="*/ 35900 w 442678"/>
                <a:gd name="connsiteY10" fmla="*/ 339249 h 590237"/>
                <a:gd name="connsiteX11" fmla="*/ 1469 w 442678"/>
                <a:gd name="connsiteY11" fmla="*/ 297791 h 590237"/>
                <a:gd name="connsiteX12" fmla="*/ 767 w 442678"/>
                <a:gd name="connsiteY12" fmla="*/ 163583 h 590237"/>
                <a:gd name="connsiteX13" fmla="*/ 19036 w 442678"/>
                <a:gd name="connsiteY13" fmla="*/ 150934 h 590237"/>
                <a:gd name="connsiteX14" fmla="*/ 137084 w 442678"/>
                <a:gd name="connsiteY14" fmla="*/ 150934 h 590237"/>
                <a:gd name="connsiteX15" fmla="*/ 165190 w 442678"/>
                <a:gd name="connsiteY15" fmla="*/ 143205 h 590237"/>
                <a:gd name="connsiteX16" fmla="*/ 166595 w 442678"/>
                <a:gd name="connsiteY16" fmla="*/ 107369 h 590237"/>
                <a:gd name="connsiteX17" fmla="*/ 163785 w 442678"/>
                <a:gd name="connsiteY17" fmla="*/ 22347 h 590237"/>
                <a:gd name="connsiteX18" fmla="*/ 290967 w 442678"/>
                <a:gd name="connsiteY18" fmla="*/ 30779 h 590237"/>
                <a:gd name="connsiteX19" fmla="*/ 286048 w 442678"/>
                <a:gd name="connsiteY19" fmla="*/ 104559 h 590237"/>
                <a:gd name="connsiteX20" fmla="*/ 270590 w 442678"/>
                <a:gd name="connsiteY20" fmla="*/ 129152 h 590237"/>
                <a:gd name="connsiteX21" fmla="*/ 303615 w 442678"/>
                <a:gd name="connsiteY21" fmla="*/ 150232 h 590237"/>
                <a:gd name="connsiteX22" fmla="*/ 421662 w 442678"/>
                <a:gd name="connsiteY22" fmla="*/ 149529 h 590237"/>
                <a:gd name="connsiteX23" fmla="*/ 446256 w 442678"/>
                <a:gd name="connsiteY23" fmla="*/ 175528 h 590237"/>
                <a:gd name="connsiteX24" fmla="*/ 446256 w 442678"/>
                <a:gd name="connsiteY24" fmla="*/ 287954 h 590237"/>
                <a:gd name="connsiteX25" fmla="*/ 428689 w 442678"/>
                <a:gd name="connsiteY25" fmla="*/ 329411 h 590237"/>
                <a:gd name="connsiteX26" fmla="*/ 385827 w 442678"/>
                <a:gd name="connsiteY26" fmla="*/ 327303 h 590237"/>
                <a:gd name="connsiteX27" fmla="*/ 342261 w 442678"/>
                <a:gd name="connsiteY27" fmla="*/ 303412 h 590237"/>
                <a:gd name="connsiteX28" fmla="*/ 298696 w 442678"/>
                <a:gd name="connsiteY28" fmla="*/ 357518 h 590237"/>
                <a:gd name="connsiteX29" fmla="*/ 318371 w 442678"/>
                <a:gd name="connsiteY29" fmla="*/ 425676 h 590237"/>
                <a:gd name="connsiteX30" fmla="*/ 380908 w 442678"/>
                <a:gd name="connsiteY30" fmla="*/ 422865 h 590237"/>
                <a:gd name="connsiteX31" fmla="*/ 415338 w 442678"/>
                <a:gd name="connsiteY31" fmla="*/ 404596 h 590237"/>
                <a:gd name="connsiteX32" fmla="*/ 446256 w 442678"/>
                <a:gd name="connsiteY32" fmla="*/ 446054 h 590237"/>
                <a:gd name="connsiteX33" fmla="*/ 446958 w 442678"/>
                <a:gd name="connsiteY33" fmla="*/ 577451 h 590237"/>
                <a:gd name="connsiteX34" fmla="*/ 425878 w 442678"/>
                <a:gd name="connsiteY34" fmla="*/ 592910 h 590237"/>
                <a:gd name="connsiteX35" fmla="*/ 222808 w 442678"/>
                <a:gd name="connsiteY35" fmla="*/ 59291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222808" y="592910"/>
                  </a:moveTo>
                  <a:cubicBezTo>
                    <a:pt x="156055" y="592910"/>
                    <a:pt x="89302" y="592208"/>
                    <a:pt x="22549" y="593613"/>
                  </a:cubicBezTo>
                  <a:cubicBezTo>
                    <a:pt x="4280" y="593613"/>
                    <a:pt x="-639" y="588694"/>
                    <a:pt x="64" y="570425"/>
                  </a:cubicBezTo>
                  <a:cubicBezTo>
                    <a:pt x="1469" y="533184"/>
                    <a:pt x="767" y="495240"/>
                    <a:pt x="64" y="457998"/>
                  </a:cubicBezTo>
                  <a:cubicBezTo>
                    <a:pt x="64" y="441837"/>
                    <a:pt x="3577" y="427784"/>
                    <a:pt x="15523" y="415839"/>
                  </a:cubicBezTo>
                  <a:cubicBezTo>
                    <a:pt x="33792" y="397570"/>
                    <a:pt x="45035" y="397570"/>
                    <a:pt x="62601" y="417947"/>
                  </a:cubicBezTo>
                  <a:cubicBezTo>
                    <a:pt x="73844" y="431297"/>
                    <a:pt x="85086" y="448161"/>
                    <a:pt x="104761" y="440432"/>
                  </a:cubicBezTo>
                  <a:cubicBezTo>
                    <a:pt x="126544" y="432000"/>
                    <a:pt x="144813" y="417244"/>
                    <a:pt x="147624" y="391245"/>
                  </a:cubicBezTo>
                  <a:cubicBezTo>
                    <a:pt x="150434" y="363842"/>
                    <a:pt x="152542" y="336438"/>
                    <a:pt x="127246" y="316061"/>
                  </a:cubicBezTo>
                  <a:cubicBezTo>
                    <a:pt x="102653" y="295683"/>
                    <a:pt x="87897" y="296386"/>
                    <a:pt x="66817" y="319574"/>
                  </a:cubicBezTo>
                  <a:cubicBezTo>
                    <a:pt x="58385" y="328709"/>
                    <a:pt x="54169" y="345572"/>
                    <a:pt x="35900" y="339249"/>
                  </a:cubicBezTo>
                  <a:cubicBezTo>
                    <a:pt x="15523" y="332222"/>
                    <a:pt x="2172" y="318169"/>
                    <a:pt x="1469" y="297791"/>
                  </a:cubicBezTo>
                  <a:cubicBezTo>
                    <a:pt x="-639" y="252821"/>
                    <a:pt x="1469" y="208553"/>
                    <a:pt x="767" y="163583"/>
                  </a:cubicBezTo>
                  <a:cubicBezTo>
                    <a:pt x="767" y="148827"/>
                    <a:pt x="9901" y="150934"/>
                    <a:pt x="19036" y="150934"/>
                  </a:cubicBezTo>
                  <a:cubicBezTo>
                    <a:pt x="58385" y="150934"/>
                    <a:pt x="97734" y="150934"/>
                    <a:pt x="137084" y="150934"/>
                  </a:cubicBezTo>
                  <a:cubicBezTo>
                    <a:pt x="147624" y="150934"/>
                    <a:pt x="157461" y="150232"/>
                    <a:pt x="165190" y="143205"/>
                  </a:cubicBezTo>
                  <a:cubicBezTo>
                    <a:pt x="178541" y="131963"/>
                    <a:pt x="185567" y="122828"/>
                    <a:pt x="166595" y="107369"/>
                  </a:cubicBezTo>
                  <a:cubicBezTo>
                    <a:pt x="132165" y="80668"/>
                    <a:pt x="132165" y="53264"/>
                    <a:pt x="163785" y="22347"/>
                  </a:cubicBezTo>
                  <a:cubicBezTo>
                    <a:pt x="197513" y="-10678"/>
                    <a:pt x="260752" y="-6462"/>
                    <a:pt x="290967" y="30779"/>
                  </a:cubicBezTo>
                  <a:cubicBezTo>
                    <a:pt x="314155" y="58885"/>
                    <a:pt x="312047" y="79263"/>
                    <a:pt x="286048" y="104559"/>
                  </a:cubicBezTo>
                  <a:cubicBezTo>
                    <a:pt x="279022" y="111585"/>
                    <a:pt x="263563" y="115099"/>
                    <a:pt x="270590" y="129152"/>
                  </a:cubicBezTo>
                  <a:cubicBezTo>
                    <a:pt x="276914" y="141800"/>
                    <a:pt x="288156" y="150232"/>
                    <a:pt x="303615" y="150232"/>
                  </a:cubicBezTo>
                  <a:cubicBezTo>
                    <a:pt x="342964" y="150232"/>
                    <a:pt x="382313" y="151637"/>
                    <a:pt x="421662" y="149529"/>
                  </a:cubicBezTo>
                  <a:cubicBezTo>
                    <a:pt x="443445" y="148124"/>
                    <a:pt x="446958" y="155853"/>
                    <a:pt x="446256" y="175528"/>
                  </a:cubicBezTo>
                  <a:cubicBezTo>
                    <a:pt x="444850" y="212769"/>
                    <a:pt x="445553" y="250713"/>
                    <a:pt x="446256" y="287954"/>
                  </a:cubicBezTo>
                  <a:cubicBezTo>
                    <a:pt x="446256" y="304818"/>
                    <a:pt x="441337" y="318169"/>
                    <a:pt x="428689" y="329411"/>
                  </a:cubicBezTo>
                  <a:cubicBezTo>
                    <a:pt x="413933" y="342059"/>
                    <a:pt x="399880" y="346275"/>
                    <a:pt x="385827" y="327303"/>
                  </a:cubicBezTo>
                  <a:cubicBezTo>
                    <a:pt x="375287" y="313250"/>
                    <a:pt x="364044" y="295683"/>
                    <a:pt x="342261" y="303412"/>
                  </a:cubicBezTo>
                  <a:cubicBezTo>
                    <a:pt x="316965" y="312547"/>
                    <a:pt x="300804" y="330114"/>
                    <a:pt x="298696" y="357518"/>
                  </a:cubicBezTo>
                  <a:cubicBezTo>
                    <a:pt x="296588" y="382814"/>
                    <a:pt x="297994" y="406704"/>
                    <a:pt x="318371" y="425676"/>
                  </a:cubicBezTo>
                  <a:cubicBezTo>
                    <a:pt x="342964" y="448161"/>
                    <a:pt x="358423" y="447459"/>
                    <a:pt x="380908" y="422865"/>
                  </a:cubicBezTo>
                  <a:cubicBezTo>
                    <a:pt x="390043" y="412325"/>
                    <a:pt x="397069" y="395462"/>
                    <a:pt x="415338" y="404596"/>
                  </a:cubicBezTo>
                  <a:cubicBezTo>
                    <a:pt x="432202" y="413028"/>
                    <a:pt x="445553" y="425676"/>
                    <a:pt x="446256" y="446054"/>
                  </a:cubicBezTo>
                  <a:cubicBezTo>
                    <a:pt x="446958" y="489618"/>
                    <a:pt x="445553" y="533887"/>
                    <a:pt x="446958" y="577451"/>
                  </a:cubicBezTo>
                  <a:cubicBezTo>
                    <a:pt x="447661" y="595721"/>
                    <a:pt x="436418" y="592910"/>
                    <a:pt x="425878" y="592910"/>
                  </a:cubicBezTo>
                  <a:cubicBezTo>
                    <a:pt x="355612" y="592910"/>
                    <a:pt x="288859" y="592910"/>
                    <a:pt x="222808" y="59291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FC3A4E6-8417-4CE5-8AC3-BE4A1CCD2429}"/>
                </a:ext>
              </a:extLst>
            </p:cNvPr>
            <p:cNvSpPr/>
            <p:nvPr userDrawn="1"/>
          </p:nvSpPr>
          <p:spPr>
            <a:xfrm>
              <a:off x="11401036" y="580875"/>
              <a:ext cx="800489" cy="600367"/>
            </a:xfrm>
            <a:custGeom>
              <a:avLst/>
              <a:gdLst>
                <a:gd name="connsiteX0" fmla="*/ 591733 w 590237"/>
                <a:gd name="connsiteY0" fmla="*/ 225014 h 442678"/>
                <a:gd name="connsiteX1" fmla="*/ 592436 w 590237"/>
                <a:gd name="connsiteY1" fmla="*/ 425273 h 442678"/>
                <a:gd name="connsiteX2" fmla="*/ 572761 w 590237"/>
                <a:gd name="connsiteY2" fmla="*/ 444948 h 442678"/>
                <a:gd name="connsiteX3" fmla="*/ 170135 w 590237"/>
                <a:gd name="connsiteY3" fmla="*/ 444948 h 442678"/>
                <a:gd name="connsiteX4" fmla="*/ 149758 w 590237"/>
                <a:gd name="connsiteY4" fmla="*/ 423165 h 442678"/>
                <a:gd name="connsiteX5" fmla="*/ 150460 w 590237"/>
                <a:gd name="connsiteY5" fmla="*/ 313549 h 442678"/>
                <a:gd name="connsiteX6" fmla="*/ 145542 w 590237"/>
                <a:gd name="connsiteY6" fmla="*/ 284038 h 442678"/>
                <a:gd name="connsiteX7" fmla="*/ 108300 w 590237"/>
                <a:gd name="connsiteY7" fmla="*/ 279822 h 442678"/>
                <a:gd name="connsiteX8" fmla="*/ 21170 w 590237"/>
                <a:gd name="connsiteY8" fmla="*/ 281227 h 442678"/>
                <a:gd name="connsiteX9" fmla="*/ 42953 w 590237"/>
                <a:gd name="connsiteY9" fmla="*/ 147018 h 442678"/>
                <a:gd name="connsiteX10" fmla="*/ 103382 w 590237"/>
                <a:gd name="connsiteY10" fmla="*/ 160369 h 442678"/>
                <a:gd name="connsiteX11" fmla="*/ 127272 w 590237"/>
                <a:gd name="connsiteY11" fmla="*/ 177233 h 442678"/>
                <a:gd name="connsiteX12" fmla="*/ 149758 w 590237"/>
                <a:gd name="connsiteY12" fmla="*/ 142802 h 442678"/>
                <a:gd name="connsiteX13" fmla="*/ 149758 w 590237"/>
                <a:gd name="connsiteY13" fmla="*/ 24755 h 442678"/>
                <a:gd name="connsiteX14" fmla="*/ 172946 w 590237"/>
                <a:gd name="connsiteY14" fmla="*/ 162 h 442678"/>
                <a:gd name="connsiteX15" fmla="*/ 288182 w 590237"/>
                <a:gd name="connsiteY15" fmla="*/ 864 h 442678"/>
                <a:gd name="connsiteX16" fmla="*/ 328937 w 590237"/>
                <a:gd name="connsiteY16" fmla="*/ 19134 h 442678"/>
                <a:gd name="connsiteX17" fmla="*/ 326126 w 590237"/>
                <a:gd name="connsiteY17" fmla="*/ 62699 h 442678"/>
                <a:gd name="connsiteX18" fmla="*/ 302938 w 590237"/>
                <a:gd name="connsiteY18" fmla="*/ 106967 h 442678"/>
                <a:gd name="connsiteX19" fmla="*/ 357746 w 590237"/>
                <a:gd name="connsiteY19" fmla="*/ 149829 h 442678"/>
                <a:gd name="connsiteX20" fmla="*/ 432228 w 590237"/>
                <a:gd name="connsiteY20" fmla="*/ 121020 h 442678"/>
                <a:gd name="connsiteX21" fmla="*/ 423797 w 590237"/>
                <a:gd name="connsiteY21" fmla="*/ 69023 h 442678"/>
                <a:gd name="connsiteX22" fmla="*/ 402717 w 590237"/>
                <a:gd name="connsiteY22" fmla="*/ 35997 h 442678"/>
                <a:gd name="connsiteX23" fmla="*/ 444877 w 590237"/>
                <a:gd name="connsiteY23" fmla="*/ 2269 h 442678"/>
                <a:gd name="connsiteX24" fmla="*/ 579085 w 590237"/>
                <a:gd name="connsiteY24" fmla="*/ 1567 h 442678"/>
                <a:gd name="connsiteX25" fmla="*/ 591031 w 590237"/>
                <a:gd name="connsiteY25" fmla="*/ 19836 h 442678"/>
                <a:gd name="connsiteX26" fmla="*/ 591733 w 590237"/>
                <a:gd name="connsiteY26" fmla="*/ 225014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0237" h="442678">
                  <a:moveTo>
                    <a:pt x="591733" y="225014"/>
                  </a:moveTo>
                  <a:cubicBezTo>
                    <a:pt x="591733" y="291767"/>
                    <a:pt x="591031" y="358520"/>
                    <a:pt x="592436" y="425273"/>
                  </a:cubicBezTo>
                  <a:cubicBezTo>
                    <a:pt x="592436" y="440732"/>
                    <a:pt x="588923" y="444948"/>
                    <a:pt x="572761" y="444948"/>
                  </a:cubicBezTo>
                  <a:cubicBezTo>
                    <a:pt x="438552" y="444245"/>
                    <a:pt x="304344" y="444245"/>
                    <a:pt x="170135" y="444948"/>
                  </a:cubicBezTo>
                  <a:cubicBezTo>
                    <a:pt x="151866" y="444948"/>
                    <a:pt x="149758" y="438624"/>
                    <a:pt x="149758" y="423165"/>
                  </a:cubicBezTo>
                  <a:cubicBezTo>
                    <a:pt x="150460" y="386627"/>
                    <a:pt x="149758" y="350088"/>
                    <a:pt x="150460" y="313549"/>
                  </a:cubicBezTo>
                  <a:cubicBezTo>
                    <a:pt x="150460" y="303712"/>
                    <a:pt x="150460" y="293172"/>
                    <a:pt x="145542" y="284038"/>
                  </a:cubicBezTo>
                  <a:cubicBezTo>
                    <a:pt x="135002" y="265066"/>
                    <a:pt x="122354" y="263661"/>
                    <a:pt x="108300" y="279822"/>
                  </a:cubicBezTo>
                  <a:cubicBezTo>
                    <a:pt x="78086" y="314252"/>
                    <a:pt x="52087" y="314955"/>
                    <a:pt x="21170" y="281227"/>
                  </a:cubicBezTo>
                  <a:cubicBezTo>
                    <a:pt x="-14666" y="242581"/>
                    <a:pt x="-3423" y="172314"/>
                    <a:pt x="42953" y="147018"/>
                  </a:cubicBezTo>
                  <a:cubicBezTo>
                    <a:pt x="67546" y="133668"/>
                    <a:pt x="85815" y="141397"/>
                    <a:pt x="103382" y="160369"/>
                  </a:cubicBezTo>
                  <a:cubicBezTo>
                    <a:pt x="109706" y="167395"/>
                    <a:pt x="113219" y="182854"/>
                    <a:pt x="127272" y="177233"/>
                  </a:cubicBezTo>
                  <a:cubicBezTo>
                    <a:pt x="142028" y="171612"/>
                    <a:pt x="149758" y="158963"/>
                    <a:pt x="149758" y="142802"/>
                  </a:cubicBezTo>
                  <a:cubicBezTo>
                    <a:pt x="149758" y="103453"/>
                    <a:pt x="150460" y="64104"/>
                    <a:pt x="149758" y="24755"/>
                  </a:cubicBezTo>
                  <a:cubicBezTo>
                    <a:pt x="149055" y="6486"/>
                    <a:pt x="152568" y="-1244"/>
                    <a:pt x="172946" y="162"/>
                  </a:cubicBezTo>
                  <a:cubicBezTo>
                    <a:pt x="210889" y="2269"/>
                    <a:pt x="249536" y="864"/>
                    <a:pt x="288182" y="864"/>
                  </a:cubicBezTo>
                  <a:cubicBezTo>
                    <a:pt x="305046" y="864"/>
                    <a:pt x="318397" y="6486"/>
                    <a:pt x="328937" y="19134"/>
                  </a:cubicBezTo>
                  <a:cubicBezTo>
                    <a:pt x="342990" y="34592"/>
                    <a:pt x="345098" y="48646"/>
                    <a:pt x="326126" y="62699"/>
                  </a:cubicBezTo>
                  <a:cubicBezTo>
                    <a:pt x="312073" y="73239"/>
                    <a:pt x="293804" y="85184"/>
                    <a:pt x="302938" y="106967"/>
                  </a:cubicBezTo>
                  <a:cubicBezTo>
                    <a:pt x="312775" y="130857"/>
                    <a:pt x="328937" y="147721"/>
                    <a:pt x="357746" y="149829"/>
                  </a:cubicBezTo>
                  <a:cubicBezTo>
                    <a:pt x="387258" y="151234"/>
                    <a:pt x="413959" y="149126"/>
                    <a:pt x="432228" y="121020"/>
                  </a:cubicBezTo>
                  <a:cubicBezTo>
                    <a:pt x="446282" y="99940"/>
                    <a:pt x="441363" y="84481"/>
                    <a:pt x="423797" y="69023"/>
                  </a:cubicBezTo>
                  <a:cubicBezTo>
                    <a:pt x="413959" y="60590"/>
                    <a:pt x="395690" y="55672"/>
                    <a:pt x="402717" y="35997"/>
                  </a:cubicBezTo>
                  <a:cubicBezTo>
                    <a:pt x="409743" y="16323"/>
                    <a:pt x="424499" y="2972"/>
                    <a:pt x="444877" y="2269"/>
                  </a:cubicBezTo>
                  <a:cubicBezTo>
                    <a:pt x="489847" y="864"/>
                    <a:pt x="534115" y="2269"/>
                    <a:pt x="579085" y="1567"/>
                  </a:cubicBezTo>
                  <a:cubicBezTo>
                    <a:pt x="595246" y="1567"/>
                    <a:pt x="591031" y="12107"/>
                    <a:pt x="591031" y="19836"/>
                  </a:cubicBezTo>
                  <a:cubicBezTo>
                    <a:pt x="591733" y="87995"/>
                    <a:pt x="591733" y="156856"/>
                    <a:pt x="591733" y="22501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0BBEA51-29DC-486F-81D6-08A6B613986C}"/>
                </a:ext>
              </a:extLst>
            </p:cNvPr>
            <p:cNvSpPr/>
            <p:nvPr userDrawn="1"/>
          </p:nvSpPr>
          <p:spPr>
            <a:xfrm rot="19800000">
              <a:off x="7690813" y="673466"/>
              <a:ext cx="595378" cy="604981"/>
            </a:xfrm>
            <a:custGeom>
              <a:avLst/>
              <a:gdLst>
                <a:gd name="connsiteX0" fmla="*/ 222744 w 435651"/>
                <a:gd name="connsiteY0" fmla="*/ 441468 h 442678"/>
                <a:gd name="connsiteX1" fmla="*/ 23188 w 435651"/>
                <a:gd name="connsiteY1" fmla="*/ 442171 h 442678"/>
                <a:gd name="connsiteX2" fmla="*/ 1405 w 435651"/>
                <a:gd name="connsiteY2" fmla="*/ 419686 h 442678"/>
                <a:gd name="connsiteX3" fmla="*/ 1405 w 435651"/>
                <a:gd name="connsiteY3" fmla="*/ 302341 h 442678"/>
                <a:gd name="connsiteX4" fmla="*/ 17567 w 435651"/>
                <a:gd name="connsiteY4" fmla="*/ 263694 h 442678"/>
                <a:gd name="connsiteX5" fmla="*/ 60429 w 435651"/>
                <a:gd name="connsiteY5" fmla="*/ 265802 h 442678"/>
                <a:gd name="connsiteX6" fmla="*/ 103994 w 435651"/>
                <a:gd name="connsiteY6" fmla="*/ 290395 h 442678"/>
                <a:gd name="connsiteX7" fmla="*/ 146857 w 435651"/>
                <a:gd name="connsiteY7" fmla="*/ 241912 h 442678"/>
                <a:gd name="connsiteX8" fmla="*/ 129993 w 435651"/>
                <a:gd name="connsiteY8" fmla="*/ 170942 h 442678"/>
                <a:gd name="connsiteX9" fmla="*/ 63942 w 435651"/>
                <a:gd name="connsiteY9" fmla="*/ 173051 h 442678"/>
                <a:gd name="connsiteX10" fmla="*/ 33728 w 435651"/>
                <a:gd name="connsiteY10" fmla="*/ 190617 h 442678"/>
                <a:gd name="connsiteX11" fmla="*/ 1405 w 435651"/>
                <a:gd name="connsiteY11" fmla="*/ 153376 h 442678"/>
                <a:gd name="connsiteX12" fmla="*/ 0 w 435651"/>
                <a:gd name="connsiteY12" fmla="*/ 10735 h 442678"/>
                <a:gd name="connsiteX13" fmla="*/ 14053 w 435651"/>
                <a:gd name="connsiteY13" fmla="*/ 195 h 442678"/>
                <a:gd name="connsiteX14" fmla="*/ 142641 w 435651"/>
                <a:gd name="connsiteY14" fmla="*/ 195 h 442678"/>
                <a:gd name="connsiteX15" fmla="*/ 179882 w 435651"/>
                <a:gd name="connsiteY15" fmla="*/ 19870 h 442678"/>
                <a:gd name="connsiteX16" fmla="*/ 176369 w 435651"/>
                <a:gd name="connsiteY16" fmla="*/ 61327 h 442678"/>
                <a:gd name="connsiteX17" fmla="*/ 151775 w 435651"/>
                <a:gd name="connsiteY17" fmla="*/ 104892 h 442678"/>
                <a:gd name="connsiteX18" fmla="*/ 205881 w 435651"/>
                <a:gd name="connsiteY18" fmla="*/ 148457 h 442678"/>
                <a:gd name="connsiteX19" fmla="*/ 275444 w 435651"/>
                <a:gd name="connsiteY19" fmla="*/ 127377 h 442678"/>
                <a:gd name="connsiteX20" fmla="*/ 271228 w 435651"/>
                <a:gd name="connsiteY20" fmla="*/ 66948 h 442678"/>
                <a:gd name="connsiteX21" fmla="*/ 252256 w 435651"/>
                <a:gd name="connsiteY21" fmla="*/ 32518 h 442678"/>
                <a:gd name="connsiteX22" fmla="*/ 293011 w 435651"/>
                <a:gd name="connsiteY22" fmla="*/ 898 h 442678"/>
                <a:gd name="connsiteX23" fmla="*/ 427220 w 435651"/>
                <a:gd name="connsiteY23" fmla="*/ 195 h 442678"/>
                <a:gd name="connsiteX24" fmla="*/ 440570 w 435651"/>
                <a:gd name="connsiteY24" fmla="*/ 15654 h 442678"/>
                <a:gd name="connsiteX25" fmla="*/ 440570 w 435651"/>
                <a:gd name="connsiteY25" fmla="*/ 144241 h 442678"/>
                <a:gd name="connsiteX26" fmla="*/ 410356 w 435651"/>
                <a:gd name="connsiteY26" fmla="*/ 189212 h 442678"/>
                <a:gd name="connsiteX27" fmla="*/ 373817 w 435651"/>
                <a:gd name="connsiteY27" fmla="*/ 169537 h 442678"/>
                <a:gd name="connsiteX28" fmla="*/ 317604 w 435651"/>
                <a:gd name="connsiteY28" fmla="*/ 164619 h 442678"/>
                <a:gd name="connsiteX29" fmla="*/ 314793 w 435651"/>
                <a:gd name="connsiteY29" fmla="*/ 277747 h 442678"/>
                <a:gd name="connsiteX30" fmla="*/ 375223 w 435651"/>
                <a:gd name="connsiteY30" fmla="*/ 273531 h 442678"/>
                <a:gd name="connsiteX31" fmla="*/ 406842 w 435651"/>
                <a:gd name="connsiteY31" fmla="*/ 253857 h 442678"/>
                <a:gd name="connsiteX32" fmla="*/ 440570 w 435651"/>
                <a:gd name="connsiteY32" fmla="*/ 296017 h 442678"/>
                <a:gd name="connsiteX33" fmla="*/ 441273 w 435651"/>
                <a:gd name="connsiteY33" fmla="*/ 430226 h 442678"/>
                <a:gd name="connsiteX34" fmla="*/ 420896 w 435651"/>
                <a:gd name="connsiteY34" fmla="*/ 442873 h 442678"/>
                <a:gd name="connsiteX35" fmla="*/ 222744 w 435651"/>
                <a:gd name="connsiteY35" fmla="*/ 441468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35651" h="442678">
                  <a:moveTo>
                    <a:pt x="222744" y="441468"/>
                  </a:moveTo>
                  <a:cubicBezTo>
                    <a:pt x="155991" y="441468"/>
                    <a:pt x="89238" y="440766"/>
                    <a:pt x="23188" y="442171"/>
                  </a:cubicBezTo>
                  <a:cubicBezTo>
                    <a:pt x="4919" y="442171"/>
                    <a:pt x="703" y="436550"/>
                    <a:pt x="1405" y="419686"/>
                  </a:cubicBezTo>
                  <a:cubicBezTo>
                    <a:pt x="2811" y="380336"/>
                    <a:pt x="2108" y="340987"/>
                    <a:pt x="1405" y="302341"/>
                  </a:cubicBezTo>
                  <a:cubicBezTo>
                    <a:pt x="1405" y="286180"/>
                    <a:pt x="6324" y="274234"/>
                    <a:pt x="17567" y="263694"/>
                  </a:cubicBezTo>
                  <a:cubicBezTo>
                    <a:pt x="32323" y="250344"/>
                    <a:pt x="46376" y="246128"/>
                    <a:pt x="60429" y="265802"/>
                  </a:cubicBezTo>
                  <a:cubicBezTo>
                    <a:pt x="70969" y="279855"/>
                    <a:pt x="81509" y="297422"/>
                    <a:pt x="103994" y="290395"/>
                  </a:cubicBezTo>
                  <a:cubicBezTo>
                    <a:pt x="127182" y="282666"/>
                    <a:pt x="142641" y="266505"/>
                    <a:pt x="146857" y="241912"/>
                  </a:cubicBezTo>
                  <a:cubicBezTo>
                    <a:pt x="151775" y="215913"/>
                    <a:pt x="149667" y="190617"/>
                    <a:pt x="129993" y="170942"/>
                  </a:cubicBezTo>
                  <a:cubicBezTo>
                    <a:pt x="105400" y="145647"/>
                    <a:pt x="87130" y="146349"/>
                    <a:pt x="63942" y="173051"/>
                  </a:cubicBezTo>
                  <a:cubicBezTo>
                    <a:pt x="56213" y="182185"/>
                    <a:pt x="49889" y="196941"/>
                    <a:pt x="33728" y="190617"/>
                  </a:cubicBezTo>
                  <a:cubicBezTo>
                    <a:pt x="16864" y="184293"/>
                    <a:pt x="2108" y="172348"/>
                    <a:pt x="1405" y="153376"/>
                  </a:cubicBezTo>
                  <a:cubicBezTo>
                    <a:pt x="0" y="106298"/>
                    <a:pt x="703" y="58516"/>
                    <a:pt x="0" y="10735"/>
                  </a:cubicBezTo>
                  <a:cubicBezTo>
                    <a:pt x="0" y="195"/>
                    <a:pt x="6324" y="-508"/>
                    <a:pt x="14053" y="195"/>
                  </a:cubicBezTo>
                  <a:cubicBezTo>
                    <a:pt x="56916" y="195"/>
                    <a:pt x="99778" y="195"/>
                    <a:pt x="142641" y="195"/>
                  </a:cubicBezTo>
                  <a:cubicBezTo>
                    <a:pt x="158802" y="195"/>
                    <a:pt x="170045" y="7925"/>
                    <a:pt x="179882" y="19870"/>
                  </a:cubicBezTo>
                  <a:cubicBezTo>
                    <a:pt x="192530" y="34626"/>
                    <a:pt x="193935" y="47976"/>
                    <a:pt x="176369" y="61327"/>
                  </a:cubicBezTo>
                  <a:cubicBezTo>
                    <a:pt x="162315" y="71867"/>
                    <a:pt x="144046" y="83109"/>
                    <a:pt x="151775" y="104892"/>
                  </a:cubicBezTo>
                  <a:cubicBezTo>
                    <a:pt x="160910" y="129485"/>
                    <a:pt x="177071" y="146349"/>
                    <a:pt x="205881" y="148457"/>
                  </a:cubicBezTo>
                  <a:cubicBezTo>
                    <a:pt x="231879" y="150565"/>
                    <a:pt x="256472" y="149863"/>
                    <a:pt x="275444" y="127377"/>
                  </a:cubicBezTo>
                  <a:cubicBezTo>
                    <a:pt x="296524" y="102784"/>
                    <a:pt x="295822" y="88028"/>
                    <a:pt x="271228" y="66948"/>
                  </a:cubicBezTo>
                  <a:cubicBezTo>
                    <a:pt x="260688" y="57814"/>
                    <a:pt x="243824" y="51490"/>
                    <a:pt x="252256" y="32518"/>
                  </a:cubicBezTo>
                  <a:cubicBezTo>
                    <a:pt x="259986" y="14951"/>
                    <a:pt x="273336" y="1601"/>
                    <a:pt x="293011" y="898"/>
                  </a:cubicBezTo>
                  <a:cubicBezTo>
                    <a:pt x="337981" y="-508"/>
                    <a:pt x="382249" y="898"/>
                    <a:pt x="427220" y="195"/>
                  </a:cubicBezTo>
                  <a:cubicBezTo>
                    <a:pt x="439165" y="195"/>
                    <a:pt x="440570" y="6519"/>
                    <a:pt x="440570" y="15654"/>
                  </a:cubicBezTo>
                  <a:cubicBezTo>
                    <a:pt x="440570" y="58516"/>
                    <a:pt x="440570" y="101379"/>
                    <a:pt x="440570" y="144241"/>
                  </a:cubicBezTo>
                  <a:cubicBezTo>
                    <a:pt x="440570" y="166024"/>
                    <a:pt x="428625" y="180780"/>
                    <a:pt x="410356" y="189212"/>
                  </a:cubicBezTo>
                  <a:cubicBezTo>
                    <a:pt x="390681" y="198347"/>
                    <a:pt x="383655" y="180077"/>
                    <a:pt x="373817" y="169537"/>
                  </a:cubicBezTo>
                  <a:cubicBezTo>
                    <a:pt x="354143" y="147755"/>
                    <a:pt x="340089" y="146349"/>
                    <a:pt x="317604" y="164619"/>
                  </a:cubicBezTo>
                  <a:cubicBezTo>
                    <a:pt x="283876" y="192022"/>
                    <a:pt x="282471" y="249641"/>
                    <a:pt x="314793" y="277747"/>
                  </a:cubicBezTo>
                  <a:cubicBezTo>
                    <a:pt x="338684" y="298125"/>
                    <a:pt x="353440" y="296719"/>
                    <a:pt x="375223" y="273531"/>
                  </a:cubicBezTo>
                  <a:cubicBezTo>
                    <a:pt x="383655" y="264397"/>
                    <a:pt x="388573" y="246830"/>
                    <a:pt x="406842" y="253857"/>
                  </a:cubicBezTo>
                  <a:cubicBezTo>
                    <a:pt x="425814" y="260884"/>
                    <a:pt x="439868" y="274234"/>
                    <a:pt x="440570" y="296017"/>
                  </a:cubicBezTo>
                  <a:cubicBezTo>
                    <a:pt x="441273" y="340987"/>
                    <a:pt x="440570" y="385255"/>
                    <a:pt x="441273" y="430226"/>
                  </a:cubicBezTo>
                  <a:cubicBezTo>
                    <a:pt x="441273" y="448495"/>
                    <a:pt x="429328" y="442171"/>
                    <a:pt x="420896" y="442873"/>
                  </a:cubicBezTo>
                  <a:cubicBezTo>
                    <a:pt x="356251" y="441468"/>
                    <a:pt x="289498" y="441468"/>
                    <a:pt x="222744" y="44146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35B4354-F4BD-4BAC-BB6C-2039E51418B2}"/>
                </a:ext>
              </a:extLst>
            </p:cNvPr>
            <p:cNvSpPr/>
            <p:nvPr userDrawn="1"/>
          </p:nvSpPr>
          <p:spPr>
            <a:xfrm rot="10800000">
              <a:off x="9581096" y="-9527"/>
              <a:ext cx="1030193" cy="618117"/>
            </a:xfrm>
            <a:custGeom>
              <a:avLst/>
              <a:gdLst>
                <a:gd name="connsiteX0" fmla="*/ 370725 w 737797"/>
                <a:gd name="connsiteY0" fmla="*/ 441321 h 442678"/>
                <a:gd name="connsiteX1" fmla="*/ 178898 w 737797"/>
                <a:gd name="connsiteY1" fmla="*/ 442023 h 442678"/>
                <a:gd name="connsiteX2" fmla="*/ 148684 w 737797"/>
                <a:gd name="connsiteY2" fmla="*/ 413214 h 442678"/>
                <a:gd name="connsiteX3" fmla="*/ 149386 w 737797"/>
                <a:gd name="connsiteY3" fmla="*/ 303599 h 442678"/>
                <a:gd name="connsiteX4" fmla="*/ 138846 w 737797"/>
                <a:gd name="connsiteY4" fmla="*/ 274087 h 442678"/>
                <a:gd name="connsiteX5" fmla="*/ 110037 w 737797"/>
                <a:gd name="connsiteY5" fmla="*/ 274790 h 442678"/>
                <a:gd name="connsiteX6" fmla="*/ 55230 w 737797"/>
                <a:gd name="connsiteY6" fmla="*/ 301491 h 442678"/>
                <a:gd name="connsiteX7" fmla="*/ 2530 w 737797"/>
                <a:gd name="connsiteY7" fmla="*/ 243872 h 442678"/>
                <a:gd name="connsiteX8" fmla="*/ 40473 w 737797"/>
                <a:gd name="connsiteY8" fmla="*/ 146905 h 442678"/>
                <a:gd name="connsiteX9" fmla="*/ 105119 w 737797"/>
                <a:gd name="connsiteY9" fmla="*/ 160255 h 442678"/>
                <a:gd name="connsiteX10" fmla="*/ 127604 w 737797"/>
                <a:gd name="connsiteY10" fmla="*/ 175714 h 442678"/>
                <a:gd name="connsiteX11" fmla="*/ 149386 w 737797"/>
                <a:gd name="connsiteY11" fmla="*/ 143391 h 442678"/>
                <a:gd name="connsiteX12" fmla="*/ 148684 w 737797"/>
                <a:gd name="connsiteY12" fmla="*/ 23236 h 442678"/>
                <a:gd name="connsiteX13" fmla="*/ 170466 w 737797"/>
                <a:gd name="connsiteY13" fmla="*/ 48 h 442678"/>
                <a:gd name="connsiteX14" fmla="*/ 290622 w 737797"/>
                <a:gd name="connsiteY14" fmla="*/ 751 h 442678"/>
                <a:gd name="connsiteX15" fmla="*/ 330673 w 737797"/>
                <a:gd name="connsiteY15" fmla="*/ 19722 h 442678"/>
                <a:gd name="connsiteX16" fmla="*/ 327160 w 737797"/>
                <a:gd name="connsiteY16" fmla="*/ 59072 h 442678"/>
                <a:gd name="connsiteX17" fmla="*/ 301864 w 737797"/>
                <a:gd name="connsiteY17" fmla="*/ 105447 h 442678"/>
                <a:gd name="connsiteX18" fmla="*/ 357375 w 737797"/>
                <a:gd name="connsiteY18" fmla="*/ 148310 h 442678"/>
                <a:gd name="connsiteX19" fmla="*/ 419209 w 737797"/>
                <a:gd name="connsiteY19" fmla="*/ 132851 h 442678"/>
                <a:gd name="connsiteX20" fmla="*/ 419209 w 737797"/>
                <a:gd name="connsiteY20" fmla="*/ 63287 h 442678"/>
                <a:gd name="connsiteX21" fmla="*/ 401643 w 737797"/>
                <a:gd name="connsiteY21" fmla="*/ 35884 h 442678"/>
                <a:gd name="connsiteX22" fmla="*/ 437478 w 737797"/>
                <a:gd name="connsiteY22" fmla="*/ 2156 h 442678"/>
                <a:gd name="connsiteX23" fmla="*/ 582228 w 737797"/>
                <a:gd name="connsiteY23" fmla="*/ 751 h 442678"/>
                <a:gd name="connsiteX24" fmla="*/ 591362 w 737797"/>
                <a:gd name="connsiteY24" fmla="*/ 19020 h 442678"/>
                <a:gd name="connsiteX25" fmla="*/ 591362 w 737797"/>
                <a:gd name="connsiteY25" fmla="*/ 134257 h 442678"/>
                <a:gd name="connsiteX26" fmla="*/ 596983 w 737797"/>
                <a:gd name="connsiteY26" fmla="*/ 160255 h 442678"/>
                <a:gd name="connsiteX27" fmla="*/ 634224 w 737797"/>
                <a:gd name="connsiteY27" fmla="*/ 164471 h 442678"/>
                <a:gd name="connsiteX28" fmla="*/ 722760 w 737797"/>
                <a:gd name="connsiteY28" fmla="*/ 165174 h 442678"/>
                <a:gd name="connsiteX29" fmla="*/ 695356 w 737797"/>
                <a:gd name="connsiteY29" fmla="*/ 298680 h 442678"/>
                <a:gd name="connsiteX30" fmla="*/ 637035 w 737797"/>
                <a:gd name="connsiteY30" fmla="*/ 283221 h 442678"/>
                <a:gd name="connsiteX31" fmla="*/ 613144 w 737797"/>
                <a:gd name="connsiteY31" fmla="*/ 267060 h 442678"/>
                <a:gd name="connsiteX32" fmla="*/ 591362 w 737797"/>
                <a:gd name="connsiteY32" fmla="*/ 302193 h 442678"/>
                <a:gd name="connsiteX33" fmla="*/ 592065 w 737797"/>
                <a:gd name="connsiteY33" fmla="*/ 420241 h 442678"/>
                <a:gd name="connsiteX34" fmla="*/ 570282 w 737797"/>
                <a:gd name="connsiteY34" fmla="*/ 442726 h 442678"/>
                <a:gd name="connsiteX35" fmla="*/ 370725 w 737797"/>
                <a:gd name="connsiteY35" fmla="*/ 441321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37797" h="442678">
                  <a:moveTo>
                    <a:pt x="370725" y="441321"/>
                  </a:moveTo>
                  <a:cubicBezTo>
                    <a:pt x="306783" y="441321"/>
                    <a:pt x="242840" y="440618"/>
                    <a:pt x="178898" y="442023"/>
                  </a:cubicBezTo>
                  <a:cubicBezTo>
                    <a:pt x="155710" y="442726"/>
                    <a:pt x="146576" y="438510"/>
                    <a:pt x="148684" y="413214"/>
                  </a:cubicBezTo>
                  <a:cubicBezTo>
                    <a:pt x="151494" y="376676"/>
                    <a:pt x="149386" y="340137"/>
                    <a:pt x="149386" y="303599"/>
                  </a:cubicBezTo>
                  <a:cubicBezTo>
                    <a:pt x="149386" y="292356"/>
                    <a:pt x="147981" y="282519"/>
                    <a:pt x="138846" y="274087"/>
                  </a:cubicBezTo>
                  <a:cubicBezTo>
                    <a:pt x="128306" y="264250"/>
                    <a:pt x="119874" y="260736"/>
                    <a:pt x="110037" y="274790"/>
                  </a:cubicBezTo>
                  <a:cubicBezTo>
                    <a:pt x="96686" y="293761"/>
                    <a:pt x="79823" y="309923"/>
                    <a:pt x="55230" y="301491"/>
                  </a:cubicBezTo>
                  <a:cubicBezTo>
                    <a:pt x="28528" y="292356"/>
                    <a:pt x="8853" y="274087"/>
                    <a:pt x="2530" y="243872"/>
                  </a:cubicBezTo>
                  <a:cubicBezTo>
                    <a:pt x="-5902" y="201010"/>
                    <a:pt x="6746" y="166579"/>
                    <a:pt x="40473" y="146905"/>
                  </a:cubicBezTo>
                  <a:cubicBezTo>
                    <a:pt x="65067" y="132148"/>
                    <a:pt x="82633" y="136365"/>
                    <a:pt x="105119" y="160255"/>
                  </a:cubicBezTo>
                  <a:cubicBezTo>
                    <a:pt x="111443" y="167282"/>
                    <a:pt x="114956" y="181335"/>
                    <a:pt x="127604" y="175714"/>
                  </a:cubicBezTo>
                  <a:cubicBezTo>
                    <a:pt x="140252" y="170092"/>
                    <a:pt x="149386" y="159552"/>
                    <a:pt x="149386" y="143391"/>
                  </a:cubicBezTo>
                  <a:cubicBezTo>
                    <a:pt x="149386" y="103339"/>
                    <a:pt x="150089" y="63287"/>
                    <a:pt x="148684" y="23236"/>
                  </a:cubicBezTo>
                  <a:cubicBezTo>
                    <a:pt x="147981" y="6372"/>
                    <a:pt x="150792" y="-655"/>
                    <a:pt x="170466" y="48"/>
                  </a:cubicBezTo>
                  <a:cubicBezTo>
                    <a:pt x="210518" y="2156"/>
                    <a:pt x="250570" y="751"/>
                    <a:pt x="290622" y="751"/>
                  </a:cubicBezTo>
                  <a:cubicBezTo>
                    <a:pt x="307486" y="751"/>
                    <a:pt x="320836" y="7074"/>
                    <a:pt x="330673" y="19722"/>
                  </a:cubicBezTo>
                  <a:cubicBezTo>
                    <a:pt x="341916" y="33775"/>
                    <a:pt x="344024" y="46424"/>
                    <a:pt x="327160" y="59072"/>
                  </a:cubicBezTo>
                  <a:cubicBezTo>
                    <a:pt x="312404" y="70314"/>
                    <a:pt x="292730" y="82259"/>
                    <a:pt x="301864" y="105447"/>
                  </a:cubicBezTo>
                  <a:cubicBezTo>
                    <a:pt x="311702" y="129338"/>
                    <a:pt x="329268" y="146202"/>
                    <a:pt x="357375" y="148310"/>
                  </a:cubicBezTo>
                  <a:cubicBezTo>
                    <a:pt x="379860" y="150418"/>
                    <a:pt x="400940" y="149013"/>
                    <a:pt x="419209" y="132851"/>
                  </a:cubicBezTo>
                  <a:cubicBezTo>
                    <a:pt x="448018" y="106150"/>
                    <a:pt x="448018" y="89286"/>
                    <a:pt x="419209" y="63287"/>
                  </a:cubicBezTo>
                  <a:cubicBezTo>
                    <a:pt x="410777" y="56261"/>
                    <a:pt x="396724" y="50640"/>
                    <a:pt x="401643" y="35884"/>
                  </a:cubicBezTo>
                  <a:cubicBezTo>
                    <a:pt x="407264" y="19020"/>
                    <a:pt x="418506" y="2859"/>
                    <a:pt x="437478" y="2156"/>
                  </a:cubicBezTo>
                  <a:cubicBezTo>
                    <a:pt x="485962" y="48"/>
                    <a:pt x="534446" y="751"/>
                    <a:pt x="582228" y="751"/>
                  </a:cubicBezTo>
                  <a:cubicBezTo>
                    <a:pt x="596983" y="751"/>
                    <a:pt x="591362" y="11993"/>
                    <a:pt x="591362" y="19020"/>
                  </a:cubicBezTo>
                  <a:cubicBezTo>
                    <a:pt x="592065" y="57666"/>
                    <a:pt x="591362" y="95610"/>
                    <a:pt x="591362" y="134257"/>
                  </a:cubicBezTo>
                  <a:cubicBezTo>
                    <a:pt x="591362" y="143391"/>
                    <a:pt x="592065" y="152526"/>
                    <a:pt x="596983" y="160255"/>
                  </a:cubicBezTo>
                  <a:cubicBezTo>
                    <a:pt x="608929" y="179930"/>
                    <a:pt x="618766" y="180632"/>
                    <a:pt x="634224" y="164471"/>
                  </a:cubicBezTo>
                  <a:cubicBezTo>
                    <a:pt x="665142" y="130041"/>
                    <a:pt x="692545" y="130743"/>
                    <a:pt x="722760" y="165174"/>
                  </a:cubicBezTo>
                  <a:cubicBezTo>
                    <a:pt x="758596" y="205928"/>
                    <a:pt x="743840" y="274790"/>
                    <a:pt x="695356" y="298680"/>
                  </a:cubicBezTo>
                  <a:cubicBezTo>
                    <a:pt x="671465" y="310625"/>
                    <a:pt x="653899" y="300788"/>
                    <a:pt x="637035" y="283221"/>
                  </a:cubicBezTo>
                  <a:cubicBezTo>
                    <a:pt x="630711" y="276195"/>
                    <a:pt x="627901" y="260033"/>
                    <a:pt x="613144" y="267060"/>
                  </a:cubicBezTo>
                  <a:cubicBezTo>
                    <a:pt x="599794" y="273384"/>
                    <a:pt x="591362" y="285330"/>
                    <a:pt x="591362" y="302193"/>
                  </a:cubicBezTo>
                  <a:cubicBezTo>
                    <a:pt x="591362" y="341543"/>
                    <a:pt x="590659" y="380892"/>
                    <a:pt x="592065" y="420241"/>
                  </a:cubicBezTo>
                  <a:cubicBezTo>
                    <a:pt x="592767" y="437807"/>
                    <a:pt x="588551" y="443429"/>
                    <a:pt x="570282" y="442726"/>
                  </a:cubicBezTo>
                  <a:cubicBezTo>
                    <a:pt x="504232" y="440618"/>
                    <a:pt x="437478" y="441321"/>
                    <a:pt x="370725" y="441321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9F044CA-26C8-4025-B8AE-5927F8873A01}"/>
                </a:ext>
              </a:extLst>
            </p:cNvPr>
            <p:cNvSpPr/>
            <p:nvPr userDrawn="1"/>
          </p:nvSpPr>
          <p:spPr>
            <a:xfrm rot="20646057">
              <a:off x="8156275" y="77241"/>
              <a:ext cx="835945" cy="626959"/>
            </a:xfrm>
            <a:custGeom>
              <a:avLst/>
              <a:gdLst>
                <a:gd name="connsiteX0" fmla="*/ 371948 w 590237"/>
                <a:gd name="connsiteY0" fmla="*/ 1405 h 442678"/>
                <a:gd name="connsiteX1" fmla="*/ 569397 w 590237"/>
                <a:gd name="connsiteY1" fmla="*/ 1405 h 442678"/>
                <a:gd name="connsiteX2" fmla="*/ 592584 w 590237"/>
                <a:gd name="connsiteY2" fmla="*/ 23188 h 442678"/>
                <a:gd name="connsiteX3" fmla="*/ 592584 w 590237"/>
                <a:gd name="connsiteY3" fmla="*/ 140533 h 442678"/>
                <a:gd name="connsiteX4" fmla="*/ 575018 w 590237"/>
                <a:gd name="connsiteY4" fmla="*/ 181287 h 442678"/>
                <a:gd name="connsiteX5" fmla="*/ 531453 w 590237"/>
                <a:gd name="connsiteY5" fmla="*/ 178477 h 442678"/>
                <a:gd name="connsiteX6" fmla="*/ 447836 w 590237"/>
                <a:gd name="connsiteY6" fmla="*/ 194638 h 442678"/>
                <a:gd name="connsiteX7" fmla="*/ 467510 w 590237"/>
                <a:gd name="connsiteY7" fmla="*/ 279660 h 442678"/>
                <a:gd name="connsiteX8" fmla="*/ 526534 w 590237"/>
                <a:gd name="connsiteY8" fmla="*/ 275444 h 442678"/>
                <a:gd name="connsiteX9" fmla="*/ 560262 w 590237"/>
                <a:gd name="connsiteY9" fmla="*/ 255067 h 442678"/>
                <a:gd name="connsiteX10" fmla="*/ 592584 w 590237"/>
                <a:gd name="connsiteY10" fmla="*/ 301443 h 442678"/>
                <a:gd name="connsiteX11" fmla="*/ 593287 w 590237"/>
                <a:gd name="connsiteY11" fmla="*/ 427220 h 442678"/>
                <a:gd name="connsiteX12" fmla="*/ 574315 w 590237"/>
                <a:gd name="connsiteY12" fmla="*/ 444786 h 442678"/>
                <a:gd name="connsiteX13" fmla="*/ 451349 w 590237"/>
                <a:gd name="connsiteY13" fmla="*/ 444786 h 442678"/>
                <a:gd name="connsiteX14" fmla="*/ 409892 w 590237"/>
                <a:gd name="connsiteY14" fmla="*/ 422301 h 442678"/>
                <a:gd name="connsiteX15" fmla="*/ 414108 w 590237"/>
                <a:gd name="connsiteY15" fmla="*/ 385060 h 442678"/>
                <a:gd name="connsiteX16" fmla="*/ 438701 w 590237"/>
                <a:gd name="connsiteY16" fmla="*/ 335873 h 442678"/>
                <a:gd name="connsiteX17" fmla="*/ 378975 w 590237"/>
                <a:gd name="connsiteY17" fmla="*/ 295821 h 442678"/>
                <a:gd name="connsiteX18" fmla="*/ 315032 w 590237"/>
                <a:gd name="connsiteY18" fmla="*/ 319010 h 442678"/>
                <a:gd name="connsiteX19" fmla="*/ 319248 w 590237"/>
                <a:gd name="connsiteY19" fmla="*/ 377331 h 442678"/>
                <a:gd name="connsiteX20" fmla="*/ 338923 w 590237"/>
                <a:gd name="connsiteY20" fmla="*/ 411761 h 442678"/>
                <a:gd name="connsiteX21" fmla="*/ 292547 w 590237"/>
                <a:gd name="connsiteY21" fmla="*/ 444084 h 442678"/>
                <a:gd name="connsiteX22" fmla="*/ 169581 w 590237"/>
                <a:gd name="connsiteY22" fmla="*/ 444786 h 442678"/>
                <a:gd name="connsiteX23" fmla="*/ 149203 w 590237"/>
                <a:gd name="connsiteY23" fmla="*/ 422301 h 442678"/>
                <a:gd name="connsiteX24" fmla="*/ 149203 w 590237"/>
                <a:gd name="connsiteY24" fmla="*/ 307064 h 442678"/>
                <a:gd name="connsiteX25" fmla="*/ 143582 w 590237"/>
                <a:gd name="connsiteY25" fmla="*/ 281066 h 442678"/>
                <a:gd name="connsiteX26" fmla="*/ 107746 w 590237"/>
                <a:gd name="connsiteY26" fmla="*/ 278958 h 442678"/>
                <a:gd name="connsiteX27" fmla="*/ 19913 w 590237"/>
                <a:gd name="connsiteY27" fmla="*/ 278958 h 442678"/>
                <a:gd name="connsiteX28" fmla="*/ 33966 w 590237"/>
                <a:gd name="connsiteY28" fmla="*/ 152478 h 442678"/>
                <a:gd name="connsiteX29" fmla="*/ 103530 w 590237"/>
                <a:gd name="connsiteY29" fmla="*/ 158802 h 442678"/>
                <a:gd name="connsiteX30" fmla="*/ 129529 w 590237"/>
                <a:gd name="connsiteY30" fmla="*/ 175666 h 442678"/>
                <a:gd name="connsiteX31" fmla="*/ 149203 w 590237"/>
                <a:gd name="connsiteY31" fmla="*/ 139830 h 442678"/>
                <a:gd name="connsiteX32" fmla="*/ 148501 w 590237"/>
                <a:gd name="connsiteY32" fmla="*/ 24593 h 442678"/>
                <a:gd name="connsiteX33" fmla="*/ 172391 w 590237"/>
                <a:gd name="connsiteY33" fmla="*/ 0 h 442678"/>
                <a:gd name="connsiteX34" fmla="*/ 371948 w 590237"/>
                <a:gd name="connsiteY34" fmla="*/ 140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90237" h="442678">
                  <a:moveTo>
                    <a:pt x="371948" y="1405"/>
                  </a:moveTo>
                  <a:cubicBezTo>
                    <a:pt x="437998" y="1405"/>
                    <a:pt x="503346" y="2108"/>
                    <a:pt x="569397" y="1405"/>
                  </a:cubicBezTo>
                  <a:cubicBezTo>
                    <a:pt x="585558" y="1405"/>
                    <a:pt x="593990" y="3513"/>
                    <a:pt x="592584" y="23188"/>
                  </a:cubicBezTo>
                  <a:cubicBezTo>
                    <a:pt x="591179" y="62537"/>
                    <a:pt x="591882" y="101886"/>
                    <a:pt x="592584" y="140533"/>
                  </a:cubicBezTo>
                  <a:cubicBezTo>
                    <a:pt x="592584" y="157397"/>
                    <a:pt x="586963" y="170747"/>
                    <a:pt x="575018" y="181287"/>
                  </a:cubicBezTo>
                  <a:cubicBezTo>
                    <a:pt x="559559" y="195340"/>
                    <a:pt x="546208" y="196043"/>
                    <a:pt x="531453" y="178477"/>
                  </a:cubicBezTo>
                  <a:cubicBezTo>
                    <a:pt x="501238" y="141938"/>
                    <a:pt x="463997" y="150370"/>
                    <a:pt x="447836" y="194638"/>
                  </a:cubicBezTo>
                  <a:cubicBezTo>
                    <a:pt x="436593" y="226258"/>
                    <a:pt x="444322" y="259283"/>
                    <a:pt x="467510" y="279660"/>
                  </a:cubicBezTo>
                  <a:cubicBezTo>
                    <a:pt x="489995" y="298632"/>
                    <a:pt x="506157" y="297227"/>
                    <a:pt x="526534" y="275444"/>
                  </a:cubicBezTo>
                  <a:cubicBezTo>
                    <a:pt x="535669" y="265607"/>
                    <a:pt x="541290" y="246635"/>
                    <a:pt x="560262" y="255067"/>
                  </a:cubicBezTo>
                  <a:cubicBezTo>
                    <a:pt x="579936" y="263499"/>
                    <a:pt x="592584" y="278255"/>
                    <a:pt x="592584" y="301443"/>
                  </a:cubicBezTo>
                  <a:cubicBezTo>
                    <a:pt x="592584" y="343603"/>
                    <a:pt x="591882" y="385763"/>
                    <a:pt x="593287" y="427220"/>
                  </a:cubicBezTo>
                  <a:cubicBezTo>
                    <a:pt x="593990" y="442678"/>
                    <a:pt x="587666" y="444786"/>
                    <a:pt x="574315" y="444786"/>
                  </a:cubicBezTo>
                  <a:cubicBezTo>
                    <a:pt x="533561" y="444084"/>
                    <a:pt x="492103" y="444084"/>
                    <a:pt x="451349" y="444786"/>
                  </a:cubicBezTo>
                  <a:cubicBezTo>
                    <a:pt x="433080" y="444786"/>
                    <a:pt x="420432" y="436354"/>
                    <a:pt x="409892" y="422301"/>
                  </a:cubicBezTo>
                  <a:cubicBezTo>
                    <a:pt x="399352" y="408248"/>
                    <a:pt x="399352" y="396303"/>
                    <a:pt x="414108" y="385060"/>
                  </a:cubicBezTo>
                  <a:cubicBezTo>
                    <a:pt x="430269" y="373114"/>
                    <a:pt x="449241" y="360467"/>
                    <a:pt x="438701" y="335873"/>
                  </a:cubicBezTo>
                  <a:cubicBezTo>
                    <a:pt x="427458" y="311280"/>
                    <a:pt x="408486" y="295821"/>
                    <a:pt x="378975" y="295821"/>
                  </a:cubicBezTo>
                  <a:cubicBezTo>
                    <a:pt x="354381" y="295821"/>
                    <a:pt x="331896" y="297930"/>
                    <a:pt x="315032" y="319010"/>
                  </a:cubicBezTo>
                  <a:cubicBezTo>
                    <a:pt x="296060" y="342197"/>
                    <a:pt x="297465" y="356953"/>
                    <a:pt x="319248" y="377331"/>
                  </a:cubicBezTo>
                  <a:cubicBezTo>
                    <a:pt x="329085" y="386465"/>
                    <a:pt x="347355" y="393492"/>
                    <a:pt x="338923" y="411761"/>
                  </a:cubicBezTo>
                  <a:cubicBezTo>
                    <a:pt x="330491" y="430733"/>
                    <a:pt x="315735" y="444084"/>
                    <a:pt x="292547" y="444084"/>
                  </a:cubicBezTo>
                  <a:cubicBezTo>
                    <a:pt x="251792" y="444084"/>
                    <a:pt x="210335" y="442678"/>
                    <a:pt x="169581" y="444786"/>
                  </a:cubicBezTo>
                  <a:cubicBezTo>
                    <a:pt x="151311" y="445489"/>
                    <a:pt x="149203" y="437760"/>
                    <a:pt x="149203" y="422301"/>
                  </a:cubicBezTo>
                  <a:cubicBezTo>
                    <a:pt x="149906" y="383654"/>
                    <a:pt x="149906" y="345711"/>
                    <a:pt x="149203" y="307064"/>
                  </a:cubicBezTo>
                  <a:cubicBezTo>
                    <a:pt x="149203" y="297930"/>
                    <a:pt x="149906" y="288795"/>
                    <a:pt x="143582" y="281066"/>
                  </a:cubicBezTo>
                  <a:cubicBezTo>
                    <a:pt x="132339" y="267715"/>
                    <a:pt x="123205" y="259986"/>
                    <a:pt x="107746" y="278958"/>
                  </a:cubicBezTo>
                  <a:cubicBezTo>
                    <a:pt x="78234" y="315496"/>
                    <a:pt x="50830" y="314091"/>
                    <a:pt x="19913" y="278958"/>
                  </a:cubicBezTo>
                  <a:cubicBezTo>
                    <a:pt x="-11707" y="243122"/>
                    <a:pt x="-4680" y="181287"/>
                    <a:pt x="33966" y="152478"/>
                  </a:cubicBezTo>
                  <a:cubicBezTo>
                    <a:pt x="60668" y="132804"/>
                    <a:pt x="80342" y="134912"/>
                    <a:pt x="103530" y="158802"/>
                  </a:cubicBezTo>
                  <a:cubicBezTo>
                    <a:pt x="110557" y="165829"/>
                    <a:pt x="112665" y="184098"/>
                    <a:pt x="129529" y="175666"/>
                  </a:cubicBezTo>
                  <a:cubicBezTo>
                    <a:pt x="143582" y="168639"/>
                    <a:pt x="149203" y="155991"/>
                    <a:pt x="149203" y="139830"/>
                  </a:cubicBezTo>
                  <a:cubicBezTo>
                    <a:pt x="148501" y="101184"/>
                    <a:pt x="149906" y="63240"/>
                    <a:pt x="148501" y="24593"/>
                  </a:cubicBezTo>
                  <a:cubicBezTo>
                    <a:pt x="147798" y="5621"/>
                    <a:pt x="152717" y="0"/>
                    <a:pt x="172391" y="0"/>
                  </a:cubicBezTo>
                  <a:cubicBezTo>
                    <a:pt x="238442" y="2108"/>
                    <a:pt x="305195" y="1405"/>
                    <a:pt x="371948" y="1405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9A409B0-296B-4B89-9D7C-6D33D28B05C5}"/>
                </a:ext>
              </a:extLst>
            </p:cNvPr>
            <p:cNvSpPr/>
            <p:nvPr userDrawn="1"/>
          </p:nvSpPr>
          <p:spPr>
            <a:xfrm>
              <a:off x="9787090" y="380752"/>
              <a:ext cx="600368" cy="800490"/>
            </a:xfrm>
            <a:custGeom>
              <a:avLst/>
              <a:gdLst>
                <a:gd name="connsiteX0" fmla="*/ 222808 w 442678"/>
                <a:gd name="connsiteY0" fmla="*/ 592910 h 590237"/>
                <a:gd name="connsiteX1" fmla="*/ 22549 w 442678"/>
                <a:gd name="connsiteY1" fmla="*/ 593613 h 590237"/>
                <a:gd name="connsiteX2" fmla="*/ 64 w 442678"/>
                <a:gd name="connsiteY2" fmla="*/ 570425 h 590237"/>
                <a:gd name="connsiteX3" fmla="*/ 64 w 442678"/>
                <a:gd name="connsiteY3" fmla="*/ 457998 h 590237"/>
                <a:gd name="connsiteX4" fmla="*/ 15523 w 442678"/>
                <a:gd name="connsiteY4" fmla="*/ 415839 h 590237"/>
                <a:gd name="connsiteX5" fmla="*/ 62601 w 442678"/>
                <a:gd name="connsiteY5" fmla="*/ 417947 h 590237"/>
                <a:gd name="connsiteX6" fmla="*/ 104761 w 442678"/>
                <a:gd name="connsiteY6" fmla="*/ 440432 h 590237"/>
                <a:gd name="connsiteX7" fmla="*/ 147624 w 442678"/>
                <a:gd name="connsiteY7" fmla="*/ 391245 h 590237"/>
                <a:gd name="connsiteX8" fmla="*/ 127246 w 442678"/>
                <a:gd name="connsiteY8" fmla="*/ 316061 h 590237"/>
                <a:gd name="connsiteX9" fmla="*/ 66817 w 442678"/>
                <a:gd name="connsiteY9" fmla="*/ 319574 h 590237"/>
                <a:gd name="connsiteX10" fmla="*/ 35900 w 442678"/>
                <a:gd name="connsiteY10" fmla="*/ 339249 h 590237"/>
                <a:gd name="connsiteX11" fmla="*/ 1469 w 442678"/>
                <a:gd name="connsiteY11" fmla="*/ 297791 h 590237"/>
                <a:gd name="connsiteX12" fmla="*/ 767 w 442678"/>
                <a:gd name="connsiteY12" fmla="*/ 163583 h 590237"/>
                <a:gd name="connsiteX13" fmla="*/ 19036 w 442678"/>
                <a:gd name="connsiteY13" fmla="*/ 150934 h 590237"/>
                <a:gd name="connsiteX14" fmla="*/ 137084 w 442678"/>
                <a:gd name="connsiteY14" fmla="*/ 150934 h 590237"/>
                <a:gd name="connsiteX15" fmla="*/ 165190 w 442678"/>
                <a:gd name="connsiteY15" fmla="*/ 143205 h 590237"/>
                <a:gd name="connsiteX16" fmla="*/ 166595 w 442678"/>
                <a:gd name="connsiteY16" fmla="*/ 107369 h 590237"/>
                <a:gd name="connsiteX17" fmla="*/ 163785 w 442678"/>
                <a:gd name="connsiteY17" fmla="*/ 22347 h 590237"/>
                <a:gd name="connsiteX18" fmla="*/ 290967 w 442678"/>
                <a:gd name="connsiteY18" fmla="*/ 30779 h 590237"/>
                <a:gd name="connsiteX19" fmla="*/ 286048 w 442678"/>
                <a:gd name="connsiteY19" fmla="*/ 104559 h 590237"/>
                <a:gd name="connsiteX20" fmla="*/ 270590 w 442678"/>
                <a:gd name="connsiteY20" fmla="*/ 129152 h 590237"/>
                <a:gd name="connsiteX21" fmla="*/ 303615 w 442678"/>
                <a:gd name="connsiteY21" fmla="*/ 150232 h 590237"/>
                <a:gd name="connsiteX22" fmla="*/ 421662 w 442678"/>
                <a:gd name="connsiteY22" fmla="*/ 149529 h 590237"/>
                <a:gd name="connsiteX23" fmla="*/ 446256 w 442678"/>
                <a:gd name="connsiteY23" fmla="*/ 175528 h 590237"/>
                <a:gd name="connsiteX24" fmla="*/ 446256 w 442678"/>
                <a:gd name="connsiteY24" fmla="*/ 287954 h 590237"/>
                <a:gd name="connsiteX25" fmla="*/ 428689 w 442678"/>
                <a:gd name="connsiteY25" fmla="*/ 329411 h 590237"/>
                <a:gd name="connsiteX26" fmla="*/ 385827 w 442678"/>
                <a:gd name="connsiteY26" fmla="*/ 327303 h 590237"/>
                <a:gd name="connsiteX27" fmla="*/ 342261 w 442678"/>
                <a:gd name="connsiteY27" fmla="*/ 303412 h 590237"/>
                <a:gd name="connsiteX28" fmla="*/ 298696 w 442678"/>
                <a:gd name="connsiteY28" fmla="*/ 357518 h 590237"/>
                <a:gd name="connsiteX29" fmla="*/ 318371 w 442678"/>
                <a:gd name="connsiteY29" fmla="*/ 425676 h 590237"/>
                <a:gd name="connsiteX30" fmla="*/ 380908 w 442678"/>
                <a:gd name="connsiteY30" fmla="*/ 422865 h 590237"/>
                <a:gd name="connsiteX31" fmla="*/ 415338 w 442678"/>
                <a:gd name="connsiteY31" fmla="*/ 404596 h 590237"/>
                <a:gd name="connsiteX32" fmla="*/ 446256 w 442678"/>
                <a:gd name="connsiteY32" fmla="*/ 446054 h 590237"/>
                <a:gd name="connsiteX33" fmla="*/ 446958 w 442678"/>
                <a:gd name="connsiteY33" fmla="*/ 577451 h 590237"/>
                <a:gd name="connsiteX34" fmla="*/ 425878 w 442678"/>
                <a:gd name="connsiteY34" fmla="*/ 592910 h 590237"/>
                <a:gd name="connsiteX35" fmla="*/ 222808 w 442678"/>
                <a:gd name="connsiteY35" fmla="*/ 59291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222808" y="592910"/>
                  </a:moveTo>
                  <a:cubicBezTo>
                    <a:pt x="156055" y="592910"/>
                    <a:pt x="89302" y="592208"/>
                    <a:pt x="22549" y="593613"/>
                  </a:cubicBezTo>
                  <a:cubicBezTo>
                    <a:pt x="4280" y="593613"/>
                    <a:pt x="-639" y="588694"/>
                    <a:pt x="64" y="570425"/>
                  </a:cubicBezTo>
                  <a:cubicBezTo>
                    <a:pt x="1469" y="533184"/>
                    <a:pt x="767" y="495240"/>
                    <a:pt x="64" y="457998"/>
                  </a:cubicBezTo>
                  <a:cubicBezTo>
                    <a:pt x="64" y="441837"/>
                    <a:pt x="3577" y="427784"/>
                    <a:pt x="15523" y="415839"/>
                  </a:cubicBezTo>
                  <a:cubicBezTo>
                    <a:pt x="33792" y="397570"/>
                    <a:pt x="45035" y="397570"/>
                    <a:pt x="62601" y="417947"/>
                  </a:cubicBezTo>
                  <a:cubicBezTo>
                    <a:pt x="73844" y="431297"/>
                    <a:pt x="85086" y="448161"/>
                    <a:pt x="104761" y="440432"/>
                  </a:cubicBezTo>
                  <a:cubicBezTo>
                    <a:pt x="126544" y="432000"/>
                    <a:pt x="144813" y="417244"/>
                    <a:pt x="147624" y="391245"/>
                  </a:cubicBezTo>
                  <a:cubicBezTo>
                    <a:pt x="150434" y="363842"/>
                    <a:pt x="152542" y="336438"/>
                    <a:pt x="127246" y="316061"/>
                  </a:cubicBezTo>
                  <a:cubicBezTo>
                    <a:pt x="102653" y="295683"/>
                    <a:pt x="87897" y="296386"/>
                    <a:pt x="66817" y="319574"/>
                  </a:cubicBezTo>
                  <a:cubicBezTo>
                    <a:pt x="58385" y="328709"/>
                    <a:pt x="54169" y="345572"/>
                    <a:pt x="35900" y="339249"/>
                  </a:cubicBezTo>
                  <a:cubicBezTo>
                    <a:pt x="15523" y="332222"/>
                    <a:pt x="2172" y="318169"/>
                    <a:pt x="1469" y="297791"/>
                  </a:cubicBezTo>
                  <a:cubicBezTo>
                    <a:pt x="-639" y="252821"/>
                    <a:pt x="1469" y="208553"/>
                    <a:pt x="767" y="163583"/>
                  </a:cubicBezTo>
                  <a:cubicBezTo>
                    <a:pt x="767" y="148827"/>
                    <a:pt x="9901" y="150934"/>
                    <a:pt x="19036" y="150934"/>
                  </a:cubicBezTo>
                  <a:cubicBezTo>
                    <a:pt x="58385" y="150934"/>
                    <a:pt x="97734" y="150934"/>
                    <a:pt x="137084" y="150934"/>
                  </a:cubicBezTo>
                  <a:cubicBezTo>
                    <a:pt x="147624" y="150934"/>
                    <a:pt x="157461" y="150232"/>
                    <a:pt x="165190" y="143205"/>
                  </a:cubicBezTo>
                  <a:cubicBezTo>
                    <a:pt x="178541" y="131963"/>
                    <a:pt x="185567" y="122828"/>
                    <a:pt x="166595" y="107369"/>
                  </a:cubicBezTo>
                  <a:cubicBezTo>
                    <a:pt x="132165" y="80668"/>
                    <a:pt x="132165" y="53264"/>
                    <a:pt x="163785" y="22347"/>
                  </a:cubicBezTo>
                  <a:cubicBezTo>
                    <a:pt x="197513" y="-10678"/>
                    <a:pt x="260752" y="-6462"/>
                    <a:pt x="290967" y="30779"/>
                  </a:cubicBezTo>
                  <a:cubicBezTo>
                    <a:pt x="314155" y="58885"/>
                    <a:pt x="312047" y="79263"/>
                    <a:pt x="286048" y="104559"/>
                  </a:cubicBezTo>
                  <a:cubicBezTo>
                    <a:pt x="279022" y="111585"/>
                    <a:pt x="263563" y="115099"/>
                    <a:pt x="270590" y="129152"/>
                  </a:cubicBezTo>
                  <a:cubicBezTo>
                    <a:pt x="276914" y="141800"/>
                    <a:pt x="288156" y="150232"/>
                    <a:pt x="303615" y="150232"/>
                  </a:cubicBezTo>
                  <a:cubicBezTo>
                    <a:pt x="342964" y="150232"/>
                    <a:pt x="382313" y="151637"/>
                    <a:pt x="421662" y="149529"/>
                  </a:cubicBezTo>
                  <a:cubicBezTo>
                    <a:pt x="443445" y="148124"/>
                    <a:pt x="446958" y="155853"/>
                    <a:pt x="446256" y="175528"/>
                  </a:cubicBezTo>
                  <a:cubicBezTo>
                    <a:pt x="444850" y="212769"/>
                    <a:pt x="445553" y="250713"/>
                    <a:pt x="446256" y="287954"/>
                  </a:cubicBezTo>
                  <a:cubicBezTo>
                    <a:pt x="446256" y="304818"/>
                    <a:pt x="441337" y="318169"/>
                    <a:pt x="428689" y="329411"/>
                  </a:cubicBezTo>
                  <a:cubicBezTo>
                    <a:pt x="413933" y="342059"/>
                    <a:pt x="399880" y="346275"/>
                    <a:pt x="385827" y="327303"/>
                  </a:cubicBezTo>
                  <a:cubicBezTo>
                    <a:pt x="375287" y="313250"/>
                    <a:pt x="364044" y="295683"/>
                    <a:pt x="342261" y="303412"/>
                  </a:cubicBezTo>
                  <a:cubicBezTo>
                    <a:pt x="316965" y="312547"/>
                    <a:pt x="300804" y="330114"/>
                    <a:pt x="298696" y="357518"/>
                  </a:cubicBezTo>
                  <a:cubicBezTo>
                    <a:pt x="296588" y="382814"/>
                    <a:pt x="297994" y="406704"/>
                    <a:pt x="318371" y="425676"/>
                  </a:cubicBezTo>
                  <a:cubicBezTo>
                    <a:pt x="342964" y="448161"/>
                    <a:pt x="358423" y="447459"/>
                    <a:pt x="380908" y="422865"/>
                  </a:cubicBezTo>
                  <a:cubicBezTo>
                    <a:pt x="390043" y="412325"/>
                    <a:pt x="397069" y="395462"/>
                    <a:pt x="415338" y="404596"/>
                  </a:cubicBezTo>
                  <a:cubicBezTo>
                    <a:pt x="432202" y="413028"/>
                    <a:pt x="445553" y="425676"/>
                    <a:pt x="446256" y="446054"/>
                  </a:cubicBezTo>
                  <a:cubicBezTo>
                    <a:pt x="446958" y="489618"/>
                    <a:pt x="445553" y="533887"/>
                    <a:pt x="446958" y="577451"/>
                  </a:cubicBezTo>
                  <a:cubicBezTo>
                    <a:pt x="447661" y="595721"/>
                    <a:pt x="436418" y="592910"/>
                    <a:pt x="425878" y="592910"/>
                  </a:cubicBezTo>
                  <a:cubicBezTo>
                    <a:pt x="355612" y="592910"/>
                    <a:pt x="288859" y="592910"/>
                    <a:pt x="222808" y="59291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EA6B1E6-EC20-40A3-9183-7BA4FBA826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11390" y="339509"/>
            <a:ext cx="10485335" cy="72424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5400" b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5A765EE-046F-4F83-991A-54F7A2CE70F0}"/>
              </a:ext>
            </a:extLst>
          </p:cNvPr>
          <p:cNvGrpSpPr/>
          <p:nvPr userDrawn="1"/>
        </p:nvGrpSpPr>
        <p:grpSpPr>
          <a:xfrm flipH="1">
            <a:off x="0" y="0"/>
            <a:ext cx="1208773" cy="1190767"/>
            <a:chOff x="11145152" y="142875"/>
            <a:chExt cx="1208773" cy="1190767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8194489-42E0-4A6B-9402-D9FF18333A41}"/>
                </a:ext>
              </a:extLst>
            </p:cNvPr>
            <p:cNvSpPr/>
            <p:nvPr userDrawn="1"/>
          </p:nvSpPr>
          <p:spPr>
            <a:xfrm>
              <a:off x="11753557" y="142875"/>
              <a:ext cx="600368" cy="800490"/>
            </a:xfrm>
            <a:custGeom>
              <a:avLst/>
              <a:gdLst>
                <a:gd name="connsiteX0" fmla="*/ 220672 w 442678"/>
                <a:gd name="connsiteY0" fmla="*/ 1219 h 590237"/>
                <a:gd name="connsiteX1" fmla="*/ 420228 w 442678"/>
                <a:gd name="connsiteY1" fmla="*/ 516 h 590237"/>
                <a:gd name="connsiteX2" fmla="*/ 443416 w 442678"/>
                <a:gd name="connsiteY2" fmla="*/ 23002 h 590237"/>
                <a:gd name="connsiteX3" fmla="*/ 443416 w 442678"/>
                <a:gd name="connsiteY3" fmla="*/ 420007 h 590237"/>
                <a:gd name="connsiteX4" fmla="*/ 419526 w 442678"/>
                <a:gd name="connsiteY4" fmla="*/ 443897 h 590237"/>
                <a:gd name="connsiteX5" fmla="*/ 304289 w 442678"/>
                <a:gd name="connsiteY5" fmla="*/ 443194 h 590237"/>
                <a:gd name="connsiteX6" fmla="*/ 274777 w 442678"/>
                <a:gd name="connsiteY6" fmla="*/ 453734 h 590237"/>
                <a:gd name="connsiteX7" fmla="*/ 275480 w 442678"/>
                <a:gd name="connsiteY7" fmla="*/ 481841 h 590237"/>
                <a:gd name="connsiteX8" fmla="*/ 302181 w 442678"/>
                <a:gd name="connsiteY8" fmla="*/ 536649 h 590237"/>
                <a:gd name="connsiteX9" fmla="*/ 244562 w 442678"/>
                <a:gd name="connsiteY9" fmla="*/ 589349 h 590237"/>
                <a:gd name="connsiteX10" fmla="*/ 147595 w 442678"/>
                <a:gd name="connsiteY10" fmla="*/ 552107 h 590237"/>
                <a:gd name="connsiteX11" fmla="*/ 160243 w 442678"/>
                <a:gd name="connsiteY11" fmla="*/ 487462 h 590237"/>
                <a:gd name="connsiteX12" fmla="*/ 175701 w 442678"/>
                <a:gd name="connsiteY12" fmla="*/ 464977 h 590237"/>
                <a:gd name="connsiteX13" fmla="*/ 144081 w 442678"/>
                <a:gd name="connsiteY13" fmla="*/ 443194 h 590237"/>
                <a:gd name="connsiteX14" fmla="*/ 23926 w 442678"/>
                <a:gd name="connsiteY14" fmla="*/ 443897 h 590237"/>
                <a:gd name="connsiteX15" fmla="*/ 35 w 442678"/>
                <a:gd name="connsiteY15" fmla="*/ 419304 h 590237"/>
                <a:gd name="connsiteX16" fmla="*/ 35 w 442678"/>
                <a:gd name="connsiteY16" fmla="*/ 301959 h 590237"/>
                <a:gd name="connsiteX17" fmla="*/ 25331 w 442678"/>
                <a:gd name="connsiteY17" fmla="*/ 256989 h 590237"/>
                <a:gd name="connsiteX18" fmla="*/ 54843 w 442678"/>
                <a:gd name="connsiteY18" fmla="*/ 259799 h 590237"/>
                <a:gd name="connsiteX19" fmla="*/ 129325 w 442678"/>
                <a:gd name="connsiteY19" fmla="*/ 273852 h 590237"/>
                <a:gd name="connsiteX20" fmla="*/ 132839 w 442678"/>
                <a:gd name="connsiteY20" fmla="*/ 174074 h 590237"/>
                <a:gd name="connsiteX21" fmla="*/ 63275 w 442678"/>
                <a:gd name="connsiteY21" fmla="*/ 172669 h 590237"/>
                <a:gd name="connsiteX22" fmla="*/ 36574 w 442678"/>
                <a:gd name="connsiteY22" fmla="*/ 190938 h 590237"/>
                <a:gd name="connsiteX23" fmla="*/ 2143 w 442678"/>
                <a:gd name="connsiteY23" fmla="*/ 155805 h 590237"/>
                <a:gd name="connsiteX24" fmla="*/ 738 w 442678"/>
                <a:gd name="connsiteY24" fmla="*/ 11056 h 590237"/>
                <a:gd name="connsiteX25" fmla="*/ 21115 w 442678"/>
                <a:gd name="connsiteY25" fmla="*/ 1219 h 590237"/>
                <a:gd name="connsiteX26" fmla="*/ 220672 w 442678"/>
                <a:gd name="connsiteY26" fmla="*/ 1219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42678" h="590237">
                  <a:moveTo>
                    <a:pt x="220672" y="1219"/>
                  </a:moveTo>
                  <a:cubicBezTo>
                    <a:pt x="287425" y="1219"/>
                    <a:pt x="354178" y="1922"/>
                    <a:pt x="420228" y="516"/>
                  </a:cubicBezTo>
                  <a:cubicBezTo>
                    <a:pt x="437795" y="516"/>
                    <a:pt x="443416" y="4732"/>
                    <a:pt x="443416" y="23002"/>
                  </a:cubicBezTo>
                  <a:cubicBezTo>
                    <a:pt x="442714" y="155102"/>
                    <a:pt x="442714" y="287906"/>
                    <a:pt x="443416" y="420007"/>
                  </a:cubicBezTo>
                  <a:cubicBezTo>
                    <a:pt x="443416" y="438978"/>
                    <a:pt x="438498" y="444600"/>
                    <a:pt x="419526" y="443897"/>
                  </a:cubicBezTo>
                  <a:cubicBezTo>
                    <a:pt x="381582" y="442492"/>
                    <a:pt x="342935" y="443194"/>
                    <a:pt x="304289" y="443194"/>
                  </a:cubicBezTo>
                  <a:cubicBezTo>
                    <a:pt x="293046" y="443194"/>
                    <a:pt x="283209" y="444600"/>
                    <a:pt x="274777" y="453734"/>
                  </a:cubicBezTo>
                  <a:cubicBezTo>
                    <a:pt x="264940" y="463572"/>
                    <a:pt x="261426" y="472004"/>
                    <a:pt x="275480" y="481841"/>
                  </a:cubicBezTo>
                  <a:cubicBezTo>
                    <a:pt x="294451" y="494489"/>
                    <a:pt x="310613" y="511353"/>
                    <a:pt x="302181" y="536649"/>
                  </a:cubicBezTo>
                  <a:cubicBezTo>
                    <a:pt x="293046" y="564053"/>
                    <a:pt x="274777" y="583025"/>
                    <a:pt x="244562" y="589349"/>
                  </a:cubicBezTo>
                  <a:cubicBezTo>
                    <a:pt x="200997" y="597781"/>
                    <a:pt x="167269" y="585133"/>
                    <a:pt x="147595" y="552107"/>
                  </a:cubicBezTo>
                  <a:cubicBezTo>
                    <a:pt x="132136" y="526811"/>
                    <a:pt x="136352" y="509948"/>
                    <a:pt x="160243" y="487462"/>
                  </a:cubicBezTo>
                  <a:cubicBezTo>
                    <a:pt x="167269" y="481138"/>
                    <a:pt x="181323" y="478328"/>
                    <a:pt x="175701" y="464977"/>
                  </a:cubicBezTo>
                  <a:cubicBezTo>
                    <a:pt x="170080" y="452329"/>
                    <a:pt x="159540" y="443194"/>
                    <a:pt x="144081" y="443194"/>
                  </a:cubicBezTo>
                  <a:cubicBezTo>
                    <a:pt x="104030" y="443194"/>
                    <a:pt x="63978" y="441789"/>
                    <a:pt x="23926" y="443897"/>
                  </a:cubicBezTo>
                  <a:cubicBezTo>
                    <a:pt x="4251" y="444600"/>
                    <a:pt x="35" y="438276"/>
                    <a:pt x="35" y="419304"/>
                  </a:cubicBezTo>
                  <a:cubicBezTo>
                    <a:pt x="1441" y="379955"/>
                    <a:pt x="738" y="340605"/>
                    <a:pt x="35" y="301959"/>
                  </a:cubicBezTo>
                  <a:cubicBezTo>
                    <a:pt x="-667" y="281582"/>
                    <a:pt x="9170" y="267528"/>
                    <a:pt x="25331" y="256989"/>
                  </a:cubicBezTo>
                  <a:cubicBezTo>
                    <a:pt x="35871" y="249962"/>
                    <a:pt x="45006" y="250665"/>
                    <a:pt x="54843" y="259799"/>
                  </a:cubicBezTo>
                  <a:cubicBezTo>
                    <a:pt x="94895" y="297743"/>
                    <a:pt x="103327" y="299148"/>
                    <a:pt x="129325" y="273852"/>
                  </a:cubicBezTo>
                  <a:cubicBezTo>
                    <a:pt x="153919" y="249259"/>
                    <a:pt x="156027" y="200073"/>
                    <a:pt x="132839" y="174074"/>
                  </a:cubicBezTo>
                  <a:cubicBezTo>
                    <a:pt x="107543" y="144562"/>
                    <a:pt x="87868" y="144562"/>
                    <a:pt x="63275" y="172669"/>
                  </a:cubicBezTo>
                  <a:cubicBezTo>
                    <a:pt x="56248" y="181101"/>
                    <a:pt x="50627" y="195154"/>
                    <a:pt x="36574" y="190938"/>
                  </a:cubicBezTo>
                  <a:cubicBezTo>
                    <a:pt x="19007" y="186019"/>
                    <a:pt x="2846" y="174074"/>
                    <a:pt x="2143" y="155805"/>
                  </a:cubicBezTo>
                  <a:cubicBezTo>
                    <a:pt x="-667" y="107321"/>
                    <a:pt x="738" y="58837"/>
                    <a:pt x="738" y="11056"/>
                  </a:cubicBezTo>
                  <a:cubicBezTo>
                    <a:pt x="738" y="-5105"/>
                    <a:pt x="13386" y="1219"/>
                    <a:pt x="21115" y="1219"/>
                  </a:cubicBezTo>
                  <a:cubicBezTo>
                    <a:pt x="87868" y="1219"/>
                    <a:pt x="153919" y="1219"/>
                    <a:pt x="220672" y="121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6735CDF-7438-4048-931E-D7764B136954}"/>
                </a:ext>
              </a:extLst>
            </p:cNvPr>
            <p:cNvSpPr/>
            <p:nvPr userDrawn="1"/>
          </p:nvSpPr>
          <p:spPr>
            <a:xfrm>
              <a:off x="11145152" y="142875"/>
              <a:ext cx="800490" cy="600368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FDCC810-5D35-4DBB-B573-A7FB80065456}"/>
                </a:ext>
              </a:extLst>
            </p:cNvPr>
            <p:cNvSpPr/>
            <p:nvPr userDrawn="1"/>
          </p:nvSpPr>
          <p:spPr>
            <a:xfrm>
              <a:off x="11553436" y="733275"/>
              <a:ext cx="800489" cy="600367"/>
            </a:xfrm>
            <a:custGeom>
              <a:avLst/>
              <a:gdLst>
                <a:gd name="connsiteX0" fmla="*/ 591733 w 590237"/>
                <a:gd name="connsiteY0" fmla="*/ 225014 h 442678"/>
                <a:gd name="connsiteX1" fmla="*/ 592436 w 590237"/>
                <a:gd name="connsiteY1" fmla="*/ 425273 h 442678"/>
                <a:gd name="connsiteX2" fmla="*/ 572761 w 590237"/>
                <a:gd name="connsiteY2" fmla="*/ 444948 h 442678"/>
                <a:gd name="connsiteX3" fmla="*/ 170135 w 590237"/>
                <a:gd name="connsiteY3" fmla="*/ 444948 h 442678"/>
                <a:gd name="connsiteX4" fmla="*/ 149758 w 590237"/>
                <a:gd name="connsiteY4" fmla="*/ 423165 h 442678"/>
                <a:gd name="connsiteX5" fmla="*/ 150460 w 590237"/>
                <a:gd name="connsiteY5" fmla="*/ 313549 h 442678"/>
                <a:gd name="connsiteX6" fmla="*/ 145542 w 590237"/>
                <a:gd name="connsiteY6" fmla="*/ 284038 h 442678"/>
                <a:gd name="connsiteX7" fmla="*/ 108300 w 590237"/>
                <a:gd name="connsiteY7" fmla="*/ 279822 h 442678"/>
                <a:gd name="connsiteX8" fmla="*/ 21170 w 590237"/>
                <a:gd name="connsiteY8" fmla="*/ 281227 h 442678"/>
                <a:gd name="connsiteX9" fmla="*/ 42953 w 590237"/>
                <a:gd name="connsiteY9" fmla="*/ 147018 h 442678"/>
                <a:gd name="connsiteX10" fmla="*/ 103382 w 590237"/>
                <a:gd name="connsiteY10" fmla="*/ 160369 h 442678"/>
                <a:gd name="connsiteX11" fmla="*/ 127272 w 590237"/>
                <a:gd name="connsiteY11" fmla="*/ 177233 h 442678"/>
                <a:gd name="connsiteX12" fmla="*/ 149758 w 590237"/>
                <a:gd name="connsiteY12" fmla="*/ 142802 h 442678"/>
                <a:gd name="connsiteX13" fmla="*/ 149758 w 590237"/>
                <a:gd name="connsiteY13" fmla="*/ 24755 h 442678"/>
                <a:gd name="connsiteX14" fmla="*/ 172946 w 590237"/>
                <a:gd name="connsiteY14" fmla="*/ 162 h 442678"/>
                <a:gd name="connsiteX15" fmla="*/ 288182 w 590237"/>
                <a:gd name="connsiteY15" fmla="*/ 864 h 442678"/>
                <a:gd name="connsiteX16" fmla="*/ 328937 w 590237"/>
                <a:gd name="connsiteY16" fmla="*/ 19134 h 442678"/>
                <a:gd name="connsiteX17" fmla="*/ 326126 w 590237"/>
                <a:gd name="connsiteY17" fmla="*/ 62699 h 442678"/>
                <a:gd name="connsiteX18" fmla="*/ 302938 w 590237"/>
                <a:gd name="connsiteY18" fmla="*/ 106967 h 442678"/>
                <a:gd name="connsiteX19" fmla="*/ 357746 w 590237"/>
                <a:gd name="connsiteY19" fmla="*/ 149829 h 442678"/>
                <a:gd name="connsiteX20" fmla="*/ 432228 w 590237"/>
                <a:gd name="connsiteY20" fmla="*/ 121020 h 442678"/>
                <a:gd name="connsiteX21" fmla="*/ 423797 w 590237"/>
                <a:gd name="connsiteY21" fmla="*/ 69023 h 442678"/>
                <a:gd name="connsiteX22" fmla="*/ 402717 w 590237"/>
                <a:gd name="connsiteY22" fmla="*/ 35997 h 442678"/>
                <a:gd name="connsiteX23" fmla="*/ 444877 w 590237"/>
                <a:gd name="connsiteY23" fmla="*/ 2269 h 442678"/>
                <a:gd name="connsiteX24" fmla="*/ 579085 w 590237"/>
                <a:gd name="connsiteY24" fmla="*/ 1567 h 442678"/>
                <a:gd name="connsiteX25" fmla="*/ 591031 w 590237"/>
                <a:gd name="connsiteY25" fmla="*/ 19836 h 442678"/>
                <a:gd name="connsiteX26" fmla="*/ 591733 w 590237"/>
                <a:gd name="connsiteY26" fmla="*/ 225014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0237" h="442678">
                  <a:moveTo>
                    <a:pt x="591733" y="225014"/>
                  </a:moveTo>
                  <a:cubicBezTo>
                    <a:pt x="591733" y="291767"/>
                    <a:pt x="591031" y="358520"/>
                    <a:pt x="592436" y="425273"/>
                  </a:cubicBezTo>
                  <a:cubicBezTo>
                    <a:pt x="592436" y="440732"/>
                    <a:pt x="588923" y="444948"/>
                    <a:pt x="572761" y="444948"/>
                  </a:cubicBezTo>
                  <a:cubicBezTo>
                    <a:pt x="438552" y="444245"/>
                    <a:pt x="304344" y="444245"/>
                    <a:pt x="170135" y="444948"/>
                  </a:cubicBezTo>
                  <a:cubicBezTo>
                    <a:pt x="151866" y="444948"/>
                    <a:pt x="149758" y="438624"/>
                    <a:pt x="149758" y="423165"/>
                  </a:cubicBezTo>
                  <a:cubicBezTo>
                    <a:pt x="150460" y="386627"/>
                    <a:pt x="149758" y="350088"/>
                    <a:pt x="150460" y="313549"/>
                  </a:cubicBezTo>
                  <a:cubicBezTo>
                    <a:pt x="150460" y="303712"/>
                    <a:pt x="150460" y="293172"/>
                    <a:pt x="145542" y="284038"/>
                  </a:cubicBezTo>
                  <a:cubicBezTo>
                    <a:pt x="135002" y="265066"/>
                    <a:pt x="122354" y="263661"/>
                    <a:pt x="108300" y="279822"/>
                  </a:cubicBezTo>
                  <a:cubicBezTo>
                    <a:pt x="78086" y="314252"/>
                    <a:pt x="52087" y="314955"/>
                    <a:pt x="21170" y="281227"/>
                  </a:cubicBezTo>
                  <a:cubicBezTo>
                    <a:pt x="-14666" y="242581"/>
                    <a:pt x="-3423" y="172314"/>
                    <a:pt x="42953" y="147018"/>
                  </a:cubicBezTo>
                  <a:cubicBezTo>
                    <a:pt x="67546" y="133668"/>
                    <a:pt x="85815" y="141397"/>
                    <a:pt x="103382" y="160369"/>
                  </a:cubicBezTo>
                  <a:cubicBezTo>
                    <a:pt x="109706" y="167395"/>
                    <a:pt x="113219" y="182854"/>
                    <a:pt x="127272" y="177233"/>
                  </a:cubicBezTo>
                  <a:cubicBezTo>
                    <a:pt x="142028" y="171612"/>
                    <a:pt x="149758" y="158963"/>
                    <a:pt x="149758" y="142802"/>
                  </a:cubicBezTo>
                  <a:cubicBezTo>
                    <a:pt x="149758" y="103453"/>
                    <a:pt x="150460" y="64104"/>
                    <a:pt x="149758" y="24755"/>
                  </a:cubicBezTo>
                  <a:cubicBezTo>
                    <a:pt x="149055" y="6486"/>
                    <a:pt x="152568" y="-1244"/>
                    <a:pt x="172946" y="162"/>
                  </a:cubicBezTo>
                  <a:cubicBezTo>
                    <a:pt x="210889" y="2269"/>
                    <a:pt x="249536" y="864"/>
                    <a:pt x="288182" y="864"/>
                  </a:cubicBezTo>
                  <a:cubicBezTo>
                    <a:pt x="305046" y="864"/>
                    <a:pt x="318397" y="6486"/>
                    <a:pt x="328937" y="19134"/>
                  </a:cubicBezTo>
                  <a:cubicBezTo>
                    <a:pt x="342990" y="34592"/>
                    <a:pt x="345098" y="48646"/>
                    <a:pt x="326126" y="62699"/>
                  </a:cubicBezTo>
                  <a:cubicBezTo>
                    <a:pt x="312073" y="73239"/>
                    <a:pt x="293804" y="85184"/>
                    <a:pt x="302938" y="106967"/>
                  </a:cubicBezTo>
                  <a:cubicBezTo>
                    <a:pt x="312775" y="130857"/>
                    <a:pt x="328937" y="147721"/>
                    <a:pt x="357746" y="149829"/>
                  </a:cubicBezTo>
                  <a:cubicBezTo>
                    <a:pt x="387258" y="151234"/>
                    <a:pt x="413959" y="149126"/>
                    <a:pt x="432228" y="121020"/>
                  </a:cubicBezTo>
                  <a:cubicBezTo>
                    <a:pt x="446282" y="99940"/>
                    <a:pt x="441363" y="84481"/>
                    <a:pt x="423797" y="69023"/>
                  </a:cubicBezTo>
                  <a:cubicBezTo>
                    <a:pt x="413959" y="60590"/>
                    <a:pt x="395690" y="55672"/>
                    <a:pt x="402717" y="35997"/>
                  </a:cubicBezTo>
                  <a:cubicBezTo>
                    <a:pt x="409743" y="16323"/>
                    <a:pt x="424499" y="2972"/>
                    <a:pt x="444877" y="2269"/>
                  </a:cubicBezTo>
                  <a:cubicBezTo>
                    <a:pt x="489847" y="864"/>
                    <a:pt x="534115" y="2269"/>
                    <a:pt x="579085" y="1567"/>
                  </a:cubicBezTo>
                  <a:cubicBezTo>
                    <a:pt x="595246" y="1567"/>
                    <a:pt x="591031" y="12107"/>
                    <a:pt x="591031" y="19836"/>
                  </a:cubicBezTo>
                  <a:cubicBezTo>
                    <a:pt x="591733" y="87995"/>
                    <a:pt x="591733" y="156856"/>
                    <a:pt x="591733" y="22501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34636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090B2-0048-45A8-A736-3EBE379DFA5C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F9CD-A97E-400E-A063-4DCA89081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1298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F50C1E-B3F3-43A8-8E1C-01F73987E56E}"/>
              </a:ext>
            </a:extLst>
          </p:cNvPr>
          <p:cNvSpPr/>
          <p:nvPr userDrawn="1"/>
        </p:nvSpPr>
        <p:spPr>
          <a:xfrm>
            <a:off x="0" y="3084042"/>
            <a:ext cx="12192000" cy="18722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grpSp>
        <p:nvGrpSpPr>
          <p:cNvPr id="3" name="Group 6">
            <a:extLst>
              <a:ext uri="{FF2B5EF4-FFF2-40B4-BE49-F238E27FC236}">
                <a16:creationId xmlns:a16="http://schemas.microsoft.com/office/drawing/2014/main" id="{776D112B-8EE8-4C21-B5D6-4C21D62B70D7}"/>
              </a:ext>
            </a:extLst>
          </p:cNvPr>
          <p:cNvGrpSpPr/>
          <p:nvPr userDrawn="1"/>
        </p:nvGrpSpPr>
        <p:grpSpPr>
          <a:xfrm>
            <a:off x="4834321" y="1764570"/>
            <a:ext cx="2523358" cy="4435934"/>
            <a:chOff x="445712" y="1449040"/>
            <a:chExt cx="2113018" cy="3924176"/>
          </a:xfrm>
        </p:grpSpPr>
        <p:sp>
          <p:nvSpPr>
            <p:cNvPr id="4" name="Rounded Rectangle 7">
              <a:extLst>
                <a:ext uri="{FF2B5EF4-FFF2-40B4-BE49-F238E27FC236}">
                  <a16:creationId xmlns:a16="http://schemas.microsoft.com/office/drawing/2014/main" id="{BA6B82E1-F594-4584-9F94-9D241E49507F}"/>
                </a:ext>
              </a:extLst>
            </p:cNvPr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" name="Rectangle 8">
              <a:extLst>
                <a:ext uri="{FF2B5EF4-FFF2-40B4-BE49-F238E27FC236}">
                  <a16:creationId xmlns:a16="http://schemas.microsoft.com/office/drawing/2014/main" id="{FEA0CE4B-4DC9-4106-B5AF-E58B8BDEF1D9}"/>
                </a:ext>
              </a:extLst>
            </p:cNvPr>
            <p:cNvSpPr/>
            <p:nvPr userDrawn="1"/>
          </p:nvSpPr>
          <p:spPr>
            <a:xfrm>
              <a:off x="1379920" y="1650572"/>
              <a:ext cx="216024" cy="34350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grpSp>
          <p:nvGrpSpPr>
            <p:cNvPr id="6" name="Group 10">
              <a:extLst>
                <a:ext uri="{FF2B5EF4-FFF2-40B4-BE49-F238E27FC236}">
                  <a16:creationId xmlns:a16="http://schemas.microsoft.com/office/drawing/2014/main" id="{2584B741-9E13-4CA2-BD50-2351DD4434B8}"/>
                </a:ext>
              </a:extLst>
            </p:cNvPr>
            <p:cNvGrpSpPr/>
            <p:nvPr userDrawn="1"/>
          </p:nvGrpSpPr>
          <p:grpSpPr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7" name="Oval 11">
                <a:extLst>
                  <a:ext uri="{FF2B5EF4-FFF2-40B4-BE49-F238E27FC236}">
                    <a16:creationId xmlns:a16="http://schemas.microsoft.com/office/drawing/2014/main" id="{6E1EC994-EF7A-4F3C-8387-5BB542B2FADC}"/>
                  </a:ext>
                </a:extLst>
              </p:cNvPr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  <p:sp>
            <p:nvSpPr>
              <p:cNvPr id="8" name="Rounded Rectangle 12">
                <a:extLst>
                  <a:ext uri="{FF2B5EF4-FFF2-40B4-BE49-F238E27FC236}">
                    <a16:creationId xmlns:a16="http://schemas.microsoft.com/office/drawing/2014/main" id="{3DE28F74-3DC5-402C-B26E-062F729FEFB6}"/>
                  </a:ext>
                </a:extLst>
              </p:cNvPr>
              <p:cNvSpPr/>
              <p:nvPr userDrawn="1"/>
            </p:nvSpPr>
            <p:spPr>
              <a:xfrm>
                <a:off x="1634225" y="5796647"/>
                <a:ext cx="142969" cy="144016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</p:grpSp>
      </p:grp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D62B7F0A-2F5F-4AEC-98A4-41CB36715DB5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5012298" y="2151526"/>
            <a:ext cx="2167404" cy="355454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B1074C8-70CE-418F-A865-D9699139E869}"/>
              </a:ext>
            </a:extLst>
          </p:cNvPr>
          <p:cNvGrpSpPr/>
          <p:nvPr userDrawn="1"/>
        </p:nvGrpSpPr>
        <p:grpSpPr>
          <a:xfrm>
            <a:off x="7690813" y="-9527"/>
            <a:ext cx="4510712" cy="1287974"/>
            <a:chOff x="7690813" y="-9527"/>
            <a:chExt cx="4510712" cy="1287974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B02B3BD-9A27-402C-9236-B5F2B2EAEE7F}"/>
                </a:ext>
              </a:extLst>
            </p:cNvPr>
            <p:cNvSpPr/>
            <p:nvPr userDrawn="1"/>
          </p:nvSpPr>
          <p:spPr>
            <a:xfrm rot="9719239">
              <a:off x="8748655" y="451183"/>
              <a:ext cx="1000612" cy="800490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20C36EE-E83D-481E-B88E-A6BFCE8EFAEF}"/>
                </a:ext>
              </a:extLst>
            </p:cNvPr>
            <p:cNvSpPr/>
            <p:nvPr userDrawn="1"/>
          </p:nvSpPr>
          <p:spPr>
            <a:xfrm>
              <a:off x="10392406" y="-9525"/>
              <a:ext cx="800490" cy="800490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3BADD3A-34E8-439E-80E2-BB078955A6D8}"/>
                </a:ext>
              </a:extLst>
            </p:cNvPr>
            <p:cNvSpPr/>
            <p:nvPr userDrawn="1"/>
          </p:nvSpPr>
          <p:spPr>
            <a:xfrm>
              <a:off x="11601157" y="-9525"/>
              <a:ext cx="600368" cy="800490"/>
            </a:xfrm>
            <a:custGeom>
              <a:avLst/>
              <a:gdLst>
                <a:gd name="connsiteX0" fmla="*/ 220672 w 442678"/>
                <a:gd name="connsiteY0" fmla="*/ 1219 h 590237"/>
                <a:gd name="connsiteX1" fmla="*/ 420228 w 442678"/>
                <a:gd name="connsiteY1" fmla="*/ 516 h 590237"/>
                <a:gd name="connsiteX2" fmla="*/ 443416 w 442678"/>
                <a:gd name="connsiteY2" fmla="*/ 23002 h 590237"/>
                <a:gd name="connsiteX3" fmla="*/ 443416 w 442678"/>
                <a:gd name="connsiteY3" fmla="*/ 420007 h 590237"/>
                <a:gd name="connsiteX4" fmla="*/ 419526 w 442678"/>
                <a:gd name="connsiteY4" fmla="*/ 443897 h 590237"/>
                <a:gd name="connsiteX5" fmla="*/ 304289 w 442678"/>
                <a:gd name="connsiteY5" fmla="*/ 443194 h 590237"/>
                <a:gd name="connsiteX6" fmla="*/ 274777 w 442678"/>
                <a:gd name="connsiteY6" fmla="*/ 453734 h 590237"/>
                <a:gd name="connsiteX7" fmla="*/ 275480 w 442678"/>
                <a:gd name="connsiteY7" fmla="*/ 481841 h 590237"/>
                <a:gd name="connsiteX8" fmla="*/ 302181 w 442678"/>
                <a:gd name="connsiteY8" fmla="*/ 536649 h 590237"/>
                <a:gd name="connsiteX9" fmla="*/ 244562 w 442678"/>
                <a:gd name="connsiteY9" fmla="*/ 589349 h 590237"/>
                <a:gd name="connsiteX10" fmla="*/ 147595 w 442678"/>
                <a:gd name="connsiteY10" fmla="*/ 552107 h 590237"/>
                <a:gd name="connsiteX11" fmla="*/ 160243 w 442678"/>
                <a:gd name="connsiteY11" fmla="*/ 487462 h 590237"/>
                <a:gd name="connsiteX12" fmla="*/ 175701 w 442678"/>
                <a:gd name="connsiteY12" fmla="*/ 464977 h 590237"/>
                <a:gd name="connsiteX13" fmla="*/ 144081 w 442678"/>
                <a:gd name="connsiteY13" fmla="*/ 443194 h 590237"/>
                <a:gd name="connsiteX14" fmla="*/ 23926 w 442678"/>
                <a:gd name="connsiteY14" fmla="*/ 443897 h 590237"/>
                <a:gd name="connsiteX15" fmla="*/ 35 w 442678"/>
                <a:gd name="connsiteY15" fmla="*/ 419304 h 590237"/>
                <a:gd name="connsiteX16" fmla="*/ 35 w 442678"/>
                <a:gd name="connsiteY16" fmla="*/ 301959 h 590237"/>
                <a:gd name="connsiteX17" fmla="*/ 25331 w 442678"/>
                <a:gd name="connsiteY17" fmla="*/ 256989 h 590237"/>
                <a:gd name="connsiteX18" fmla="*/ 54843 w 442678"/>
                <a:gd name="connsiteY18" fmla="*/ 259799 h 590237"/>
                <a:gd name="connsiteX19" fmla="*/ 129325 w 442678"/>
                <a:gd name="connsiteY19" fmla="*/ 273852 h 590237"/>
                <a:gd name="connsiteX20" fmla="*/ 132839 w 442678"/>
                <a:gd name="connsiteY20" fmla="*/ 174074 h 590237"/>
                <a:gd name="connsiteX21" fmla="*/ 63275 w 442678"/>
                <a:gd name="connsiteY21" fmla="*/ 172669 h 590237"/>
                <a:gd name="connsiteX22" fmla="*/ 36574 w 442678"/>
                <a:gd name="connsiteY22" fmla="*/ 190938 h 590237"/>
                <a:gd name="connsiteX23" fmla="*/ 2143 w 442678"/>
                <a:gd name="connsiteY23" fmla="*/ 155805 h 590237"/>
                <a:gd name="connsiteX24" fmla="*/ 738 w 442678"/>
                <a:gd name="connsiteY24" fmla="*/ 11056 h 590237"/>
                <a:gd name="connsiteX25" fmla="*/ 21115 w 442678"/>
                <a:gd name="connsiteY25" fmla="*/ 1219 h 590237"/>
                <a:gd name="connsiteX26" fmla="*/ 220672 w 442678"/>
                <a:gd name="connsiteY26" fmla="*/ 1219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42678" h="590237">
                  <a:moveTo>
                    <a:pt x="220672" y="1219"/>
                  </a:moveTo>
                  <a:cubicBezTo>
                    <a:pt x="287425" y="1219"/>
                    <a:pt x="354178" y="1922"/>
                    <a:pt x="420228" y="516"/>
                  </a:cubicBezTo>
                  <a:cubicBezTo>
                    <a:pt x="437795" y="516"/>
                    <a:pt x="443416" y="4732"/>
                    <a:pt x="443416" y="23002"/>
                  </a:cubicBezTo>
                  <a:cubicBezTo>
                    <a:pt x="442714" y="155102"/>
                    <a:pt x="442714" y="287906"/>
                    <a:pt x="443416" y="420007"/>
                  </a:cubicBezTo>
                  <a:cubicBezTo>
                    <a:pt x="443416" y="438978"/>
                    <a:pt x="438498" y="444600"/>
                    <a:pt x="419526" y="443897"/>
                  </a:cubicBezTo>
                  <a:cubicBezTo>
                    <a:pt x="381582" y="442492"/>
                    <a:pt x="342935" y="443194"/>
                    <a:pt x="304289" y="443194"/>
                  </a:cubicBezTo>
                  <a:cubicBezTo>
                    <a:pt x="293046" y="443194"/>
                    <a:pt x="283209" y="444600"/>
                    <a:pt x="274777" y="453734"/>
                  </a:cubicBezTo>
                  <a:cubicBezTo>
                    <a:pt x="264940" y="463572"/>
                    <a:pt x="261426" y="472004"/>
                    <a:pt x="275480" y="481841"/>
                  </a:cubicBezTo>
                  <a:cubicBezTo>
                    <a:pt x="294451" y="494489"/>
                    <a:pt x="310613" y="511353"/>
                    <a:pt x="302181" y="536649"/>
                  </a:cubicBezTo>
                  <a:cubicBezTo>
                    <a:pt x="293046" y="564053"/>
                    <a:pt x="274777" y="583025"/>
                    <a:pt x="244562" y="589349"/>
                  </a:cubicBezTo>
                  <a:cubicBezTo>
                    <a:pt x="200997" y="597781"/>
                    <a:pt x="167269" y="585133"/>
                    <a:pt x="147595" y="552107"/>
                  </a:cubicBezTo>
                  <a:cubicBezTo>
                    <a:pt x="132136" y="526811"/>
                    <a:pt x="136352" y="509948"/>
                    <a:pt x="160243" y="487462"/>
                  </a:cubicBezTo>
                  <a:cubicBezTo>
                    <a:pt x="167269" y="481138"/>
                    <a:pt x="181323" y="478328"/>
                    <a:pt x="175701" y="464977"/>
                  </a:cubicBezTo>
                  <a:cubicBezTo>
                    <a:pt x="170080" y="452329"/>
                    <a:pt x="159540" y="443194"/>
                    <a:pt x="144081" y="443194"/>
                  </a:cubicBezTo>
                  <a:cubicBezTo>
                    <a:pt x="104030" y="443194"/>
                    <a:pt x="63978" y="441789"/>
                    <a:pt x="23926" y="443897"/>
                  </a:cubicBezTo>
                  <a:cubicBezTo>
                    <a:pt x="4251" y="444600"/>
                    <a:pt x="35" y="438276"/>
                    <a:pt x="35" y="419304"/>
                  </a:cubicBezTo>
                  <a:cubicBezTo>
                    <a:pt x="1441" y="379955"/>
                    <a:pt x="738" y="340605"/>
                    <a:pt x="35" y="301959"/>
                  </a:cubicBezTo>
                  <a:cubicBezTo>
                    <a:pt x="-667" y="281582"/>
                    <a:pt x="9170" y="267528"/>
                    <a:pt x="25331" y="256989"/>
                  </a:cubicBezTo>
                  <a:cubicBezTo>
                    <a:pt x="35871" y="249962"/>
                    <a:pt x="45006" y="250665"/>
                    <a:pt x="54843" y="259799"/>
                  </a:cubicBezTo>
                  <a:cubicBezTo>
                    <a:pt x="94895" y="297743"/>
                    <a:pt x="103327" y="299148"/>
                    <a:pt x="129325" y="273852"/>
                  </a:cubicBezTo>
                  <a:cubicBezTo>
                    <a:pt x="153919" y="249259"/>
                    <a:pt x="156027" y="200073"/>
                    <a:pt x="132839" y="174074"/>
                  </a:cubicBezTo>
                  <a:cubicBezTo>
                    <a:pt x="107543" y="144562"/>
                    <a:pt x="87868" y="144562"/>
                    <a:pt x="63275" y="172669"/>
                  </a:cubicBezTo>
                  <a:cubicBezTo>
                    <a:pt x="56248" y="181101"/>
                    <a:pt x="50627" y="195154"/>
                    <a:pt x="36574" y="190938"/>
                  </a:cubicBezTo>
                  <a:cubicBezTo>
                    <a:pt x="19007" y="186019"/>
                    <a:pt x="2846" y="174074"/>
                    <a:pt x="2143" y="155805"/>
                  </a:cubicBezTo>
                  <a:cubicBezTo>
                    <a:pt x="-667" y="107321"/>
                    <a:pt x="738" y="58837"/>
                    <a:pt x="738" y="11056"/>
                  </a:cubicBezTo>
                  <a:cubicBezTo>
                    <a:pt x="738" y="-5105"/>
                    <a:pt x="13386" y="1219"/>
                    <a:pt x="21115" y="1219"/>
                  </a:cubicBezTo>
                  <a:cubicBezTo>
                    <a:pt x="87868" y="1219"/>
                    <a:pt x="153919" y="1219"/>
                    <a:pt x="220672" y="121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EAA573A-3C9C-4C71-A7C9-0FE346E55E5B}"/>
                </a:ext>
              </a:extLst>
            </p:cNvPr>
            <p:cNvSpPr/>
            <p:nvPr userDrawn="1"/>
          </p:nvSpPr>
          <p:spPr>
            <a:xfrm>
              <a:off x="10992752" y="-9525"/>
              <a:ext cx="800490" cy="600368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942BD8B-7182-415A-8EB9-7F32C56CFCA0}"/>
                </a:ext>
              </a:extLst>
            </p:cNvPr>
            <p:cNvSpPr/>
            <p:nvPr userDrawn="1"/>
          </p:nvSpPr>
          <p:spPr>
            <a:xfrm>
              <a:off x="10197806" y="580875"/>
              <a:ext cx="1000612" cy="600368"/>
            </a:xfrm>
            <a:custGeom>
              <a:avLst/>
              <a:gdLst>
                <a:gd name="connsiteX0" fmla="*/ 370725 w 737797"/>
                <a:gd name="connsiteY0" fmla="*/ 441321 h 442678"/>
                <a:gd name="connsiteX1" fmla="*/ 178898 w 737797"/>
                <a:gd name="connsiteY1" fmla="*/ 442023 h 442678"/>
                <a:gd name="connsiteX2" fmla="*/ 148684 w 737797"/>
                <a:gd name="connsiteY2" fmla="*/ 413214 h 442678"/>
                <a:gd name="connsiteX3" fmla="*/ 149386 w 737797"/>
                <a:gd name="connsiteY3" fmla="*/ 303599 h 442678"/>
                <a:gd name="connsiteX4" fmla="*/ 138846 w 737797"/>
                <a:gd name="connsiteY4" fmla="*/ 274087 h 442678"/>
                <a:gd name="connsiteX5" fmla="*/ 110037 w 737797"/>
                <a:gd name="connsiteY5" fmla="*/ 274790 h 442678"/>
                <a:gd name="connsiteX6" fmla="*/ 55230 w 737797"/>
                <a:gd name="connsiteY6" fmla="*/ 301491 h 442678"/>
                <a:gd name="connsiteX7" fmla="*/ 2530 w 737797"/>
                <a:gd name="connsiteY7" fmla="*/ 243872 h 442678"/>
                <a:gd name="connsiteX8" fmla="*/ 40473 w 737797"/>
                <a:gd name="connsiteY8" fmla="*/ 146905 h 442678"/>
                <a:gd name="connsiteX9" fmla="*/ 105119 w 737797"/>
                <a:gd name="connsiteY9" fmla="*/ 160255 h 442678"/>
                <a:gd name="connsiteX10" fmla="*/ 127604 w 737797"/>
                <a:gd name="connsiteY10" fmla="*/ 175714 h 442678"/>
                <a:gd name="connsiteX11" fmla="*/ 149386 w 737797"/>
                <a:gd name="connsiteY11" fmla="*/ 143391 h 442678"/>
                <a:gd name="connsiteX12" fmla="*/ 148684 w 737797"/>
                <a:gd name="connsiteY12" fmla="*/ 23236 h 442678"/>
                <a:gd name="connsiteX13" fmla="*/ 170466 w 737797"/>
                <a:gd name="connsiteY13" fmla="*/ 48 h 442678"/>
                <a:gd name="connsiteX14" fmla="*/ 290622 w 737797"/>
                <a:gd name="connsiteY14" fmla="*/ 751 h 442678"/>
                <a:gd name="connsiteX15" fmla="*/ 330673 w 737797"/>
                <a:gd name="connsiteY15" fmla="*/ 19722 h 442678"/>
                <a:gd name="connsiteX16" fmla="*/ 327160 w 737797"/>
                <a:gd name="connsiteY16" fmla="*/ 59072 h 442678"/>
                <a:gd name="connsiteX17" fmla="*/ 301864 w 737797"/>
                <a:gd name="connsiteY17" fmla="*/ 105447 h 442678"/>
                <a:gd name="connsiteX18" fmla="*/ 357375 w 737797"/>
                <a:gd name="connsiteY18" fmla="*/ 148310 h 442678"/>
                <a:gd name="connsiteX19" fmla="*/ 419209 w 737797"/>
                <a:gd name="connsiteY19" fmla="*/ 132851 h 442678"/>
                <a:gd name="connsiteX20" fmla="*/ 419209 w 737797"/>
                <a:gd name="connsiteY20" fmla="*/ 63287 h 442678"/>
                <a:gd name="connsiteX21" fmla="*/ 401643 w 737797"/>
                <a:gd name="connsiteY21" fmla="*/ 35884 h 442678"/>
                <a:gd name="connsiteX22" fmla="*/ 437478 w 737797"/>
                <a:gd name="connsiteY22" fmla="*/ 2156 h 442678"/>
                <a:gd name="connsiteX23" fmla="*/ 582228 w 737797"/>
                <a:gd name="connsiteY23" fmla="*/ 751 h 442678"/>
                <a:gd name="connsiteX24" fmla="*/ 591362 w 737797"/>
                <a:gd name="connsiteY24" fmla="*/ 19020 h 442678"/>
                <a:gd name="connsiteX25" fmla="*/ 591362 w 737797"/>
                <a:gd name="connsiteY25" fmla="*/ 134257 h 442678"/>
                <a:gd name="connsiteX26" fmla="*/ 596983 w 737797"/>
                <a:gd name="connsiteY26" fmla="*/ 160255 h 442678"/>
                <a:gd name="connsiteX27" fmla="*/ 634224 w 737797"/>
                <a:gd name="connsiteY27" fmla="*/ 164471 h 442678"/>
                <a:gd name="connsiteX28" fmla="*/ 722760 w 737797"/>
                <a:gd name="connsiteY28" fmla="*/ 165174 h 442678"/>
                <a:gd name="connsiteX29" fmla="*/ 695356 w 737797"/>
                <a:gd name="connsiteY29" fmla="*/ 298680 h 442678"/>
                <a:gd name="connsiteX30" fmla="*/ 637035 w 737797"/>
                <a:gd name="connsiteY30" fmla="*/ 283221 h 442678"/>
                <a:gd name="connsiteX31" fmla="*/ 613144 w 737797"/>
                <a:gd name="connsiteY31" fmla="*/ 267060 h 442678"/>
                <a:gd name="connsiteX32" fmla="*/ 591362 w 737797"/>
                <a:gd name="connsiteY32" fmla="*/ 302193 h 442678"/>
                <a:gd name="connsiteX33" fmla="*/ 592065 w 737797"/>
                <a:gd name="connsiteY33" fmla="*/ 420241 h 442678"/>
                <a:gd name="connsiteX34" fmla="*/ 570282 w 737797"/>
                <a:gd name="connsiteY34" fmla="*/ 442726 h 442678"/>
                <a:gd name="connsiteX35" fmla="*/ 370725 w 737797"/>
                <a:gd name="connsiteY35" fmla="*/ 441321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37797" h="442678">
                  <a:moveTo>
                    <a:pt x="370725" y="441321"/>
                  </a:moveTo>
                  <a:cubicBezTo>
                    <a:pt x="306783" y="441321"/>
                    <a:pt x="242840" y="440618"/>
                    <a:pt x="178898" y="442023"/>
                  </a:cubicBezTo>
                  <a:cubicBezTo>
                    <a:pt x="155710" y="442726"/>
                    <a:pt x="146576" y="438510"/>
                    <a:pt x="148684" y="413214"/>
                  </a:cubicBezTo>
                  <a:cubicBezTo>
                    <a:pt x="151494" y="376676"/>
                    <a:pt x="149386" y="340137"/>
                    <a:pt x="149386" y="303599"/>
                  </a:cubicBezTo>
                  <a:cubicBezTo>
                    <a:pt x="149386" y="292356"/>
                    <a:pt x="147981" y="282519"/>
                    <a:pt x="138846" y="274087"/>
                  </a:cubicBezTo>
                  <a:cubicBezTo>
                    <a:pt x="128306" y="264250"/>
                    <a:pt x="119874" y="260736"/>
                    <a:pt x="110037" y="274790"/>
                  </a:cubicBezTo>
                  <a:cubicBezTo>
                    <a:pt x="96686" y="293761"/>
                    <a:pt x="79823" y="309923"/>
                    <a:pt x="55230" y="301491"/>
                  </a:cubicBezTo>
                  <a:cubicBezTo>
                    <a:pt x="28528" y="292356"/>
                    <a:pt x="8853" y="274087"/>
                    <a:pt x="2530" y="243872"/>
                  </a:cubicBezTo>
                  <a:cubicBezTo>
                    <a:pt x="-5902" y="201010"/>
                    <a:pt x="6746" y="166579"/>
                    <a:pt x="40473" y="146905"/>
                  </a:cubicBezTo>
                  <a:cubicBezTo>
                    <a:pt x="65067" y="132148"/>
                    <a:pt x="82633" y="136365"/>
                    <a:pt x="105119" y="160255"/>
                  </a:cubicBezTo>
                  <a:cubicBezTo>
                    <a:pt x="111443" y="167282"/>
                    <a:pt x="114956" y="181335"/>
                    <a:pt x="127604" y="175714"/>
                  </a:cubicBezTo>
                  <a:cubicBezTo>
                    <a:pt x="140252" y="170092"/>
                    <a:pt x="149386" y="159552"/>
                    <a:pt x="149386" y="143391"/>
                  </a:cubicBezTo>
                  <a:cubicBezTo>
                    <a:pt x="149386" y="103339"/>
                    <a:pt x="150089" y="63287"/>
                    <a:pt x="148684" y="23236"/>
                  </a:cubicBezTo>
                  <a:cubicBezTo>
                    <a:pt x="147981" y="6372"/>
                    <a:pt x="150792" y="-655"/>
                    <a:pt x="170466" y="48"/>
                  </a:cubicBezTo>
                  <a:cubicBezTo>
                    <a:pt x="210518" y="2156"/>
                    <a:pt x="250570" y="751"/>
                    <a:pt x="290622" y="751"/>
                  </a:cubicBezTo>
                  <a:cubicBezTo>
                    <a:pt x="307486" y="751"/>
                    <a:pt x="320836" y="7074"/>
                    <a:pt x="330673" y="19722"/>
                  </a:cubicBezTo>
                  <a:cubicBezTo>
                    <a:pt x="341916" y="33775"/>
                    <a:pt x="344024" y="46424"/>
                    <a:pt x="327160" y="59072"/>
                  </a:cubicBezTo>
                  <a:cubicBezTo>
                    <a:pt x="312404" y="70314"/>
                    <a:pt x="292730" y="82259"/>
                    <a:pt x="301864" y="105447"/>
                  </a:cubicBezTo>
                  <a:cubicBezTo>
                    <a:pt x="311702" y="129338"/>
                    <a:pt x="329268" y="146202"/>
                    <a:pt x="357375" y="148310"/>
                  </a:cubicBezTo>
                  <a:cubicBezTo>
                    <a:pt x="379860" y="150418"/>
                    <a:pt x="400940" y="149013"/>
                    <a:pt x="419209" y="132851"/>
                  </a:cubicBezTo>
                  <a:cubicBezTo>
                    <a:pt x="448018" y="106150"/>
                    <a:pt x="448018" y="89286"/>
                    <a:pt x="419209" y="63287"/>
                  </a:cubicBezTo>
                  <a:cubicBezTo>
                    <a:pt x="410777" y="56261"/>
                    <a:pt x="396724" y="50640"/>
                    <a:pt x="401643" y="35884"/>
                  </a:cubicBezTo>
                  <a:cubicBezTo>
                    <a:pt x="407264" y="19020"/>
                    <a:pt x="418506" y="2859"/>
                    <a:pt x="437478" y="2156"/>
                  </a:cubicBezTo>
                  <a:cubicBezTo>
                    <a:pt x="485962" y="48"/>
                    <a:pt x="534446" y="751"/>
                    <a:pt x="582228" y="751"/>
                  </a:cubicBezTo>
                  <a:cubicBezTo>
                    <a:pt x="596983" y="751"/>
                    <a:pt x="591362" y="11993"/>
                    <a:pt x="591362" y="19020"/>
                  </a:cubicBezTo>
                  <a:cubicBezTo>
                    <a:pt x="592065" y="57666"/>
                    <a:pt x="591362" y="95610"/>
                    <a:pt x="591362" y="134257"/>
                  </a:cubicBezTo>
                  <a:cubicBezTo>
                    <a:pt x="591362" y="143391"/>
                    <a:pt x="592065" y="152526"/>
                    <a:pt x="596983" y="160255"/>
                  </a:cubicBezTo>
                  <a:cubicBezTo>
                    <a:pt x="608929" y="179930"/>
                    <a:pt x="618766" y="180632"/>
                    <a:pt x="634224" y="164471"/>
                  </a:cubicBezTo>
                  <a:cubicBezTo>
                    <a:pt x="665142" y="130041"/>
                    <a:pt x="692545" y="130743"/>
                    <a:pt x="722760" y="165174"/>
                  </a:cubicBezTo>
                  <a:cubicBezTo>
                    <a:pt x="758596" y="205928"/>
                    <a:pt x="743840" y="274790"/>
                    <a:pt x="695356" y="298680"/>
                  </a:cubicBezTo>
                  <a:cubicBezTo>
                    <a:pt x="671465" y="310625"/>
                    <a:pt x="653899" y="300788"/>
                    <a:pt x="637035" y="283221"/>
                  </a:cubicBezTo>
                  <a:cubicBezTo>
                    <a:pt x="630711" y="276195"/>
                    <a:pt x="627901" y="260033"/>
                    <a:pt x="613144" y="267060"/>
                  </a:cubicBezTo>
                  <a:cubicBezTo>
                    <a:pt x="599794" y="273384"/>
                    <a:pt x="591362" y="285330"/>
                    <a:pt x="591362" y="302193"/>
                  </a:cubicBezTo>
                  <a:cubicBezTo>
                    <a:pt x="591362" y="341543"/>
                    <a:pt x="590659" y="380892"/>
                    <a:pt x="592065" y="420241"/>
                  </a:cubicBezTo>
                  <a:cubicBezTo>
                    <a:pt x="592767" y="437807"/>
                    <a:pt x="588551" y="443429"/>
                    <a:pt x="570282" y="442726"/>
                  </a:cubicBezTo>
                  <a:cubicBezTo>
                    <a:pt x="504232" y="440618"/>
                    <a:pt x="437478" y="441321"/>
                    <a:pt x="370725" y="44132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659856D-12CA-4DFF-AD61-BEDA5E15E421}"/>
                </a:ext>
              </a:extLst>
            </p:cNvPr>
            <p:cNvSpPr/>
            <p:nvPr userDrawn="1"/>
          </p:nvSpPr>
          <p:spPr>
            <a:xfrm>
              <a:off x="10998829" y="380752"/>
              <a:ext cx="600368" cy="800490"/>
            </a:xfrm>
            <a:custGeom>
              <a:avLst/>
              <a:gdLst>
                <a:gd name="connsiteX0" fmla="*/ 222808 w 442678"/>
                <a:gd name="connsiteY0" fmla="*/ 592910 h 590237"/>
                <a:gd name="connsiteX1" fmla="*/ 22549 w 442678"/>
                <a:gd name="connsiteY1" fmla="*/ 593613 h 590237"/>
                <a:gd name="connsiteX2" fmla="*/ 64 w 442678"/>
                <a:gd name="connsiteY2" fmla="*/ 570425 h 590237"/>
                <a:gd name="connsiteX3" fmla="*/ 64 w 442678"/>
                <a:gd name="connsiteY3" fmla="*/ 457998 h 590237"/>
                <a:gd name="connsiteX4" fmla="*/ 15523 w 442678"/>
                <a:gd name="connsiteY4" fmla="*/ 415839 h 590237"/>
                <a:gd name="connsiteX5" fmla="*/ 62601 w 442678"/>
                <a:gd name="connsiteY5" fmla="*/ 417947 h 590237"/>
                <a:gd name="connsiteX6" fmla="*/ 104761 w 442678"/>
                <a:gd name="connsiteY6" fmla="*/ 440432 h 590237"/>
                <a:gd name="connsiteX7" fmla="*/ 147624 w 442678"/>
                <a:gd name="connsiteY7" fmla="*/ 391245 h 590237"/>
                <a:gd name="connsiteX8" fmla="*/ 127246 w 442678"/>
                <a:gd name="connsiteY8" fmla="*/ 316061 h 590237"/>
                <a:gd name="connsiteX9" fmla="*/ 66817 w 442678"/>
                <a:gd name="connsiteY9" fmla="*/ 319574 h 590237"/>
                <a:gd name="connsiteX10" fmla="*/ 35900 w 442678"/>
                <a:gd name="connsiteY10" fmla="*/ 339249 h 590237"/>
                <a:gd name="connsiteX11" fmla="*/ 1469 w 442678"/>
                <a:gd name="connsiteY11" fmla="*/ 297791 h 590237"/>
                <a:gd name="connsiteX12" fmla="*/ 767 w 442678"/>
                <a:gd name="connsiteY12" fmla="*/ 163583 h 590237"/>
                <a:gd name="connsiteX13" fmla="*/ 19036 w 442678"/>
                <a:gd name="connsiteY13" fmla="*/ 150934 h 590237"/>
                <a:gd name="connsiteX14" fmla="*/ 137084 w 442678"/>
                <a:gd name="connsiteY14" fmla="*/ 150934 h 590237"/>
                <a:gd name="connsiteX15" fmla="*/ 165190 w 442678"/>
                <a:gd name="connsiteY15" fmla="*/ 143205 h 590237"/>
                <a:gd name="connsiteX16" fmla="*/ 166595 w 442678"/>
                <a:gd name="connsiteY16" fmla="*/ 107369 h 590237"/>
                <a:gd name="connsiteX17" fmla="*/ 163785 w 442678"/>
                <a:gd name="connsiteY17" fmla="*/ 22347 h 590237"/>
                <a:gd name="connsiteX18" fmla="*/ 290967 w 442678"/>
                <a:gd name="connsiteY18" fmla="*/ 30779 h 590237"/>
                <a:gd name="connsiteX19" fmla="*/ 286048 w 442678"/>
                <a:gd name="connsiteY19" fmla="*/ 104559 h 590237"/>
                <a:gd name="connsiteX20" fmla="*/ 270590 w 442678"/>
                <a:gd name="connsiteY20" fmla="*/ 129152 h 590237"/>
                <a:gd name="connsiteX21" fmla="*/ 303615 w 442678"/>
                <a:gd name="connsiteY21" fmla="*/ 150232 h 590237"/>
                <a:gd name="connsiteX22" fmla="*/ 421662 w 442678"/>
                <a:gd name="connsiteY22" fmla="*/ 149529 h 590237"/>
                <a:gd name="connsiteX23" fmla="*/ 446256 w 442678"/>
                <a:gd name="connsiteY23" fmla="*/ 175528 h 590237"/>
                <a:gd name="connsiteX24" fmla="*/ 446256 w 442678"/>
                <a:gd name="connsiteY24" fmla="*/ 287954 h 590237"/>
                <a:gd name="connsiteX25" fmla="*/ 428689 w 442678"/>
                <a:gd name="connsiteY25" fmla="*/ 329411 h 590237"/>
                <a:gd name="connsiteX26" fmla="*/ 385827 w 442678"/>
                <a:gd name="connsiteY26" fmla="*/ 327303 h 590237"/>
                <a:gd name="connsiteX27" fmla="*/ 342261 w 442678"/>
                <a:gd name="connsiteY27" fmla="*/ 303412 h 590237"/>
                <a:gd name="connsiteX28" fmla="*/ 298696 w 442678"/>
                <a:gd name="connsiteY28" fmla="*/ 357518 h 590237"/>
                <a:gd name="connsiteX29" fmla="*/ 318371 w 442678"/>
                <a:gd name="connsiteY29" fmla="*/ 425676 h 590237"/>
                <a:gd name="connsiteX30" fmla="*/ 380908 w 442678"/>
                <a:gd name="connsiteY30" fmla="*/ 422865 h 590237"/>
                <a:gd name="connsiteX31" fmla="*/ 415338 w 442678"/>
                <a:gd name="connsiteY31" fmla="*/ 404596 h 590237"/>
                <a:gd name="connsiteX32" fmla="*/ 446256 w 442678"/>
                <a:gd name="connsiteY32" fmla="*/ 446054 h 590237"/>
                <a:gd name="connsiteX33" fmla="*/ 446958 w 442678"/>
                <a:gd name="connsiteY33" fmla="*/ 577451 h 590237"/>
                <a:gd name="connsiteX34" fmla="*/ 425878 w 442678"/>
                <a:gd name="connsiteY34" fmla="*/ 592910 h 590237"/>
                <a:gd name="connsiteX35" fmla="*/ 222808 w 442678"/>
                <a:gd name="connsiteY35" fmla="*/ 59291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222808" y="592910"/>
                  </a:moveTo>
                  <a:cubicBezTo>
                    <a:pt x="156055" y="592910"/>
                    <a:pt x="89302" y="592208"/>
                    <a:pt x="22549" y="593613"/>
                  </a:cubicBezTo>
                  <a:cubicBezTo>
                    <a:pt x="4280" y="593613"/>
                    <a:pt x="-639" y="588694"/>
                    <a:pt x="64" y="570425"/>
                  </a:cubicBezTo>
                  <a:cubicBezTo>
                    <a:pt x="1469" y="533184"/>
                    <a:pt x="767" y="495240"/>
                    <a:pt x="64" y="457998"/>
                  </a:cubicBezTo>
                  <a:cubicBezTo>
                    <a:pt x="64" y="441837"/>
                    <a:pt x="3577" y="427784"/>
                    <a:pt x="15523" y="415839"/>
                  </a:cubicBezTo>
                  <a:cubicBezTo>
                    <a:pt x="33792" y="397570"/>
                    <a:pt x="45035" y="397570"/>
                    <a:pt x="62601" y="417947"/>
                  </a:cubicBezTo>
                  <a:cubicBezTo>
                    <a:pt x="73844" y="431297"/>
                    <a:pt x="85086" y="448161"/>
                    <a:pt x="104761" y="440432"/>
                  </a:cubicBezTo>
                  <a:cubicBezTo>
                    <a:pt x="126544" y="432000"/>
                    <a:pt x="144813" y="417244"/>
                    <a:pt x="147624" y="391245"/>
                  </a:cubicBezTo>
                  <a:cubicBezTo>
                    <a:pt x="150434" y="363842"/>
                    <a:pt x="152542" y="336438"/>
                    <a:pt x="127246" y="316061"/>
                  </a:cubicBezTo>
                  <a:cubicBezTo>
                    <a:pt x="102653" y="295683"/>
                    <a:pt x="87897" y="296386"/>
                    <a:pt x="66817" y="319574"/>
                  </a:cubicBezTo>
                  <a:cubicBezTo>
                    <a:pt x="58385" y="328709"/>
                    <a:pt x="54169" y="345572"/>
                    <a:pt x="35900" y="339249"/>
                  </a:cubicBezTo>
                  <a:cubicBezTo>
                    <a:pt x="15523" y="332222"/>
                    <a:pt x="2172" y="318169"/>
                    <a:pt x="1469" y="297791"/>
                  </a:cubicBezTo>
                  <a:cubicBezTo>
                    <a:pt x="-639" y="252821"/>
                    <a:pt x="1469" y="208553"/>
                    <a:pt x="767" y="163583"/>
                  </a:cubicBezTo>
                  <a:cubicBezTo>
                    <a:pt x="767" y="148827"/>
                    <a:pt x="9901" y="150934"/>
                    <a:pt x="19036" y="150934"/>
                  </a:cubicBezTo>
                  <a:cubicBezTo>
                    <a:pt x="58385" y="150934"/>
                    <a:pt x="97734" y="150934"/>
                    <a:pt x="137084" y="150934"/>
                  </a:cubicBezTo>
                  <a:cubicBezTo>
                    <a:pt x="147624" y="150934"/>
                    <a:pt x="157461" y="150232"/>
                    <a:pt x="165190" y="143205"/>
                  </a:cubicBezTo>
                  <a:cubicBezTo>
                    <a:pt x="178541" y="131963"/>
                    <a:pt x="185567" y="122828"/>
                    <a:pt x="166595" y="107369"/>
                  </a:cubicBezTo>
                  <a:cubicBezTo>
                    <a:pt x="132165" y="80668"/>
                    <a:pt x="132165" y="53264"/>
                    <a:pt x="163785" y="22347"/>
                  </a:cubicBezTo>
                  <a:cubicBezTo>
                    <a:pt x="197513" y="-10678"/>
                    <a:pt x="260752" y="-6462"/>
                    <a:pt x="290967" y="30779"/>
                  </a:cubicBezTo>
                  <a:cubicBezTo>
                    <a:pt x="314155" y="58885"/>
                    <a:pt x="312047" y="79263"/>
                    <a:pt x="286048" y="104559"/>
                  </a:cubicBezTo>
                  <a:cubicBezTo>
                    <a:pt x="279022" y="111585"/>
                    <a:pt x="263563" y="115099"/>
                    <a:pt x="270590" y="129152"/>
                  </a:cubicBezTo>
                  <a:cubicBezTo>
                    <a:pt x="276914" y="141800"/>
                    <a:pt x="288156" y="150232"/>
                    <a:pt x="303615" y="150232"/>
                  </a:cubicBezTo>
                  <a:cubicBezTo>
                    <a:pt x="342964" y="150232"/>
                    <a:pt x="382313" y="151637"/>
                    <a:pt x="421662" y="149529"/>
                  </a:cubicBezTo>
                  <a:cubicBezTo>
                    <a:pt x="443445" y="148124"/>
                    <a:pt x="446958" y="155853"/>
                    <a:pt x="446256" y="175528"/>
                  </a:cubicBezTo>
                  <a:cubicBezTo>
                    <a:pt x="444850" y="212769"/>
                    <a:pt x="445553" y="250713"/>
                    <a:pt x="446256" y="287954"/>
                  </a:cubicBezTo>
                  <a:cubicBezTo>
                    <a:pt x="446256" y="304818"/>
                    <a:pt x="441337" y="318169"/>
                    <a:pt x="428689" y="329411"/>
                  </a:cubicBezTo>
                  <a:cubicBezTo>
                    <a:pt x="413933" y="342059"/>
                    <a:pt x="399880" y="346275"/>
                    <a:pt x="385827" y="327303"/>
                  </a:cubicBezTo>
                  <a:cubicBezTo>
                    <a:pt x="375287" y="313250"/>
                    <a:pt x="364044" y="295683"/>
                    <a:pt x="342261" y="303412"/>
                  </a:cubicBezTo>
                  <a:cubicBezTo>
                    <a:pt x="316965" y="312547"/>
                    <a:pt x="300804" y="330114"/>
                    <a:pt x="298696" y="357518"/>
                  </a:cubicBezTo>
                  <a:cubicBezTo>
                    <a:pt x="296588" y="382814"/>
                    <a:pt x="297994" y="406704"/>
                    <a:pt x="318371" y="425676"/>
                  </a:cubicBezTo>
                  <a:cubicBezTo>
                    <a:pt x="342964" y="448161"/>
                    <a:pt x="358423" y="447459"/>
                    <a:pt x="380908" y="422865"/>
                  </a:cubicBezTo>
                  <a:cubicBezTo>
                    <a:pt x="390043" y="412325"/>
                    <a:pt x="397069" y="395462"/>
                    <a:pt x="415338" y="404596"/>
                  </a:cubicBezTo>
                  <a:cubicBezTo>
                    <a:pt x="432202" y="413028"/>
                    <a:pt x="445553" y="425676"/>
                    <a:pt x="446256" y="446054"/>
                  </a:cubicBezTo>
                  <a:cubicBezTo>
                    <a:pt x="446958" y="489618"/>
                    <a:pt x="445553" y="533887"/>
                    <a:pt x="446958" y="577451"/>
                  </a:cubicBezTo>
                  <a:cubicBezTo>
                    <a:pt x="447661" y="595721"/>
                    <a:pt x="436418" y="592910"/>
                    <a:pt x="425878" y="592910"/>
                  </a:cubicBezTo>
                  <a:cubicBezTo>
                    <a:pt x="355612" y="592910"/>
                    <a:pt x="288859" y="592910"/>
                    <a:pt x="222808" y="59291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3C79B9B-74DC-4FA8-AD99-6B4BA79D6E1B}"/>
                </a:ext>
              </a:extLst>
            </p:cNvPr>
            <p:cNvSpPr/>
            <p:nvPr userDrawn="1"/>
          </p:nvSpPr>
          <p:spPr>
            <a:xfrm>
              <a:off x="11401036" y="580875"/>
              <a:ext cx="800489" cy="600367"/>
            </a:xfrm>
            <a:custGeom>
              <a:avLst/>
              <a:gdLst>
                <a:gd name="connsiteX0" fmla="*/ 591733 w 590237"/>
                <a:gd name="connsiteY0" fmla="*/ 225014 h 442678"/>
                <a:gd name="connsiteX1" fmla="*/ 592436 w 590237"/>
                <a:gd name="connsiteY1" fmla="*/ 425273 h 442678"/>
                <a:gd name="connsiteX2" fmla="*/ 572761 w 590237"/>
                <a:gd name="connsiteY2" fmla="*/ 444948 h 442678"/>
                <a:gd name="connsiteX3" fmla="*/ 170135 w 590237"/>
                <a:gd name="connsiteY3" fmla="*/ 444948 h 442678"/>
                <a:gd name="connsiteX4" fmla="*/ 149758 w 590237"/>
                <a:gd name="connsiteY4" fmla="*/ 423165 h 442678"/>
                <a:gd name="connsiteX5" fmla="*/ 150460 w 590237"/>
                <a:gd name="connsiteY5" fmla="*/ 313549 h 442678"/>
                <a:gd name="connsiteX6" fmla="*/ 145542 w 590237"/>
                <a:gd name="connsiteY6" fmla="*/ 284038 h 442678"/>
                <a:gd name="connsiteX7" fmla="*/ 108300 w 590237"/>
                <a:gd name="connsiteY7" fmla="*/ 279822 h 442678"/>
                <a:gd name="connsiteX8" fmla="*/ 21170 w 590237"/>
                <a:gd name="connsiteY8" fmla="*/ 281227 h 442678"/>
                <a:gd name="connsiteX9" fmla="*/ 42953 w 590237"/>
                <a:gd name="connsiteY9" fmla="*/ 147018 h 442678"/>
                <a:gd name="connsiteX10" fmla="*/ 103382 w 590237"/>
                <a:gd name="connsiteY10" fmla="*/ 160369 h 442678"/>
                <a:gd name="connsiteX11" fmla="*/ 127272 w 590237"/>
                <a:gd name="connsiteY11" fmla="*/ 177233 h 442678"/>
                <a:gd name="connsiteX12" fmla="*/ 149758 w 590237"/>
                <a:gd name="connsiteY12" fmla="*/ 142802 h 442678"/>
                <a:gd name="connsiteX13" fmla="*/ 149758 w 590237"/>
                <a:gd name="connsiteY13" fmla="*/ 24755 h 442678"/>
                <a:gd name="connsiteX14" fmla="*/ 172946 w 590237"/>
                <a:gd name="connsiteY14" fmla="*/ 162 h 442678"/>
                <a:gd name="connsiteX15" fmla="*/ 288182 w 590237"/>
                <a:gd name="connsiteY15" fmla="*/ 864 h 442678"/>
                <a:gd name="connsiteX16" fmla="*/ 328937 w 590237"/>
                <a:gd name="connsiteY16" fmla="*/ 19134 h 442678"/>
                <a:gd name="connsiteX17" fmla="*/ 326126 w 590237"/>
                <a:gd name="connsiteY17" fmla="*/ 62699 h 442678"/>
                <a:gd name="connsiteX18" fmla="*/ 302938 w 590237"/>
                <a:gd name="connsiteY18" fmla="*/ 106967 h 442678"/>
                <a:gd name="connsiteX19" fmla="*/ 357746 w 590237"/>
                <a:gd name="connsiteY19" fmla="*/ 149829 h 442678"/>
                <a:gd name="connsiteX20" fmla="*/ 432228 w 590237"/>
                <a:gd name="connsiteY20" fmla="*/ 121020 h 442678"/>
                <a:gd name="connsiteX21" fmla="*/ 423797 w 590237"/>
                <a:gd name="connsiteY21" fmla="*/ 69023 h 442678"/>
                <a:gd name="connsiteX22" fmla="*/ 402717 w 590237"/>
                <a:gd name="connsiteY22" fmla="*/ 35997 h 442678"/>
                <a:gd name="connsiteX23" fmla="*/ 444877 w 590237"/>
                <a:gd name="connsiteY23" fmla="*/ 2269 h 442678"/>
                <a:gd name="connsiteX24" fmla="*/ 579085 w 590237"/>
                <a:gd name="connsiteY24" fmla="*/ 1567 h 442678"/>
                <a:gd name="connsiteX25" fmla="*/ 591031 w 590237"/>
                <a:gd name="connsiteY25" fmla="*/ 19836 h 442678"/>
                <a:gd name="connsiteX26" fmla="*/ 591733 w 590237"/>
                <a:gd name="connsiteY26" fmla="*/ 225014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0237" h="442678">
                  <a:moveTo>
                    <a:pt x="591733" y="225014"/>
                  </a:moveTo>
                  <a:cubicBezTo>
                    <a:pt x="591733" y="291767"/>
                    <a:pt x="591031" y="358520"/>
                    <a:pt x="592436" y="425273"/>
                  </a:cubicBezTo>
                  <a:cubicBezTo>
                    <a:pt x="592436" y="440732"/>
                    <a:pt x="588923" y="444948"/>
                    <a:pt x="572761" y="444948"/>
                  </a:cubicBezTo>
                  <a:cubicBezTo>
                    <a:pt x="438552" y="444245"/>
                    <a:pt x="304344" y="444245"/>
                    <a:pt x="170135" y="444948"/>
                  </a:cubicBezTo>
                  <a:cubicBezTo>
                    <a:pt x="151866" y="444948"/>
                    <a:pt x="149758" y="438624"/>
                    <a:pt x="149758" y="423165"/>
                  </a:cubicBezTo>
                  <a:cubicBezTo>
                    <a:pt x="150460" y="386627"/>
                    <a:pt x="149758" y="350088"/>
                    <a:pt x="150460" y="313549"/>
                  </a:cubicBezTo>
                  <a:cubicBezTo>
                    <a:pt x="150460" y="303712"/>
                    <a:pt x="150460" y="293172"/>
                    <a:pt x="145542" y="284038"/>
                  </a:cubicBezTo>
                  <a:cubicBezTo>
                    <a:pt x="135002" y="265066"/>
                    <a:pt x="122354" y="263661"/>
                    <a:pt x="108300" y="279822"/>
                  </a:cubicBezTo>
                  <a:cubicBezTo>
                    <a:pt x="78086" y="314252"/>
                    <a:pt x="52087" y="314955"/>
                    <a:pt x="21170" y="281227"/>
                  </a:cubicBezTo>
                  <a:cubicBezTo>
                    <a:pt x="-14666" y="242581"/>
                    <a:pt x="-3423" y="172314"/>
                    <a:pt x="42953" y="147018"/>
                  </a:cubicBezTo>
                  <a:cubicBezTo>
                    <a:pt x="67546" y="133668"/>
                    <a:pt x="85815" y="141397"/>
                    <a:pt x="103382" y="160369"/>
                  </a:cubicBezTo>
                  <a:cubicBezTo>
                    <a:pt x="109706" y="167395"/>
                    <a:pt x="113219" y="182854"/>
                    <a:pt x="127272" y="177233"/>
                  </a:cubicBezTo>
                  <a:cubicBezTo>
                    <a:pt x="142028" y="171612"/>
                    <a:pt x="149758" y="158963"/>
                    <a:pt x="149758" y="142802"/>
                  </a:cubicBezTo>
                  <a:cubicBezTo>
                    <a:pt x="149758" y="103453"/>
                    <a:pt x="150460" y="64104"/>
                    <a:pt x="149758" y="24755"/>
                  </a:cubicBezTo>
                  <a:cubicBezTo>
                    <a:pt x="149055" y="6486"/>
                    <a:pt x="152568" y="-1244"/>
                    <a:pt x="172946" y="162"/>
                  </a:cubicBezTo>
                  <a:cubicBezTo>
                    <a:pt x="210889" y="2269"/>
                    <a:pt x="249536" y="864"/>
                    <a:pt x="288182" y="864"/>
                  </a:cubicBezTo>
                  <a:cubicBezTo>
                    <a:pt x="305046" y="864"/>
                    <a:pt x="318397" y="6486"/>
                    <a:pt x="328937" y="19134"/>
                  </a:cubicBezTo>
                  <a:cubicBezTo>
                    <a:pt x="342990" y="34592"/>
                    <a:pt x="345098" y="48646"/>
                    <a:pt x="326126" y="62699"/>
                  </a:cubicBezTo>
                  <a:cubicBezTo>
                    <a:pt x="312073" y="73239"/>
                    <a:pt x="293804" y="85184"/>
                    <a:pt x="302938" y="106967"/>
                  </a:cubicBezTo>
                  <a:cubicBezTo>
                    <a:pt x="312775" y="130857"/>
                    <a:pt x="328937" y="147721"/>
                    <a:pt x="357746" y="149829"/>
                  </a:cubicBezTo>
                  <a:cubicBezTo>
                    <a:pt x="387258" y="151234"/>
                    <a:pt x="413959" y="149126"/>
                    <a:pt x="432228" y="121020"/>
                  </a:cubicBezTo>
                  <a:cubicBezTo>
                    <a:pt x="446282" y="99940"/>
                    <a:pt x="441363" y="84481"/>
                    <a:pt x="423797" y="69023"/>
                  </a:cubicBezTo>
                  <a:cubicBezTo>
                    <a:pt x="413959" y="60590"/>
                    <a:pt x="395690" y="55672"/>
                    <a:pt x="402717" y="35997"/>
                  </a:cubicBezTo>
                  <a:cubicBezTo>
                    <a:pt x="409743" y="16323"/>
                    <a:pt x="424499" y="2972"/>
                    <a:pt x="444877" y="2269"/>
                  </a:cubicBezTo>
                  <a:cubicBezTo>
                    <a:pt x="489847" y="864"/>
                    <a:pt x="534115" y="2269"/>
                    <a:pt x="579085" y="1567"/>
                  </a:cubicBezTo>
                  <a:cubicBezTo>
                    <a:pt x="595246" y="1567"/>
                    <a:pt x="591031" y="12107"/>
                    <a:pt x="591031" y="19836"/>
                  </a:cubicBezTo>
                  <a:cubicBezTo>
                    <a:pt x="591733" y="87995"/>
                    <a:pt x="591733" y="156856"/>
                    <a:pt x="591733" y="22501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C010D26-C618-4DBB-9E19-BCCBAF8967A6}"/>
                </a:ext>
              </a:extLst>
            </p:cNvPr>
            <p:cNvSpPr/>
            <p:nvPr userDrawn="1"/>
          </p:nvSpPr>
          <p:spPr>
            <a:xfrm rot="19800000">
              <a:off x="7690813" y="673466"/>
              <a:ext cx="595378" cy="604981"/>
            </a:xfrm>
            <a:custGeom>
              <a:avLst/>
              <a:gdLst>
                <a:gd name="connsiteX0" fmla="*/ 222744 w 435651"/>
                <a:gd name="connsiteY0" fmla="*/ 441468 h 442678"/>
                <a:gd name="connsiteX1" fmla="*/ 23188 w 435651"/>
                <a:gd name="connsiteY1" fmla="*/ 442171 h 442678"/>
                <a:gd name="connsiteX2" fmla="*/ 1405 w 435651"/>
                <a:gd name="connsiteY2" fmla="*/ 419686 h 442678"/>
                <a:gd name="connsiteX3" fmla="*/ 1405 w 435651"/>
                <a:gd name="connsiteY3" fmla="*/ 302341 h 442678"/>
                <a:gd name="connsiteX4" fmla="*/ 17567 w 435651"/>
                <a:gd name="connsiteY4" fmla="*/ 263694 h 442678"/>
                <a:gd name="connsiteX5" fmla="*/ 60429 w 435651"/>
                <a:gd name="connsiteY5" fmla="*/ 265802 h 442678"/>
                <a:gd name="connsiteX6" fmla="*/ 103994 w 435651"/>
                <a:gd name="connsiteY6" fmla="*/ 290395 h 442678"/>
                <a:gd name="connsiteX7" fmla="*/ 146857 w 435651"/>
                <a:gd name="connsiteY7" fmla="*/ 241912 h 442678"/>
                <a:gd name="connsiteX8" fmla="*/ 129993 w 435651"/>
                <a:gd name="connsiteY8" fmla="*/ 170942 h 442678"/>
                <a:gd name="connsiteX9" fmla="*/ 63942 w 435651"/>
                <a:gd name="connsiteY9" fmla="*/ 173051 h 442678"/>
                <a:gd name="connsiteX10" fmla="*/ 33728 w 435651"/>
                <a:gd name="connsiteY10" fmla="*/ 190617 h 442678"/>
                <a:gd name="connsiteX11" fmla="*/ 1405 w 435651"/>
                <a:gd name="connsiteY11" fmla="*/ 153376 h 442678"/>
                <a:gd name="connsiteX12" fmla="*/ 0 w 435651"/>
                <a:gd name="connsiteY12" fmla="*/ 10735 h 442678"/>
                <a:gd name="connsiteX13" fmla="*/ 14053 w 435651"/>
                <a:gd name="connsiteY13" fmla="*/ 195 h 442678"/>
                <a:gd name="connsiteX14" fmla="*/ 142641 w 435651"/>
                <a:gd name="connsiteY14" fmla="*/ 195 h 442678"/>
                <a:gd name="connsiteX15" fmla="*/ 179882 w 435651"/>
                <a:gd name="connsiteY15" fmla="*/ 19870 h 442678"/>
                <a:gd name="connsiteX16" fmla="*/ 176369 w 435651"/>
                <a:gd name="connsiteY16" fmla="*/ 61327 h 442678"/>
                <a:gd name="connsiteX17" fmla="*/ 151775 w 435651"/>
                <a:gd name="connsiteY17" fmla="*/ 104892 h 442678"/>
                <a:gd name="connsiteX18" fmla="*/ 205881 w 435651"/>
                <a:gd name="connsiteY18" fmla="*/ 148457 h 442678"/>
                <a:gd name="connsiteX19" fmla="*/ 275444 w 435651"/>
                <a:gd name="connsiteY19" fmla="*/ 127377 h 442678"/>
                <a:gd name="connsiteX20" fmla="*/ 271228 w 435651"/>
                <a:gd name="connsiteY20" fmla="*/ 66948 h 442678"/>
                <a:gd name="connsiteX21" fmla="*/ 252256 w 435651"/>
                <a:gd name="connsiteY21" fmla="*/ 32518 h 442678"/>
                <a:gd name="connsiteX22" fmla="*/ 293011 w 435651"/>
                <a:gd name="connsiteY22" fmla="*/ 898 h 442678"/>
                <a:gd name="connsiteX23" fmla="*/ 427220 w 435651"/>
                <a:gd name="connsiteY23" fmla="*/ 195 h 442678"/>
                <a:gd name="connsiteX24" fmla="*/ 440570 w 435651"/>
                <a:gd name="connsiteY24" fmla="*/ 15654 h 442678"/>
                <a:gd name="connsiteX25" fmla="*/ 440570 w 435651"/>
                <a:gd name="connsiteY25" fmla="*/ 144241 h 442678"/>
                <a:gd name="connsiteX26" fmla="*/ 410356 w 435651"/>
                <a:gd name="connsiteY26" fmla="*/ 189212 h 442678"/>
                <a:gd name="connsiteX27" fmla="*/ 373817 w 435651"/>
                <a:gd name="connsiteY27" fmla="*/ 169537 h 442678"/>
                <a:gd name="connsiteX28" fmla="*/ 317604 w 435651"/>
                <a:gd name="connsiteY28" fmla="*/ 164619 h 442678"/>
                <a:gd name="connsiteX29" fmla="*/ 314793 w 435651"/>
                <a:gd name="connsiteY29" fmla="*/ 277747 h 442678"/>
                <a:gd name="connsiteX30" fmla="*/ 375223 w 435651"/>
                <a:gd name="connsiteY30" fmla="*/ 273531 h 442678"/>
                <a:gd name="connsiteX31" fmla="*/ 406842 w 435651"/>
                <a:gd name="connsiteY31" fmla="*/ 253857 h 442678"/>
                <a:gd name="connsiteX32" fmla="*/ 440570 w 435651"/>
                <a:gd name="connsiteY32" fmla="*/ 296017 h 442678"/>
                <a:gd name="connsiteX33" fmla="*/ 441273 w 435651"/>
                <a:gd name="connsiteY33" fmla="*/ 430226 h 442678"/>
                <a:gd name="connsiteX34" fmla="*/ 420896 w 435651"/>
                <a:gd name="connsiteY34" fmla="*/ 442873 h 442678"/>
                <a:gd name="connsiteX35" fmla="*/ 222744 w 435651"/>
                <a:gd name="connsiteY35" fmla="*/ 441468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35651" h="442678">
                  <a:moveTo>
                    <a:pt x="222744" y="441468"/>
                  </a:moveTo>
                  <a:cubicBezTo>
                    <a:pt x="155991" y="441468"/>
                    <a:pt x="89238" y="440766"/>
                    <a:pt x="23188" y="442171"/>
                  </a:cubicBezTo>
                  <a:cubicBezTo>
                    <a:pt x="4919" y="442171"/>
                    <a:pt x="703" y="436550"/>
                    <a:pt x="1405" y="419686"/>
                  </a:cubicBezTo>
                  <a:cubicBezTo>
                    <a:pt x="2811" y="380336"/>
                    <a:pt x="2108" y="340987"/>
                    <a:pt x="1405" y="302341"/>
                  </a:cubicBezTo>
                  <a:cubicBezTo>
                    <a:pt x="1405" y="286180"/>
                    <a:pt x="6324" y="274234"/>
                    <a:pt x="17567" y="263694"/>
                  </a:cubicBezTo>
                  <a:cubicBezTo>
                    <a:pt x="32323" y="250344"/>
                    <a:pt x="46376" y="246128"/>
                    <a:pt x="60429" y="265802"/>
                  </a:cubicBezTo>
                  <a:cubicBezTo>
                    <a:pt x="70969" y="279855"/>
                    <a:pt x="81509" y="297422"/>
                    <a:pt x="103994" y="290395"/>
                  </a:cubicBezTo>
                  <a:cubicBezTo>
                    <a:pt x="127182" y="282666"/>
                    <a:pt x="142641" y="266505"/>
                    <a:pt x="146857" y="241912"/>
                  </a:cubicBezTo>
                  <a:cubicBezTo>
                    <a:pt x="151775" y="215913"/>
                    <a:pt x="149667" y="190617"/>
                    <a:pt x="129993" y="170942"/>
                  </a:cubicBezTo>
                  <a:cubicBezTo>
                    <a:pt x="105400" y="145647"/>
                    <a:pt x="87130" y="146349"/>
                    <a:pt x="63942" y="173051"/>
                  </a:cubicBezTo>
                  <a:cubicBezTo>
                    <a:pt x="56213" y="182185"/>
                    <a:pt x="49889" y="196941"/>
                    <a:pt x="33728" y="190617"/>
                  </a:cubicBezTo>
                  <a:cubicBezTo>
                    <a:pt x="16864" y="184293"/>
                    <a:pt x="2108" y="172348"/>
                    <a:pt x="1405" y="153376"/>
                  </a:cubicBezTo>
                  <a:cubicBezTo>
                    <a:pt x="0" y="106298"/>
                    <a:pt x="703" y="58516"/>
                    <a:pt x="0" y="10735"/>
                  </a:cubicBezTo>
                  <a:cubicBezTo>
                    <a:pt x="0" y="195"/>
                    <a:pt x="6324" y="-508"/>
                    <a:pt x="14053" y="195"/>
                  </a:cubicBezTo>
                  <a:cubicBezTo>
                    <a:pt x="56916" y="195"/>
                    <a:pt x="99778" y="195"/>
                    <a:pt x="142641" y="195"/>
                  </a:cubicBezTo>
                  <a:cubicBezTo>
                    <a:pt x="158802" y="195"/>
                    <a:pt x="170045" y="7925"/>
                    <a:pt x="179882" y="19870"/>
                  </a:cubicBezTo>
                  <a:cubicBezTo>
                    <a:pt x="192530" y="34626"/>
                    <a:pt x="193935" y="47976"/>
                    <a:pt x="176369" y="61327"/>
                  </a:cubicBezTo>
                  <a:cubicBezTo>
                    <a:pt x="162315" y="71867"/>
                    <a:pt x="144046" y="83109"/>
                    <a:pt x="151775" y="104892"/>
                  </a:cubicBezTo>
                  <a:cubicBezTo>
                    <a:pt x="160910" y="129485"/>
                    <a:pt x="177071" y="146349"/>
                    <a:pt x="205881" y="148457"/>
                  </a:cubicBezTo>
                  <a:cubicBezTo>
                    <a:pt x="231879" y="150565"/>
                    <a:pt x="256472" y="149863"/>
                    <a:pt x="275444" y="127377"/>
                  </a:cubicBezTo>
                  <a:cubicBezTo>
                    <a:pt x="296524" y="102784"/>
                    <a:pt x="295822" y="88028"/>
                    <a:pt x="271228" y="66948"/>
                  </a:cubicBezTo>
                  <a:cubicBezTo>
                    <a:pt x="260688" y="57814"/>
                    <a:pt x="243824" y="51490"/>
                    <a:pt x="252256" y="32518"/>
                  </a:cubicBezTo>
                  <a:cubicBezTo>
                    <a:pt x="259986" y="14951"/>
                    <a:pt x="273336" y="1601"/>
                    <a:pt x="293011" y="898"/>
                  </a:cubicBezTo>
                  <a:cubicBezTo>
                    <a:pt x="337981" y="-508"/>
                    <a:pt x="382249" y="898"/>
                    <a:pt x="427220" y="195"/>
                  </a:cubicBezTo>
                  <a:cubicBezTo>
                    <a:pt x="439165" y="195"/>
                    <a:pt x="440570" y="6519"/>
                    <a:pt x="440570" y="15654"/>
                  </a:cubicBezTo>
                  <a:cubicBezTo>
                    <a:pt x="440570" y="58516"/>
                    <a:pt x="440570" y="101379"/>
                    <a:pt x="440570" y="144241"/>
                  </a:cubicBezTo>
                  <a:cubicBezTo>
                    <a:pt x="440570" y="166024"/>
                    <a:pt x="428625" y="180780"/>
                    <a:pt x="410356" y="189212"/>
                  </a:cubicBezTo>
                  <a:cubicBezTo>
                    <a:pt x="390681" y="198347"/>
                    <a:pt x="383655" y="180077"/>
                    <a:pt x="373817" y="169537"/>
                  </a:cubicBezTo>
                  <a:cubicBezTo>
                    <a:pt x="354143" y="147755"/>
                    <a:pt x="340089" y="146349"/>
                    <a:pt x="317604" y="164619"/>
                  </a:cubicBezTo>
                  <a:cubicBezTo>
                    <a:pt x="283876" y="192022"/>
                    <a:pt x="282471" y="249641"/>
                    <a:pt x="314793" y="277747"/>
                  </a:cubicBezTo>
                  <a:cubicBezTo>
                    <a:pt x="338684" y="298125"/>
                    <a:pt x="353440" y="296719"/>
                    <a:pt x="375223" y="273531"/>
                  </a:cubicBezTo>
                  <a:cubicBezTo>
                    <a:pt x="383655" y="264397"/>
                    <a:pt x="388573" y="246830"/>
                    <a:pt x="406842" y="253857"/>
                  </a:cubicBezTo>
                  <a:cubicBezTo>
                    <a:pt x="425814" y="260884"/>
                    <a:pt x="439868" y="274234"/>
                    <a:pt x="440570" y="296017"/>
                  </a:cubicBezTo>
                  <a:cubicBezTo>
                    <a:pt x="441273" y="340987"/>
                    <a:pt x="440570" y="385255"/>
                    <a:pt x="441273" y="430226"/>
                  </a:cubicBezTo>
                  <a:cubicBezTo>
                    <a:pt x="441273" y="448495"/>
                    <a:pt x="429328" y="442171"/>
                    <a:pt x="420896" y="442873"/>
                  </a:cubicBezTo>
                  <a:cubicBezTo>
                    <a:pt x="356251" y="441468"/>
                    <a:pt x="289498" y="441468"/>
                    <a:pt x="222744" y="44146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CCBFA98-DDD0-46F7-9606-1C7E3BAD6335}"/>
                </a:ext>
              </a:extLst>
            </p:cNvPr>
            <p:cNvSpPr/>
            <p:nvPr userDrawn="1"/>
          </p:nvSpPr>
          <p:spPr>
            <a:xfrm rot="10800000">
              <a:off x="9581096" y="-9527"/>
              <a:ext cx="1030193" cy="618117"/>
            </a:xfrm>
            <a:custGeom>
              <a:avLst/>
              <a:gdLst>
                <a:gd name="connsiteX0" fmla="*/ 370725 w 737797"/>
                <a:gd name="connsiteY0" fmla="*/ 441321 h 442678"/>
                <a:gd name="connsiteX1" fmla="*/ 178898 w 737797"/>
                <a:gd name="connsiteY1" fmla="*/ 442023 h 442678"/>
                <a:gd name="connsiteX2" fmla="*/ 148684 w 737797"/>
                <a:gd name="connsiteY2" fmla="*/ 413214 h 442678"/>
                <a:gd name="connsiteX3" fmla="*/ 149386 w 737797"/>
                <a:gd name="connsiteY3" fmla="*/ 303599 h 442678"/>
                <a:gd name="connsiteX4" fmla="*/ 138846 w 737797"/>
                <a:gd name="connsiteY4" fmla="*/ 274087 h 442678"/>
                <a:gd name="connsiteX5" fmla="*/ 110037 w 737797"/>
                <a:gd name="connsiteY5" fmla="*/ 274790 h 442678"/>
                <a:gd name="connsiteX6" fmla="*/ 55230 w 737797"/>
                <a:gd name="connsiteY6" fmla="*/ 301491 h 442678"/>
                <a:gd name="connsiteX7" fmla="*/ 2530 w 737797"/>
                <a:gd name="connsiteY7" fmla="*/ 243872 h 442678"/>
                <a:gd name="connsiteX8" fmla="*/ 40473 w 737797"/>
                <a:gd name="connsiteY8" fmla="*/ 146905 h 442678"/>
                <a:gd name="connsiteX9" fmla="*/ 105119 w 737797"/>
                <a:gd name="connsiteY9" fmla="*/ 160255 h 442678"/>
                <a:gd name="connsiteX10" fmla="*/ 127604 w 737797"/>
                <a:gd name="connsiteY10" fmla="*/ 175714 h 442678"/>
                <a:gd name="connsiteX11" fmla="*/ 149386 w 737797"/>
                <a:gd name="connsiteY11" fmla="*/ 143391 h 442678"/>
                <a:gd name="connsiteX12" fmla="*/ 148684 w 737797"/>
                <a:gd name="connsiteY12" fmla="*/ 23236 h 442678"/>
                <a:gd name="connsiteX13" fmla="*/ 170466 w 737797"/>
                <a:gd name="connsiteY13" fmla="*/ 48 h 442678"/>
                <a:gd name="connsiteX14" fmla="*/ 290622 w 737797"/>
                <a:gd name="connsiteY14" fmla="*/ 751 h 442678"/>
                <a:gd name="connsiteX15" fmla="*/ 330673 w 737797"/>
                <a:gd name="connsiteY15" fmla="*/ 19722 h 442678"/>
                <a:gd name="connsiteX16" fmla="*/ 327160 w 737797"/>
                <a:gd name="connsiteY16" fmla="*/ 59072 h 442678"/>
                <a:gd name="connsiteX17" fmla="*/ 301864 w 737797"/>
                <a:gd name="connsiteY17" fmla="*/ 105447 h 442678"/>
                <a:gd name="connsiteX18" fmla="*/ 357375 w 737797"/>
                <a:gd name="connsiteY18" fmla="*/ 148310 h 442678"/>
                <a:gd name="connsiteX19" fmla="*/ 419209 w 737797"/>
                <a:gd name="connsiteY19" fmla="*/ 132851 h 442678"/>
                <a:gd name="connsiteX20" fmla="*/ 419209 w 737797"/>
                <a:gd name="connsiteY20" fmla="*/ 63287 h 442678"/>
                <a:gd name="connsiteX21" fmla="*/ 401643 w 737797"/>
                <a:gd name="connsiteY21" fmla="*/ 35884 h 442678"/>
                <a:gd name="connsiteX22" fmla="*/ 437478 w 737797"/>
                <a:gd name="connsiteY22" fmla="*/ 2156 h 442678"/>
                <a:gd name="connsiteX23" fmla="*/ 582228 w 737797"/>
                <a:gd name="connsiteY23" fmla="*/ 751 h 442678"/>
                <a:gd name="connsiteX24" fmla="*/ 591362 w 737797"/>
                <a:gd name="connsiteY24" fmla="*/ 19020 h 442678"/>
                <a:gd name="connsiteX25" fmla="*/ 591362 w 737797"/>
                <a:gd name="connsiteY25" fmla="*/ 134257 h 442678"/>
                <a:gd name="connsiteX26" fmla="*/ 596983 w 737797"/>
                <a:gd name="connsiteY26" fmla="*/ 160255 h 442678"/>
                <a:gd name="connsiteX27" fmla="*/ 634224 w 737797"/>
                <a:gd name="connsiteY27" fmla="*/ 164471 h 442678"/>
                <a:gd name="connsiteX28" fmla="*/ 722760 w 737797"/>
                <a:gd name="connsiteY28" fmla="*/ 165174 h 442678"/>
                <a:gd name="connsiteX29" fmla="*/ 695356 w 737797"/>
                <a:gd name="connsiteY29" fmla="*/ 298680 h 442678"/>
                <a:gd name="connsiteX30" fmla="*/ 637035 w 737797"/>
                <a:gd name="connsiteY30" fmla="*/ 283221 h 442678"/>
                <a:gd name="connsiteX31" fmla="*/ 613144 w 737797"/>
                <a:gd name="connsiteY31" fmla="*/ 267060 h 442678"/>
                <a:gd name="connsiteX32" fmla="*/ 591362 w 737797"/>
                <a:gd name="connsiteY32" fmla="*/ 302193 h 442678"/>
                <a:gd name="connsiteX33" fmla="*/ 592065 w 737797"/>
                <a:gd name="connsiteY33" fmla="*/ 420241 h 442678"/>
                <a:gd name="connsiteX34" fmla="*/ 570282 w 737797"/>
                <a:gd name="connsiteY34" fmla="*/ 442726 h 442678"/>
                <a:gd name="connsiteX35" fmla="*/ 370725 w 737797"/>
                <a:gd name="connsiteY35" fmla="*/ 441321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37797" h="442678">
                  <a:moveTo>
                    <a:pt x="370725" y="441321"/>
                  </a:moveTo>
                  <a:cubicBezTo>
                    <a:pt x="306783" y="441321"/>
                    <a:pt x="242840" y="440618"/>
                    <a:pt x="178898" y="442023"/>
                  </a:cubicBezTo>
                  <a:cubicBezTo>
                    <a:pt x="155710" y="442726"/>
                    <a:pt x="146576" y="438510"/>
                    <a:pt x="148684" y="413214"/>
                  </a:cubicBezTo>
                  <a:cubicBezTo>
                    <a:pt x="151494" y="376676"/>
                    <a:pt x="149386" y="340137"/>
                    <a:pt x="149386" y="303599"/>
                  </a:cubicBezTo>
                  <a:cubicBezTo>
                    <a:pt x="149386" y="292356"/>
                    <a:pt x="147981" y="282519"/>
                    <a:pt x="138846" y="274087"/>
                  </a:cubicBezTo>
                  <a:cubicBezTo>
                    <a:pt x="128306" y="264250"/>
                    <a:pt x="119874" y="260736"/>
                    <a:pt x="110037" y="274790"/>
                  </a:cubicBezTo>
                  <a:cubicBezTo>
                    <a:pt x="96686" y="293761"/>
                    <a:pt x="79823" y="309923"/>
                    <a:pt x="55230" y="301491"/>
                  </a:cubicBezTo>
                  <a:cubicBezTo>
                    <a:pt x="28528" y="292356"/>
                    <a:pt x="8853" y="274087"/>
                    <a:pt x="2530" y="243872"/>
                  </a:cubicBezTo>
                  <a:cubicBezTo>
                    <a:pt x="-5902" y="201010"/>
                    <a:pt x="6746" y="166579"/>
                    <a:pt x="40473" y="146905"/>
                  </a:cubicBezTo>
                  <a:cubicBezTo>
                    <a:pt x="65067" y="132148"/>
                    <a:pt x="82633" y="136365"/>
                    <a:pt x="105119" y="160255"/>
                  </a:cubicBezTo>
                  <a:cubicBezTo>
                    <a:pt x="111443" y="167282"/>
                    <a:pt x="114956" y="181335"/>
                    <a:pt x="127604" y="175714"/>
                  </a:cubicBezTo>
                  <a:cubicBezTo>
                    <a:pt x="140252" y="170092"/>
                    <a:pt x="149386" y="159552"/>
                    <a:pt x="149386" y="143391"/>
                  </a:cubicBezTo>
                  <a:cubicBezTo>
                    <a:pt x="149386" y="103339"/>
                    <a:pt x="150089" y="63287"/>
                    <a:pt x="148684" y="23236"/>
                  </a:cubicBezTo>
                  <a:cubicBezTo>
                    <a:pt x="147981" y="6372"/>
                    <a:pt x="150792" y="-655"/>
                    <a:pt x="170466" y="48"/>
                  </a:cubicBezTo>
                  <a:cubicBezTo>
                    <a:pt x="210518" y="2156"/>
                    <a:pt x="250570" y="751"/>
                    <a:pt x="290622" y="751"/>
                  </a:cubicBezTo>
                  <a:cubicBezTo>
                    <a:pt x="307486" y="751"/>
                    <a:pt x="320836" y="7074"/>
                    <a:pt x="330673" y="19722"/>
                  </a:cubicBezTo>
                  <a:cubicBezTo>
                    <a:pt x="341916" y="33775"/>
                    <a:pt x="344024" y="46424"/>
                    <a:pt x="327160" y="59072"/>
                  </a:cubicBezTo>
                  <a:cubicBezTo>
                    <a:pt x="312404" y="70314"/>
                    <a:pt x="292730" y="82259"/>
                    <a:pt x="301864" y="105447"/>
                  </a:cubicBezTo>
                  <a:cubicBezTo>
                    <a:pt x="311702" y="129338"/>
                    <a:pt x="329268" y="146202"/>
                    <a:pt x="357375" y="148310"/>
                  </a:cubicBezTo>
                  <a:cubicBezTo>
                    <a:pt x="379860" y="150418"/>
                    <a:pt x="400940" y="149013"/>
                    <a:pt x="419209" y="132851"/>
                  </a:cubicBezTo>
                  <a:cubicBezTo>
                    <a:pt x="448018" y="106150"/>
                    <a:pt x="448018" y="89286"/>
                    <a:pt x="419209" y="63287"/>
                  </a:cubicBezTo>
                  <a:cubicBezTo>
                    <a:pt x="410777" y="56261"/>
                    <a:pt x="396724" y="50640"/>
                    <a:pt x="401643" y="35884"/>
                  </a:cubicBezTo>
                  <a:cubicBezTo>
                    <a:pt x="407264" y="19020"/>
                    <a:pt x="418506" y="2859"/>
                    <a:pt x="437478" y="2156"/>
                  </a:cubicBezTo>
                  <a:cubicBezTo>
                    <a:pt x="485962" y="48"/>
                    <a:pt x="534446" y="751"/>
                    <a:pt x="582228" y="751"/>
                  </a:cubicBezTo>
                  <a:cubicBezTo>
                    <a:pt x="596983" y="751"/>
                    <a:pt x="591362" y="11993"/>
                    <a:pt x="591362" y="19020"/>
                  </a:cubicBezTo>
                  <a:cubicBezTo>
                    <a:pt x="592065" y="57666"/>
                    <a:pt x="591362" y="95610"/>
                    <a:pt x="591362" y="134257"/>
                  </a:cubicBezTo>
                  <a:cubicBezTo>
                    <a:pt x="591362" y="143391"/>
                    <a:pt x="592065" y="152526"/>
                    <a:pt x="596983" y="160255"/>
                  </a:cubicBezTo>
                  <a:cubicBezTo>
                    <a:pt x="608929" y="179930"/>
                    <a:pt x="618766" y="180632"/>
                    <a:pt x="634224" y="164471"/>
                  </a:cubicBezTo>
                  <a:cubicBezTo>
                    <a:pt x="665142" y="130041"/>
                    <a:pt x="692545" y="130743"/>
                    <a:pt x="722760" y="165174"/>
                  </a:cubicBezTo>
                  <a:cubicBezTo>
                    <a:pt x="758596" y="205928"/>
                    <a:pt x="743840" y="274790"/>
                    <a:pt x="695356" y="298680"/>
                  </a:cubicBezTo>
                  <a:cubicBezTo>
                    <a:pt x="671465" y="310625"/>
                    <a:pt x="653899" y="300788"/>
                    <a:pt x="637035" y="283221"/>
                  </a:cubicBezTo>
                  <a:cubicBezTo>
                    <a:pt x="630711" y="276195"/>
                    <a:pt x="627901" y="260033"/>
                    <a:pt x="613144" y="267060"/>
                  </a:cubicBezTo>
                  <a:cubicBezTo>
                    <a:pt x="599794" y="273384"/>
                    <a:pt x="591362" y="285330"/>
                    <a:pt x="591362" y="302193"/>
                  </a:cubicBezTo>
                  <a:cubicBezTo>
                    <a:pt x="591362" y="341543"/>
                    <a:pt x="590659" y="380892"/>
                    <a:pt x="592065" y="420241"/>
                  </a:cubicBezTo>
                  <a:cubicBezTo>
                    <a:pt x="592767" y="437807"/>
                    <a:pt x="588551" y="443429"/>
                    <a:pt x="570282" y="442726"/>
                  </a:cubicBezTo>
                  <a:cubicBezTo>
                    <a:pt x="504232" y="440618"/>
                    <a:pt x="437478" y="441321"/>
                    <a:pt x="370725" y="441321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E554016-B184-4483-8B96-964370A5E8ED}"/>
                </a:ext>
              </a:extLst>
            </p:cNvPr>
            <p:cNvSpPr/>
            <p:nvPr userDrawn="1"/>
          </p:nvSpPr>
          <p:spPr>
            <a:xfrm rot="20646057">
              <a:off x="8156275" y="77241"/>
              <a:ext cx="835945" cy="626959"/>
            </a:xfrm>
            <a:custGeom>
              <a:avLst/>
              <a:gdLst>
                <a:gd name="connsiteX0" fmla="*/ 371948 w 590237"/>
                <a:gd name="connsiteY0" fmla="*/ 1405 h 442678"/>
                <a:gd name="connsiteX1" fmla="*/ 569397 w 590237"/>
                <a:gd name="connsiteY1" fmla="*/ 1405 h 442678"/>
                <a:gd name="connsiteX2" fmla="*/ 592584 w 590237"/>
                <a:gd name="connsiteY2" fmla="*/ 23188 h 442678"/>
                <a:gd name="connsiteX3" fmla="*/ 592584 w 590237"/>
                <a:gd name="connsiteY3" fmla="*/ 140533 h 442678"/>
                <a:gd name="connsiteX4" fmla="*/ 575018 w 590237"/>
                <a:gd name="connsiteY4" fmla="*/ 181287 h 442678"/>
                <a:gd name="connsiteX5" fmla="*/ 531453 w 590237"/>
                <a:gd name="connsiteY5" fmla="*/ 178477 h 442678"/>
                <a:gd name="connsiteX6" fmla="*/ 447836 w 590237"/>
                <a:gd name="connsiteY6" fmla="*/ 194638 h 442678"/>
                <a:gd name="connsiteX7" fmla="*/ 467510 w 590237"/>
                <a:gd name="connsiteY7" fmla="*/ 279660 h 442678"/>
                <a:gd name="connsiteX8" fmla="*/ 526534 w 590237"/>
                <a:gd name="connsiteY8" fmla="*/ 275444 h 442678"/>
                <a:gd name="connsiteX9" fmla="*/ 560262 w 590237"/>
                <a:gd name="connsiteY9" fmla="*/ 255067 h 442678"/>
                <a:gd name="connsiteX10" fmla="*/ 592584 w 590237"/>
                <a:gd name="connsiteY10" fmla="*/ 301443 h 442678"/>
                <a:gd name="connsiteX11" fmla="*/ 593287 w 590237"/>
                <a:gd name="connsiteY11" fmla="*/ 427220 h 442678"/>
                <a:gd name="connsiteX12" fmla="*/ 574315 w 590237"/>
                <a:gd name="connsiteY12" fmla="*/ 444786 h 442678"/>
                <a:gd name="connsiteX13" fmla="*/ 451349 w 590237"/>
                <a:gd name="connsiteY13" fmla="*/ 444786 h 442678"/>
                <a:gd name="connsiteX14" fmla="*/ 409892 w 590237"/>
                <a:gd name="connsiteY14" fmla="*/ 422301 h 442678"/>
                <a:gd name="connsiteX15" fmla="*/ 414108 w 590237"/>
                <a:gd name="connsiteY15" fmla="*/ 385060 h 442678"/>
                <a:gd name="connsiteX16" fmla="*/ 438701 w 590237"/>
                <a:gd name="connsiteY16" fmla="*/ 335873 h 442678"/>
                <a:gd name="connsiteX17" fmla="*/ 378975 w 590237"/>
                <a:gd name="connsiteY17" fmla="*/ 295821 h 442678"/>
                <a:gd name="connsiteX18" fmla="*/ 315032 w 590237"/>
                <a:gd name="connsiteY18" fmla="*/ 319010 h 442678"/>
                <a:gd name="connsiteX19" fmla="*/ 319248 w 590237"/>
                <a:gd name="connsiteY19" fmla="*/ 377331 h 442678"/>
                <a:gd name="connsiteX20" fmla="*/ 338923 w 590237"/>
                <a:gd name="connsiteY20" fmla="*/ 411761 h 442678"/>
                <a:gd name="connsiteX21" fmla="*/ 292547 w 590237"/>
                <a:gd name="connsiteY21" fmla="*/ 444084 h 442678"/>
                <a:gd name="connsiteX22" fmla="*/ 169581 w 590237"/>
                <a:gd name="connsiteY22" fmla="*/ 444786 h 442678"/>
                <a:gd name="connsiteX23" fmla="*/ 149203 w 590237"/>
                <a:gd name="connsiteY23" fmla="*/ 422301 h 442678"/>
                <a:gd name="connsiteX24" fmla="*/ 149203 w 590237"/>
                <a:gd name="connsiteY24" fmla="*/ 307064 h 442678"/>
                <a:gd name="connsiteX25" fmla="*/ 143582 w 590237"/>
                <a:gd name="connsiteY25" fmla="*/ 281066 h 442678"/>
                <a:gd name="connsiteX26" fmla="*/ 107746 w 590237"/>
                <a:gd name="connsiteY26" fmla="*/ 278958 h 442678"/>
                <a:gd name="connsiteX27" fmla="*/ 19913 w 590237"/>
                <a:gd name="connsiteY27" fmla="*/ 278958 h 442678"/>
                <a:gd name="connsiteX28" fmla="*/ 33966 w 590237"/>
                <a:gd name="connsiteY28" fmla="*/ 152478 h 442678"/>
                <a:gd name="connsiteX29" fmla="*/ 103530 w 590237"/>
                <a:gd name="connsiteY29" fmla="*/ 158802 h 442678"/>
                <a:gd name="connsiteX30" fmla="*/ 129529 w 590237"/>
                <a:gd name="connsiteY30" fmla="*/ 175666 h 442678"/>
                <a:gd name="connsiteX31" fmla="*/ 149203 w 590237"/>
                <a:gd name="connsiteY31" fmla="*/ 139830 h 442678"/>
                <a:gd name="connsiteX32" fmla="*/ 148501 w 590237"/>
                <a:gd name="connsiteY32" fmla="*/ 24593 h 442678"/>
                <a:gd name="connsiteX33" fmla="*/ 172391 w 590237"/>
                <a:gd name="connsiteY33" fmla="*/ 0 h 442678"/>
                <a:gd name="connsiteX34" fmla="*/ 371948 w 590237"/>
                <a:gd name="connsiteY34" fmla="*/ 140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90237" h="442678">
                  <a:moveTo>
                    <a:pt x="371948" y="1405"/>
                  </a:moveTo>
                  <a:cubicBezTo>
                    <a:pt x="437998" y="1405"/>
                    <a:pt x="503346" y="2108"/>
                    <a:pt x="569397" y="1405"/>
                  </a:cubicBezTo>
                  <a:cubicBezTo>
                    <a:pt x="585558" y="1405"/>
                    <a:pt x="593990" y="3513"/>
                    <a:pt x="592584" y="23188"/>
                  </a:cubicBezTo>
                  <a:cubicBezTo>
                    <a:pt x="591179" y="62537"/>
                    <a:pt x="591882" y="101886"/>
                    <a:pt x="592584" y="140533"/>
                  </a:cubicBezTo>
                  <a:cubicBezTo>
                    <a:pt x="592584" y="157397"/>
                    <a:pt x="586963" y="170747"/>
                    <a:pt x="575018" y="181287"/>
                  </a:cubicBezTo>
                  <a:cubicBezTo>
                    <a:pt x="559559" y="195340"/>
                    <a:pt x="546208" y="196043"/>
                    <a:pt x="531453" y="178477"/>
                  </a:cubicBezTo>
                  <a:cubicBezTo>
                    <a:pt x="501238" y="141938"/>
                    <a:pt x="463997" y="150370"/>
                    <a:pt x="447836" y="194638"/>
                  </a:cubicBezTo>
                  <a:cubicBezTo>
                    <a:pt x="436593" y="226258"/>
                    <a:pt x="444322" y="259283"/>
                    <a:pt x="467510" y="279660"/>
                  </a:cubicBezTo>
                  <a:cubicBezTo>
                    <a:pt x="489995" y="298632"/>
                    <a:pt x="506157" y="297227"/>
                    <a:pt x="526534" y="275444"/>
                  </a:cubicBezTo>
                  <a:cubicBezTo>
                    <a:pt x="535669" y="265607"/>
                    <a:pt x="541290" y="246635"/>
                    <a:pt x="560262" y="255067"/>
                  </a:cubicBezTo>
                  <a:cubicBezTo>
                    <a:pt x="579936" y="263499"/>
                    <a:pt x="592584" y="278255"/>
                    <a:pt x="592584" y="301443"/>
                  </a:cubicBezTo>
                  <a:cubicBezTo>
                    <a:pt x="592584" y="343603"/>
                    <a:pt x="591882" y="385763"/>
                    <a:pt x="593287" y="427220"/>
                  </a:cubicBezTo>
                  <a:cubicBezTo>
                    <a:pt x="593990" y="442678"/>
                    <a:pt x="587666" y="444786"/>
                    <a:pt x="574315" y="444786"/>
                  </a:cubicBezTo>
                  <a:cubicBezTo>
                    <a:pt x="533561" y="444084"/>
                    <a:pt x="492103" y="444084"/>
                    <a:pt x="451349" y="444786"/>
                  </a:cubicBezTo>
                  <a:cubicBezTo>
                    <a:pt x="433080" y="444786"/>
                    <a:pt x="420432" y="436354"/>
                    <a:pt x="409892" y="422301"/>
                  </a:cubicBezTo>
                  <a:cubicBezTo>
                    <a:pt x="399352" y="408248"/>
                    <a:pt x="399352" y="396303"/>
                    <a:pt x="414108" y="385060"/>
                  </a:cubicBezTo>
                  <a:cubicBezTo>
                    <a:pt x="430269" y="373114"/>
                    <a:pt x="449241" y="360467"/>
                    <a:pt x="438701" y="335873"/>
                  </a:cubicBezTo>
                  <a:cubicBezTo>
                    <a:pt x="427458" y="311280"/>
                    <a:pt x="408486" y="295821"/>
                    <a:pt x="378975" y="295821"/>
                  </a:cubicBezTo>
                  <a:cubicBezTo>
                    <a:pt x="354381" y="295821"/>
                    <a:pt x="331896" y="297930"/>
                    <a:pt x="315032" y="319010"/>
                  </a:cubicBezTo>
                  <a:cubicBezTo>
                    <a:pt x="296060" y="342197"/>
                    <a:pt x="297465" y="356953"/>
                    <a:pt x="319248" y="377331"/>
                  </a:cubicBezTo>
                  <a:cubicBezTo>
                    <a:pt x="329085" y="386465"/>
                    <a:pt x="347355" y="393492"/>
                    <a:pt x="338923" y="411761"/>
                  </a:cubicBezTo>
                  <a:cubicBezTo>
                    <a:pt x="330491" y="430733"/>
                    <a:pt x="315735" y="444084"/>
                    <a:pt x="292547" y="444084"/>
                  </a:cubicBezTo>
                  <a:cubicBezTo>
                    <a:pt x="251792" y="444084"/>
                    <a:pt x="210335" y="442678"/>
                    <a:pt x="169581" y="444786"/>
                  </a:cubicBezTo>
                  <a:cubicBezTo>
                    <a:pt x="151311" y="445489"/>
                    <a:pt x="149203" y="437760"/>
                    <a:pt x="149203" y="422301"/>
                  </a:cubicBezTo>
                  <a:cubicBezTo>
                    <a:pt x="149906" y="383654"/>
                    <a:pt x="149906" y="345711"/>
                    <a:pt x="149203" y="307064"/>
                  </a:cubicBezTo>
                  <a:cubicBezTo>
                    <a:pt x="149203" y="297930"/>
                    <a:pt x="149906" y="288795"/>
                    <a:pt x="143582" y="281066"/>
                  </a:cubicBezTo>
                  <a:cubicBezTo>
                    <a:pt x="132339" y="267715"/>
                    <a:pt x="123205" y="259986"/>
                    <a:pt x="107746" y="278958"/>
                  </a:cubicBezTo>
                  <a:cubicBezTo>
                    <a:pt x="78234" y="315496"/>
                    <a:pt x="50830" y="314091"/>
                    <a:pt x="19913" y="278958"/>
                  </a:cubicBezTo>
                  <a:cubicBezTo>
                    <a:pt x="-11707" y="243122"/>
                    <a:pt x="-4680" y="181287"/>
                    <a:pt x="33966" y="152478"/>
                  </a:cubicBezTo>
                  <a:cubicBezTo>
                    <a:pt x="60668" y="132804"/>
                    <a:pt x="80342" y="134912"/>
                    <a:pt x="103530" y="158802"/>
                  </a:cubicBezTo>
                  <a:cubicBezTo>
                    <a:pt x="110557" y="165829"/>
                    <a:pt x="112665" y="184098"/>
                    <a:pt x="129529" y="175666"/>
                  </a:cubicBezTo>
                  <a:cubicBezTo>
                    <a:pt x="143582" y="168639"/>
                    <a:pt x="149203" y="155991"/>
                    <a:pt x="149203" y="139830"/>
                  </a:cubicBezTo>
                  <a:cubicBezTo>
                    <a:pt x="148501" y="101184"/>
                    <a:pt x="149906" y="63240"/>
                    <a:pt x="148501" y="24593"/>
                  </a:cubicBezTo>
                  <a:cubicBezTo>
                    <a:pt x="147798" y="5621"/>
                    <a:pt x="152717" y="0"/>
                    <a:pt x="172391" y="0"/>
                  </a:cubicBezTo>
                  <a:cubicBezTo>
                    <a:pt x="238442" y="2108"/>
                    <a:pt x="305195" y="1405"/>
                    <a:pt x="371948" y="1405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F6965EC-04FC-490E-8D86-4B8EBA589F67}"/>
                </a:ext>
              </a:extLst>
            </p:cNvPr>
            <p:cNvSpPr/>
            <p:nvPr userDrawn="1"/>
          </p:nvSpPr>
          <p:spPr>
            <a:xfrm>
              <a:off x="9787090" y="380752"/>
              <a:ext cx="600368" cy="800490"/>
            </a:xfrm>
            <a:custGeom>
              <a:avLst/>
              <a:gdLst>
                <a:gd name="connsiteX0" fmla="*/ 222808 w 442678"/>
                <a:gd name="connsiteY0" fmla="*/ 592910 h 590237"/>
                <a:gd name="connsiteX1" fmla="*/ 22549 w 442678"/>
                <a:gd name="connsiteY1" fmla="*/ 593613 h 590237"/>
                <a:gd name="connsiteX2" fmla="*/ 64 w 442678"/>
                <a:gd name="connsiteY2" fmla="*/ 570425 h 590237"/>
                <a:gd name="connsiteX3" fmla="*/ 64 w 442678"/>
                <a:gd name="connsiteY3" fmla="*/ 457998 h 590237"/>
                <a:gd name="connsiteX4" fmla="*/ 15523 w 442678"/>
                <a:gd name="connsiteY4" fmla="*/ 415839 h 590237"/>
                <a:gd name="connsiteX5" fmla="*/ 62601 w 442678"/>
                <a:gd name="connsiteY5" fmla="*/ 417947 h 590237"/>
                <a:gd name="connsiteX6" fmla="*/ 104761 w 442678"/>
                <a:gd name="connsiteY6" fmla="*/ 440432 h 590237"/>
                <a:gd name="connsiteX7" fmla="*/ 147624 w 442678"/>
                <a:gd name="connsiteY7" fmla="*/ 391245 h 590237"/>
                <a:gd name="connsiteX8" fmla="*/ 127246 w 442678"/>
                <a:gd name="connsiteY8" fmla="*/ 316061 h 590237"/>
                <a:gd name="connsiteX9" fmla="*/ 66817 w 442678"/>
                <a:gd name="connsiteY9" fmla="*/ 319574 h 590237"/>
                <a:gd name="connsiteX10" fmla="*/ 35900 w 442678"/>
                <a:gd name="connsiteY10" fmla="*/ 339249 h 590237"/>
                <a:gd name="connsiteX11" fmla="*/ 1469 w 442678"/>
                <a:gd name="connsiteY11" fmla="*/ 297791 h 590237"/>
                <a:gd name="connsiteX12" fmla="*/ 767 w 442678"/>
                <a:gd name="connsiteY12" fmla="*/ 163583 h 590237"/>
                <a:gd name="connsiteX13" fmla="*/ 19036 w 442678"/>
                <a:gd name="connsiteY13" fmla="*/ 150934 h 590237"/>
                <a:gd name="connsiteX14" fmla="*/ 137084 w 442678"/>
                <a:gd name="connsiteY14" fmla="*/ 150934 h 590237"/>
                <a:gd name="connsiteX15" fmla="*/ 165190 w 442678"/>
                <a:gd name="connsiteY15" fmla="*/ 143205 h 590237"/>
                <a:gd name="connsiteX16" fmla="*/ 166595 w 442678"/>
                <a:gd name="connsiteY16" fmla="*/ 107369 h 590237"/>
                <a:gd name="connsiteX17" fmla="*/ 163785 w 442678"/>
                <a:gd name="connsiteY17" fmla="*/ 22347 h 590237"/>
                <a:gd name="connsiteX18" fmla="*/ 290967 w 442678"/>
                <a:gd name="connsiteY18" fmla="*/ 30779 h 590237"/>
                <a:gd name="connsiteX19" fmla="*/ 286048 w 442678"/>
                <a:gd name="connsiteY19" fmla="*/ 104559 h 590237"/>
                <a:gd name="connsiteX20" fmla="*/ 270590 w 442678"/>
                <a:gd name="connsiteY20" fmla="*/ 129152 h 590237"/>
                <a:gd name="connsiteX21" fmla="*/ 303615 w 442678"/>
                <a:gd name="connsiteY21" fmla="*/ 150232 h 590237"/>
                <a:gd name="connsiteX22" fmla="*/ 421662 w 442678"/>
                <a:gd name="connsiteY22" fmla="*/ 149529 h 590237"/>
                <a:gd name="connsiteX23" fmla="*/ 446256 w 442678"/>
                <a:gd name="connsiteY23" fmla="*/ 175528 h 590237"/>
                <a:gd name="connsiteX24" fmla="*/ 446256 w 442678"/>
                <a:gd name="connsiteY24" fmla="*/ 287954 h 590237"/>
                <a:gd name="connsiteX25" fmla="*/ 428689 w 442678"/>
                <a:gd name="connsiteY25" fmla="*/ 329411 h 590237"/>
                <a:gd name="connsiteX26" fmla="*/ 385827 w 442678"/>
                <a:gd name="connsiteY26" fmla="*/ 327303 h 590237"/>
                <a:gd name="connsiteX27" fmla="*/ 342261 w 442678"/>
                <a:gd name="connsiteY27" fmla="*/ 303412 h 590237"/>
                <a:gd name="connsiteX28" fmla="*/ 298696 w 442678"/>
                <a:gd name="connsiteY28" fmla="*/ 357518 h 590237"/>
                <a:gd name="connsiteX29" fmla="*/ 318371 w 442678"/>
                <a:gd name="connsiteY29" fmla="*/ 425676 h 590237"/>
                <a:gd name="connsiteX30" fmla="*/ 380908 w 442678"/>
                <a:gd name="connsiteY30" fmla="*/ 422865 h 590237"/>
                <a:gd name="connsiteX31" fmla="*/ 415338 w 442678"/>
                <a:gd name="connsiteY31" fmla="*/ 404596 h 590237"/>
                <a:gd name="connsiteX32" fmla="*/ 446256 w 442678"/>
                <a:gd name="connsiteY32" fmla="*/ 446054 h 590237"/>
                <a:gd name="connsiteX33" fmla="*/ 446958 w 442678"/>
                <a:gd name="connsiteY33" fmla="*/ 577451 h 590237"/>
                <a:gd name="connsiteX34" fmla="*/ 425878 w 442678"/>
                <a:gd name="connsiteY34" fmla="*/ 592910 h 590237"/>
                <a:gd name="connsiteX35" fmla="*/ 222808 w 442678"/>
                <a:gd name="connsiteY35" fmla="*/ 59291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222808" y="592910"/>
                  </a:moveTo>
                  <a:cubicBezTo>
                    <a:pt x="156055" y="592910"/>
                    <a:pt x="89302" y="592208"/>
                    <a:pt x="22549" y="593613"/>
                  </a:cubicBezTo>
                  <a:cubicBezTo>
                    <a:pt x="4280" y="593613"/>
                    <a:pt x="-639" y="588694"/>
                    <a:pt x="64" y="570425"/>
                  </a:cubicBezTo>
                  <a:cubicBezTo>
                    <a:pt x="1469" y="533184"/>
                    <a:pt x="767" y="495240"/>
                    <a:pt x="64" y="457998"/>
                  </a:cubicBezTo>
                  <a:cubicBezTo>
                    <a:pt x="64" y="441837"/>
                    <a:pt x="3577" y="427784"/>
                    <a:pt x="15523" y="415839"/>
                  </a:cubicBezTo>
                  <a:cubicBezTo>
                    <a:pt x="33792" y="397570"/>
                    <a:pt x="45035" y="397570"/>
                    <a:pt x="62601" y="417947"/>
                  </a:cubicBezTo>
                  <a:cubicBezTo>
                    <a:pt x="73844" y="431297"/>
                    <a:pt x="85086" y="448161"/>
                    <a:pt x="104761" y="440432"/>
                  </a:cubicBezTo>
                  <a:cubicBezTo>
                    <a:pt x="126544" y="432000"/>
                    <a:pt x="144813" y="417244"/>
                    <a:pt x="147624" y="391245"/>
                  </a:cubicBezTo>
                  <a:cubicBezTo>
                    <a:pt x="150434" y="363842"/>
                    <a:pt x="152542" y="336438"/>
                    <a:pt x="127246" y="316061"/>
                  </a:cubicBezTo>
                  <a:cubicBezTo>
                    <a:pt x="102653" y="295683"/>
                    <a:pt x="87897" y="296386"/>
                    <a:pt x="66817" y="319574"/>
                  </a:cubicBezTo>
                  <a:cubicBezTo>
                    <a:pt x="58385" y="328709"/>
                    <a:pt x="54169" y="345572"/>
                    <a:pt x="35900" y="339249"/>
                  </a:cubicBezTo>
                  <a:cubicBezTo>
                    <a:pt x="15523" y="332222"/>
                    <a:pt x="2172" y="318169"/>
                    <a:pt x="1469" y="297791"/>
                  </a:cubicBezTo>
                  <a:cubicBezTo>
                    <a:pt x="-639" y="252821"/>
                    <a:pt x="1469" y="208553"/>
                    <a:pt x="767" y="163583"/>
                  </a:cubicBezTo>
                  <a:cubicBezTo>
                    <a:pt x="767" y="148827"/>
                    <a:pt x="9901" y="150934"/>
                    <a:pt x="19036" y="150934"/>
                  </a:cubicBezTo>
                  <a:cubicBezTo>
                    <a:pt x="58385" y="150934"/>
                    <a:pt x="97734" y="150934"/>
                    <a:pt x="137084" y="150934"/>
                  </a:cubicBezTo>
                  <a:cubicBezTo>
                    <a:pt x="147624" y="150934"/>
                    <a:pt x="157461" y="150232"/>
                    <a:pt x="165190" y="143205"/>
                  </a:cubicBezTo>
                  <a:cubicBezTo>
                    <a:pt x="178541" y="131963"/>
                    <a:pt x="185567" y="122828"/>
                    <a:pt x="166595" y="107369"/>
                  </a:cubicBezTo>
                  <a:cubicBezTo>
                    <a:pt x="132165" y="80668"/>
                    <a:pt x="132165" y="53264"/>
                    <a:pt x="163785" y="22347"/>
                  </a:cubicBezTo>
                  <a:cubicBezTo>
                    <a:pt x="197513" y="-10678"/>
                    <a:pt x="260752" y="-6462"/>
                    <a:pt x="290967" y="30779"/>
                  </a:cubicBezTo>
                  <a:cubicBezTo>
                    <a:pt x="314155" y="58885"/>
                    <a:pt x="312047" y="79263"/>
                    <a:pt x="286048" y="104559"/>
                  </a:cubicBezTo>
                  <a:cubicBezTo>
                    <a:pt x="279022" y="111585"/>
                    <a:pt x="263563" y="115099"/>
                    <a:pt x="270590" y="129152"/>
                  </a:cubicBezTo>
                  <a:cubicBezTo>
                    <a:pt x="276914" y="141800"/>
                    <a:pt x="288156" y="150232"/>
                    <a:pt x="303615" y="150232"/>
                  </a:cubicBezTo>
                  <a:cubicBezTo>
                    <a:pt x="342964" y="150232"/>
                    <a:pt x="382313" y="151637"/>
                    <a:pt x="421662" y="149529"/>
                  </a:cubicBezTo>
                  <a:cubicBezTo>
                    <a:pt x="443445" y="148124"/>
                    <a:pt x="446958" y="155853"/>
                    <a:pt x="446256" y="175528"/>
                  </a:cubicBezTo>
                  <a:cubicBezTo>
                    <a:pt x="444850" y="212769"/>
                    <a:pt x="445553" y="250713"/>
                    <a:pt x="446256" y="287954"/>
                  </a:cubicBezTo>
                  <a:cubicBezTo>
                    <a:pt x="446256" y="304818"/>
                    <a:pt x="441337" y="318169"/>
                    <a:pt x="428689" y="329411"/>
                  </a:cubicBezTo>
                  <a:cubicBezTo>
                    <a:pt x="413933" y="342059"/>
                    <a:pt x="399880" y="346275"/>
                    <a:pt x="385827" y="327303"/>
                  </a:cubicBezTo>
                  <a:cubicBezTo>
                    <a:pt x="375287" y="313250"/>
                    <a:pt x="364044" y="295683"/>
                    <a:pt x="342261" y="303412"/>
                  </a:cubicBezTo>
                  <a:cubicBezTo>
                    <a:pt x="316965" y="312547"/>
                    <a:pt x="300804" y="330114"/>
                    <a:pt x="298696" y="357518"/>
                  </a:cubicBezTo>
                  <a:cubicBezTo>
                    <a:pt x="296588" y="382814"/>
                    <a:pt x="297994" y="406704"/>
                    <a:pt x="318371" y="425676"/>
                  </a:cubicBezTo>
                  <a:cubicBezTo>
                    <a:pt x="342964" y="448161"/>
                    <a:pt x="358423" y="447459"/>
                    <a:pt x="380908" y="422865"/>
                  </a:cubicBezTo>
                  <a:cubicBezTo>
                    <a:pt x="390043" y="412325"/>
                    <a:pt x="397069" y="395462"/>
                    <a:pt x="415338" y="404596"/>
                  </a:cubicBezTo>
                  <a:cubicBezTo>
                    <a:pt x="432202" y="413028"/>
                    <a:pt x="445553" y="425676"/>
                    <a:pt x="446256" y="446054"/>
                  </a:cubicBezTo>
                  <a:cubicBezTo>
                    <a:pt x="446958" y="489618"/>
                    <a:pt x="445553" y="533887"/>
                    <a:pt x="446958" y="577451"/>
                  </a:cubicBezTo>
                  <a:cubicBezTo>
                    <a:pt x="447661" y="595721"/>
                    <a:pt x="436418" y="592910"/>
                    <a:pt x="425878" y="592910"/>
                  </a:cubicBezTo>
                  <a:cubicBezTo>
                    <a:pt x="355612" y="592910"/>
                    <a:pt x="288859" y="592910"/>
                    <a:pt x="222808" y="59291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69E9519-FC5F-42DC-888E-F76B1442DC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11390" y="339509"/>
            <a:ext cx="10485335" cy="72424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5400" b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FEDF005-A82B-4E67-AD97-45C438F8EB8A}"/>
              </a:ext>
            </a:extLst>
          </p:cNvPr>
          <p:cNvGrpSpPr/>
          <p:nvPr userDrawn="1"/>
        </p:nvGrpSpPr>
        <p:grpSpPr>
          <a:xfrm flipH="1">
            <a:off x="0" y="0"/>
            <a:ext cx="1208773" cy="1190767"/>
            <a:chOff x="11145152" y="142875"/>
            <a:chExt cx="1208773" cy="1190767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077815F-6DCC-4DCD-B5ED-88D8E8EA61C1}"/>
                </a:ext>
              </a:extLst>
            </p:cNvPr>
            <p:cNvSpPr/>
            <p:nvPr userDrawn="1"/>
          </p:nvSpPr>
          <p:spPr>
            <a:xfrm>
              <a:off x="11753557" y="142875"/>
              <a:ext cx="600368" cy="800490"/>
            </a:xfrm>
            <a:custGeom>
              <a:avLst/>
              <a:gdLst>
                <a:gd name="connsiteX0" fmla="*/ 220672 w 442678"/>
                <a:gd name="connsiteY0" fmla="*/ 1219 h 590237"/>
                <a:gd name="connsiteX1" fmla="*/ 420228 w 442678"/>
                <a:gd name="connsiteY1" fmla="*/ 516 h 590237"/>
                <a:gd name="connsiteX2" fmla="*/ 443416 w 442678"/>
                <a:gd name="connsiteY2" fmla="*/ 23002 h 590237"/>
                <a:gd name="connsiteX3" fmla="*/ 443416 w 442678"/>
                <a:gd name="connsiteY3" fmla="*/ 420007 h 590237"/>
                <a:gd name="connsiteX4" fmla="*/ 419526 w 442678"/>
                <a:gd name="connsiteY4" fmla="*/ 443897 h 590237"/>
                <a:gd name="connsiteX5" fmla="*/ 304289 w 442678"/>
                <a:gd name="connsiteY5" fmla="*/ 443194 h 590237"/>
                <a:gd name="connsiteX6" fmla="*/ 274777 w 442678"/>
                <a:gd name="connsiteY6" fmla="*/ 453734 h 590237"/>
                <a:gd name="connsiteX7" fmla="*/ 275480 w 442678"/>
                <a:gd name="connsiteY7" fmla="*/ 481841 h 590237"/>
                <a:gd name="connsiteX8" fmla="*/ 302181 w 442678"/>
                <a:gd name="connsiteY8" fmla="*/ 536649 h 590237"/>
                <a:gd name="connsiteX9" fmla="*/ 244562 w 442678"/>
                <a:gd name="connsiteY9" fmla="*/ 589349 h 590237"/>
                <a:gd name="connsiteX10" fmla="*/ 147595 w 442678"/>
                <a:gd name="connsiteY10" fmla="*/ 552107 h 590237"/>
                <a:gd name="connsiteX11" fmla="*/ 160243 w 442678"/>
                <a:gd name="connsiteY11" fmla="*/ 487462 h 590237"/>
                <a:gd name="connsiteX12" fmla="*/ 175701 w 442678"/>
                <a:gd name="connsiteY12" fmla="*/ 464977 h 590237"/>
                <a:gd name="connsiteX13" fmla="*/ 144081 w 442678"/>
                <a:gd name="connsiteY13" fmla="*/ 443194 h 590237"/>
                <a:gd name="connsiteX14" fmla="*/ 23926 w 442678"/>
                <a:gd name="connsiteY14" fmla="*/ 443897 h 590237"/>
                <a:gd name="connsiteX15" fmla="*/ 35 w 442678"/>
                <a:gd name="connsiteY15" fmla="*/ 419304 h 590237"/>
                <a:gd name="connsiteX16" fmla="*/ 35 w 442678"/>
                <a:gd name="connsiteY16" fmla="*/ 301959 h 590237"/>
                <a:gd name="connsiteX17" fmla="*/ 25331 w 442678"/>
                <a:gd name="connsiteY17" fmla="*/ 256989 h 590237"/>
                <a:gd name="connsiteX18" fmla="*/ 54843 w 442678"/>
                <a:gd name="connsiteY18" fmla="*/ 259799 h 590237"/>
                <a:gd name="connsiteX19" fmla="*/ 129325 w 442678"/>
                <a:gd name="connsiteY19" fmla="*/ 273852 h 590237"/>
                <a:gd name="connsiteX20" fmla="*/ 132839 w 442678"/>
                <a:gd name="connsiteY20" fmla="*/ 174074 h 590237"/>
                <a:gd name="connsiteX21" fmla="*/ 63275 w 442678"/>
                <a:gd name="connsiteY21" fmla="*/ 172669 h 590237"/>
                <a:gd name="connsiteX22" fmla="*/ 36574 w 442678"/>
                <a:gd name="connsiteY22" fmla="*/ 190938 h 590237"/>
                <a:gd name="connsiteX23" fmla="*/ 2143 w 442678"/>
                <a:gd name="connsiteY23" fmla="*/ 155805 h 590237"/>
                <a:gd name="connsiteX24" fmla="*/ 738 w 442678"/>
                <a:gd name="connsiteY24" fmla="*/ 11056 h 590237"/>
                <a:gd name="connsiteX25" fmla="*/ 21115 w 442678"/>
                <a:gd name="connsiteY25" fmla="*/ 1219 h 590237"/>
                <a:gd name="connsiteX26" fmla="*/ 220672 w 442678"/>
                <a:gd name="connsiteY26" fmla="*/ 1219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42678" h="590237">
                  <a:moveTo>
                    <a:pt x="220672" y="1219"/>
                  </a:moveTo>
                  <a:cubicBezTo>
                    <a:pt x="287425" y="1219"/>
                    <a:pt x="354178" y="1922"/>
                    <a:pt x="420228" y="516"/>
                  </a:cubicBezTo>
                  <a:cubicBezTo>
                    <a:pt x="437795" y="516"/>
                    <a:pt x="443416" y="4732"/>
                    <a:pt x="443416" y="23002"/>
                  </a:cubicBezTo>
                  <a:cubicBezTo>
                    <a:pt x="442714" y="155102"/>
                    <a:pt x="442714" y="287906"/>
                    <a:pt x="443416" y="420007"/>
                  </a:cubicBezTo>
                  <a:cubicBezTo>
                    <a:pt x="443416" y="438978"/>
                    <a:pt x="438498" y="444600"/>
                    <a:pt x="419526" y="443897"/>
                  </a:cubicBezTo>
                  <a:cubicBezTo>
                    <a:pt x="381582" y="442492"/>
                    <a:pt x="342935" y="443194"/>
                    <a:pt x="304289" y="443194"/>
                  </a:cubicBezTo>
                  <a:cubicBezTo>
                    <a:pt x="293046" y="443194"/>
                    <a:pt x="283209" y="444600"/>
                    <a:pt x="274777" y="453734"/>
                  </a:cubicBezTo>
                  <a:cubicBezTo>
                    <a:pt x="264940" y="463572"/>
                    <a:pt x="261426" y="472004"/>
                    <a:pt x="275480" y="481841"/>
                  </a:cubicBezTo>
                  <a:cubicBezTo>
                    <a:pt x="294451" y="494489"/>
                    <a:pt x="310613" y="511353"/>
                    <a:pt x="302181" y="536649"/>
                  </a:cubicBezTo>
                  <a:cubicBezTo>
                    <a:pt x="293046" y="564053"/>
                    <a:pt x="274777" y="583025"/>
                    <a:pt x="244562" y="589349"/>
                  </a:cubicBezTo>
                  <a:cubicBezTo>
                    <a:pt x="200997" y="597781"/>
                    <a:pt x="167269" y="585133"/>
                    <a:pt x="147595" y="552107"/>
                  </a:cubicBezTo>
                  <a:cubicBezTo>
                    <a:pt x="132136" y="526811"/>
                    <a:pt x="136352" y="509948"/>
                    <a:pt x="160243" y="487462"/>
                  </a:cubicBezTo>
                  <a:cubicBezTo>
                    <a:pt x="167269" y="481138"/>
                    <a:pt x="181323" y="478328"/>
                    <a:pt x="175701" y="464977"/>
                  </a:cubicBezTo>
                  <a:cubicBezTo>
                    <a:pt x="170080" y="452329"/>
                    <a:pt x="159540" y="443194"/>
                    <a:pt x="144081" y="443194"/>
                  </a:cubicBezTo>
                  <a:cubicBezTo>
                    <a:pt x="104030" y="443194"/>
                    <a:pt x="63978" y="441789"/>
                    <a:pt x="23926" y="443897"/>
                  </a:cubicBezTo>
                  <a:cubicBezTo>
                    <a:pt x="4251" y="444600"/>
                    <a:pt x="35" y="438276"/>
                    <a:pt x="35" y="419304"/>
                  </a:cubicBezTo>
                  <a:cubicBezTo>
                    <a:pt x="1441" y="379955"/>
                    <a:pt x="738" y="340605"/>
                    <a:pt x="35" y="301959"/>
                  </a:cubicBezTo>
                  <a:cubicBezTo>
                    <a:pt x="-667" y="281582"/>
                    <a:pt x="9170" y="267528"/>
                    <a:pt x="25331" y="256989"/>
                  </a:cubicBezTo>
                  <a:cubicBezTo>
                    <a:pt x="35871" y="249962"/>
                    <a:pt x="45006" y="250665"/>
                    <a:pt x="54843" y="259799"/>
                  </a:cubicBezTo>
                  <a:cubicBezTo>
                    <a:pt x="94895" y="297743"/>
                    <a:pt x="103327" y="299148"/>
                    <a:pt x="129325" y="273852"/>
                  </a:cubicBezTo>
                  <a:cubicBezTo>
                    <a:pt x="153919" y="249259"/>
                    <a:pt x="156027" y="200073"/>
                    <a:pt x="132839" y="174074"/>
                  </a:cubicBezTo>
                  <a:cubicBezTo>
                    <a:pt x="107543" y="144562"/>
                    <a:pt x="87868" y="144562"/>
                    <a:pt x="63275" y="172669"/>
                  </a:cubicBezTo>
                  <a:cubicBezTo>
                    <a:pt x="56248" y="181101"/>
                    <a:pt x="50627" y="195154"/>
                    <a:pt x="36574" y="190938"/>
                  </a:cubicBezTo>
                  <a:cubicBezTo>
                    <a:pt x="19007" y="186019"/>
                    <a:pt x="2846" y="174074"/>
                    <a:pt x="2143" y="155805"/>
                  </a:cubicBezTo>
                  <a:cubicBezTo>
                    <a:pt x="-667" y="107321"/>
                    <a:pt x="738" y="58837"/>
                    <a:pt x="738" y="11056"/>
                  </a:cubicBezTo>
                  <a:cubicBezTo>
                    <a:pt x="738" y="-5105"/>
                    <a:pt x="13386" y="1219"/>
                    <a:pt x="21115" y="1219"/>
                  </a:cubicBezTo>
                  <a:cubicBezTo>
                    <a:pt x="87868" y="1219"/>
                    <a:pt x="153919" y="1219"/>
                    <a:pt x="220672" y="121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F1704E4-5857-4877-9981-98431CCAD570}"/>
                </a:ext>
              </a:extLst>
            </p:cNvPr>
            <p:cNvSpPr/>
            <p:nvPr userDrawn="1"/>
          </p:nvSpPr>
          <p:spPr>
            <a:xfrm>
              <a:off x="11145152" y="142875"/>
              <a:ext cx="800490" cy="600368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7B92359-C30F-45E2-8995-057DD8637F8E}"/>
                </a:ext>
              </a:extLst>
            </p:cNvPr>
            <p:cNvSpPr/>
            <p:nvPr userDrawn="1"/>
          </p:nvSpPr>
          <p:spPr>
            <a:xfrm>
              <a:off x="11553436" y="733275"/>
              <a:ext cx="800489" cy="600367"/>
            </a:xfrm>
            <a:custGeom>
              <a:avLst/>
              <a:gdLst>
                <a:gd name="connsiteX0" fmla="*/ 591733 w 590237"/>
                <a:gd name="connsiteY0" fmla="*/ 225014 h 442678"/>
                <a:gd name="connsiteX1" fmla="*/ 592436 w 590237"/>
                <a:gd name="connsiteY1" fmla="*/ 425273 h 442678"/>
                <a:gd name="connsiteX2" fmla="*/ 572761 w 590237"/>
                <a:gd name="connsiteY2" fmla="*/ 444948 h 442678"/>
                <a:gd name="connsiteX3" fmla="*/ 170135 w 590237"/>
                <a:gd name="connsiteY3" fmla="*/ 444948 h 442678"/>
                <a:gd name="connsiteX4" fmla="*/ 149758 w 590237"/>
                <a:gd name="connsiteY4" fmla="*/ 423165 h 442678"/>
                <a:gd name="connsiteX5" fmla="*/ 150460 w 590237"/>
                <a:gd name="connsiteY5" fmla="*/ 313549 h 442678"/>
                <a:gd name="connsiteX6" fmla="*/ 145542 w 590237"/>
                <a:gd name="connsiteY6" fmla="*/ 284038 h 442678"/>
                <a:gd name="connsiteX7" fmla="*/ 108300 w 590237"/>
                <a:gd name="connsiteY7" fmla="*/ 279822 h 442678"/>
                <a:gd name="connsiteX8" fmla="*/ 21170 w 590237"/>
                <a:gd name="connsiteY8" fmla="*/ 281227 h 442678"/>
                <a:gd name="connsiteX9" fmla="*/ 42953 w 590237"/>
                <a:gd name="connsiteY9" fmla="*/ 147018 h 442678"/>
                <a:gd name="connsiteX10" fmla="*/ 103382 w 590237"/>
                <a:gd name="connsiteY10" fmla="*/ 160369 h 442678"/>
                <a:gd name="connsiteX11" fmla="*/ 127272 w 590237"/>
                <a:gd name="connsiteY11" fmla="*/ 177233 h 442678"/>
                <a:gd name="connsiteX12" fmla="*/ 149758 w 590237"/>
                <a:gd name="connsiteY12" fmla="*/ 142802 h 442678"/>
                <a:gd name="connsiteX13" fmla="*/ 149758 w 590237"/>
                <a:gd name="connsiteY13" fmla="*/ 24755 h 442678"/>
                <a:gd name="connsiteX14" fmla="*/ 172946 w 590237"/>
                <a:gd name="connsiteY14" fmla="*/ 162 h 442678"/>
                <a:gd name="connsiteX15" fmla="*/ 288182 w 590237"/>
                <a:gd name="connsiteY15" fmla="*/ 864 h 442678"/>
                <a:gd name="connsiteX16" fmla="*/ 328937 w 590237"/>
                <a:gd name="connsiteY16" fmla="*/ 19134 h 442678"/>
                <a:gd name="connsiteX17" fmla="*/ 326126 w 590237"/>
                <a:gd name="connsiteY17" fmla="*/ 62699 h 442678"/>
                <a:gd name="connsiteX18" fmla="*/ 302938 w 590237"/>
                <a:gd name="connsiteY18" fmla="*/ 106967 h 442678"/>
                <a:gd name="connsiteX19" fmla="*/ 357746 w 590237"/>
                <a:gd name="connsiteY19" fmla="*/ 149829 h 442678"/>
                <a:gd name="connsiteX20" fmla="*/ 432228 w 590237"/>
                <a:gd name="connsiteY20" fmla="*/ 121020 h 442678"/>
                <a:gd name="connsiteX21" fmla="*/ 423797 w 590237"/>
                <a:gd name="connsiteY21" fmla="*/ 69023 h 442678"/>
                <a:gd name="connsiteX22" fmla="*/ 402717 w 590237"/>
                <a:gd name="connsiteY22" fmla="*/ 35997 h 442678"/>
                <a:gd name="connsiteX23" fmla="*/ 444877 w 590237"/>
                <a:gd name="connsiteY23" fmla="*/ 2269 h 442678"/>
                <a:gd name="connsiteX24" fmla="*/ 579085 w 590237"/>
                <a:gd name="connsiteY24" fmla="*/ 1567 h 442678"/>
                <a:gd name="connsiteX25" fmla="*/ 591031 w 590237"/>
                <a:gd name="connsiteY25" fmla="*/ 19836 h 442678"/>
                <a:gd name="connsiteX26" fmla="*/ 591733 w 590237"/>
                <a:gd name="connsiteY26" fmla="*/ 225014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0237" h="442678">
                  <a:moveTo>
                    <a:pt x="591733" y="225014"/>
                  </a:moveTo>
                  <a:cubicBezTo>
                    <a:pt x="591733" y="291767"/>
                    <a:pt x="591031" y="358520"/>
                    <a:pt x="592436" y="425273"/>
                  </a:cubicBezTo>
                  <a:cubicBezTo>
                    <a:pt x="592436" y="440732"/>
                    <a:pt x="588923" y="444948"/>
                    <a:pt x="572761" y="444948"/>
                  </a:cubicBezTo>
                  <a:cubicBezTo>
                    <a:pt x="438552" y="444245"/>
                    <a:pt x="304344" y="444245"/>
                    <a:pt x="170135" y="444948"/>
                  </a:cubicBezTo>
                  <a:cubicBezTo>
                    <a:pt x="151866" y="444948"/>
                    <a:pt x="149758" y="438624"/>
                    <a:pt x="149758" y="423165"/>
                  </a:cubicBezTo>
                  <a:cubicBezTo>
                    <a:pt x="150460" y="386627"/>
                    <a:pt x="149758" y="350088"/>
                    <a:pt x="150460" y="313549"/>
                  </a:cubicBezTo>
                  <a:cubicBezTo>
                    <a:pt x="150460" y="303712"/>
                    <a:pt x="150460" y="293172"/>
                    <a:pt x="145542" y="284038"/>
                  </a:cubicBezTo>
                  <a:cubicBezTo>
                    <a:pt x="135002" y="265066"/>
                    <a:pt x="122354" y="263661"/>
                    <a:pt x="108300" y="279822"/>
                  </a:cubicBezTo>
                  <a:cubicBezTo>
                    <a:pt x="78086" y="314252"/>
                    <a:pt x="52087" y="314955"/>
                    <a:pt x="21170" y="281227"/>
                  </a:cubicBezTo>
                  <a:cubicBezTo>
                    <a:pt x="-14666" y="242581"/>
                    <a:pt x="-3423" y="172314"/>
                    <a:pt x="42953" y="147018"/>
                  </a:cubicBezTo>
                  <a:cubicBezTo>
                    <a:pt x="67546" y="133668"/>
                    <a:pt x="85815" y="141397"/>
                    <a:pt x="103382" y="160369"/>
                  </a:cubicBezTo>
                  <a:cubicBezTo>
                    <a:pt x="109706" y="167395"/>
                    <a:pt x="113219" y="182854"/>
                    <a:pt x="127272" y="177233"/>
                  </a:cubicBezTo>
                  <a:cubicBezTo>
                    <a:pt x="142028" y="171612"/>
                    <a:pt x="149758" y="158963"/>
                    <a:pt x="149758" y="142802"/>
                  </a:cubicBezTo>
                  <a:cubicBezTo>
                    <a:pt x="149758" y="103453"/>
                    <a:pt x="150460" y="64104"/>
                    <a:pt x="149758" y="24755"/>
                  </a:cubicBezTo>
                  <a:cubicBezTo>
                    <a:pt x="149055" y="6486"/>
                    <a:pt x="152568" y="-1244"/>
                    <a:pt x="172946" y="162"/>
                  </a:cubicBezTo>
                  <a:cubicBezTo>
                    <a:pt x="210889" y="2269"/>
                    <a:pt x="249536" y="864"/>
                    <a:pt x="288182" y="864"/>
                  </a:cubicBezTo>
                  <a:cubicBezTo>
                    <a:pt x="305046" y="864"/>
                    <a:pt x="318397" y="6486"/>
                    <a:pt x="328937" y="19134"/>
                  </a:cubicBezTo>
                  <a:cubicBezTo>
                    <a:pt x="342990" y="34592"/>
                    <a:pt x="345098" y="48646"/>
                    <a:pt x="326126" y="62699"/>
                  </a:cubicBezTo>
                  <a:cubicBezTo>
                    <a:pt x="312073" y="73239"/>
                    <a:pt x="293804" y="85184"/>
                    <a:pt x="302938" y="106967"/>
                  </a:cubicBezTo>
                  <a:cubicBezTo>
                    <a:pt x="312775" y="130857"/>
                    <a:pt x="328937" y="147721"/>
                    <a:pt x="357746" y="149829"/>
                  </a:cubicBezTo>
                  <a:cubicBezTo>
                    <a:pt x="387258" y="151234"/>
                    <a:pt x="413959" y="149126"/>
                    <a:pt x="432228" y="121020"/>
                  </a:cubicBezTo>
                  <a:cubicBezTo>
                    <a:pt x="446282" y="99940"/>
                    <a:pt x="441363" y="84481"/>
                    <a:pt x="423797" y="69023"/>
                  </a:cubicBezTo>
                  <a:cubicBezTo>
                    <a:pt x="413959" y="60590"/>
                    <a:pt x="395690" y="55672"/>
                    <a:pt x="402717" y="35997"/>
                  </a:cubicBezTo>
                  <a:cubicBezTo>
                    <a:pt x="409743" y="16323"/>
                    <a:pt x="424499" y="2972"/>
                    <a:pt x="444877" y="2269"/>
                  </a:cubicBezTo>
                  <a:cubicBezTo>
                    <a:pt x="489847" y="864"/>
                    <a:pt x="534115" y="2269"/>
                    <a:pt x="579085" y="1567"/>
                  </a:cubicBezTo>
                  <a:cubicBezTo>
                    <a:pt x="595246" y="1567"/>
                    <a:pt x="591031" y="12107"/>
                    <a:pt x="591031" y="19836"/>
                  </a:cubicBezTo>
                  <a:cubicBezTo>
                    <a:pt x="591733" y="87995"/>
                    <a:pt x="591733" y="156856"/>
                    <a:pt x="591733" y="22501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934257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id="{ED98CAEE-990B-4863-88C8-5BF4D0725C4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2000" cy="4519748"/>
          </a:xfrm>
          <a:custGeom>
            <a:avLst/>
            <a:gdLst>
              <a:gd name="connsiteX0" fmla="*/ 0 w 9144000"/>
              <a:gd name="connsiteY0" fmla="*/ 0 h 1556792"/>
              <a:gd name="connsiteX1" fmla="*/ 9144000 w 9144000"/>
              <a:gd name="connsiteY1" fmla="*/ 0 h 1556792"/>
              <a:gd name="connsiteX2" fmla="*/ 9144000 w 9144000"/>
              <a:gd name="connsiteY2" fmla="*/ 1556792 h 1556792"/>
              <a:gd name="connsiteX3" fmla="*/ 0 w 9144000"/>
              <a:gd name="connsiteY3" fmla="*/ 1556792 h 1556792"/>
              <a:gd name="connsiteX4" fmla="*/ 0 w 9144000"/>
              <a:gd name="connsiteY4" fmla="*/ 0 h 1556792"/>
              <a:gd name="connsiteX0" fmla="*/ 0 w 9144000"/>
              <a:gd name="connsiteY0" fmla="*/ 0 h 3176042"/>
              <a:gd name="connsiteX1" fmla="*/ 9144000 w 9144000"/>
              <a:gd name="connsiteY1" fmla="*/ 0 h 3176042"/>
              <a:gd name="connsiteX2" fmla="*/ 9144000 w 9144000"/>
              <a:gd name="connsiteY2" fmla="*/ 3176042 h 3176042"/>
              <a:gd name="connsiteX3" fmla="*/ 0 w 9144000"/>
              <a:gd name="connsiteY3" fmla="*/ 1556792 h 3176042"/>
              <a:gd name="connsiteX4" fmla="*/ 0 w 9144000"/>
              <a:gd name="connsiteY4" fmla="*/ 0 h 3176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3176042">
                <a:moveTo>
                  <a:pt x="0" y="0"/>
                </a:moveTo>
                <a:lnTo>
                  <a:pt x="9144000" y="0"/>
                </a:lnTo>
                <a:lnTo>
                  <a:pt x="9144000" y="3176042"/>
                </a:lnTo>
                <a:lnTo>
                  <a:pt x="0" y="155679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5078265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39E0F2A-7B00-4645-8A8B-5D902B8F115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0"/>
            <a:ext cx="7021306" cy="6858000"/>
          </a:xfrm>
          <a:custGeom>
            <a:avLst/>
            <a:gdLst>
              <a:gd name="connsiteX0" fmla="*/ 2283008 w 7021306"/>
              <a:gd name="connsiteY0" fmla="*/ 0 h 6858000"/>
              <a:gd name="connsiteX1" fmla="*/ 5578147 w 7021306"/>
              <a:gd name="connsiteY1" fmla="*/ 0 h 6858000"/>
              <a:gd name="connsiteX2" fmla="*/ 5677141 w 7021306"/>
              <a:gd name="connsiteY2" fmla="*/ 133194 h 6858000"/>
              <a:gd name="connsiteX3" fmla="*/ 6761257 w 7021306"/>
              <a:gd name="connsiteY3" fmla="*/ 2432079 h 6858000"/>
              <a:gd name="connsiteX4" fmla="*/ 6630392 w 7021306"/>
              <a:gd name="connsiteY4" fmla="*/ 6734299 h 6858000"/>
              <a:gd name="connsiteX5" fmla="*/ 6584892 w 7021306"/>
              <a:gd name="connsiteY5" fmla="*/ 6858000 h 6858000"/>
              <a:gd name="connsiteX6" fmla="*/ 4113238 w 7021306"/>
              <a:gd name="connsiteY6" fmla="*/ 6858000 h 6858000"/>
              <a:gd name="connsiteX7" fmla="*/ 4196319 w 7021306"/>
              <a:gd name="connsiteY7" fmla="*/ 6706660 h 6858000"/>
              <a:gd name="connsiteX8" fmla="*/ 4584301 w 7021306"/>
              <a:gd name="connsiteY8" fmla="*/ 3027147 h 6858000"/>
              <a:gd name="connsiteX9" fmla="*/ 2378541 w 7021306"/>
              <a:gd name="connsiteY9" fmla="*/ 56629 h 6858000"/>
              <a:gd name="connsiteX10" fmla="*/ 0 w 7021306"/>
              <a:gd name="connsiteY10" fmla="*/ 0 h 6858000"/>
              <a:gd name="connsiteX11" fmla="*/ 1808722 w 7021306"/>
              <a:gd name="connsiteY11" fmla="*/ 0 h 6858000"/>
              <a:gd name="connsiteX12" fmla="*/ 1938123 w 7021306"/>
              <a:gd name="connsiteY12" fmla="*/ 67739 h 6858000"/>
              <a:gd name="connsiteX13" fmla="*/ 3811932 w 7021306"/>
              <a:gd name="connsiteY13" fmla="*/ 6797506 h 6858000"/>
              <a:gd name="connsiteX14" fmla="*/ 3775742 w 7021306"/>
              <a:gd name="connsiteY14" fmla="*/ 6858000 h 6858000"/>
              <a:gd name="connsiteX15" fmla="*/ 0 w 7021306"/>
              <a:gd name="connsiteY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021306" h="6858000">
                <a:moveTo>
                  <a:pt x="2283008" y="0"/>
                </a:moveTo>
                <a:lnTo>
                  <a:pt x="5578147" y="0"/>
                </a:lnTo>
                <a:lnTo>
                  <a:pt x="5677141" y="133194"/>
                </a:lnTo>
                <a:cubicBezTo>
                  <a:pt x="6164665" y="824085"/>
                  <a:pt x="6533943" y="1600487"/>
                  <a:pt x="6761257" y="2432079"/>
                </a:cubicBezTo>
                <a:cubicBezTo>
                  <a:pt x="7150940" y="3857666"/>
                  <a:pt x="7098929" y="5355837"/>
                  <a:pt x="6630392" y="6734299"/>
                </a:cubicBezTo>
                <a:lnTo>
                  <a:pt x="6584892" y="6858000"/>
                </a:lnTo>
                <a:lnTo>
                  <a:pt x="4113238" y="6858000"/>
                </a:lnTo>
                <a:lnTo>
                  <a:pt x="4196319" y="6706660"/>
                </a:lnTo>
                <a:cubicBezTo>
                  <a:pt x="4781116" y="5575056"/>
                  <a:pt x="4921795" y="4261812"/>
                  <a:pt x="4584301" y="3027147"/>
                </a:cubicBezTo>
                <a:cubicBezTo>
                  <a:pt x="4246807" y="1792482"/>
                  <a:pt x="3457656" y="733405"/>
                  <a:pt x="2378541" y="56629"/>
                </a:cubicBezTo>
                <a:close/>
                <a:moveTo>
                  <a:pt x="0" y="0"/>
                </a:moveTo>
                <a:lnTo>
                  <a:pt x="1808722" y="0"/>
                </a:lnTo>
                <a:lnTo>
                  <a:pt x="1938123" y="67739"/>
                </a:lnTo>
                <a:cubicBezTo>
                  <a:pt x="4313935" y="1408675"/>
                  <a:pt x="5152868" y="4421694"/>
                  <a:pt x="3811932" y="6797506"/>
                </a:cubicBezTo>
                <a:lnTo>
                  <a:pt x="37757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2529438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F6647A1E-AAA0-4E7F-9F00-A65B868AEEDF}"/>
              </a:ext>
            </a:extLst>
          </p:cNvPr>
          <p:cNvSpPr/>
          <p:nvPr userDrawn="1"/>
        </p:nvSpPr>
        <p:spPr>
          <a:xfrm rot="5400000">
            <a:off x="660244" y="-660245"/>
            <a:ext cx="6849476" cy="8169965"/>
          </a:xfrm>
          <a:custGeom>
            <a:avLst/>
            <a:gdLst>
              <a:gd name="connsiteX0" fmla="*/ 0 w 6849476"/>
              <a:gd name="connsiteY0" fmla="*/ 8169965 h 8169965"/>
              <a:gd name="connsiteX1" fmla="*/ 0 w 6849476"/>
              <a:gd name="connsiteY1" fmla="*/ 0 h 8169965"/>
              <a:gd name="connsiteX2" fmla="*/ 6849476 w 6849476"/>
              <a:gd name="connsiteY2" fmla="*/ 7408245 h 8169965"/>
              <a:gd name="connsiteX3" fmla="*/ 6849476 w 6849476"/>
              <a:gd name="connsiteY3" fmla="*/ 8169965 h 8169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9476" h="8169965">
                <a:moveTo>
                  <a:pt x="0" y="8169965"/>
                </a:moveTo>
                <a:lnTo>
                  <a:pt x="0" y="0"/>
                </a:lnTo>
                <a:lnTo>
                  <a:pt x="6849476" y="7408245"/>
                </a:lnTo>
                <a:lnTo>
                  <a:pt x="6849476" y="816996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2" name="Picture Placeholder 491">
            <a:extLst>
              <a:ext uri="{FF2B5EF4-FFF2-40B4-BE49-F238E27FC236}">
                <a16:creationId xmlns:a16="http://schemas.microsoft.com/office/drawing/2014/main" id="{B418961E-465D-4D29-93F7-ADFB67C77AAE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 rot="21294467">
            <a:off x="104778" y="409575"/>
            <a:ext cx="11991973" cy="3476625"/>
          </a:xfrm>
          <a:custGeom>
            <a:avLst/>
            <a:gdLst>
              <a:gd name="connsiteX0" fmla="*/ 450941 w 11991973"/>
              <a:gd name="connsiteY0" fmla="*/ 3182190 h 3476625"/>
              <a:gd name="connsiteX1" fmla="*/ 453308 w 11991973"/>
              <a:gd name="connsiteY1" fmla="*/ 3190087 h 3476625"/>
              <a:gd name="connsiteX2" fmla="*/ 439468 w 11991973"/>
              <a:gd name="connsiteY2" fmla="*/ 3190541 h 3476625"/>
              <a:gd name="connsiteX3" fmla="*/ 2673803 w 11991973"/>
              <a:gd name="connsiteY3" fmla="*/ 3350910 h 3476625"/>
              <a:gd name="connsiteX4" fmla="*/ 2676171 w 11991973"/>
              <a:gd name="connsiteY4" fmla="*/ 3358806 h 3476625"/>
              <a:gd name="connsiteX5" fmla="*/ 2662332 w 11991973"/>
              <a:gd name="connsiteY5" fmla="*/ 3359260 h 3476625"/>
              <a:gd name="connsiteX6" fmla="*/ 432327 w 11991973"/>
              <a:gd name="connsiteY6" fmla="*/ 3145543 h 3476625"/>
              <a:gd name="connsiteX7" fmla="*/ 438861 w 11991973"/>
              <a:gd name="connsiteY7" fmla="*/ 3152759 h 3476625"/>
              <a:gd name="connsiteX8" fmla="*/ 439205 w 11991973"/>
              <a:gd name="connsiteY8" fmla="*/ 3153368 h 3476625"/>
              <a:gd name="connsiteX9" fmla="*/ 428185 w 11991973"/>
              <a:gd name="connsiteY9" fmla="*/ 3161451 h 3476625"/>
              <a:gd name="connsiteX10" fmla="*/ 432327 w 11991973"/>
              <a:gd name="connsiteY10" fmla="*/ 3145543 h 3476625"/>
              <a:gd name="connsiteX11" fmla="*/ 489886 w 11991973"/>
              <a:gd name="connsiteY11" fmla="*/ 3146644 h 3476625"/>
              <a:gd name="connsiteX12" fmla="*/ 495885 w 11991973"/>
              <a:gd name="connsiteY12" fmla="*/ 3155634 h 3476625"/>
              <a:gd name="connsiteX13" fmla="*/ 491654 w 11991973"/>
              <a:gd name="connsiteY13" fmla="*/ 3153588 h 3476625"/>
              <a:gd name="connsiteX14" fmla="*/ 488609 w 11991973"/>
              <a:gd name="connsiteY14" fmla="*/ 3147993 h 3476625"/>
              <a:gd name="connsiteX15" fmla="*/ 1339568 w 11991973"/>
              <a:gd name="connsiteY15" fmla="*/ 3211630 h 3476625"/>
              <a:gd name="connsiteX16" fmla="*/ 1328990 w 11991973"/>
              <a:gd name="connsiteY16" fmla="*/ 3222539 h 3476625"/>
              <a:gd name="connsiteX17" fmla="*/ 1351557 w 11991973"/>
              <a:gd name="connsiteY17" fmla="*/ 3213812 h 3476625"/>
              <a:gd name="connsiteX18" fmla="*/ 1339568 w 11991973"/>
              <a:gd name="connsiteY18" fmla="*/ 3211630 h 3476625"/>
              <a:gd name="connsiteX19" fmla="*/ 783157 w 11991973"/>
              <a:gd name="connsiteY19" fmla="*/ 3158808 h 3476625"/>
              <a:gd name="connsiteX20" fmla="*/ 785497 w 11991973"/>
              <a:gd name="connsiteY20" fmla="*/ 3167270 h 3476625"/>
              <a:gd name="connsiteX21" fmla="*/ 783381 w 11991973"/>
              <a:gd name="connsiteY21" fmla="*/ 3161088 h 3476625"/>
              <a:gd name="connsiteX22" fmla="*/ 782690 w 11991973"/>
              <a:gd name="connsiteY22" fmla="*/ 3154069 h 3476625"/>
              <a:gd name="connsiteX23" fmla="*/ 783157 w 11991973"/>
              <a:gd name="connsiteY23" fmla="*/ 3158808 h 3476625"/>
              <a:gd name="connsiteX24" fmla="*/ 781957 w 11991973"/>
              <a:gd name="connsiteY24" fmla="*/ 3154469 h 3476625"/>
              <a:gd name="connsiteX25" fmla="*/ 2708266 w 11991973"/>
              <a:gd name="connsiteY25" fmla="*/ 3320098 h 3476625"/>
              <a:gd name="connsiteX26" fmla="*/ 2714989 w 11991973"/>
              <a:gd name="connsiteY26" fmla="*/ 3330171 h 3476625"/>
              <a:gd name="connsiteX27" fmla="*/ 2710756 w 11991973"/>
              <a:gd name="connsiteY27" fmla="*/ 3328125 h 3476625"/>
              <a:gd name="connsiteX28" fmla="*/ 2707073 w 11991973"/>
              <a:gd name="connsiteY28" fmla="*/ 3321358 h 3476625"/>
              <a:gd name="connsiteX29" fmla="*/ 3565138 w 11991973"/>
              <a:gd name="connsiteY29" fmla="*/ 3395468 h 3476625"/>
              <a:gd name="connsiteX30" fmla="*/ 3562194 w 11991973"/>
              <a:gd name="connsiteY30" fmla="*/ 3399259 h 3476625"/>
              <a:gd name="connsiteX31" fmla="*/ 3553719 w 11991973"/>
              <a:gd name="connsiteY31" fmla="*/ 3397948 h 3476625"/>
              <a:gd name="connsiteX32" fmla="*/ 2655191 w 11991973"/>
              <a:gd name="connsiteY32" fmla="*/ 3314263 h 3476625"/>
              <a:gd name="connsiteX33" fmla="*/ 2661723 w 11991973"/>
              <a:gd name="connsiteY33" fmla="*/ 3321478 h 3476625"/>
              <a:gd name="connsiteX34" fmla="*/ 2662068 w 11991973"/>
              <a:gd name="connsiteY34" fmla="*/ 3322088 h 3476625"/>
              <a:gd name="connsiteX35" fmla="*/ 2651047 w 11991973"/>
              <a:gd name="connsiteY35" fmla="*/ 3330171 h 3476625"/>
              <a:gd name="connsiteX36" fmla="*/ 2655191 w 11991973"/>
              <a:gd name="connsiteY36" fmla="*/ 3314263 h 3476625"/>
              <a:gd name="connsiteX37" fmla="*/ 3006020 w 11991973"/>
              <a:gd name="connsiteY37" fmla="*/ 3327528 h 3476625"/>
              <a:gd name="connsiteX38" fmla="*/ 3008361 w 11991973"/>
              <a:gd name="connsiteY38" fmla="*/ 3335989 h 3476625"/>
              <a:gd name="connsiteX39" fmla="*/ 3006245 w 11991973"/>
              <a:gd name="connsiteY39" fmla="*/ 3329808 h 3476625"/>
              <a:gd name="connsiteX40" fmla="*/ 3005554 w 11991973"/>
              <a:gd name="connsiteY40" fmla="*/ 3322787 h 3476625"/>
              <a:gd name="connsiteX41" fmla="*/ 3006020 w 11991973"/>
              <a:gd name="connsiteY41" fmla="*/ 3327528 h 3476625"/>
              <a:gd name="connsiteX42" fmla="*/ 3004821 w 11991973"/>
              <a:gd name="connsiteY42" fmla="*/ 3323188 h 3476625"/>
              <a:gd name="connsiteX43" fmla="*/ 794195 w 11991973"/>
              <a:gd name="connsiteY43" fmla="*/ 3121090 h 3476625"/>
              <a:gd name="connsiteX44" fmla="*/ 783617 w 11991973"/>
              <a:gd name="connsiteY44" fmla="*/ 3129452 h 3476625"/>
              <a:gd name="connsiteX45" fmla="*/ 800542 w 11991973"/>
              <a:gd name="connsiteY45" fmla="*/ 3123635 h 3476625"/>
              <a:gd name="connsiteX46" fmla="*/ 794195 w 11991973"/>
              <a:gd name="connsiteY46" fmla="*/ 3121090 h 3476625"/>
              <a:gd name="connsiteX47" fmla="*/ 1561147 w 11991973"/>
              <a:gd name="connsiteY47" fmla="*/ 3179817 h 3476625"/>
              <a:gd name="connsiteX48" fmla="*/ 1559126 w 11991973"/>
              <a:gd name="connsiteY48" fmla="*/ 3187268 h 3476625"/>
              <a:gd name="connsiteX49" fmla="*/ 1549018 w 11991973"/>
              <a:gd name="connsiteY49" fmla="*/ 3187632 h 3476625"/>
              <a:gd name="connsiteX50" fmla="*/ 1552125 w 11991973"/>
              <a:gd name="connsiteY50" fmla="*/ 3181676 h 3476625"/>
              <a:gd name="connsiteX51" fmla="*/ 3004129 w 11991973"/>
              <a:gd name="connsiteY51" fmla="*/ 3302876 h 3476625"/>
              <a:gd name="connsiteX52" fmla="*/ 3004129 w 11991973"/>
              <a:gd name="connsiteY52" fmla="*/ 3304046 h 3476625"/>
              <a:gd name="connsiteX53" fmla="*/ 3002719 w 11991973"/>
              <a:gd name="connsiteY53" fmla="*/ 3303990 h 3476625"/>
              <a:gd name="connsiteX54" fmla="*/ 1082866 w 11991973"/>
              <a:gd name="connsiteY54" fmla="*/ 3118181 h 3476625"/>
              <a:gd name="connsiteX55" fmla="*/ 1073228 w 11991973"/>
              <a:gd name="connsiteY55" fmla="*/ 3126544 h 3476625"/>
              <a:gd name="connsiteX56" fmla="*/ 1093915 w 11991973"/>
              <a:gd name="connsiteY56" fmla="*/ 3120725 h 3476625"/>
              <a:gd name="connsiteX57" fmla="*/ 1082866 w 11991973"/>
              <a:gd name="connsiteY57" fmla="*/ 3118181 h 3476625"/>
              <a:gd name="connsiteX58" fmla="*/ 3779068 w 11991973"/>
              <a:gd name="connsiteY58" fmla="*/ 3349012 h 3476625"/>
              <a:gd name="connsiteX59" fmla="*/ 3781285 w 11991973"/>
              <a:gd name="connsiteY59" fmla="*/ 3350533 h 3476625"/>
              <a:gd name="connsiteX60" fmla="*/ 3768120 w 11991973"/>
              <a:gd name="connsiteY60" fmla="*/ 3362170 h 3476625"/>
              <a:gd name="connsiteX61" fmla="*/ 3773996 w 11991973"/>
              <a:gd name="connsiteY61" fmla="*/ 3350897 h 3476625"/>
              <a:gd name="connsiteX62" fmla="*/ 3775142 w 11991973"/>
              <a:gd name="connsiteY62" fmla="*/ 3349865 h 3476625"/>
              <a:gd name="connsiteX63" fmla="*/ 1149216 w 11991973"/>
              <a:gd name="connsiteY63" fmla="*/ 3101227 h 3476625"/>
              <a:gd name="connsiteX64" fmla="*/ 1142810 w 11991973"/>
              <a:gd name="connsiteY64" fmla="*/ 3101454 h 3476625"/>
              <a:gd name="connsiteX65" fmla="*/ 1129645 w 11991973"/>
              <a:gd name="connsiteY65" fmla="*/ 3103271 h 3476625"/>
              <a:gd name="connsiteX66" fmla="*/ 1155973 w 11991973"/>
              <a:gd name="connsiteY66" fmla="*/ 3106181 h 3476625"/>
              <a:gd name="connsiteX67" fmla="*/ 1149216 w 11991973"/>
              <a:gd name="connsiteY67" fmla="*/ 3101227 h 3476625"/>
              <a:gd name="connsiteX68" fmla="*/ 3301968 w 11991973"/>
              <a:gd name="connsiteY68" fmla="*/ 3292718 h 3476625"/>
              <a:gd name="connsiteX69" fmla="*/ 3292330 w 11991973"/>
              <a:gd name="connsiteY69" fmla="*/ 3301081 h 3476625"/>
              <a:gd name="connsiteX70" fmla="*/ 3313017 w 11991973"/>
              <a:gd name="connsiteY70" fmla="*/ 3295264 h 3476625"/>
              <a:gd name="connsiteX71" fmla="*/ 3301968 w 11991973"/>
              <a:gd name="connsiteY71" fmla="*/ 3292718 h 3476625"/>
              <a:gd name="connsiteX72" fmla="*/ 1248404 w 11991973"/>
              <a:gd name="connsiteY72" fmla="*/ 3094618 h 3476625"/>
              <a:gd name="connsiteX73" fmla="*/ 1259407 w 11991973"/>
              <a:gd name="connsiteY73" fmla="*/ 3097454 h 3476625"/>
              <a:gd name="connsiteX74" fmla="*/ 1236840 w 11991973"/>
              <a:gd name="connsiteY74" fmla="*/ 3100363 h 3476625"/>
              <a:gd name="connsiteX75" fmla="*/ 1245989 w 11991973"/>
              <a:gd name="connsiteY75" fmla="*/ 3095647 h 3476625"/>
              <a:gd name="connsiteX76" fmla="*/ 3368315 w 11991973"/>
              <a:gd name="connsiteY76" fmla="*/ 3275765 h 3476625"/>
              <a:gd name="connsiteX77" fmla="*/ 3361913 w 11991973"/>
              <a:gd name="connsiteY77" fmla="*/ 3275992 h 3476625"/>
              <a:gd name="connsiteX78" fmla="*/ 3348749 w 11991973"/>
              <a:gd name="connsiteY78" fmla="*/ 3277809 h 3476625"/>
              <a:gd name="connsiteX79" fmla="*/ 3375074 w 11991973"/>
              <a:gd name="connsiteY79" fmla="*/ 3280719 h 3476625"/>
              <a:gd name="connsiteX80" fmla="*/ 3368315 w 11991973"/>
              <a:gd name="connsiteY80" fmla="*/ 3275765 h 3476625"/>
              <a:gd name="connsiteX81" fmla="*/ 1302970 w 11991973"/>
              <a:gd name="connsiteY81" fmla="*/ 3079521 h 3476625"/>
              <a:gd name="connsiteX82" fmla="*/ 1303566 w 11991973"/>
              <a:gd name="connsiteY82" fmla="*/ 3079886 h 3476625"/>
              <a:gd name="connsiteX83" fmla="*/ 1302660 w 11991973"/>
              <a:gd name="connsiteY83" fmla="*/ 3080000 h 3476625"/>
              <a:gd name="connsiteX84" fmla="*/ 3467225 w 11991973"/>
              <a:gd name="connsiteY84" fmla="*/ 3269083 h 3476625"/>
              <a:gd name="connsiteX85" fmla="*/ 3478507 w 11991973"/>
              <a:gd name="connsiteY85" fmla="*/ 3271992 h 3476625"/>
              <a:gd name="connsiteX86" fmla="*/ 3455943 w 11991973"/>
              <a:gd name="connsiteY86" fmla="*/ 3274900 h 3476625"/>
              <a:gd name="connsiteX87" fmla="*/ 3467225 w 11991973"/>
              <a:gd name="connsiteY87" fmla="*/ 3269083 h 3476625"/>
              <a:gd name="connsiteX88" fmla="*/ 3526226 w 11991973"/>
              <a:gd name="connsiteY88" fmla="*/ 3247633 h 3476625"/>
              <a:gd name="connsiteX89" fmla="*/ 3534085 w 11991973"/>
              <a:gd name="connsiteY89" fmla="*/ 3251963 h 3476625"/>
              <a:gd name="connsiteX90" fmla="*/ 3533281 w 11991973"/>
              <a:gd name="connsiteY90" fmla="*/ 3253083 h 3476625"/>
              <a:gd name="connsiteX91" fmla="*/ 3521761 w 11991973"/>
              <a:gd name="connsiteY91" fmla="*/ 3254538 h 3476625"/>
              <a:gd name="connsiteX92" fmla="*/ 1650569 w 11991973"/>
              <a:gd name="connsiteY92" fmla="*/ 3077092 h 3476625"/>
              <a:gd name="connsiteX93" fmla="*/ 1633645 w 11991973"/>
              <a:gd name="connsiteY93" fmla="*/ 3085818 h 3476625"/>
              <a:gd name="connsiteX94" fmla="*/ 1650569 w 11991973"/>
              <a:gd name="connsiteY94" fmla="*/ 3077092 h 3476625"/>
              <a:gd name="connsiteX95" fmla="*/ 1451228 w 11991973"/>
              <a:gd name="connsiteY95" fmla="*/ 3050911 h 3476625"/>
              <a:gd name="connsiteX96" fmla="*/ 1441120 w 11991973"/>
              <a:gd name="connsiteY96" fmla="*/ 3050184 h 3476625"/>
              <a:gd name="connsiteX97" fmla="*/ 1432422 w 11991973"/>
              <a:gd name="connsiteY97" fmla="*/ 3053819 h 3476625"/>
              <a:gd name="connsiteX98" fmla="*/ 1451228 w 11991973"/>
              <a:gd name="connsiteY98" fmla="*/ 3050911 h 3476625"/>
              <a:gd name="connsiteX99" fmla="*/ 1730496 w 11991973"/>
              <a:gd name="connsiteY99" fmla="*/ 3061820 h 3476625"/>
              <a:gd name="connsiteX100" fmla="*/ 1725795 w 11991973"/>
              <a:gd name="connsiteY100" fmla="*/ 3071274 h 3476625"/>
              <a:gd name="connsiteX101" fmla="*/ 1740839 w 11991973"/>
              <a:gd name="connsiteY101" fmla="*/ 3065455 h 3476625"/>
              <a:gd name="connsiteX102" fmla="*/ 1730496 w 11991973"/>
              <a:gd name="connsiteY102" fmla="*/ 3061820 h 3476625"/>
              <a:gd name="connsiteX103" fmla="*/ 3869673 w 11991973"/>
              <a:gd name="connsiteY103" fmla="*/ 3251629 h 3476625"/>
              <a:gd name="connsiteX104" fmla="*/ 3852746 w 11991973"/>
              <a:gd name="connsiteY104" fmla="*/ 3260355 h 3476625"/>
              <a:gd name="connsiteX105" fmla="*/ 3869673 w 11991973"/>
              <a:gd name="connsiteY105" fmla="*/ 3251629 h 3476625"/>
              <a:gd name="connsiteX106" fmla="*/ 3670331 w 11991973"/>
              <a:gd name="connsiteY106" fmla="*/ 3225448 h 3476625"/>
              <a:gd name="connsiteX107" fmla="*/ 3660223 w 11991973"/>
              <a:gd name="connsiteY107" fmla="*/ 3224722 h 3476625"/>
              <a:gd name="connsiteX108" fmla="*/ 3651524 w 11991973"/>
              <a:gd name="connsiteY108" fmla="*/ 3228357 h 3476625"/>
              <a:gd name="connsiteX109" fmla="*/ 3670331 w 11991973"/>
              <a:gd name="connsiteY109" fmla="*/ 3225448 h 3476625"/>
              <a:gd name="connsiteX110" fmla="*/ 1536088 w 11991973"/>
              <a:gd name="connsiteY110" fmla="*/ 3033094 h 3476625"/>
              <a:gd name="connsiteX111" fmla="*/ 1522690 w 11991973"/>
              <a:gd name="connsiteY111" fmla="*/ 3045093 h 3476625"/>
              <a:gd name="connsiteX112" fmla="*/ 1556541 w 11991973"/>
              <a:gd name="connsiteY112" fmla="*/ 3036366 h 3476625"/>
              <a:gd name="connsiteX113" fmla="*/ 1536088 w 11991973"/>
              <a:gd name="connsiteY113" fmla="*/ 3033094 h 3476625"/>
              <a:gd name="connsiteX114" fmla="*/ 4744337 w 11991973"/>
              <a:gd name="connsiteY114" fmla="*/ 3318910 h 3476625"/>
              <a:gd name="connsiteX115" fmla="*/ 4746705 w 11991973"/>
              <a:gd name="connsiteY115" fmla="*/ 3326807 h 3476625"/>
              <a:gd name="connsiteX116" fmla="*/ 4732863 w 11991973"/>
              <a:gd name="connsiteY116" fmla="*/ 3327262 h 3476625"/>
              <a:gd name="connsiteX117" fmla="*/ 3949596 w 11991973"/>
              <a:gd name="connsiteY117" fmla="*/ 3236358 h 3476625"/>
              <a:gd name="connsiteX118" fmla="*/ 3944895 w 11991973"/>
              <a:gd name="connsiteY118" fmla="*/ 3245812 h 3476625"/>
              <a:gd name="connsiteX119" fmla="*/ 3959937 w 11991973"/>
              <a:gd name="connsiteY119" fmla="*/ 3239993 h 3476625"/>
              <a:gd name="connsiteX120" fmla="*/ 3949596 w 11991973"/>
              <a:gd name="connsiteY120" fmla="*/ 3236358 h 3476625"/>
              <a:gd name="connsiteX121" fmla="*/ 1040699 w 11991973"/>
              <a:gd name="connsiteY121" fmla="*/ 2972960 h 3476625"/>
              <a:gd name="connsiteX122" fmla="*/ 1034911 w 11991973"/>
              <a:gd name="connsiteY122" fmla="*/ 2973460 h 3476625"/>
              <a:gd name="connsiteX123" fmla="*/ 1022452 w 11991973"/>
              <a:gd name="connsiteY123" fmla="*/ 2984005 h 3476625"/>
              <a:gd name="connsiteX124" fmla="*/ 1043139 w 11991973"/>
              <a:gd name="connsiteY124" fmla="*/ 2978187 h 3476625"/>
              <a:gd name="connsiteX125" fmla="*/ 1040699 w 11991973"/>
              <a:gd name="connsiteY125" fmla="*/ 2972960 h 3476625"/>
              <a:gd name="connsiteX126" fmla="*/ 3755191 w 11991973"/>
              <a:gd name="connsiteY126" fmla="*/ 3207631 h 3476625"/>
              <a:gd name="connsiteX127" fmla="*/ 3741791 w 11991973"/>
              <a:gd name="connsiteY127" fmla="*/ 3219631 h 3476625"/>
              <a:gd name="connsiteX128" fmla="*/ 3775640 w 11991973"/>
              <a:gd name="connsiteY128" fmla="*/ 3210903 h 3476625"/>
              <a:gd name="connsiteX129" fmla="*/ 3755191 w 11991973"/>
              <a:gd name="connsiteY129" fmla="*/ 3207631 h 3476625"/>
              <a:gd name="connsiteX130" fmla="*/ 1855555 w 11991973"/>
              <a:gd name="connsiteY130" fmla="*/ 3031958 h 3476625"/>
              <a:gd name="connsiteX131" fmla="*/ 1872481 w 11991973"/>
              <a:gd name="connsiteY131" fmla="*/ 3042184 h 3476625"/>
              <a:gd name="connsiteX132" fmla="*/ 1855555 w 11991973"/>
              <a:gd name="connsiteY132" fmla="*/ 3031958 h 3476625"/>
              <a:gd name="connsiteX133" fmla="*/ 1824930 w 11991973"/>
              <a:gd name="connsiteY133" fmla="*/ 3029083 h 3476625"/>
              <a:gd name="connsiteX134" fmla="*/ 1810421 w 11991973"/>
              <a:gd name="connsiteY134" fmla="*/ 3033457 h 3476625"/>
              <a:gd name="connsiteX135" fmla="*/ 1812302 w 11991973"/>
              <a:gd name="connsiteY135" fmla="*/ 3074183 h 3476625"/>
              <a:gd name="connsiteX136" fmla="*/ 1824930 w 11991973"/>
              <a:gd name="connsiteY136" fmla="*/ 3029083 h 3476625"/>
              <a:gd name="connsiteX137" fmla="*/ 4776555 w 11991973"/>
              <a:gd name="connsiteY137" fmla="*/ 3290467 h 3476625"/>
              <a:gd name="connsiteX138" fmla="*/ 4783638 w 11991973"/>
              <a:gd name="connsiteY138" fmla="*/ 3301081 h 3476625"/>
              <a:gd name="connsiteX139" fmla="*/ 4779408 w 11991973"/>
              <a:gd name="connsiteY139" fmla="*/ 3299035 h 3476625"/>
              <a:gd name="connsiteX140" fmla="*/ 4775405 w 11991973"/>
              <a:gd name="connsiteY140" fmla="*/ 3291682 h 3476625"/>
              <a:gd name="connsiteX141" fmla="*/ 4725722 w 11991973"/>
              <a:gd name="connsiteY141" fmla="*/ 3282264 h 3476625"/>
              <a:gd name="connsiteX142" fmla="*/ 4732257 w 11991973"/>
              <a:gd name="connsiteY142" fmla="*/ 3289479 h 3476625"/>
              <a:gd name="connsiteX143" fmla="*/ 4732601 w 11991973"/>
              <a:gd name="connsiteY143" fmla="*/ 3290090 h 3476625"/>
              <a:gd name="connsiteX144" fmla="*/ 4721579 w 11991973"/>
              <a:gd name="connsiteY144" fmla="*/ 3298173 h 3476625"/>
              <a:gd name="connsiteX145" fmla="*/ 4725722 w 11991973"/>
              <a:gd name="connsiteY145" fmla="*/ 3282264 h 3476625"/>
              <a:gd name="connsiteX146" fmla="*/ 5636287 w 11991973"/>
              <a:gd name="connsiteY146" fmla="*/ 3363156 h 3476625"/>
              <a:gd name="connsiteX147" fmla="*/ 5630846 w 11991973"/>
              <a:gd name="connsiteY147" fmla="*/ 3370169 h 3476625"/>
              <a:gd name="connsiteX148" fmla="*/ 5616742 w 11991973"/>
              <a:gd name="connsiteY148" fmla="*/ 3367987 h 3476625"/>
              <a:gd name="connsiteX149" fmla="*/ 5617269 w 11991973"/>
              <a:gd name="connsiteY149" fmla="*/ 3367444 h 3476625"/>
              <a:gd name="connsiteX150" fmla="*/ 3259801 w 11991973"/>
              <a:gd name="connsiteY150" fmla="*/ 3147498 h 3476625"/>
              <a:gd name="connsiteX151" fmla="*/ 3254014 w 11991973"/>
              <a:gd name="connsiteY151" fmla="*/ 3147998 h 3476625"/>
              <a:gd name="connsiteX152" fmla="*/ 3241551 w 11991973"/>
              <a:gd name="connsiteY152" fmla="*/ 3158542 h 3476625"/>
              <a:gd name="connsiteX153" fmla="*/ 3262238 w 11991973"/>
              <a:gd name="connsiteY153" fmla="*/ 3152725 h 3476625"/>
              <a:gd name="connsiteX154" fmla="*/ 3259801 w 11991973"/>
              <a:gd name="connsiteY154" fmla="*/ 3147498 h 3476625"/>
              <a:gd name="connsiteX155" fmla="*/ 4074656 w 11991973"/>
              <a:gd name="connsiteY155" fmla="*/ 3206495 h 3476625"/>
              <a:gd name="connsiteX156" fmla="*/ 4091581 w 11991973"/>
              <a:gd name="connsiteY156" fmla="*/ 3216721 h 3476625"/>
              <a:gd name="connsiteX157" fmla="*/ 4074656 w 11991973"/>
              <a:gd name="connsiteY157" fmla="*/ 3206495 h 3476625"/>
              <a:gd name="connsiteX158" fmla="*/ 4044029 w 11991973"/>
              <a:gd name="connsiteY158" fmla="*/ 3203619 h 3476625"/>
              <a:gd name="connsiteX159" fmla="*/ 4029523 w 11991973"/>
              <a:gd name="connsiteY159" fmla="*/ 3207995 h 3476625"/>
              <a:gd name="connsiteX160" fmla="*/ 4031401 w 11991973"/>
              <a:gd name="connsiteY160" fmla="*/ 3248720 h 3476625"/>
              <a:gd name="connsiteX161" fmla="*/ 4044029 w 11991973"/>
              <a:gd name="connsiteY161" fmla="*/ 3203619 h 3476625"/>
              <a:gd name="connsiteX162" fmla="*/ 5076553 w 11991973"/>
              <a:gd name="connsiteY162" fmla="*/ 3295530 h 3476625"/>
              <a:gd name="connsiteX163" fmla="*/ 5078892 w 11991973"/>
              <a:gd name="connsiteY163" fmla="*/ 3303990 h 3476625"/>
              <a:gd name="connsiteX164" fmla="*/ 5076778 w 11991973"/>
              <a:gd name="connsiteY164" fmla="*/ 3297809 h 3476625"/>
              <a:gd name="connsiteX165" fmla="*/ 5076085 w 11991973"/>
              <a:gd name="connsiteY165" fmla="*/ 3290789 h 3476625"/>
              <a:gd name="connsiteX166" fmla="*/ 5076553 w 11991973"/>
              <a:gd name="connsiteY166" fmla="*/ 3295530 h 3476625"/>
              <a:gd name="connsiteX167" fmla="*/ 5075353 w 11991973"/>
              <a:gd name="connsiteY167" fmla="*/ 3291189 h 3476625"/>
              <a:gd name="connsiteX168" fmla="*/ 1944885 w 11991973"/>
              <a:gd name="connsiteY168" fmla="*/ 3010913 h 3476625"/>
              <a:gd name="connsiteX169" fmla="*/ 1936420 w 11991973"/>
              <a:gd name="connsiteY169" fmla="*/ 3018912 h 3476625"/>
              <a:gd name="connsiteX170" fmla="*/ 1953347 w 11991973"/>
              <a:gd name="connsiteY170" fmla="*/ 3016003 h 3476625"/>
              <a:gd name="connsiteX171" fmla="*/ 1944885 w 11991973"/>
              <a:gd name="connsiteY171" fmla="*/ 3010913 h 3476625"/>
              <a:gd name="connsiteX172" fmla="*/ 5074661 w 11991973"/>
              <a:gd name="connsiteY172" fmla="*/ 3272298 h 3476625"/>
              <a:gd name="connsiteX173" fmla="*/ 5074661 w 11991973"/>
              <a:gd name="connsiteY173" fmla="*/ 3275031 h 3476625"/>
              <a:gd name="connsiteX174" fmla="*/ 5071371 w 11991973"/>
              <a:gd name="connsiteY174" fmla="*/ 3274900 h 3476625"/>
              <a:gd name="connsiteX175" fmla="*/ 4163983 w 11991973"/>
              <a:gd name="connsiteY175" fmla="*/ 3185451 h 3476625"/>
              <a:gd name="connsiteX176" fmla="*/ 4155520 w 11991973"/>
              <a:gd name="connsiteY176" fmla="*/ 3193450 h 3476625"/>
              <a:gd name="connsiteX177" fmla="*/ 4172445 w 11991973"/>
              <a:gd name="connsiteY177" fmla="*/ 3190541 h 3476625"/>
              <a:gd name="connsiteX178" fmla="*/ 4163983 w 11991973"/>
              <a:gd name="connsiteY178" fmla="*/ 3185451 h 3476625"/>
              <a:gd name="connsiteX179" fmla="*/ 2054811 w 11991973"/>
              <a:gd name="connsiteY179" fmla="*/ 2997459 h 3476625"/>
              <a:gd name="connsiteX180" fmla="*/ 2047611 w 11991973"/>
              <a:gd name="connsiteY180" fmla="*/ 2997095 h 3476625"/>
              <a:gd name="connsiteX181" fmla="*/ 2032330 w 11991973"/>
              <a:gd name="connsiteY181" fmla="*/ 3007277 h 3476625"/>
              <a:gd name="connsiteX182" fmla="*/ 2058660 w 11991973"/>
              <a:gd name="connsiteY182" fmla="*/ 3004367 h 3476625"/>
              <a:gd name="connsiteX183" fmla="*/ 2054811 w 11991973"/>
              <a:gd name="connsiteY183" fmla="*/ 2997459 h 3476625"/>
              <a:gd name="connsiteX184" fmla="*/ 5846027 w 11991973"/>
              <a:gd name="connsiteY184" fmla="*/ 3318763 h 3476625"/>
              <a:gd name="connsiteX185" fmla="*/ 5849935 w 11991973"/>
              <a:gd name="connsiteY185" fmla="*/ 3321444 h 3476625"/>
              <a:gd name="connsiteX186" fmla="*/ 5836772 w 11991973"/>
              <a:gd name="connsiteY186" fmla="*/ 3333080 h 3476625"/>
              <a:gd name="connsiteX187" fmla="*/ 5846027 w 11991973"/>
              <a:gd name="connsiteY187" fmla="*/ 3318763 h 3476625"/>
              <a:gd name="connsiteX188" fmla="*/ 4273910 w 11991973"/>
              <a:gd name="connsiteY188" fmla="*/ 3171997 h 3476625"/>
              <a:gd name="connsiteX189" fmla="*/ 4266713 w 11991973"/>
              <a:gd name="connsiteY189" fmla="*/ 3171633 h 3476625"/>
              <a:gd name="connsiteX190" fmla="*/ 4251431 w 11991973"/>
              <a:gd name="connsiteY190" fmla="*/ 3181815 h 3476625"/>
              <a:gd name="connsiteX191" fmla="*/ 4277758 w 11991973"/>
              <a:gd name="connsiteY191" fmla="*/ 3178905 h 3476625"/>
              <a:gd name="connsiteX192" fmla="*/ 4273910 w 11991973"/>
              <a:gd name="connsiteY192" fmla="*/ 3171997 h 3476625"/>
              <a:gd name="connsiteX193" fmla="*/ 5370620 w 11991973"/>
              <a:gd name="connsiteY193" fmla="*/ 3263628 h 3476625"/>
              <a:gd name="connsiteX194" fmla="*/ 5360981 w 11991973"/>
              <a:gd name="connsiteY194" fmla="*/ 3271992 h 3476625"/>
              <a:gd name="connsiteX195" fmla="*/ 5381667 w 11991973"/>
              <a:gd name="connsiteY195" fmla="*/ 3266174 h 3476625"/>
              <a:gd name="connsiteX196" fmla="*/ 5370620 w 11991973"/>
              <a:gd name="connsiteY196" fmla="*/ 3263628 h 3476625"/>
              <a:gd name="connsiteX197" fmla="*/ 1032522 w 11991973"/>
              <a:gd name="connsiteY197" fmla="*/ 2873107 h 3476625"/>
              <a:gd name="connsiteX198" fmla="*/ 1033500 w 11991973"/>
              <a:gd name="connsiteY198" fmla="*/ 2873465 h 3476625"/>
              <a:gd name="connsiteX199" fmla="*/ 1033613 w 11991973"/>
              <a:gd name="connsiteY199" fmla="*/ 2873637 h 3476625"/>
              <a:gd name="connsiteX200" fmla="*/ 1031854 w 11991973"/>
              <a:gd name="connsiteY200" fmla="*/ 2873464 h 3476625"/>
              <a:gd name="connsiteX201" fmla="*/ 5436969 w 11991973"/>
              <a:gd name="connsiteY201" fmla="*/ 3246675 h 3476625"/>
              <a:gd name="connsiteX202" fmla="*/ 5430563 w 11991973"/>
              <a:gd name="connsiteY202" fmla="*/ 3246902 h 3476625"/>
              <a:gd name="connsiteX203" fmla="*/ 5417401 w 11991973"/>
              <a:gd name="connsiteY203" fmla="*/ 3248719 h 3476625"/>
              <a:gd name="connsiteX204" fmla="*/ 5443726 w 11991973"/>
              <a:gd name="connsiteY204" fmla="*/ 3251629 h 3476625"/>
              <a:gd name="connsiteX205" fmla="*/ 5436969 w 11991973"/>
              <a:gd name="connsiteY205" fmla="*/ 3246675 h 3476625"/>
              <a:gd name="connsiteX206" fmla="*/ 3251624 w 11991973"/>
              <a:gd name="connsiteY206" fmla="*/ 3047644 h 3476625"/>
              <a:gd name="connsiteX207" fmla="*/ 3252604 w 11991973"/>
              <a:gd name="connsiteY207" fmla="*/ 3048002 h 3476625"/>
              <a:gd name="connsiteX208" fmla="*/ 3252717 w 11991973"/>
              <a:gd name="connsiteY208" fmla="*/ 3048175 h 3476625"/>
              <a:gd name="connsiteX209" fmla="*/ 3250958 w 11991973"/>
              <a:gd name="connsiteY209" fmla="*/ 3048002 h 3476625"/>
              <a:gd name="connsiteX210" fmla="*/ 945348 w 11991973"/>
              <a:gd name="connsiteY210" fmla="*/ 2835648 h 3476625"/>
              <a:gd name="connsiteX211" fmla="*/ 932626 w 11991973"/>
              <a:gd name="connsiteY211" fmla="*/ 2853835 h 3476625"/>
              <a:gd name="connsiteX212" fmla="*/ 933360 w 11991973"/>
              <a:gd name="connsiteY212" fmla="*/ 2850920 h 3476625"/>
              <a:gd name="connsiteX213" fmla="*/ 945348 w 11991973"/>
              <a:gd name="connsiteY213" fmla="*/ 2835648 h 3476625"/>
              <a:gd name="connsiteX214" fmla="*/ 2236847 w 11991973"/>
              <a:gd name="connsiteY214" fmla="*/ 2948734 h 3476625"/>
              <a:gd name="connsiteX215" fmla="*/ 2229794 w 11991973"/>
              <a:gd name="connsiteY215" fmla="*/ 2949097 h 3476625"/>
              <a:gd name="connsiteX216" fmla="*/ 2241077 w 11991973"/>
              <a:gd name="connsiteY216" fmla="*/ 2954915 h 3476625"/>
              <a:gd name="connsiteX217" fmla="*/ 2236847 w 11991973"/>
              <a:gd name="connsiteY217" fmla="*/ 2948734 h 3476625"/>
              <a:gd name="connsiteX218" fmla="*/ 998004 w 11991973"/>
              <a:gd name="connsiteY218" fmla="*/ 2835648 h 3476625"/>
              <a:gd name="connsiteX219" fmla="*/ 986721 w 11991973"/>
              <a:gd name="connsiteY219" fmla="*/ 2847283 h 3476625"/>
              <a:gd name="connsiteX220" fmla="*/ 998004 w 11991973"/>
              <a:gd name="connsiteY220" fmla="*/ 2835648 h 3476625"/>
              <a:gd name="connsiteX221" fmla="*/ 5535876 w 11991973"/>
              <a:gd name="connsiteY221" fmla="*/ 3239993 h 3476625"/>
              <a:gd name="connsiteX222" fmla="*/ 5547159 w 11991973"/>
              <a:gd name="connsiteY222" fmla="*/ 3242902 h 3476625"/>
              <a:gd name="connsiteX223" fmla="*/ 5524593 w 11991973"/>
              <a:gd name="connsiteY223" fmla="*/ 3245812 h 3476625"/>
              <a:gd name="connsiteX224" fmla="*/ 5535876 w 11991973"/>
              <a:gd name="connsiteY224" fmla="*/ 3239993 h 3476625"/>
              <a:gd name="connsiteX225" fmla="*/ 1018690 w 11991973"/>
              <a:gd name="connsiteY225" fmla="*/ 2835647 h 3476625"/>
              <a:gd name="connsiteX226" fmla="*/ 1018690 w 11991973"/>
              <a:gd name="connsiteY226" fmla="*/ 2835647 h 3476625"/>
              <a:gd name="connsiteX227" fmla="*/ 1116262 w 11991973"/>
              <a:gd name="connsiteY227" fmla="*/ 2841904 h 3476625"/>
              <a:gd name="connsiteX228" fmla="*/ 1099557 w 11991973"/>
              <a:gd name="connsiteY228" fmla="*/ 2844739 h 3476625"/>
              <a:gd name="connsiteX229" fmla="*/ 1056891 w 11991973"/>
              <a:gd name="connsiteY229" fmla="*/ 2860056 h 3476625"/>
              <a:gd name="connsiteX230" fmla="*/ 1032522 w 11991973"/>
              <a:gd name="connsiteY230" fmla="*/ 2873107 h 3476625"/>
              <a:gd name="connsiteX231" fmla="*/ 1016310 w 11991973"/>
              <a:gd name="connsiteY231" fmla="*/ 2867193 h 3476625"/>
              <a:gd name="connsiteX232" fmla="*/ 1018690 w 11991973"/>
              <a:gd name="connsiteY232" fmla="*/ 2890918 h 3476625"/>
              <a:gd name="connsiteX233" fmla="*/ 1043285 w 11991973"/>
              <a:gd name="connsiteY233" fmla="*/ 2888464 h 3476625"/>
              <a:gd name="connsiteX234" fmla="*/ 1033613 w 11991973"/>
              <a:gd name="connsiteY234" fmla="*/ 2873637 h 3476625"/>
              <a:gd name="connsiteX235" fmla="*/ 1045254 w 11991973"/>
              <a:gd name="connsiteY235" fmla="*/ 2874782 h 3476625"/>
              <a:gd name="connsiteX236" fmla="*/ 1093915 w 11991973"/>
              <a:gd name="connsiteY236" fmla="*/ 2879283 h 3476625"/>
              <a:gd name="connsiteX237" fmla="*/ 1116262 w 11991973"/>
              <a:gd name="connsiteY237" fmla="*/ 2841904 h 3476625"/>
              <a:gd name="connsiteX238" fmla="*/ 4455947 w 11991973"/>
              <a:gd name="connsiteY238" fmla="*/ 3123271 h 3476625"/>
              <a:gd name="connsiteX239" fmla="*/ 4448893 w 11991973"/>
              <a:gd name="connsiteY239" fmla="*/ 3123635 h 3476625"/>
              <a:gd name="connsiteX240" fmla="*/ 4460178 w 11991973"/>
              <a:gd name="connsiteY240" fmla="*/ 3129452 h 3476625"/>
              <a:gd name="connsiteX241" fmla="*/ 4455947 w 11991973"/>
              <a:gd name="connsiteY241" fmla="*/ 3123271 h 3476625"/>
              <a:gd name="connsiteX242" fmla="*/ 3217106 w 11991973"/>
              <a:gd name="connsiteY242" fmla="*/ 3010186 h 3476625"/>
              <a:gd name="connsiteX243" fmla="*/ 3205820 w 11991973"/>
              <a:gd name="connsiteY243" fmla="*/ 3021821 h 3476625"/>
              <a:gd name="connsiteX244" fmla="*/ 3217106 w 11991973"/>
              <a:gd name="connsiteY244" fmla="*/ 3010186 h 3476625"/>
              <a:gd name="connsiteX245" fmla="*/ 3168209 w 11991973"/>
              <a:gd name="connsiteY245" fmla="*/ 3004367 h 3476625"/>
              <a:gd name="connsiteX246" fmla="*/ 3155489 w 11991973"/>
              <a:gd name="connsiteY246" fmla="*/ 3022556 h 3476625"/>
              <a:gd name="connsiteX247" fmla="*/ 3156222 w 11991973"/>
              <a:gd name="connsiteY247" fmla="*/ 3019640 h 3476625"/>
              <a:gd name="connsiteX248" fmla="*/ 3168209 w 11991973"/>
              <a:gd name="connsiteY248" fmla="*/ 3004367 h 3476625"/>
              <a:gd name="connsiteX249" fmla="*/ 3237793 w 11991973"/>
              <a:gd name="connsiteY249" fmla="*/ 3010186 h 3476625"/>
              <a:gd name="connsiteX250" fmla="*/ 3237793 w 11991973"/>
              <a:gd name="connsiteY250" fmla="*/ 3010186 h 3476625"/>
              <a:gd name="connsiteX251" fmla="*/ 3335361 w 11991973"/>
              <a:gd name="connsiteY251" fmla="*/ 3016441 h 3476625"/>
              <a:gd name="connsiteX252" fmla="*/ 3318656 w 11991973"/>
              <a:gd name="connsiteY252" fmla="*/ 3019276 h 3476625"/>
              <a:gd name="connsiteX253" fmla="*/ 3275990 w 11991973"/>
              <a:gd name="connsiteY253" fmla="*/ 3034594 h 3476625"/>
              <a:gd name="connsiteX254" fmla="*/ 3251624 w 11991973"/>
              <a:gd name="connsiteY254" fmla="*/ 3047644 h 3476625"/>
              <a:gd name="connsiteX255" fmla="*/ 3235412 w 11991973"/>
              <a:gd name="connsiteY255" fmla="*/ 3041729 h 3476625"/>
              <a:gd name="connsiteX256" fmla="*/ 3237790 w 11991973"/>
              <a:gd name="connsiteY256" fmla="*/ 3065455 h 3476625"/>
              <a:gd name="connsiteX257" fmla="*/ 3262387 w 11991973"/>
              <a:gd name="connsiteY257" fmla="*/ 3063001 h 3476625"/>
              <a:gd name="connsiteX258" fmla="*/ 3252717 w 11991973"/>
              <a:gd name="connsiteY258" fmla="*/ 3048175 h 3476625"/>
              <a:gd name="connsiteX259" fmla="*/ 3264357 w 11991973"/>
              <a:gd name="connsiteY259" fmla="*/ 3049320 h 3476625"/>
              <a:gd name="connsiteX260" fmla="*/ 3313017 w 11991973"/>
              <a:gd name="connsiteY260" fmla="*/ 3053819 h 3476625"/>
              <a:gd name="connsiteX261" fmla="*/ 3335361 w 11991973"/>
              <a:gd name="connsiteY261" fmla="*/ 3016441 h 3476625"/>
              <a:gd name="connsiteX262" fmla="*/ 1201108 w 11991973"/>
              <a:gd name="connsiteY262" fmla="*/ 2824012 h 3476625"/>
              <a:gd name="connsiteX263" fmla="*/ 1125884 w 11991973"/>
              <a:gd name="connsiteY263" fmla="*/ 2853102 h 3476625"/>
              <a:gd name="connsiteX264" fmla="*/ 1199228 w 11991973"/>
              <a:gd name="connsiteY264" fmla="*/ 2856010 h 3476625"/>
              <a:gd name="connsiteX265" fmla="*/ 1165378 w 11991973"/>
              <a:gd name="connsiteY265" fmla="*/ 2853102 h 3476625"/>
              <a:gd name="connsiteX266" fmla="*/ 1201108 w 11991973"/>
              <a:gd name="connsiteY266" fmla="*/ 2824012 h 3476625"/>
              <a:gd name="connsiteX267" fmla="*/ 5596759 w 11991973"/>
              <a:gd name="connsiteY267" fmla="*/ 3215635 h 3476625"/>
              <a:gd name="connsiteX268" fmla="*/ 5604759 w 11991973"/>
              <a:gd name="connsiteY268" fmla="*/ 3220044 h 3476625"/>
              <a:gd name="connsiteX269" fmla="*/ 5601934 w 11991973"/>
              <a:gd name="connsiteY269" fmla="*/ 3223994 h 3476625"/>
              <a:gd name="connsiteX270" fmla="*/ 5590414 w 11991973"/>
              <a:gd name="connsiteY270" fmla="*/ 3225448 h 3476625"/>
              <a:gd name="connsiteX271" fmla="*/ 1237192 w 11991973"/>
              <a:gd name="connsiteY271" fmla="*/ 2816831 h 3476625"/>
              <a:gd name="connsiteX272" fmla="*/ 1225555 w 11991973"/>
              <a:gd name="connsiteY272" fmla="*/ 2835648 h 3476625"/>
              <a:gd name="connsiteX273" fmla="*/ 1237192 w 11991973"/>
              <a:gd name="connsiteY273" fmla="*/ 2816831 h 3476625"/>
              <a:gd name="connsiteX274" fmla="*/ 1274687 w 11991973"/>
              <a:gd name="connsiteY274" fmla="*/ 2817831 h 3476625"/>
              <a:gd name="connsiteX275" fmla="*/ 1265048 w 11991973"/>
              <a:gd name="connsiteY275" fmla="*/ 2821103 h 3476625"/>
              <a:gd name="connsiteX276" fmla="*/ 1285735 w 11991973"/>
              <a:gd name="connsiteY276" fmla="*/ 2821103 h 3476625"/>
              <a:gd name="connsiteX277" fmla="*/ 1274687 w 11991973"/>
              <a:gd name="connsiteY277" fmla="*/ 2817831 h 3476625"/>
              <a:gd name="connsiteX278" fmla="*/ 3420209 w 11991973"/>
              <a:gd name="connsiteY278" fmla="*/ 2998550 h 3476625"/>
              <a:gd name="connsiteX279" fmla="*/ 3344987 w 11991973"/>
              <a:gd name="connsiteY279" fmla="*/ 3027639 h 3476625"/>
              <a:gd name="connsiteX280" fmla="*/ 3418331 w 11991973"/>
              <a:gd name="connsiteY280" fmla="*/ 3030548 h 3476625"/>
              <a:gd name="connsiteX281" fmla="*/ 3384477 w 11991973"/>
              <a:gd name="connsiteY281" fmla="*/ 3027638 h 3476625"/>
              <a:gd name="connsiteX282" fmla="*/ 3420209 w 11991973"/>
              <a:gd name="connsiteY282" fmla="*/ 2998550 h 3476625"/>
              <a:gd name="connsiteX283" fmla="*/ 5938324 w 11991973"/>
              <a:gd name="connsiteY283" fmla="*/ 3222539 h 3476625"/>
              <a:gd name="connsiteX284" fmla="*/ 5921400 w 11991973"/>
              <a:gd name="connsiteY284" fmla="*/ 3231267 h 3476625"/>
              <a:gd name="connsiteX285" fmla="*/ 5938324 w 11991973"/>
              <a:gd name="connsiteY285" fmla="*/ 3222539 h 3476625"/>
              <a:gd name="connsiteX286" fmla="*/ 1312252 w 11991973"/>
              <a:gd name="connsiteY286" fmla="*/ 2803547 h 3476625"/>
              <a:gd name="connsiteX287" fmla="*/ 1300163 w 11991973"/>
              <a:gd name="connsiteY287" fmla="*/ 2803377 h 3476625"/>
              <a:gd name="connsiteX288" fmla="*/ 1328990 w 11991973"/>
              <a:gd name="connsiteY288" fmla="*/ 2812376 h 3476625"/>
              <a:gd name="connsiteX289" fmla="*/ 1312252 w 11991973"/>
              <a:gd name="connsiteY289" fmla="*/ 2803547 h 3476625"/>
              <a:gd name="connsiteX290" fmla="*/ 5738980 w 11991973"/>
              <a:gd name="connsiteY290" fmla="*/ 3196358 h 3476625"/>
              <a:gd name="connsiteX291" fmla="*/ 5728873 w 11991973"/>
              <a:gd name="connsiteY291" fmla="*/ 3195632 h 3476625"/>
              <a:gd name="connsiteX292" fmla="*/ 5720177 w 11991973"/>
              <a:gd name="connsiteY292" fmla="*/ 3199267 h 3476625"/>
              <a:gd name="connsiteX293" fmla="*/ 5738980 w 11991973"/>
              <a:gd name="connsiteY293" fmla="*/ 3196358 h 3476625"/>
              <a:gd name="connsiteX294" fmla="*/ 3456293 w 11991973"/>
              <a:gd name="connsiteY294" fmla="*/ 2991369 h 3476625"/>
              <a:gd name="connsiteX295" fmla="*/ 3444658 w 11991973"/>
              <a:gd name="connsiteY295" fmla="*/ 3010186 h 3476625"/>
              <a:gd name="connsiteX296" fmla="*/ 3456293 w 11991973"/>
              <a:gd name="connsiteY296" fmla="*/ 2991369 h 3476625"/>
              <a:gd name="connsiteX297" fmla="*/ 1203987 w 11991973"/>
              <a:gd name="connsiteY297" fmla="*/ 2789605 h 3476625"/>
              <a:gd name="connsiteX298" fmla="*/ 1197348 w 11991973"/>
              <a:gd name="connsiteY298" fmla="*/ 2789469 h 3476625"/>
              <a:gd name="connsiteX299" fmla="*/ 1182303 w 11991973"/>
              <a:gd name="connsiteY299" fmla="*/ 2794922 h 3476625"/>
              <a:gd name="connsiteX300" fmla="*/ 1206750 w 11991973"/>
              <a:gd name="connsiteY300" fmla="*/ 2794922 h 3476625"/>
              <a:gd name="connsiteX301" fmla="*/ 1203987 w 11991973"/>
              <a:gd name="connsiteY301" fmla="*/ 2789605 h 3476625"/>
              <a:gd name="connsiteX302" fmla="*/ 3493787 w 11991973"/>
              <a:gd name="connsiteY302" fmla="*/ 2992368 h 3476625"/>
              <a:gd name="connsiteX303" fmla="*/ 3484149 w 11991973"/>
              <a:gd name="connsiteY303" fmla="*/ 2995641 h 3476625"/>
              <a:gd name="connsiteX304" fmla="*/ 3504836 w 11991973"/>
              <a:gd name="connsiteY304" fmla="*/ 2995641 h 3476625"/>
              <a:gd name="connsiteX305" fmla="*/ 3493787 w 11991973"/>
              <a:gd name="connsiteY305" fmla="*/ 2992368 h 3476625"/>
              <a:gd name="connsiteX306" fmla="*/ 1354789 w 11991973"/>
              <a:gd name="connsiteY306" fmla="*/ 2796787 h 3476625"/>
              <a:gd name="connsiteX307" fmla="*/ 1349206 w 11991973"/>
              <a:gd name="connsiteY307" fmla="*/ 2796740 h 3476625"/>
              <a:gd name="connsiteX308" fmla="*/ 1338391 w 11991973"/>
              <a:gd name="connsiteY308" fmla="*/ 2809467 h 3476625"/>
              <a:gd name="connsiteX309" fmla="*/ 1357198 w 11991973"/>
              <a:gd name="connsiteY309" fmla="*/ 2803650 h 3476625"/>
              <a:gd name="connsiteX310" fmla="*/ 1354789 w 11991973"/>
              <a:gd name="connsiteY310" fmla="*/ 2796787 h 3476625"/>
              <a:gd name="connsiteX311" fmla="*/ 721556 w 11991973"/>
              <a:gd name="connsiteY311" fmla="*/ 2736744 h 3476625"/>
              <a:gd name="connsiteX312" fmla="*/ 680185 w 11991973"/>
              <a:gd name="connsiteY312" fmla="*/ 2748379 h 3476625"/>
              <a:gd name="connsiteX313" fmla="*/ 721556 w 11991973"/>
              <a:gd name="connsiteY313" fmla="*/ 2736744 h 3476625"/>
              <a:gd name="connsiteX314" fmla="*/ 6018249 w 11991973"/>
              <a:gd name="connsiteY314" fmla="*/ 3207268 h 3476625"/>
              <a:gd name="connsiteX315" fmla="*/ 6013547 w 11991973"/>
              <a:gd name="connsiteY315" fmla="*/ 3216722 h 3476625"/>
              <a:gd name="connsiteX316" fmla="*/ 6028592 w 11991973"/>
              <a:gd name="connsiteY316" fmla="*/ 3210903 h 3476625"/>
              <a:gd name="connsiteX317" fmla="*/ 6018249 w 11991973"/>
              <a:gd name="connsiteY317" fmla="*/ 3207268 h 3476625"/>
              <a:gd name="connsiteX318" fmla="*/ 3531354 w 11991973"/>
              <a:gd name="connsiteY318" fmla="*/ 2978084 h 3476625"/>
              <a:gd name="connsiteX319" fmla="*/ 3519265 w 11991973"/>
              <a:gd name="connsiteY319" fmla="*/ 2977914 h 3476625"/>
              <a:gd name="connsiteX320" fmla="*/ 3548088 w 11991973"/>
              <a:gd name="connsiteY320" fmla="*/ 2986913 h 3476625"/>
              <a:gd name="connsiteX321" fmla="*/ 3531354 w 11991973"/>
              <a:gd name="connsiteY321" fmla="*/ 2978084 h 3476625"/>
              <a:gd name="connsiteX322" fmla="*/ 5844206 w 11991973"/>
              <a:gd name="connsiteY322" fmla="*/ 3181800 h 3476625"/>
              <a:gd name="connsiteX323" fmla="*/ 5844294 w 11991973"/>
              <a:gd name="connsiteY323" fmla="*/ 3181815 h 3476625"/>
              <a:gd name="connsiteX324" fmla="*/ 5841666 w 11991973"/>
              <a:gd name="connsiteY324" fmla="*/ 3182662 h 3476625"/>
              <a:gd name="connsiteX325" fmla="*/ 3423090 w 11991973"/>
              <a:gd name="connsiteY325" fmla="*/ 2964143 h 3476625"/>
              <a:gd name="connsiteX326" fmla="*/ 3416450 w 11991973"/>
              <a:gd name="connsiteY326" fmla="*/ 2964006 h 3476625"/>
              <a:gd name="connsiteX327" fmla="*/ 3401404 w 11991973"/>
              <a:gd name="connsiteY327" fmla="*/ 2969460 h 3476625"/>
              <a:gd name="connsiteX328" fmla="*/ 3425852 w 11991973"/>
              <a:gd name="connsiteY328" fmla="*/ 2969460 h 3476625"/>
              <a:gd name="connsiteX329" fmla="*/ 3423090 w 11991973"/>
              <a:gd name="connsiteY329" fmla="*/ 2964143 h 3476625"/>
              <a:gd name="connsiteX330" fmla="*/ 1432422 w 11991973"/>
              <a:gd name="connsiteY330" fmla="*/ 2786196 h 3476625"/>
              <a:gd name="connsiteX331" fmla="*/ 1402333 w 11991973"/>
              <a:gd name="connsiteY331" fmla="*/ 2789105 h 3476625"/>
              <a:gd name="connsiteX332" fmla="*/ 1432422 w 11991973"/>
              <a:gd name="connsiteY332" fmla="*/ 2786196 h 3476625"/>
              <a:gd name="connsiteX333" fmla="*/ 3573889 w 11991973"/>
              <a:gd name="connsiteY333" fmla="*/ 2971324 h 3476625"/>
              <a:gd name="connsiteX334" fmla="*/ 3568308 w 11991973"/>
              <a:gd name="connsiteY334" fmla="*/ 2971278 h 3476625"/>
              <a:gd name="connsiteX335" fmla="*/ 3557492 w 11991973"/>
              <a:gd name="connsiteY335" fmla="*/ 2984005 h 3476625"/>
              <a:gd name="connsiteX336" fmla="*/ 3576301 w 11991973"/>
              <a:gd name="connsiteY336" fmla="*/ 2978187 h 3476625"/>
              <a:gd name="connsiteX337" fmla="*/ 3573889 w 11991973"/>
              <a:gd name="connsiteY337" fmla="*/ 2971324 h 3476625"/>
              <a:gd name="connsiteX338" fmla="*/ 2940660 w 11991973"/>
              <a:gd name="connsiteY338" fmla="*/ 2911280 h 3476625"/>
              <a:gd name="connsiteX339" fmla="*/ 2899285 w 11991973"/>
              <a:gd name="connsiteY339" fmla="*/ 2922916 h 3476625"/>
              <a:gd name="connsiteX340" fmla="*/ 2940660 w 11991973"/>
              <a:gd name="connsiteY340" fmla="*/ 2911280 h 3476625"/>
              <a:gd name="connsiteX341" fmla="*/ 1465391 w 11991973"/>
              <a:gd name="connsiteY341" fmla="*/ 2779696 h 3476625"/>
              <a:gd name="connsiteX342" fmla="*/ 1477554 w 11991973"/>
              <a:gd name="connsiteY342" fmla="*/ 2789105 h 3476625"/>
              <a:gd name="connsiteX343" fmla="*/ 1465391 w 11991973"/>
              <a:gd name="connsiteY343" fmla="*/ 2779696 h 3476625"/>
              <a:gd name="connsiteX344" fmla="*/ 1453108 w 11991973"/>
              <a:gd name="connsiteY344" fmla="*/ 2777469 h 3476625"/>
              <a:gd name="connsiteX345" fmla="*/ 1434302 w 11991973"/>
              <a:gd name="connsiteY345" fmla="*/ 2789105 h 3476625"/>
              <a:gd name="connsiteX346" fmla="*/ 1453108 w 11991973"/>
              <a:gd name="connsiteY346" fmla="*/ 2777469 h 3476625"/>
              <a:gd name="connsiteX347" fmla="*/ 721792 w 11991973"/>
              <a:gd name="connsiteY347" fmla="*/ 2711654 h 3476625"/>
              <a:gd name="connsiteX348" fmla="*/ 712154 w 11991973"/>
              <a:gd name="connsiteY348" fmla="*/ 2722199 h 3476625"/>
              <a:gd name="connsiteX349" fmla="*/ 732841 w 11991973"/>
              <a:gd name="connsiteY349" fmla="*/ 2716380 h 3476625"/>
              <a:gd name="connsiteX350" fmla="*/ 721792 w 11991973"/>
              <a:gd name="connsiteY350" fmla="*/ 2711654 h 3476625"/>
              <a:gd name="connsiteX351" fmla="*/ 5328453 w 11991973"/>
              <a:gd name="connsiteY351" fmla="*/ 3118408 h 3476625"/>
              <a:gd name="connsiteX352" fmla="*/ 5322664 w 11991973"/>
              <a:gd name="connsiteY352" fmla="*/ 3118907 h 3476625"/>
              <a:gd name="connsiteX353" fmla="*/ 5310207 w 11991973"/>
              <a:gd name="connsiteY353" fmla="*/ 3129452 h 3476625"/>
              <a:gd name="connsiteX354" fmla="*/ 5330892 w 11991973"/>
              <a:gd name="connsiteY354" fmla="*/ 3123635 h 3476625"/>
              <a:gd name="connsiteX355" fmla="*/ 5328453 w 11991973"/>
              <a:gd name="connsiteY355" fmla="*/ 3118408 h 3476625"/>
              <a:gd name="connsiteX356" fmla="*/ 674072 w 11991973"/>
              <a:gd name="connsiteY356" fmla="*/ 2699291 h 3476625"/>
              <a:gd name="connsiteX357" fmla="*/ 663259 w 11991973"/>
              <a:gd name="connsiteY357" fmla="*/ 2701835 h 3476625"/>
              <a:gd name="connsiteX358" fmla="*/ 676422 w 11991973"/>
              <a:gd name="connsiteY358" fmla="*/ 2707654 h 3476625"/>
              <a:gd name="connsiteX359" fmla="*/ 674072 w 11991973"/>
              <a:gd name="connsiteY359" fmla="*/ 2699291 h 3476625"/>
              <a:gd name="connsiteX360" fmla="*/ 691466 w 11991973"/>
              <a:gd name="connsiteY360" fmla="*/ 2696018 h 3476625"/>
              <a:gd name="connsiteX361" fmla="*/ 691466 w 11991973"/>
              <a:gd name="connsiteY361" fmla="*/ 2696018 h 3476625"/>
              <a:gd name="connsiteX362" fmla="*/ 1483551 w 11991973"/>
              <a:gd name="connsiteY362" fmla="*/ 2763469 h 3476625"/>
              <a:gd name="connsiteX363" fmla="*/ 1471914 w 11991973"/>
              <a:gd name="connsiteY363" fmla="*/ 2771651 h 3476625"/>
              <a:gd name="connsiteX364" fmla="*/ 1483551 w 11991973"/>
              <a:gd name="connsiteY364" fmla="*/ 2763469 h 3476625"/>
              <a:gd name="connsiteX365" fmla="*/ 6143307 w 11991973"/>
              <a:gd name="connsiteY365" fmla="*/ 3177406 h 3476625"/>
              <a:gd name="connsiteX366" fmla="*/ 6160233 w 11991973"/>
              <a:gd name="connsiteY366" fmla="*/ 3187632 h 3476625"/>
              <a:gd name="connsiteX367" fmla="*/ 6143307 w 11991973"/>
              <a:gd name="connsiteY367" fmla="*/ 3177406 h 3476625"/>
              <a:gd name="connsiteX368" fmla="*/ 6112682 w 11991973"/>
              <a:gd name="connsiteY368" fmla="*/ 3174531 h 3476625"/>
              <a:gd name="connsiteX369" fmla="*/ 6098174 w 11991973"/>
              <a:gd name="connsiteY369" fmla="*/ 3178905 h 3476625"/>
              <a:gd name="connsiteX370" fmla="*/ 6100054 w 11991973"/>
              <a:gd name="connsiteY370" fmla="*/ 3219631 h 3476625"/>
              <a:gd name="connsiteX371" fmla="*/ 6112682 w 11991973"/>
              <a:gd name="connsiteY371" fmla="*/ 3174531 h 3476625"/>
              <a:gd name="connsiteX372" fmla="*/ 5140394 w 11991973"/>
              <a:gd name="connsiteY372" fmla="*/ 3081683 h 3476625"/>
              <a:gd name="connsiteX373" fmla="*/ 5139071 w 11991973"/>
              <a:gd name="connsiteY373" fmla="*/ 3082909 h 3476625"/>
              <a:gd name="connsiteX374" fmla="*/ 5140394 w 11991973"/>
              <a:gd name="connsiteY374" fmla="*/ 3081683 h 3476625"/>
              <a:gd name="connsiteX375" fmla="*/ 789964 w 11991973"/>
              <a:gd name="connsiteY375" fmla="*/ 2689836 h 3476625"/>
              <a:gd name="connsiteX376" fmla="*/ 789259 w 11991973"/>
              <a:gd name="connsiteY376" fmla="*/ 2701835 h 3476625"/>
              <a:gd name="connsiteX377" fmla="*/ 789964 w 11991973"/>
              <a:gd name="connsiteY377" fmla="*/ 2689836 h 3476625"/>
              <a:gd name="connsiteX378" fmla="*/ 1643048 w 11991973"/>
              <a:gd name="connsiteY378" fmla="*/ 2754197 h 3476625"/>
              <a:gd name="connsiteX379" fmla="*/ 1635526 w 11991973"/>
              <a:gd name="connsiteY379" fmla="*/ 2765832 h 3476625"/>
              <a:gd name="connsiteX380" fmla="*/ 1643048 w 11991973"/>
              <a:gd name="connsiteY380" fmla="*/ 2754197 h 3476625"/>
              <a:gd name="connsiteX381" fmla="*/ 862925 w 11991973"/>
              <a:gd name="connsiteY381" fmla="*/ 2683336 h 3476625"/>
              <a:gd name="connsiteX382" fmla="*/ 849437 w 11991973"/>
              <a:gd name="connsiteY382" fmla="*/ 2696018 h 3476625"/>
              <a:gd name="connsiteX383" fmla="*/ 868244 w 11991973"/>
              <a:gd name="connsiteY383" fmla="*/ 2684382 h 3476625"/>
              <a:gd name="connsiteX384" fmla="*/ 862925 w 11991973"/>
              <a:gd name="connsiteY384" fmla="*/ 2683336 h 3476625"/>
              <a:gd name="connsiteX385" fmla="*/ 688661 w 11991973"/>
              <a:gd name="connsiteY385" fmla="*/ 2666976 h 3476625"/>
              <a:gd name="connsiteX386" fmla="*/ 688736 w 11991973"/>
              <a:gd name="connsiteY386" fmla="*/ 2667020 h 3476625"/>
              <a:gd name="connsiteX387" fmla="*/ 685825 w 11991973"/>
              <a:gd name="connsiteY387" fmla="*/ 2672747 h 3476625"/>
              <a:gd name="connsiteX388" fmla="*/ 682633 w 11991973"/>
              <a:gd name="connsiteY388" fmla="*/ 2668881 h 3476625"/>
              <a:gd name="connsiteX389" fmla="*/ 694733 w 11991973"/>
              <a:gd name="connsiteY389" fmla="*/ 2665176 h 3476625"/>
              <a:gd name="connsiteX390" fmla="*/ 691467 w 11991973"/>
              <a:gd name="connsiteY390" fmla="*/ 2669837 h 3476625"/>
              <a:gd name="connsiteX391" fmla="*/ 693562 w 11991973"/>
              <a:gd name="connsiteY391" fmla="*/ 2665518 h 3476625"/>
              <a:gd name="connsiteX392" fmla="*/ 5188909 w 11991973"/>
              <a:gd name="connsiteY392" fmla="*/ 3065456 h 3476625"/>
              <a:gd name="connsiteX393" fmla="*/ 5197369 w 11991973"/>
              <a:gd name="connsiteY393" fmla="*/ 3074183 h 3476625"/>
              <a:gd name="connsiteX394" fmla="*/ 5188909 w 11991973"/>
              <a:gd name="connsiteY394" fmla="*/ 3065456 h 3476625"/>
              <a:gd name="connsiteX395" fmla="*/ 6232637 w 11991973"/>
              <a:gd name="connsiteY395" fmla="*/ 3156361 h 3476625"/>
              <a:gd name="connsiteX396" fmla="*/ 6224174 w 11991973"/>
              <a:gd name="connsiteY396" fmla="*/ 3164360 h 3476625"/>
              <a:gd name="connsiteX397" fmla="*/ 6241099 w 11991973"/>
              <a:gd name="connsiteY397" fmla="*/ 3161451 h 3476625"/>
              <a:gd name="connsiteX398" fmla="*/ 6232637 w 11991973"/>
              <a:gd name="connsiteY398" fmla="*/ 3156361 h 3476625"/>
              <a:gd name="connsiteX399" fmla="*/ 1040789 w 11991973"/>
              <a:gd name="connsiteY399" fmla="*/ 2685837 h 3476625"/>
              <a:gd name="connsiteX400" fmla="*/ 1028093 w 11991973"/>
              <a:gd name="connsiteY400" fmla="*/ 2693109 h 3476625"/>
              <a:gd name="connsiteX401" fmla="*/ 1056304 w 11991973"/>
              <a:gd name="connsiteY401" fmla="*/ 2687290 h 3476625"/>
              <a:gd name="connsiteX402" fmla="*/ 1040789 w 11991973"/>
              <a:gd name="connsiteY402" fmla="*/ 2685837 h 3476625"/>
              <a:gd name="connsiteX403" fmla="*/ 1469475 w 11991973"/>
              <a:gd name="connsiteY403" fmla="*/ 2714063 h 3476625"/>
              <a:gd name="connsiteX404" fmla="*/ 1463686 w 11991973"/>
              <a:gd name="connsiteY404" fmla="*/ 2714562 h 3476625"/>
              <a:gd name="connsiteX405" fmla="*/ 1451227 w 11991973"/>
              <a:gd name="connsiteY405" fmla="*/ 2725107 h 3476625"/>
              <a:gd name="connsiteX406" fmla="*/ 1471914 w 11991973"/>
              <a:gd name="connsiteY406" fmla="*/ 2719289 h 3476625"/>
              <a:gd name="connsiteX407" fmla="*/ 1469475 w 11991973"/>
              <a:gd name="connsiteY407" fmla="*/ 2714063 h 3476625"/>
              <a:gd name="connsiteX408" fmla="*/ 886813 w 11991973"/>
              <a:gd name="connsiteY408" fmla="*/ 2661110 h 3476625"/>
              <a:gd name="connsiteX409" fmla="*/ 883287 w 11991973"/>
              <a:gd name="connsiteY409" fmla="*/ 2687290 h 3476625"/>
              <a:gd name="connsiteX410" fmla="*/ 886813 w 11991973"/>
              <a:gd name="connsiteY410" fmla="*/ 2661110 h 3476625"/>
              <a:gd name="connsiteX411" fmla="*/ 767838 w 11991973"/>
              <a:gd name="connsiteY411" fmla="*/ 2650162 h 3476625"/>
              <a:gd name="connsiteX412" fmla="*/ 768572 w 11991973"/>
              <a:gd name="connsiteY412" fmla="*/ 2652383 h 3476625"/>
              <a:gd name="connsiteX413" fmla="*/ 768256 w 11991973"/>
              <a:gd name="connsiteY413" fmla="*/ 2652440 h 3476625"/>
              <a:gd name="connsiteX414" fmla="*/ 6342563 w 11991973"/>
              <a:gd name="connsiteY414" fmla="*/ 3142907 h 3476625"/>
              <a:gd name="connsiteX415" fmla="*/ 6335363 w 11991973"/>
              <a:gd name="connsiteY415" fmla="*/ 3142543 h 3476625"/>
              <a:gd name="connsiteX416" fmla="*/ 6320084 w 11991973"/>
              <a:gd name="connsiteY416" fmla="*/ 3152724 h 3476625"/>
              <a:gd name="connsiteX417" fmla="*/ 6346412 w 11991973"/>
              <a:gd name="connsiteY417" fmla="*/ 3149815 h 3476625"/>
              <a:gd name="connsiteX418" fmla="*/ 6342563 w 11991973"/>
              <a:gd name="connsiteY418" fmla="*/ 3142907 h 3476625"/>
              <a:gd name="connsiteX419" fmla="*/ 840505 w 11991973"/>
              <a:gd name="connsiteY419" fmla="*/ 2647657 h 3476625"/>
              <a:gd name="connsiteX420" fmla="*/ 841915 w 11991973"/>
              <a:gd name="connsiteY420" fmla="*/ 2672747 h 3476625"/>
              <a:gd name="connsiteX421" fmla="*/ 840505 w 11991973"/>
              <a:gd name="connsiteY421" fmla="*/ 2647657 h 3476625"/>
              <a:gd name="connsiteX422" fmla="*/ 3259890 w 11991973"/>
              <a:gd name="connsiteY422" fmla="*/ 2860374 h 3476625"/>
              <a:gd name="connsiteX423" fmla="*/ 3247197 w 11991973"/>
              <a:gd name="connsiteY423" fmla="*/ 2867647 h 3476625"/>
              <a:gd name="connsiteX424" fmla="*/ 3275405 w 11991973"/>
              <a:gd name="connsiteY424" fmla="*/ 2861828 h 3476625"/>
              <a:gd name="connsiteX425" fmla="*/ 3259890 w 11991973"/>
              <a:gd name="connsiteY425" fmla="*/ 2860374 h 3476625"/>
              <a:gd name="connsiteX426" fmla="*/ 1009287 w 11991973"/>
              <a:gd name="connsiteY426" fmla="*/ 2655292 h 3476625"/>
              <a:gd name="connsiteX427" fmla="*/ 997388 w 11991973"/>
              <a:gd name="connsiteY427" fmla="*/ 2654475 h 3476625"/>
              <a:gd name="connsiteX428" fmla="*/ 1009287 w 11991973"/>
              <a:gd name="connsiteY428" fmla="*/ 2655292 h 3476625"/>
              <a:gd name="connsiteX429" fmla="*/ 2792092 w 11991973"/>
              <a:gd name="connsiteY429" fmla="*/ 2809467 h 3476625"/>
              <a:gd name="connsiteX430" fmla="*/ 2792092 w 11991973"/>
              <a:gd name="connsiteY430" fmla="*/ 2809467 h 3476625"/>
              <a:gd name="connsiteX431" fmla="*/ 3688577 w 11991973"/>
              <a:gd name="connsiteY431" fmla="*/ 2888600 h 3476625"/>
              <a:gd name="connsiteX432" fmla="*/ 3682789 w 11991973"/>
              <a:gd name="connsiteY432" fmla="*/ 2889100 h 3476625"/>
              <a:gd name="connsiteX433" fmla="*/ 3670329 w 11991973"/>
              <a:gd name="connsiteY433" fmla="*/ 2899645 h 3476625"/>
              <a:gd name="connsiteX434" fmla="*/ 3691016 w 11991973"/>
              <a:gd name="connsiteY434" fmla="*/ 2893827 h 3476625"/>
              <a:gd name="connsiteX435" fmla="*/ 3688577 w 11991973"/>
              <a:gd name="connsiteY435" fmla="*/ 2888600 h 3476625"/>
              <a:gd name="connsiteX436" fmla="*/ 540567 w 11991973"/>
              <a:gd name="connsiteY436" fmla="*/ 2606598 h 3476625"/>
              <a:gd name="connsiteX437" fmla="*/ 544781 w 11991973"/>
              <a:gd name="connsiteY437" fmla="*/ 2611657 h 3476625"/>
              <a:gd name="connsiteX438" fmla="*/ 525975 w 11991973"/>
              <a:gd name="connsiteY438" fmla="*/ 2614567 h 3476625"/>
              <a:gd name="connsiteX439" fmla="*/ 537494 w 11991973"/>
              <a:gd name="connsiteY439" fmla="*/ 2606341 h 3476625"/>
              <a:gd name="connsiteX440" fmla="*/ 1153037 w 11991973"/>
              <a:gd name="connsiteY440" fmla="*/ 2659747 h 3476625"/>
              <a:gd name="connsiteX441" fmla="*/ 1137167 w 11991973"/>
              <a:gd name="connsiteY441" fmla="*/ 2678564 h 3476625"/>
              <a:gd name="connsiteX442" fmla="*/ 1153037 w 11991973"/>
              <a:gd name="connsiteY442" fmla="*/ 2659747 h 3476625"/>
              <a:gd name="connsiteX443" fmla="*/ 3206997 w 11991973"/>
              <a:gd name="connsiteY443" fmla="*/ 2838557 h 3476625"/>
              <a:gd name="connsiteX444" fmla="*/ 3207702 w 11991973"/>
              <a:gd name="connsiteY444" fmla="*/ 2847283 h 3476625"/>
              <a:gd name="connsiteX445" fmla="*/ 3206997 w 11991973"/>
              <a:gd name="connsiteY445" fmla="*/ 2838557 h 3476625"/>
              <a:gd name="connsiteX446" fmla="*/ 931861 w 11991973"/>
              <a:gd name="connsiteY446" fmla="*/ 2633112 h 3476625"/>
              <a:gd name="connsiteX447" fmla="*/ 928422 w 11991973"/>
              <a:gd name="connsiteY447" fmla="*/ 2649474 h 3476625"/>
              <a:gd name="connsiteX448" fmla="*/ 931861 w 11991973"/>
              <a:gd name="connsiteY448" fmla="*/ 2633112 h 3476625"/>
              <a:gd name="connsiteX449" fmla="*/ 3220515 w 11991973"/>
              <a:gd name="connsiteY449" fmla="*/ 2834058 h 3476625"/>
              <a:gd name="connsiteX450" fmla="*/ 3215227 w 11991973"/>
              <a:gd name="connsiteY450" fmla="*/ 2838557 h 3476625"/>
              <a:gd name="connsiteX451" fmla="*/ 3220515 w 11991973"/>
              <a:gd name="connsiteY451" fmla="*/ 2834058 h 3476625"/>
              <a:gd name="connsiteX452" fmla="*/ 1609197 w 11991973"/>
              <a:gd name="connsiteY452" fmla="*/ 2690199 h 3476625"/>
              <a:gd name="connsiteX453" fmla="*/ 1586865 w 11991973"/>
              <a:gd name="connsiteY453" fmla="*/ 2689108 h 3476625"/>
              <a:gd name="connsiteX454" fmla="*/ 1565944 w 11991973"/>
              <a:gd name="connsiteY454" fmla="*/ 2698927 h 3476625"/>
              <a:gd name="connsiteX455" fmla="*/ 1609197 w 11991973"/>
              <a:gd name="connsiteY455" fmla="*/ 2690199 h 3476625"/>
              <a:gd name="connsiteX456" fmla="*/ 966710 w 11991973"/>
              <a:gd name="connsiteY456" fmla="*/ 2624067 h 3476625"/>
              <a:gd name="connsiteX457" fmla="*/ 975438 w 11991973"/>
              <a:gd name="connsiteY457" fmla="*/ 2646566 h 3476625"/>
              <a:gd name="connsiteX458" fmla="*/ 966710 w 11991973"/>
              <a:gd name="connsiteY458" fmla="*/ 2624067 h 3476625"/>
              <a:gd name="connsiteX459" fmla="*/ 3372138 w 11991973"/>
              <a:gd name="connsiteY459" fmla="*/ 2834285 h 3476625"/>
              <a:gd name="connsiteX460" fmla="*/ 3356271 w 11991973"/>
              <a:gd name="connsiteY460" fmla="*/ 2853102 h 3476625"/>
              <a:gd name="connsiteX461" fmla="*/ 3372138 w 11991973"/>
              <a:gd name="connsiteY461" fmla="*/ 2834285 h 3476625"/>
              <a:gd name="connsiteX462" fmla="*/ 992363 w 11991973"/>
              <a:gd name="connsiteY462" fmla="*/ 2617476 h 3476625"/>
              <a:gd name="connsiteX463" fmla="*/ 992363 w 11991973"/>
              <a:gd name="connsiteY463" fmla="*/ 2617476 h 3476625"/>
              <a:gd name="connsiteX464" fmla="*/ 3828301 w 11991973"/>
              <a:gd name="connsiteY464" fmla="*/ 2864738 h 3476625"/>
              <a:gd name="connsiteX465" fmla="*/ 3805968 w 11991973"/>
              <a:gd name="connsiteY465" fmla="*/ 2863647 h 3476625"/>
              <a:gd name="connsiteX466" fmla="*/ 3785044 w 11991973"/>
              <a:gd name="connsiteY466" fmla="*/ 2873464 h 3476625"/>
              <a:gd name="connsiteX467" fmla="*/ 3828301 w 11991973"/>
              <a:gd name="connsiteY467" fmla="*/ 2864738 h 3476625"/>
              <a:gd name="connsiteX468" fmla="*/ 1918602 w 11991973"/>
              <a:gd name="connsiteY468" fmla="*/ 2689309 h 3476625"/>
              <a:gd name="connsiteX469" fmla="*/ 1921376 w 11991973"/>
              <a:gd name="connsiteY469" fmla="*/ 2704745 h 3476625"/>
              <a:gd name="connsiteX470" fmla="*/ 1919263 w 11991973"/>
              <a:gd name="connsiteY470" fmla="*/ 2689609 h 3476625"/>
              <a:gd name="connsiteX471" fmla="*/ 1918602 w 11991973"/>
              <a:gd name="connsiteY471" fmla="*/ 2689309 h 3476625"/>
              <a:gd name="connsiteX472" fmla="*/ 1706696 w 11991973"/>
              <a:gd name="connsiteY472" fmla="*/ 2665883 h 3476625"/>
              <a:gd name="connsiteX473" fmla="*/ 1705108 w 11991973"/>
              <a:gd name="connsiteY473" fmla="*/ 2678564 h 3476625"/>
              <a:gd name="connsiteX474" fmla="*/ 1706696 w 11991973"/>
              <a:gd name="connsiteY474" fmla="*/ 2665883 h 3476625"/>
              <a:gd name="connsiteX475" fmla="*/ 6524599 w 11991973"/>
              <a:gd name="connsiteY475" fmla="*/ 3094182 h 3476625"/>
              <a:gd name="connsiteX476" fmla="*/ 6517546 w 11991973"/>
              <a:gd name="connsiteY476" fmla="*/ 3094545 h 3476625"/>
              <a:gd name="connsiteX477" fmla="*/ 6528830 w 11991973"/>
              <a:gd name="connsiteY477" fmla="*/ 3100363 h 3476625"/>
              <a:gd name="connsiteX478" fmla="*/ 6524599 w 11991973"/>
              <a:gd name="connsiteY478" fmla="*/ 3094182 h 3476625"/>
              <a:gd name="connsiteX479" fmla="*/ 1310182 w 11991973"/>
              <a:gd name="connsiteY479" fmla="*/ 2629112 h 3476625"/>
              <a:gd name="connsiteX480" fmla="*/ 1297019 w 11991973"/>
              <a:gd name="connsiteY480" fmla="*/ 2643657 h 3476625"/>
              <a:gd name="connsiteX481" fmla="*/ 1310182 w 11991973"/>
              <a:gd name="connsiteY481" fmla="*/ 2629112 h 3476625"/>
              <a:gd name="connsiteX482" fmla="*/ 5476755 w 11991973"/>
              <a:gd name="connsiteY482" fmla="*/ 2999550 h 3476625"/>
              <a:gd name="connsiteX483" fmla="*/ 5475696 w 11991973"/>
              <a:gd name="connsiteY483" fmla="*/ 3010186 h 3476625"/>
              <a:gd name="connsiteX484" fmla="*/ 5476755 w 11991973"/>
              <a:gd name="connsiteY484" fmla="*/ 2999550 h 3476625"/>
              <a:gd name="connsiteX485" fmla="*/ 5144712 w 11991973"/>
              <a:gd name="connsiteY485" fmla="*/ 2966551 h 3476625"/>
              <a:gd name="connsiteX486" fmla="*/ 5144712 w 11991973"/>
              <a:gd name="connsiteY486" fmla="*/ 2966551 h 3476625"/>
              <a:gd name="connsiteX487" fmla="*/ 5454250 w 11991973"/>
              <a:gd name="connsiteY487" fmla="*/ 2992368 h 3476625"/>
              <a:gd name="connsiteX488" fmla="*/ 5423042 w 11991973"/>
              <a:gd name="connsiteY488" fmla="*/ 3021821 h 3476625"/>
              <a:gd name="connsiteX489" fmla="*/ 5454250 w 11991973"/>
              <a:gd name="connsiteY489" fmla="*/ 2992368 h 3476625"/>
              <a:gd name="connsiteX490" fmla="*/ 3529283 w 11991973"/>
              <a:gd name="connsiteY490" fmla="*/ 2803650 h 3476625"/>
              <a:gd name="connsiteX491" fmla="*/ 3516120 w 11991973"/>
              <a:gd name="connsiteY491" fmla="*/ 2818193 h 3476625"/>
              <a:gd name="connsiteX492" fmla="*/ 3529283 w 11991973"/>
              <a:gd name="connsiteY492" fmla="*/ 2803650 h 3476625"/>
              <a:gd name="connsiteX493" fmla="*/ 1431716 w 11991973"/>
              <a:gd name="connsiteY493" fmla="*/ 2597477 h 3476625"/>
              <a:gd name="connsiteX494" fmla="*/ 1424898 w 11991973"/>
              <a:gd name="connsiteY494" fmla="*/ 2602931 h 3476625"/>
              <a:gd name="connsiteX495" fmla="*/ 1439943 w 11991973"/>
              <a:gd name="connsiteY495" fmla="*/ 2602931 h 3476625"/>
              <a:gd name="connsiteX496" fmla="*/ 1431716 w 11991973"/>
              <a:gd name="connsiteY496" fmla="*/ 2597477 h 3476625"/>
              <a:gd name="connsiteX497" fmla="*/ 1503179 w 11991973"/>
              <a:gd name="connsiteY497" fmla="*/ 2602931 h 3476625"/>
              <a:gd name="connsiteX498" fmla="*/ 1481317 w 11991973"/>
              <a:gd name="connsiteY498" fmla="*/ 2611658 h 3476625"/>
              <a:gd name="connsiteX499" fmla="*/ 1503179 w 11991973"/>
              <a:gd name="connsiteY499" fmla="*/ 2602931 h 3476625"/>
              <a:gd name="connsiteX500" fmla="*/ 5277677 w 11991973"/>
              <a:gd name="connsiteY500" fmla="*/ 2935507 h 3476625"/>
              <a:gd name="connsiteX501" fmla="*/ 5280116 w 11991973"/>
              <a:gd name="connsiteY501" fmla="*/ 2940370 h 3476625"/>
              <a:gd name="connsiteX502" fmla="*/ 5259430 w 11991973"/>
              <a:gd name="connsiteY502" fmla="*/ 2943280 h 3476625"/>
              <a:gd name="connsiteX503" fmla="*/ 5271889 w 11991973"/>
              <a:gd name="connsiteY503" fmla="*/ 2936371 h 3476625"/>
              <a:gd name="connsiteX504" fmla="*/ 5277677 w 11991973"/>
              <a:gd name="connsiteY504" fmla="*/ 2935507 h 3476625"/>
              <a:gd name="connsiteX505" fmla="*/ 639047 w 11991973"/>
              <a:gd name="connsiteY505" fmla="*/ 2516025 h 3476625"/>
              <a:gd name="connsiteX506" fmla="*/ 631289 w 11991973"/>
              <a:gd name="connsiteY506" fmla="*/ 2530206 h 3476625"/>
              <a:gd name="connsiteX507" fmla="*/ 639047 w 11991973"/>
              <a:gd name="connsiteY507" fmla="*/ 2516025 h 3476625"/>
              <a:gd name="connsiteX508" fmla="*/ 1869660 w 11991973"/>
              <a:gd name="connsiteY508" fmla="*/ 2616021 h 3476625"/>
              <a:gd name="connsiteX509" fmla="*/ 1857434 w 11991973"/>
              <a:gd name="connsiteY509" fmla="*/ 2623293 h 3476625"/>
              <a:gd name="connsiteX510" fmla="*/ 1881884 w 11991973"/>
              <a:gd name="connsiteY510" fmla="*/ 2617476 h 3476625"/>
              <a:gd name="connsiteX511" fmla="*/ 1869660 w 11991973"/>
              <a:gd name="connsiteY511" fmla="*/ 2616021 h 3476625"/>
              <a:gd name="connsiteX512" fmla="*/ 3650817 w 11991973"/>
              <a:gd name="connsiteY512" fmla="*/ 2772014 h 3476625"/>
              <a:gd name="connsiteX513" fmla="*/ 3644002 w 11991973"/>
              <a:gd name="connsiteY513" fmla="*/ 2777469 h 3476625"/>
              <a:gd name="connsiteX514" fmla="*/ 3659045 w 11991973"/>
              <a:gd name="connsiteY514" fmla="*/ 2777469 h 3476625"/>
              <a:gd name="connsiteX515" fmla="*/ 3650817 w 11991973"/>
              <a:gd name="connsiteY515" fmla="*/ 2772014 h 3476625"/>
              <a:gd name="connsiteX516" fmla="*/ 3722279 w 11991973"/>
              <a:gd name="connsiteY516" fmla="*/ 2777469 h 3476625"/>
              <a:gd name="connsiteX517" fmla="*/ 3700417 w 11991973"/>
              <a:gd name="connsiteY517" fmla="*/ 2786195 h 3476625"/>
              <a:gd name="connsiteX518" fmla="*/ 3722279 w 11991973"/>
              <a:gd name="connsiteY518" fmla="*/ 2777469 h 3476625"/>
              <a:gd name="connsiteX519" fmla="*/ 1756047 w 11991973"/>
              <a:gd name="connsiteY519" fmla="*/ 2584753 h 3476625"/>
              <a:gd name="connsiteX520" fmla="*/ 1754002 w 11991973"/>
              <a:gd name="connsiteY520" fmla="*/ 2597113 h 3476625"/>
              <a:gd name="connsiteX521" fmla="*/ 1748126 w 11991973"/>
              <a:gd name="connsiteY521" fmla="*/ 2587523 h 3476625"/>
              <a:gd name="connsiteX522" fmla="*/ 1716392 w 11991973"/>
              <a:gd name="connsiteY522" fmla="*/ 2553479 h 3476625"/>
              <a:gd name="connsiteX523" fmla="*/ 1686302 w 11991973"/>
              <a:gd name="connsiteY523" fmla="*/ 2568024 h 3476625"/>
              <a:gd name="connsiteX524" fmla="*/ 1716392 w 11991973"/>
              <a:gd name="connsiteY524" fmla="*/ 2553479 h 3476625"/>
              <a:gd name="connsiteX525" fmla="*/ 3978910 w 11991973"/>
              <a:gd name="connsiteY525" fmla="*/ 2753473 h 3476625"/>
              <a:gd name="connsiteX526" fmla="*/ 3976864 w 11991973"/>
              <a:gd name="connsiteY526" fmla="*/ 2765832 h 3476625"/>
              <a:gd name="connsiteX527" fmla="*/ 3970989 w 11991973"/>
              <a:gd name="connsiteY527" fmla="*/ 2756242 h 3476625"/>
              <a:gd name="connsiteX528" fmla="*/ 1826847 w 11991973"/>
              <a:gd name="connsiteY528" fmla="*/ 2552190 h 3476625"/>
              <a:gd name="connsiteX529" fmla="*/ 1817943 w 11991973"/>
              <a:gd name="connsiteY529" fmla="*/ 2562206 h 3476625"/>
              <a:gd name="connsiteX530" fmla="*/ 1819934 w 11991973"/>
              <a:gd name="connsiteY530" fmla="*/ 2552971 h 3476625"/>
              <a:gd name="connsiteX531" fmla="*/ 3935493 w 11991973"/>
              <a:gd name="connsiteY531" fmla="*/ 2728016 h 3476625"/>
              <a:gd name="connsiteX532" fmla="*/ 3905403 w 11991973"/>
              <a:gd name="connsiteY532" fmla="*/ 2742561 h 3476625"/>
              <a:gd name="connsiteX533" fmla="*/ 3935493 w 11991973"/>
              <a:gd name="connsiteY533" fmla="*/ 2728016 h 3476625"/>
              <a:gd name="connsiteX534" fmla="*/ 1904215 w 11991973"/>
              <a:gd name="connsiteY534" fmla="*/ 2546571 h 3476625"/>
              <a:gd name="connsiteX535" fmla="*/ 1906333 w 11991973"/>
              <a:gd name="connsiteY535" fmla="*/ 2556388 h 3476625"/>
              <a:gd name="connsiteX536" fmla="*/ 1904215 w 11991973"/>
              <a:gd name="connsiteY536" fmla="*/ 2546571 h 3476625"/>
              <a:gd name="connsiteX537" fmla="*/ 4136344 w 11991973"/>
              <a:gd name="connsiteY537" fmla="*/ 2740897 h 3476625"/>
              <a:gd name="connsiteX538" fmla="*/ 4151759 w 11991973"/>
              <a:gd name="connsiteY538" fmla="*/ 2745470 h 3476625"/>
              <a:gd name="connsiteX539" fmla="*/ 4148046 w 11991973"/>
              <a:gd name="connsiteY539" fmla="*/ 2745790 h 3476625"/>
              <a:gd name="connsiteX540" fmla="*/ 4147998 w 11991973"/>
              <a:gd name="connsiteY540" fmla="*/ 2745470 h 3476625"/>
              <a:gd name="connsiteX541" fmla="*/ 4127311 w 11991973"/>
              <a:gd name="connsiteY541" fmla="*/ 2745470 h 3476625"/>
              <a:gd name="connsiteX542" fmla="*/ 4130686 w 11991973"/>
              <a:gd name="connsiteY542" fmla="*/ 2742243 h 3476625"/>
              <a:gd name="connsiteX543" fmla="*/ 4051136 w 11991973"/>
              <a:gd name="connsiteY543" fmla="*/ 2720749 h 3476625"/>
              <a:gd name="connsiteX544" fmla="*/ 4050620 w 11991973"/>
              <a:gd name="connsiteY544" fmla="*/ 2721471 h 3476625"/>
              <a:gd name="connsiteX545" fmla="*/ 4037043 w 11991973"/>
              <a:gd name="connsiteY545" fmla="*/ 2736744 h 3476625"/>
              <a:gd name="connsiteX546" fmla="*/ 4039158 w 11991973"/>
              <a:gd name="connsiteY546" fmla="*/ 2726926 h 3476625"/>
              <a:gd name="connsiteX547" fmla="*/ 4044592 w 11991973"/>
              <a:gd name="connsiteY547" fmla="*/ 2721487 h 3476625"/>
              <a:gd name="connsiteX548" fmla="*/ 4123315 w 11991973"/>
              <a:gd name="connsiteY548" fmla="*/ 2721107 h 3476625"/>
              <a:gd name="connsiteX549" fmla="*/ 4125430 w 11991973"/>
              <a:gd name="connsiteY549" fmla="*/ 2730925 h 3476625"/>
              <a:gd name="connsiteX550" fmla="*/ 4123315 w 11991973"/>
              <a:gd name="connsiteY550" fmla="*/ 2721107 h 3476625"/>
              <a:gd name="connsiteX551" fmla="*/ 2047375 w 11991973"/>
              <a:gd name="connsiteY551" fmla="*/ 2521480 h 3476625"/>
              <a:gd name="connsiteX552" fmla="*/ 2047375 w 11991973"/>
              <a:gd name="connsiteY552" fmla="*/ 2521480 h 3476625"/>
              <a:gd name="connsiteX553" fmla="*/ 735014 w 11991973"/>
              <a:gd name="connsiteY553" fmla="*/ 2393259 h 3476625"/>
              <a:gd name="connsiteX554" fmla="*/ 719677 w 11991973"/>
              <a:gd name="connsiteY554" fmla="*/ 2405122 h 3476625"/>
              <a:gd name="connsiteX555" fmla="*/ 738482 w 11991973"/>
              <a:gd name="connsiteY555" fmla="*/ 2399303 h 3476625"/>
              <a:gd name="connsiteX556" fmla="*/ 735014 w 11991973"/>
              <a:gd name="connsiteY556" fmla="*/ 2393259 h 3476625"/>
              <a:gd name="connsiteX557" fmla="*/ 4266475 w 11991973"/>
              <a:gd name="connsiteY557" fmla="*/ 2696018 h 3476625"/>
              <a:gd name="connsiteX558" fmla="*/ 4266475 w 11991973"/>
              <a:gd name="connsiteY558" fmla="*/ 2696018 h 3476625"/>
              <a:gd name="connsiteX559" fmla="*/ 2202161 w 11991973"/>
              <a:gd name="connsiteY559" fmla="*/ 2511357 h 3476625"/>
              <a:gd name="connsiteX560" fmla="*/ 2196031 w 11991973"/>
              <a:gd name="connsiteY560" fmla="*/ 2514236 h 3476625"/>
              <a:gd name="connsiteX561" fmla="*/ 2119308 w 11991973"/>
              <a:gd name="connsiteY561" fmla="*/ 2506571 h 3476625"/>
              <a:gd name="connsiteX562" fmla="*/ 1908212 w 11991973"/>
              <a:gd name="connsiteY562" fmla="*/ 2570932 h 3476625"/>
              <a:gd name="connsiteX563" fmla="*/ 1932661 w 11991973"/>
              <a:gd name="connsiteY563" fmla="*/ 2597113 h 3476625"/>
              <a:gd name="connsiteX564" fmla="*/ 2098154 w 11991973"/>
              <a:gd name="connsiteY564" fmla="*/ 2573841 h 3476625"/>
              <a:gd name="connsiteX565" fmla="*/ 2157391 w 11991973"/>
              <a:gd name="connsiteY565" fmla="*/ 2532388 h 3476625"/>
              <a:gd name="connsiteX566" fmla="*/ 2196031 w 11991973"/>
              <a:gd name="connsiteY566" fmla="*/ 2514236 h 3476625"/>
              <a:gd name="connsiteX567" fmla="*/ 2202574 w 11991973"/>
              <a:gd name="connsiteY567" fmla="*/ 2514890 h 3476625"/>
              <a:gd name="connsiteX568" fmla="*/ 7208900 w 11991973"/>
              <a:gd name="connsiteY568" fmla="*/ 2942552 h 3476625"/>
              <a:gd name="connsiteX569" fmla="*/ 7209605 w 11991973"/>
              <a:gd name="connsiteY569" fmla="*/ 2957824 h 3476625"/>
              <a:gd name="connsiteX570" fmla="*/ 7208900 w 11991973"/>
              <a:gd name="connsiteY570" fmla="*/ 2942552 h 3476625"/>
              <a:gd name="connsiteX571" fmla="*/ 4456415 w 11991973"/>
              <a:gd name="connsiteY571" fmla="*/ 2684382 h 3476625"/>
              <a:gd name="connsiteX572" fmla="*/ 4458313 w 11991973"/>
              <a:gd name="connsiteY572" fmla="*/ 2692123 h 3476625"/>
              <a:gd name="connsiteX573" fmla="*/ 4451810 w 11991973"/>
              <a:gd name="connsiteY573" fmla="*/ 2691993 h 3476625"/>
              <a:gd name="connsiteX574" fmla="*/ 4451949 w 11991973"/>
              <a:gd name="connsiteY574" fmla="*/ 2691654 h 3476625"/>
              <a:gd name="connsiteX575" fmla="*/ 4456415 w 11991973"/>
              <a:gd name="connsiteY575" fmla="*/ 2684382 h 3476625"/>
              <a:gd name="connsiteX576" fmla="*/ 4447013 w 11991973"/>
              <a:gd name="connsiteY576" fmla="*/ 2678564 h 3476625"/>
              <a:gd name="connsiteX577" fmla="*/ 4432698 w 11991973"/>
              <a:gd name="connsiteY577" fmla="*/ 2690529 h 3476625"/>
              <a:gd name="connsiteX578" fmla="*/ 4424217 w 11991973"/>
              <a:gd name="connsiteY578" fmla="*/ 2689682 h 3476625"/>
              <a:gd name="connsiteX579" fmla="*/ 4424582 w 11991973"/>
              <a:gd name="connsiteY579" fmla="*/ 2684435 h 3476625"/>
              <a:gd name="connsiteX580" fmla="*/ 7346330 w 11991973"/>
              <a:gd name="connsiteY580" fmla="*/ 2908918 h 3476625"/>
              <a:gd name="connsiteX581" fmla="*/ 7340541 w 11991973"/>
              <a:gd name="connsiteY581" fmla="*/ 2909100 h 3476625"/>
              <a:gd name="connsiteX582" fmla="*/ 7328083 w 11991973"/>
              <a:gd name="connsiteY582" fmla="*/ 2917099 h 3476625"/>
              <a:gd name="connsiteX583" fmla="*/ 7348769 w 11991973"/>
              <a:gd name="connsiteY583" fmla="*/ 2914189 h 3476625"/>
              <a:gd name="connsiteX584" fmla="*/ 7346330 w 11991973"/>
              <a:gd name="connsiteY584" fmla="*/ 2908918 h 3476625"/>
              <a:gd name="connsiteX585" fmla="*/ 6047398 w 11991973"/>
              <a:gd name="connsiteY585" fmla="*/ 2748379 h 3476625"/>
              <a:gd name="connsiteX586" fmla="*/ 6032676 w 11991973"/>
              <a:gd name="connsiteY586" fmla="*/ 2748152 h 3476625"/>
              <a:gd name="connsiteX587" fmla="*/ 5968413 w 11991973"/>
              <a:gd name="connsiteY587" fmla="*/ 2760015 h 3476625"/>
              <a:gd name="connsiteX588" fmla="*/ 6047398 w 11991973"/>
              <a:gd name="connsiteY588" fmla="*/ 2751287 h 3476625"/>
              <a:gd name="connsiteX589" fmla="*/ 6047398 w 11991973"/>
              <a:gd name="connsiteY589" fmla="*/ 2748379 h 3476625"/>
              <a:gd name="connsiteX590" fmla="*/ 7891732 w 11991973"/>
              <a:gd name="connsiteY590" fmla="*/ 2791377 h 3476625"/>
              <a:gd name="connsiteX591" fmla="*/ 7892261 w 11991973"/>
              <a:gd name="connsiteY591" fmla="*/ 2803650 h 3476625"/>
              <a:gd name="connsiteX592" fmla="*/ 7891732 w 11991973"/>
              <a:gd name="connsiteY592" fmla="*/ 2791377 h 3476625"/>
              <a:gd name="connsiteX593" fmla="*/ 7936455 w 11991973"/>
              <a:gd name="connsiteY593" fmla="*/ 2774196 h 3476625"/>
              <a:gd name="connsiteX594" fmla="*/ 7944917 w 11991973"/>
              <a:gd name="connsiteY594" fmla="*/ 2803650 h 3476625"/>
              <a:gd name="connsiteX595" fmla="*/ 7936455 w 11991973"/>
              <a:gd name="connsiteY595" fmla="*/ 2774196 h 3476625"/>
              <a:gd name="connsiteX596" fmla="*/ 7978063 w 11991973"/>
              <a:gd name="connsiteY596" fmla="*/ 2763288 h 3476625"/>
              <a:gd name="connsiteX597" fmla="*/ 7967484 w 11991973"/>
              <a:gd name="connsiteY597" fmla="*/ 2774560 h 3476625"/>
              <a:gd name="connsiteX598" fmla="*/ 7984410 w 11991973"/>
              <a:gd name="connsiteY598" fmla="*/ 2771650 h 3476625"/>
              <a:gd name="connsiteX599" fmla="*/ 7978063 w 11991973"/>
              <a:gd name="connsiteY599" fmla="*/ 2763288 h 3476625"/>
              <a:gd name="connsiteX600" fmla="*/ 1094359 w 11991973"/>
              <a:gd name="connsiteY600" fmla="*/ 2143162 h 3476625"/>
              <a:gd name="connsiteX601" fmla="*/ 1041933 w 11991973"/>
              <a:gd name="connsiteY601" fmla="*/ 2157759 h 3476625"/>
              <a:gd name="connsiteX602" fmla="*/ 762930 w 11991973"/>
              <a:gd name="connsiteY602" fmla="*/ 2236402 h 3476625"/>
              <a:gd name="connsiteX603" fmla="*/ 1057919 w 11991973"/>
              <a:gd name="connsiteY603" fmla="*/ 2150769 h 3476625"/>
              <a:gd name="connsiteX604" fmla="*/ 8148403 w 11991973"/>
              <a:gd name="connsiteY604" fmla="*/ 2715654 h 3476625"/>
              <a:gd name="connsiteX605" fmla="*/ 8121693 w 11991973"/>
              <a:gd name="connsiteY605" fmla="*/ 2722198 h 3476625"/>
              <a:gd name="connsiteX606" fmla="*/ 8153663 w 11991973"/>
              <a:gd name="connsiteY606" fmla="*/ 2722199 h 3476625"/>
              <a:gd name="connsiteX607" fmla="*/ 8148403 w 11991973"/>
              <a:gd name="connsiteY607" fmla="*/ 2715654 h 3476625"/>
              <a:gd name="connsiteX608" fmla="*/ 8261180 w 11991973"/>
              <a:gd name="connsiteY608" fmla="*/ 2708699 h 3476625"/>
              <a:gd name="connsiteX609" fmla="*/ 8255216 w 11991973"/>
              <a:gd name="connsiteY609" fmla="*/ 2713472 h 3476625"/>
              <a:gd name="connsiteX610" fmla="*/ 8264617 w 11991973"/>
              <a:gd name="connsiteY610" fmla="*/ 2722198 h 3476625"/>
              <a:gd name="connsiteX611" fmla="*/ 8266264 w 11991973"/>
              <a:gd name="connsiteY611" fmla="*/ 2710199 h 3476625"/>
              <a:gd name="connsiteX612" fmla="*/ 8261180 w 11991973"/>
              <a:gd name="connsiteY612" fmla="*/ 2708699 h 3476625"/>
              <a:gd name="connsiteX613" fmla="*/ 8214278 w 11991973"/>
              <a:gd name="connsiteY613" fmla="*/ 2704122 h 3476625"/>
              <a:gd name="connsiteX614" fmla="*/ 8213137 w 11991973"/>
              <a:gd name="connsiteY614" fmla="*/ 2704971 h 3476625"/>
              <a:gd name="connsiteX615" fmla="*/ 8219484 w 11991973"/>
              <a:gd name="connsiteY615" fmla="*/ 2719289 h 3476625"/>
              <a:gd name="connsiteX616" fmla="*/ 8214278 w 11991973"/>
              <a:gd name="connsiteY616" fmla="*/ 2704122 h 3476625"/>
              <a:gd name="connsiteX617" fmla="*/ 26828 w 11991973"/>
              <a:gd name="connsiteY617" fmla="*/ 1956391 h 3476625"/>
              <a:gd name="connsiteX618" fmla="*/ 29059 w 11991973"/>
              <a:gd name="connsiteY618" fmla="*/ 1962551 h 3476625"/>
              <a:gd name="connsiteX619" fmla="*/ 14453 w 11991973"/>
              <a:gd name="connsiteY619" fmla="*/ 1965869 h 3476625"/>
              <a:gd name="connsiteX620" fmla="*/ 8353712 w 11991973"/>
              <a:gd name="connsiteY620" fmla="*/ 2691063 h 3476625"/>
              <a:gd name="connsiteX621" fmla="*/ 8364291 w 11991973"/>
              <a:gd name="connsiteY621" fmla="*/ 2693109 h 3476625"/>
              <a:gd name="connsiteX622" fmla="*/ 8353712 w 11991973"/>
              <a:gd name="connsiteY622" fmla="*/ 2691063 h 3476625"/>
              <a:gd name="connsiteX623" fmla="*/ 8409424 w 11991973"/>
              <a:gd name="connsiteY623" fmla="*/ 2681473 h 3476625"/>
              <a:gd name="connsiteX624" fmla="*/ 8401902 w 11991973"/>
              <a:gd name="connsiteY624" fmla="*/ 2687290 h 3476625"/>
              <a:gd name="connsiteX625" fmla="*/ 8416946 w 11991973"/>
              <a:gd name="connsiteY625" fmla="*/ 2684382 h 3476625"/>
              <a:gd name="connsiteX626" fmla="*/ 8409424 w 11991973"/>
              <a:gd name="connsiteY626" fmla="*/ 2681473 h 3476625"/>
              <a:gd name="connsiteX627" fmla="*/ 1483940 w 11991973"/>
              <a:gd name="connsiteY627" fmla="*/ 2057723 h 3476625"/>
              <a:gd name="connsiteX628" fmla="*/ 1480143 w 11991973"/>
              <a:gd name="connsiteY628" fmla="*/ 2063319 h 3476625"/>
              <a:gd name="connsiteX629" fmla="*/ 1473795 w 11991973"/>
              <a:gd name="connsiteY629" fmla="*/ 2061864 h 3476625"/>
              <a:gd name="connsiteX630" fmla="*/ 1474939 w 11991973"/>
              <a:gd name="connsiteY630" fmla="*/ 2059896 h 3476625"/>
              <a:gd name="connsiteX631" fmla="*/ 8392499 w 11991973"/>
              <a:gd name="connsiteY631" fmla="*/ 2672201 h 3476625"/>
              <a:gd name="connsiteX632" fmla="*/ 8392499 w 11991973"/>
              <a:gd name="connsiteY632" fmla="*/ 2690200 h 3476625"/>
              <a:gd name="connsiteX633" fmla="*/ 8398140 w 11991973"/>
              <a:gd name="connsiteY633" fmla="*/ 2672746 h 3476625"/>
              <a:gd name="connsiteX634" fmla="*/ 8392499 w 11991973"/>
              <a:gd name="connsiteY634" fmla="*/ 2672201 h 3476625"/>
              <a:gd name="connsiteX635" fmla="*/ 4669 w 11991973"/>
              <a:gd name="connsiteY635" fmla="*/ 1918826 h 3476625"/>
              <a:gd name="connsiteX636" fmla="*/ 11902 w 11991973"/>
              <a:gd name="connsiteY636" fmla="*/ 1925274 h 3476625"/>
              <a:gd name="connsiteX637" fmla="*/ 13474 w 11991973"/>
              <a:gd name="connsiteY637" fmla="*/ 1927620 h 3476625"/>
              <a:gd name="connsiteX638" fmla="*/ 1289 w 11991973"/>
              <a:gd name="connsiteY638" fmla="*/ 1936779 h 3476625"/>
              <a:gd name="connsiteX639" fmla="*/ 4669 w 11991973"/>
              <a:gd name="connsiteY639" fmla="*/ 1918826 h 3476625"/>
              <a:gd name="connsiteX640" fmla="*/ 8444216 w 11991973"/>
              <a:gd name="connsiteY640" fmla="*/ 2669110 h 3476625"/>
              <a:gd name="connsiteX641" fmla="*/ 8458320 w 11991973"/>
              <a:gd name="connsiteY641" fmla="*/ 2684382 h 3476625"/>
              <a:gd name="connsiteX642" fmla="*/ 8444216 w 11991973"/>
              <a:gd name="connsiteY642" fmla="*/ 2669110 h 3476625"/>
              <a:gd name="connsiteX643" fmla="*/ 1493046 w 11991973"/>
              <a:gd name="connsiteY643" fmla="*/ 2043345 h 3476625"/>
              <a:gd name="connsiteX644" fmla="*/ 1492895 w 11991973"/>
              <a:gd name="connsiteY644" fmla="*/ 2043366 h 3476625"/>
              <a:gd name="connsiteX645" fmla="*/ 1505294 w 11991973"/>
              <a:gd name="connsiteY645" fmla="*/ 2051320 h 3476625"/>
              <a:gd name="connsiteX646" fmla="*/ 1507721 w 11991973"/>
              <a:gd name="connsiteY646" fmla="*/ 2051981 h 3476625"/>
              <a:gd name="connsiteX647" fmla="*/ 1483940 w 11991973"/>
              <a:gd name="connsiteY647" fmla="*/ 2057723 h 3476625"/>
              <a:gd name="connsiteX648" fmla="*/ 1485079 w 11991973"/>
              <a:gd name="connsiteY648" fmla="*/ 2056047 h 3476625"/>
              <a:gd name="connsiteX649" fmla="*/ 1478026 w 11991973"/>
              <a:gd name="connsiteY649" fmla="*/ 2054592 h 3476625"/>
              <a:gd name="connsiteX650" fmla="*/ 1474939 w 11991973"/>
              <a:gd name="connsiteY650" fmla="*/ 2059896 h 3476625"/>
              <a:gd name="connsiteX651" fmla="*/ 1358374 w 11991973"/>
              <a:gd name="connsiteY651" fmla="*/ 2088045 h 3476625"/>
              <a:gd name="connsiteX652" fmla="*/ 1271002 w 11991973"/>
              <a:gd name="connsiteY652" fmla="*/ 2106285 h 3476625"/>
              <a:gd name="connsiteX653" fmla="*/ 1237310 w 11991973"/>
              <a:gd name="connsiteY653" fmla="*/ 2110953 h 3476625"/>
              <a:gd name="connsiteX654" fmla="*/ 1157457 w 11991973"/>
              <a:gd name="connsiteY654" fmla="*/ 2126128 h 3476625"/>
              <a:gd name="connsiteX655" fmla="*/ 1110355 w 11991973"/>
              <a:gd name="connsiteY655" fmla="*/ 2139822 h 3476625"/>
              <a:gd name="connsiteX656" fmla="*/ 1094359 w 11991973"/>
              <a:gd name="connsiteY656" fmla="*/ 2143162 h 3476625"/>
              <a:gd name="connsiteX657" fmla="*/ 1174780 w 11991973"/>
              <a:gd name="connsiteY657" fmla="*/ 2120771 h 3476625"/>
              <a:gd name="connsiteX658" fmla="*/ 1492923 w 11991973"/>
              <a:gd name="connsiteY658" fmla="*/ 2043354 h 3476625"/>
              <a:gd name="connsiteX659" fmla="*/ 1501393 w 11991973"/>
              <a:gd name="connsiteY659" fmla="*/ 2042167 h 3476625"/>
              <a:gd name="connsiteX660" fmla="*/ 1504187 w 11991973"/>
              <a:gd name="connsiteY660" fmla="*/ 2042437 h 3476625"/>
              <a:gd name="connsiteX661" fmla="*/ 1493046 w 11991973"/>
              <a:gd name="connsiteY661" fmla="*/ 2043345 h 3476625"/>
              <a:gd name="connsiteX662" fmla="*/ 1515480 w 11991973"/>
              <a:gd name="connsiteY662" fmla="*/ 2041518 h 3476625"/>
              <a:gd name="connsiteX663" fmla="*/ 1524571 w 11991973"/>
              <a:gd name="connsiteY663" fmla="*/ 2044411 h 3476625"/>
              <a:gd name="connsiteX664" fmla="*/ 1504187 w 11991973"/>
              <a:gd name="connsiteY664" fmla="*/ 2042437 h 3476625"/>
              <a:gd name="connsiteX665" fmla="*/ 56003 w 11991973"/>
              <a:gd name="connsiteY665" fmla="*/ 1897918 h 3476625"/>
              <a:gd name="connsiteX666" fmla="*/ 67111 w 11991973"/>
              <a:gd name="connsiteY666" fmla="*/ 1910599 h 3476625"/>
              <a:gd name="connsiteX667" fmla="*/ 56003 w 11991973"/>
              <a:gd name="connsiteY667" fmla="*/ 1897918 h 3476625"/>
              <a:gd name="connsiteX668" fmla="*/ 1614839 w 11991973"/>
              <a:gd name="connsiteY668" fmla="*/ 2026957 h 3476625"/>
              <a:gd name="connsiteX669" fmla="*/ 1554660 w 11991973"/>
              <a:gd name="connsiteY669" fmla="*/ 2050228 h 3476625"/>
              <a:gd name="connsiteX670" fmla="*/ 1614839 w 11991973"/>
              <a:gd name="connsiteY670" fmla="*/ 2026957 h 3476625"/>
              <a:gd name="connsiteX671" fmla="*/ 985075 w 11991973"/>
              <a:gd name="connsiteY671" fmla="*/ 1918963 h 3476625"/>
              <a:gd name="connsiteX672" fmla="*/ 973556 w 11991973"/>
              <a:gd name="connsiteY672" fmla="*/ 1930961 h 3476625"/>
              <a:gd name="connsiteX673" fmla="*/ 998005 w 11991973"/>
              <a:gd name="connsiteY673" fmla="*/ 1922234 h 3476625"/>
              <a:gd name="connsiteX674" fmla="*/ 985075 w 11991973"/>
              <a:gd name="connsiteY674" fmla="*/ 1918963 h 3476625"/>
              <a:gd name="connsiteX675" fmla="*/ 388692 w 11991973"/>
              <a:gd name="connsiteY675" fmla="*/ 1861147 h 3476625"/>
              <a:gd name="connsiteX676" fmla="*/ 388547 w 11991973"/>
              <a:gd name="connsiteY676" fmla="*/ 1861480 h 3476625"/>
              <a:gd name="connsiteX677" fmla="*/ 388348 w 11991973"/>
              <a:gd name="connsiteY677" fmla="*/ 1861472 h 3476625"/>
              <a:gd name="connsiteX678" fmla="*/ 1908212 w 11991973"/>
              <a:gd name="connsiteY678" fmla="*/ 1974596 h 3476625"/>
              <a:gd name="connsiteX679" fmla="*/ 1911973 w 11991973"/>
              <a:gd name="connsiteY679" fmla="*/ 1994958 h 3476625"/>
              <a:gd name="connsiteX680" fmla="*/ 1908212 w 11991973"/>
              <a:gd name="connsiteY680" fmla="*/ 1974596 h 3476625"/>
              <a:gd name="connsiteX681" fmla="*/ 1258792 w 11991973"/>
              <a:gd name="connsiteY681" fmla="*/ 1915898 h 3476625"/>
              <a:gd name="connsiteX682" fmla="*/ 1252946 w 11991973"/>
              <a:gd name="connsiteY682" fmla="*/ 1920502 h 3476625"/>
              <a:gd name="connsiteX683" fmla="*/ 1238720 w 11991973"/>
              <a:gd name="connsiteY683" fmla="*/ 1925143 h 3476625"/>
              <a:gd name="connsiteX684" fmla="*/ 1885507 w 11991973"/>
              <a:gd name="connsiteY684" fmla="*/ 1971549 h 3476625"/>
              <a:gd name="connsiteX685" fmla="*/ 1883764 w 11991973"/>
              <a:gd name="connsiteY685" fmla="*/ 1977505 h 3476625"/>
              <a:gd name="connsiteX686" fmla="*/ 1880664 w 11991973"/>
              <a:gd name="connsiteY686" fmla="*/ 1973509 h 3476625"/>
              <a:gd name="connsiteX687" fmla="*/ 1922228 w 11991973"/>
              <a:gd name="connsiteY687" fmla="*/ 1971915 h 3476625"/>
              <a:gd name="connsiteX688" fmla="*/ 1922407 w 11991973"/>
              <a:gd name="connsiteY688" fmla="*/ 1972796 h 3476625"/>
              <a:gd name="connsiteX689" fmla="*/ 1921556 w 11991973"/>
              <a:gd name="connsiteY689" fmla="*/ 1972236 h 3476625"/>
              <a:gd name="connsiteX690" fmla="*/ 1875301 w 11991973"/>
              <a:gd name="connsiteY690" fmla="*/ 1966596 h 3476625"/>
              <a:gd name="connsiteX691" fmla="*/ 1880664 w 11991973"/>
              <a:gd name="connsiteY691" fmla="*/ 1973509 h 3476625"/>
              <a:gd name="connsiteX692" fmla="*/ 1870762 w 11991973"/>
              <a:gd name="connsiteY692" fmla="*/ 1977518 h 3476625"/>
              <a:gd name="connsiteX693" fmla="*/ 1866838 w 11991973"/>
              <a:gd name="connsiteY693" fmla="*/ 1977505 h 3476625"/>
              <a:gd name="connsiteX694" fmla="*/ 1875301 w 11991973"/>
              <a:gd name="connsiteY694" fmla="*/ 1966596 h 3476625"/>
              <a:gd name="connsiteX695" fmla="*/ 1896362 w 11991973"/>
              <a:gd name="connsiteY695" fmla="*/ 1967772 h 3476625"/>
              <a:gd name="connsiteX696" fmla="*/ 1896929 w 11991973"/>
              <a:gd name="connsiteY696" fmla="*/ 1968777 h 3476625"/>
              <a:gd name="connsiteX697" fmla="*/ 1895519 w 11991973"/>
              <a:gd name="connsiteY697" fmla="*/ 1967718 h 3476625"/>
              <a:gd name="connsiteX698" fmla="*/ 1888229 w 11991973"/>
              <a:gd name="connsiteY698" fmla="*/ 1962232 h 3476625"/>
              <a:gd name="connsiteX699" fmla="*/ 1895519 w 11991973"/>
              <a:gd name="connsiteY699" fmla="*/ 1967718 h 3476625"/>
              <a:gd name="connsiteX700" fmla="*/ 1895048 w 11991973"/>
              <a:gd name="connsiteY700" fmla="*/ 1967687 h 3476625"/>
              <a:gd name="connsiteX701" fmla="*/ 1885507 w 11991973"/>
              <a:gd name="connsiteY701" fmla="*/ 1971549 h 3476625"/>
              <a:gd name="connsiteX702" fmla="*/ 1276915 w 11991973"/>
              <a:gd name="connsiteY702" fmla="*/ 1900017 h 3476625"/>
              <a:gd name="connsiteX703" fmla="*/ 1278801 w 11991973"/>
              <a:gd name="connsiteY703" fmla="*/ 1904508 h 3476625"/>
              <a:gd name="connsiteX704" fmla="*/ 1266077 w 11991973"/>
              <a:gd name="connsiteY704" fmla="*/ 1912542 h 3476625"/>
              <a:gd name="connsiteX705" fmla="*/ 1258792 w 11991973"/>
              <a:gd name="connsiteY705" fmla="*/ 1915898 h 3476625"/>
              <a:gd name="connsiteX706" fmla="*/ 1267193 w 11991973"/>
              <a:gd name="connsiteY706" fmla="*/ 1909281 h 3476625"/>
              <a:gd name="connsiteX707" fmla="*/ 708393 w 11991973"/>
              <a:gd name="connsiteY707" fmla="*/ 1835330 h 3476625"/>
              <a:gd name="connsiteX708" fmla="*/ 697109 w 11991973"/>
              <a:gd name="connsiteY708" fmla="*/ 1843692 h 3476625"/>
              <a:gd name="connsiteX709" fmla="*/ 719676 w 11991973"/>
              <a:gd name="connsiteY709" fmla="*/ 1837875 h 3476625"/>
              <a:gd name="connsiteX710" fmla="*/ 708393 w 11991973"/>
              <a:gd name="connsiteY710" fmla="*/ 1835330 h 3476625"/>
              <a:gd name="connsiteX711" fmla="*/ 1889405 w 11991973"/>
              <a:gd name="connsiteY711" fmla="*/ 1930961 h 3476625"/>
              <a:gd name="connsiteX712" fmla="*/ 1889405 w 11991973"/>
              <a:gd name="connsiteY712" fmla="*/ 1930961 h 3476625"/>
              <a:gd name="connsiteX713" fmla="*/ 778445 w 11991973"/>
              <a:gd name="connsiteY713" fmla="*/ 1815467 h 3476625"/>
              <a:gd name="connsiteX714" fmla="*/ 771394 w 11991973"/>
              <a:gd name="connsiteY714" fmla="*/ 1815693 h 3476625"/>
              <a:gd name="connsiteX715" fmla="*/ 757288 w 11991973"/>
              <a:gd name="connsiteY715" fmla="*/ 1817512 h 3476625"/>
              <a:gd name="connsiteX716" fmla="*/ 785498 w 11991973"/>
              <a:gd name="connsiteY716" fmla="*/ 1820421 h 3476625"/>
              <a:gd name="connsiteX717" fmla="*/ 778445 w 11991973"/>
              <a:gd name="connsiteY717" fmla="*/ 1815467 h 3476625"/>
              <a:gd name="connsiteX718" fmla="*/ 887989 w 11991973"/>
              <a:gd name="connsiteY718" fmla="*/ 1804421 h 3476625"/>
              <a:gd name="connsiteX719" fmla="*/ 875765 w 11991973"/>
              <a:gd name="connsiteY719" fmla="*/ 1811694 h 3476625"/>
              <a:gd name="connsiteX720" fmla="*/ 900213 w 11991973"/>
              <a:gd name="connsiteY720" fmla="*/ 1805876 h 3476625"/>
              <a:gd name="connsiteX721" fmla="*/ 887989 w 11991973"/>
              <a:gd name="connsiteY721" fmla="*/ 1804421 h 3476625"/>
              <a:gd name="connsiteX722" fmla="*/ 9885337 w 11991973"/>
              <a:gd name="connsiteY722" fmla="*/ 2601022 h 3476625"/>
              <a:gd name="connsiteX723" fmla="*/ 9896973 w 11991973"/>
              <a:gd name="connsiteY723" fmla="*/ 2611657 h 3476625"/>
              <a:gd name="connsiteX724" fmla="*/ 9885337 w 11991973"/>
              <a:gd name="connsiteY724" fmla="*/ 2601022 h 3476625"/>
              <a:gd name="connsiteX725" fmla="*/ 1788416 w 11991973"/>
              <a:gd name="connsiteY725" fmla="*/ 1878999 h 3476625"/>
              <a:gd name="connsiteX726" fmla="*/ 1776571 w 11991973"/>
              <a:gd name="connsiteY726" fmla="*/ 1887327 h 3476625"/>
              <a:gd name="connsiteX727" fmla="*/ 1776808 w 11991973"/>
              <a:gd name="connsiteY727" fmla="*/ 1882503 h 3476625"/>
              <a:gd name="connsiteX728" fmla="*/ 9944224 w 11991973"/>
              <a:gd name="connsiteY728" fmla="*/ 2594205 h 3476625"/>
              <a:gd name="connsiteX729" fmla="*/ 9953392 w 11991973"/>
              <a:gd name="connsiteY729" fmla="*/ 2611657 h 3476625"/>
              <a:gd name="connsiteX730" fmla="*/ 9944224 w 11991973"/>
              <a:gd name="connsiteY730" fmla="*/ 2594205 h 3476625"/>
              <a:gd name="connsiteX731" fmla="*/ 9913428 w 11991973"/>
              <a:gd name="connsiteY731" fmla="*/ 2589477 h 3476625"/>
              <a:gd name="connsiteX732" fmla="*/ 9917660 w 11991973"/>
              <a:gd name="connsiteY732" fmla="*/ 2614567 h 3476625"/>
              <a:gd name="connsiteX733" fmla="*/ 9913428 w 11991973"/>
              <a:gd name="connsiteY733" fmla="*/ 2589477 h 3476625"/>
              <a:gd name="connsiteX734" fmla="*/ 966034 w 11991973"/>
              <a:gd name="connsiteY734" fmla="*/ 1779696 h 3476625"/>
              <a:gd name="connsiteX735" fmla="*/ 945348 w 11991973"/>
              <a:gd name="connsiteY735" fmla="*/ 1791331 h 3476625"/>
              <a:gd name="connsiteX736" fmla="*/ 966034 w 11991973"/>
              <a:gd name="connsiteY736" fmla="*/ 1779696 h 3476625"/>
              <a:gd name="connsiteX737" fmla="*/ 1979675 w 11991973"/>
              <a:gd name="connsiteY737" fmla="*/ 1855692 h 3476625"/>
              <a:gd name="connsiteX738" fmla="*/ 1975915 w 11991973"/>
              <a:gd name="connsiteY738" fmla="*/ 1864055 h 3476625"/>
              <a:gd name="connsiteX739" fmla="*/ 1989077 w 11991973"/>
              <a:gd name="connsiteY739" fmla="*/ 1858237 h 3476625"/>
              <a:gd name="connsiteX740" fmla="*/ 1979675 w 11991973"/>
              <a:gd name="connsiteY740" fmla="*/ 1855692 h 3476625"/>
              <a:gd name="connsiteX741" fmla="*/ 1805230 w 11991973"/>
              <a:gd name="connsiteY741" fmla="*/ 1827656 h 3476625"/>
              <a:gd name="connsiteX742" fmla="*/ 1812735 w 11991973"/>
              <a:gd name="connsiteY742" fmla="*/ 1833540 h 3476625"/>
              <a:gd name="connsiteX743" fmla="*/ 1819772 w 11991973"/>
              <a:gd name="connsiteY743" fmla="*/ 1841392 h 3476625"/>
              <a:gd name="connsiteX744" fmla="*/ 1797257 w 11991973"/>
              <a:gd name="connsiteY744" fmla="*/ 1858237 h 3476625"/>
              <a:gd name="connsiteX745" fmla="*/ 1793084 w 11991973"/>
              <a:gd name="connsiteY745" fmla="*/ 1849647 h 3476625"/>
              <a:gd name="connsiteX746" fmla="*/ 1790373 w 11991973"/>
              <a:gd name="connsiteY746" fmla="*/ 1834839 h 3476625"/>
              <a:gd name="connsiteX747" fmla="*/ 1804018 w 11991973"/>
              <a:gd name="connsiteY747" fmla="*/ 1826704 h 3476625"/>
              <a:gd name="connsiteX748" fmla="*/ 1804031 w 11991973"/>
              <a:gd name="connsiteY748" fmla="*/ 1826716 h 3476625"/>
              <a:gd name="connsiteX749" fmla="*/ 1802887 w 11991973"/>
              <a:gd name="connsiteY749" fmla="*/ 1827097 h 3476625"/>
              <a:gd name="connsiteX750" fmla="*/ 1803869 w 11991973"/>
              <a:gd name="connsiteY750" fmla="*/ 1826740 h 3476625"/>
              <a:gd name="connsiteX751" fmla="*/ 1790995 w 11991973"/>
              <a:gd name="connsiteY751" fmla="*/ 1823819 h 3476625"/>
              <a:gd name="connsiteX752" fmla="*/ 1789263 w 11991973"/>
              <a:gd name="connsiteY752" fmla="*/ 1828784 h 3476625"/>
              <a:gd name="connsiteX753" fmla="*/ 1790373 w 11991973"/>
              <a:gd name="connsiteY753" fmla="*/ 1834839 h 3476625"/>
              <a:gd name="connsiteX754" fmla="*/ 1784094 w 11991973"/>
              <a:gd name="connsiteY754" fmla="*/ 1837875 h 3476625"/>
              <a:gd name="connsiteX755" fmla="*/ 1754002 w 11991973"/>
              <a:gd name="connsiteY755" fmla="*/ 1834966 h 3476625"/>
              <a:gd name="connsiteX756" fmla="*/ 1766520 w 11991973"/>
              <a:gd name="connsiteY756" fmla="*/ 1827739 h 3476625"/>
              <a:gd name="connsiteX757" fmla="*/ 1810116 w 11991973"/>
              <a:gd name="connsiteY757" fmla="*/ 1825296 h 3476625"/>
              <a:gd name="connsiteX758" fmla="*/ 1805230 w 11991973"/>
              <a:gd name="connsiteY758" fmla="*/ 1827656 h 3476625"/>
              <a:gd name="connsiteX759" fmla="*/ 1804031 w 11991973"/>
              <a:gd name="connsiteY759" fmla="*/ 1826716 h 3476625"/>
              <a:gd name="connsiteX760" fmla="*/ 1804171 w 11991973"/>
              <a:gd name="connsiteY760" fmla="*/ 1826669 h 3476625"/>
              <a:gd name="connsiteX761" fmla="*/ 1798844 w 11991973"/>
              <a:gd name="connsiteY761" fmla="*/ 1822649 h 3476625"/>
              <a:gd name="connsiteX762" fmla="*/ 1798916 w 11991973"/>
              <a:gd name="connsiteY762" fmla="*/ 1822705 h 3476625"/>
              <a:gd name="connsiteX763" fmla="*/ 1796315 w 11991973"/>
              <a:gd name="connsiteY763" fmla="*/ 1822967 h 3476625"/>
              <a:gd name="connsiteX764" fmla="*/ 1790995 w 11991973"/>
              <a:gd name="connsiteY764" fmla="*/ 1823819 h 3476625"/>
              <a:gd name="connsiteX765" fmla="*/ 1791563 w 11991973"/>
              <a:gd name="connsiteY765" fmla="*/ 1822189 h 3476625"/>
              <a:gd name="connsiteX766" fmla="*/ 1798844 w 11991973"/>
              <a:gd name="connsiteY766" fmla="*/ 1822649 h 3476625"/>
              <a:gd name="connsiteX767" fmla="*/ 1108959 w 11991973"/>
              <a:gd name="connsiteY767" fmla="*/ 1753515 h 3476625"/>
              <a:gd name="connsiteX768" fmla="*/ 1098616 w 11991973"/>
              <a:gd name="connsiteY768" fmla="*/ 1752787 h 3476625"/>
              <a:gd name="connsiteX769" fmla="*/ 1088272 w 11991973"/>
              <a:gd name="connsiteY769" fmla="*/ 1756424 h 3476625"/>
              <a:gd name="connsiteX770" fmla="*/ 1108959 w 11991973"/>
              <a:gd name="connsiteY770" fmla="*/ 1753515 h 3476625"/>
              <a:gd name="connsiteX771" fmla="*/ 654090 w 11991973"/>
              <a:gd name="connsiteY771" fmla="*/ 1693518 h 3476625"/>
              <a:gd name="connsiteX772" fmla="*/ 661245 w 11991973"/>
              <a:gd name="connsiteY772" fmla="*/ 1697205 h 3476625"/>
              <a:gd name="connsiteX773" fmla="*/ 651645 w 11991973"/>
              <a:gd name="connsiteY773" fmla="*/ 1702297 h 3476625"/>
              <a:gd name="connsiteX774" fmla="*/ 640691 w 11991973"/>
              <a:gd name="connsiteY774" fmla="*/ 1704063 h 3476625"/>
              <a:gd name="connsiteX775" fmla="*/ 654090 w 11991973"/>
              <a:gd name="connsiteY775" fmla="*/ 1693518 h 3476625"/>
              <a:gd name="connsiteX776" fmla="*/ 1201109 w 11991973"/>
              <a:gd name="connsiteY776" fmla="*/ 1735697 h 3476625"/>
              <a:gd name="connsiteX777" fmla="*/ 1186063 w 11991973"/>
              <a:gd name="connsiteY777" fmla="*/ 1747696 h 3476625"/>
              <a:gd name="connsiteX778" fmla="*/ 1221795 w 11991973"/>
              <a:gd name="connsiteY778" fmla="*/ 1738970 h 3476625"/>
              <a:gd name="connsiteX779" fmla="*/ 1201109 w 11991973"/>
              <a:gd name="connsiteY779" fmla="*/ 1735697 h 3476625"/>
              <a:gd name="connsiteX780" fmla="*/ 2303137 w 11991973"/>
              <a:gd name="connsiteY780" fmla="*/ 1829147 h 3476625"/>
              <a:gd name="connsiteX781" fmla="*/ 2282450 w 11991973"/>
              <a:gd name="connsiteY781" fmla="*/ 1846602 h 3476625"/>
              <a:gd name="connsiteX782" fmla="*/ 2303137 w 11991973"/>
              <a:gd name="connsiteY782" fmla="*/ 1829147 h 3476625"/>
              <a:gd name="connsiteX783" fmla="*/ 2253844 w 11991973"/>
              <a:gd name="connsiteY783" fmla="*/ 1817626 h 3476625"/>
              <a:gd name="connsiteX784" fmla="*/ 1934658 w 11991973"/>
              <a:gd name="connsiteY784" fmla="*/ 1958415 h 3476625"/>
              <a:gd name="connsiteX785" fmla="*/ 1910045 w 11991973"/>
              <a:gd name="connsiteY785" fmla="*/ 1968658 h 3476625"/>
              <a:gd name="connsiteX786" fmla="*/ 1896362 w 11991973"/>
              <a:gd name="connsiteY786" fmla="*/ 1967772 h 3476625"/>
              <a:gd name="connsiteX787" fmla="*/ 1886534 w 11991973"/>
              <a:gd name="connsiteY787" fmla="*/ 1950336 h 3476625"/>
              <a:gd name="connsiteX788" fmla="*/ 1708868 w 11991973"/>
              <a:gd name="connsiteY788" fmla="*/ 1994958 h 3476625"/>
              <a:gd name="connsiteX789" fmla="*/ 1614838 w 11991973"/>
              <a:gd name="connsiteY789" fmla="*/ 2035683 h 3476625"/>
              <a:gd name="connsiteX790" fmla="*/ 1831107 w 11991973"/>
              <a:gd name="connsiteY790" fmla="*/ 2015321 h 3476625"/>
              <a:gd name="connsiteX791" fmla="*/ 1864840 w 11991973"/>
              <a:gd name="connsiteY791" fmla="*/ 1979914 h 3476625"/>
              <a:gd name="connsiteX792" fmla="*/ 1870762 w 11991973"/>
              <a:gd name="connsiteY792" fmla="*/ 1977518 h 3476625"/>
              <a:gd name="connsiteX793" fmla="*/ 1888627 w 11991973"/>
              <a:gd name="connsiteY793" fmla="*/ 1977573 h 3476625"/>
              <a:gd name="connsiteX794" fmla="*/ 1910045 w 11991973"/>
              <a:gd name="connsiteY794" fmla="*/ 1968658 h 3476625"/>
              <a:gd name="connsiteX795" fmla="*/ 1916791 w 11991973"/>
              <a:gd name="connsiteY795" fmla="*/ 1969096 h 3476625"/>
              <a:gd name="connsiteX796" fmla="*/ 1921556 w 11991973"/>
              <a:gd name="connsiteY796" fmla="*/ 1972236 h 3476625"/>
              <a:gd name="connsiteX797" fmla="*/ 1917380 w 11991973"/>
              <a:gd name="connsiteY797" fmla="*/ 1974232 h 3476625"/>
              <a:gd name="connsiteX798" fmla="*/ 1925137 w 11991973"/>
              <a:gd name="connsiteY798" fmla="*/ 1986231 h 3476625"/>
              <a:gd name="connsiteX799" fmla="*/ 1922407 w 11991973"/>
              <a:gd name="connsiteY799" fmla="*/ 1972796 h 3476625"/>
              <a:gd name="connsiteX800" fmla="*/ 1925136 w 11991973"/>
              <a:gd name="connsiteY800" fmla="*/ 1974596 h 3476625"/>
              <a:gd name="connsiteX801" fmla="*/ 1953347 w 11991973"/>
              <a:gd name="connsiteY801" fmla="*/ 1965869 h 3476625"/>
              <a:gd name="connsiteX802" fmla="*/ 2163974 w 11991973"/>
              <a:gd name="connsiteY802" fmla="*/ 1904780 h 3476625"/>
              <a:gd name="connsiteX803" fmla="*/ 2280571 w 11991973"/>
              <a:gd name="connsiteY803" fmla="*/ 1849511 h 3476625"/>
              <a:gd name="connsiteX804" fmla="*/ 2280570 w 11991973"/>
              <a:gd name="connsiteY804" fmla="*/ 1829148 h 3476625"/>
              <a:gd name="connsiteX805" fmla="*/ 2253844 w 11991973"/>
              <a:gd name="connsiteY805" fmla="*/ 1817626 h 3476625"/>
              <a:gd name="connsiteX806" fmla="*/ 2199704 w 11991973"/>
              <a:gd name="connsiteY806" fmla="*/ 1802967 h 3476625"/>
              <a:gd name="connsiteX807" fmla="*/ 2199704 w 11991973"/>
              <a:gd name="connsiteY807" fmla="*/ 1802967 h 3476625"/>
              <a:gd name="connsiteX808" fmla="*/ 2319123 w 11991973"/>
              <a:gd name="connsiteY808" fmla="*/ 1808058 h 3476625"/>
              <a:gd name="connsiteX809" fmla="*/ 2314421 w 11991973"/>
              <a:gd name="connsiteY809" fmla="*/ 1811694 h 3476625"/>
              <a:gd name="connsiteX810" fmla="*/ 2323297 w 11991973"/>
              <a:gd name="connsiteY810" fmla="*/ 1809331 h 3476625"/>
              <a:gd name="connsiteX811" fmla="*/ 2319123 w 11991973"/>
              <a:gd name="connsiteY811" fmla="*/ 1808058 h 3476625"/>
              <a:gd name="connsiteX812" fmla="*/ 653725 w 11991973"/>
              <a:gd name="connsiteY812" fmla="*/ 1592109 h 3476625"/>
              <a:gd name="connsiteX813" fmla="*/ 654674 w 11991973"/>
              <a:gd name="connsiteY813" fmla="*/ 1593378 h 3476625"/>
              <a:gd name="connsiteX814" fmla="*/ 651975 w 11991973"/>
              <a:gd name="connsiteY814" fmla="*/ 1593522 h 3476625"/>
              <a:gd name="connsiteX815" fmla="*/ 634020 w 11991973"/>
              <a:gd name="connsiteY815" fmla="*/ 1586432 h 3476625"/>
              <a:gd name="connsiteX816" fmla="*/ 634876 w 11991973"/>
              <a:gd name="connsiteY816" fmla="*/ 1586651 h 3476625"/>
              <a:gd name="connsiteX817" fmla="*/ 633682 w 11991973"/>
              <a:gd name="connsiteY817" fmla="*/ 1587214 h 3476625"/>
              <a:gd name="connsiteX818" fmla="*/ 565468 w 11991973"/>
              <a:gd name="connsiteY818" fmla="*/ 1561524 h 3476625"/>
              <a:gd name="connsiteX819" fmla="*/ 553091 w 11991973"/>
              <a:gd name="connsiteY819" fmla="*/ 1578340 h 3476625"/>
              <a:gd name="connsiteX820" fmla="*/ 553479 w 11991973"/>
              <a:gd name="connsiteY820" fmla="*/ 1576796 h 3476625"/>
              <a:gd name="connsiteX821" fmla="*/ 565468 w 11991973"/>
              <a:gd name="connsiteY821" fmla="*/ 1561524 h 3476625"/>
              <a:gd name="connsiteX822" fmla="*/ 614364 w 11991973"/>
              <a:gd name="connsiteY822" fmla="*/ 1555705 h 3476625"/>
              <a:gd name="connsiteX823" fmla="*/ 601199 w 11991973"/>
              <a:gd name="connsiteY823" fmla="*/ 1567341 h 3476625"/>
              <a:gd name="connsiteX824" fmla="*/ 614364 w 11991973"/>
              <a:gd name="connsiteY824" fmla="*/ 1555705 h 3476625"/>
              <a:gd name="connsiteX825" fmla="*/ 636931 w 11991973"/>
              <a:gd name="connsiteY825" fmla="*/ 1552796 h 3476625"/>
              <a:gd name="connsiteX826" fmla="*/ 636931 w 11991973"/>
              <a:gd name="connsiteY826" fmla="*/ 1552796 h 3476625"/>
              <a:gd name="connsiteX827" fmla="*/ 272020 w 11991973"/>
              <a:gd name="connsiteY827" fmla="*/ 1486039 h 3476625"/>
              <a:gd name="connsiteX828" fmla="*/ 270579 w 11991973"/>
              <a:gd name="connsiteY828" fmla="*/ 1488903 h 3476625"/>
              <a:gd name="connsiteX829" fmla="*/ 264572 w 11991973"/>
              <a:gd name="connsiteY829" fmla="*/ 1488799 h 3476625"/>
              <a:gd name="connsiteX830" fmla="*/ 836273 w 11991973"/>
              <a:gd name="connsiteY830" fmla="*/ 1535343 h 3476625"/>
              <a:gd name="connsiteX831" fmla="*/ 755407 w 11991973"/>
              <a:gd name="connsiteY831" fmla="*/ 1576069 h 3476625"/>
              <a:gd name="connsiteX832" fmla="*/ 751647 w 11991973"/>
              <a:gd name="connsiteY832" fmla="*/ 1587704 h 3476625"/>
              <a:gd name="connsiteX833" fmla="*/ 834393 w 11991973"/>
              <a:gd name="connsiteY833" fmla="*/ 1570250 h 3476625"/>
              <a:gd name="connsiteX834" fmla="*/ 796781 w 11991973"/>
              <a:gd name="connsiteY834" fmla="*/ 1564432 h 3476625"/>
              <a:gd name="connsiteX835" fmla="*/ 836273 w 11991973"/>
              <a:gd name="connsiteY835" fmla="*/ 1535343 h 3476625"/>
              <a:gd name="connsiteX836" fmla="*/ 840739 w 11991973"/>
              <a:gd name="connsiteY836" fmla="*/ 1500936 h 3476625"/>
              <a:gd name="connsiteX837" fmla="*/ 833453 w 11991973"/>
              <a:gd name="connsiteY837" fmla="*/ 1500800 h 3476625"/>
              <a:gd name="connsiteX838" fmla="*/ 817467 w 11991973"/>
              <a:gd name="connsiteY838" fmla="*/ 1506253 h 3476625"/>
              <a:gd name="connsiteX839" fmla="*/ 843795 w 11991973"/>
              <a:gd name="connsiteY839" fmla="*/ 1506253 h 3476625"/>
              <a:gd name="connsiteX840" fmla="*/ 840739 w 11991973"/>
              <a:gd name="connsiteY840" fmla="*/ 1500936 h 3476625"/>
              <a:gd name="connsiteX841" fmla="*/ 310882 w 11991973"/>
              <a:gd name="connsiteY841" fmla="*/ 1446256 h 3476625"/>
              <a:gd name="connsiteX842" fmla="*/ 300304 w 11991973"/>
              <a:gd name="connsiteY842" fmla="*/ 1456801 h 3476625"/>
              <a:gd name="connsiteX843" fmla="*/ 322872 w 11991973"/>
              <a:gd name="connsiteY843" fmla="*/ 1450983 h 3476625"/>
              <a:gd name="connsiteX844" fmla="*/ 310882 w 11991973"/>
              <a:gd name="connsiteY844" fmla="*/ 1446256 h 3476625"/>
              <a:gd name="connsiteX845" fmla="*/ 257520 w 11991973"/>
              <a:gd name="connsiteY845" fmla="*/ 1437894 h 3476625"/>
              <a:gd name="connsiteX846" fmla="*/ 245767 w 11991973"/>
              <a:gd name="connsiteY846" fmla="*/ 1439347 h 3476625"/>
              <a:gd name="connsiteX847" fmla="*/ 260812 w 11991973"/>
              <a:gd name="connsiteY847" fmla="*/ 1445165 h 3476625"/>
              <a:gd name="connsiteX848" fmla="*/ 257520 w 11991973"/>
              <a:gd name="connsiteY848" fmla="*/ 1437894 h 3476625"/>
              <a:gd name="connsiteX849" fmla="*/ 275856 w 11991973"/>
              <a:gd name="connsiteY849" fmla="*/ 1433530 h 3476625"/>
              <a:gd name="connsiteX850" fmla="*/ 275856 w 11991973"/>
              <a:gd name="connsiteY850" fmla="*/ 1433530 h 3476625"/>
              <a:gd name="connsiteX851" fmla="*/ 11000882 w 11991973"/>
              <a:gd name="connsiteY851" fmla="*/ 2367305 h 3476625"/>
              <a:gd name="connsiteX852" fmla="*/ 11000882 w 11991973"/>
              <a:gd name="connsiteY852" fmla="*/ 2367305 h 3476625"/>
              <a:gd name="connsiteX853" fmla="*/ 385636 w 11991973"/>
              <a:gd name="connsiteY853" fmla="*/ 1420440 h 3476625"/>
              <a:gd name="connsiteX854" fmla="*/ 384930 w 11991973"/>
              <a:gd name="connsiteY854" fmla="*/ 1433530 h 3476625"/>
              <a:gd name="connsiteX855" fmla="*/ 385636 w 11991973"/>
              <a:gd name="connsiteY855" fmla="*/ 1420440 h 3476625"/>
              <a:gd name="connsiteX856" fmla="*/ 342780 w 11991973"/>
              <a:gd name="connsiteY856" fmla="*/ 1401397 h 3476625"/>
              <a:gd name="connsiteX857" fmla="*/ 342394 w 11991973"/>
              <a:gd name="connsiteY857" fmla="*/ 1401798 h 3476625"/>
              <a:gd name="connsiteX858" fmla="*/ 342383 w 11991973"/>
              <a:gd name="connsiteY858" fmla="*/ 1401531 h 3476625"/>
              <a:gd name="connsiteX859" fmla="*/ 345438 w 11991973"/>
              <a:gd name="connsiteY859" fmla="*/ 1398622 h 3476625"/>
              <a:gd name="connsiteX860" fmla="*/ 346921 w 11991973"/>
              <a:gd name="connsiteY860" fmla="*/ 1399985 h 3476625"/>
              <a:gd name="connsiteX861" fmla="*/ 342780 w 11991973"/>
              <a:gd name="connsiteY861" fmla="*/ 1401397 h 3476625"/>
              <a:gd name="connsiteX862" fmla="*/ 10778973 w 11991973"/>
              <a:gd name="connsiteY862" fmla="*/ 2326580 h 3476625"/>
              <a:gd name="connsiteX863" fmla="*/ 10778973 w 11991973"/>
              <a:gd name="connsiteY863" fmla="*/ 2326580 h 3476625"/>
              <a:gd name="connsiteX864" fmla="*/ 466090 w 11991973"/>
              <a:gd name="connsiteY864" fmla="*/ 1406758 h 3476625"/>
              <a:gd name="connsiteX865" fmla="*/ 450752 w 11991973"/>
              <a:gd name="connsiteY865" fmla="*/ 1421893 h 3476625"/>
              <a:gd name="connsiteX866" fmla="*/ 471437 w 11991973"/>
              <a:gd name="connsiteY866" fmla="*/ 1407349 h 3476625"/>
              <a:gd name="connsiteX867" fmla="*/ 466090 w 11991973"/>
              <a:gd name="connsiteY867" fmla="*/ 1406758 h 3476625"/>
              <a:gd name="connsiteX868" fmla="*/ 368004 w 11991973"/>
              <a:gd name="connsiteY868" fmla="*/ 1392804 h 3476625"/>
              <a:gd name="connsiteX869" fmla="*/ 355312 w 11991973"/>
              <a:gd name="connsiteY869" fmla="*/ 1407711 h 3476625"/>
              <a:gd name="connsiteX870" fmla="*/ 346921 w 11991973"/>
              <a:gd name="connsiteY870" fmla="*/ 1399985 h 3476625"/>
              <a:gd name="connsiteX871" fmla="*/ 10830216 w 11991973"/>
              <a:gd name="connsiteY871" fmla="*/ 2314439 h 3476625"/>
              <a:gd name="connsiteX872" fmla="*/ 10817026 w 11991973"/>
              <a:gd name="connsiteY872" fmla="*/ 2313808 h 3476625"/>
              <a:gd name="connsiteX873" fmla="*/ 10844793 w 11991973"/>
              <a:gd name="connsiteY873" fmla="*/ 2320763 h 3476625"/>
              <a:gd name="connsiteX874" fmla="*/ 10830216 w 11991973"/>
              <a:gd name="connsiteY874" fmla="*/ 2314439 h 3476625"/>
              <a:gd name="connsiteX875" fmla="*/ 10705159 w 11991973"/>
              <a:gd name="connsiteY875" fmla="*/ 2301126 h 3476625"/>
              <a:gd name="connsiteX876" fmla="*/ 10669898 w 11991973"/>
              <a:gd name="connsiteY876" fmla="*/ 2329489 h 3476625"/>
              <a:gd name="connsiteX877" fmla="*/ 10705159 w 11991973"/>
              <a:gd name="connsiteY877" fmla="*/ 2301126 h 3476625"/>
              <a:gd name="connsiteX878" fmla="*/ 492594 w 11991973"/>
              <a:gd name="connsiteY878" fmla="*/ 1385895 h 3476625"/>
              <a:gd name="connsiteX879" fmla="*/ 488362 w 11991973"/>
              <a:gd name="connsiteY879" fmla="*/ 1413167 h 3476625"/>
              <a:gd name="connsiteX880" fmla="*/ 492594 w 11991973"/>
              <a:gd name="connsiteY880" fmla="*/ 1385895 h 3476625"/>
              <a:gd name="connsiteX881" fmla="*/ 330506 w 11991973"/>
              <a:gd name="connsiteY881" fmla="*/ 1366753 h 3476625"/>
              <a:gd name="connsiteX882" fmla="*/ 352417 w 11991973"/>
              <a:gd name="connsiteY882" fmla="*/ 1369772 h 3476625"/>
              <a:gd name="connsiteX883" fmla="*/ 366124 w 11991973"/>
              <a:gd name="connsiteY883" fmla="*/ 1378259 h 3476625"/>
              <a:gd name="connsiteX884" fmla="*/ 285258 w 11991973"/>
              <a:gd name="connsiteY884" fmla="*/ 1410257 h 3476625"/>
              <a:gd name="connsiteX885" fmla="*/ 313281 w 11991973"/>
              <a:gd name="connsiteY885" fmla="*/ 1378521 h 3476625"/>
              <a:gd name="connsiteX886" fmla="*/ 10942584 w 11991973"/>
              <a:gd name="connsiteY886" fmla="*/ 2309125 h 3476625"/>
              <a:gd name="connsiteX887" fmla="*/ 10919200 w 11991973"/>
              <a:gd name="connsiteY887" fmla="*/ 2320429 h 3476625"/>
              <a:gd name="connsiteX888" fmla="*/ 10918607 w 11991973"/>
              <a:gd name="connsiteY888" fmla="*/ 2313853 h 3476625"/>
              <a:gd name="connsiteX889" fmla="*/ 10942584 w 11991973"/>
              <a:gd name="connsiteY889" fmla="*/ 2309125 h 3476625"/>
              <a:gd name="connsiteX890" fmla="*/ 1132554 w 11991973"/>
              <a:gd name="connsiteY890" fmla="*/ 1416666 h 3476625"/>
              <a:gd name="connsiteX891" fmla="*/ 1126120 w 11991973"/>
              <a:gd name="connsiteY891" fmla="*/ 1417166 h 3476625"/>
              <a:gd name="connsiteX892" fmla="*/ 1112720 w 11991973"/>
              <a:gd name="connsiteY892" fmla="*/ 1427711 h 3476625"/>
              <a:gd name="connsiteX893" fmla="*/ 1135288 w 11991973"/>
              <a:gd name="connsiteY893" fmla="*/ 1421893 h 3476625"/>
              <a:gd name="connsiteX894" fmla="*/ 1132554 w 11991973"/>
              <a:gd name="connsiteY894" fmla="*/ 1416666 h 3476625"/>
              <a:gd name="connsiteX895" fmla="*/ 187850 w 11991973"/>
              <a:gd name="connsiteY895" fmla="*/ 1325717 h 3476625"/>
              <a:gd name="connsiteX896" fmla="*/ 191464 w 11991973"/>
              <a:gd name="connsiteY896" fmla="*/ 1331715 h 3476625"/>
              <a:gd name="connsiteX897" fmla="*/ 188768 w 11991973"/>
              <a:gd name="connsiteY897" fmla="*/ 1340770 h 3476625"/>
              <a:gd name="connsiteX898" fmla="*/ 184703 w 11991973"/>
              <a:gd name="connsiteY898" fmla="*/ 1341496 h 3476625"/>
              <a:gd name="connsiteX899" fmla="*/ 178065 w 11991973"/>
              <a:gd name="connsiteY899" fmla="*/ 1340443 h 3476625"/>
              <a:gd name="connsiteX900" fmla="*/ 187850 w 11991973"/>
              <a:gd name="connsiteY900" fmla="*/ 1325717 h 3476625"/>
              <a:gd name="connsiteX901" fmla="*/ 532737 w 11991973"/>
              <a:gd name="connsiteY901" fmla="*/ 1348994 h 3476625"/>
              <a:gd name="connsiteX902" fmla="*/ 533497 w 11991973"/>
              <a:gd name="connsiteY902" fmla="*/ 1349170 h 3476625"/>
              <a:gd name="connsiteX903" fmla="*/ 522508 w 11991973"/>
              <a:gd name="connsiteY903" fmla="*/ 1355860 h 3476625"/>
              <a:gd name="connsiteX904" fmla="*/ 528090 w 11991973"/>
              <a:gd name="connsiteY904" fmla="*/ 1349897 h 3476625"/>
              <a:gd name="connsiteX905" fmla="*/ 232368 w 11991973"/>
              <a:gd name="connsiteY905" fmla="*/ 1314990 h 3476625"/>
              <a:gd name="connsiteX906" fmla="*/ 238245 w 11991973"/>
              <a:gd name="connsiteY906" fmla="*/ 1325898 h 3476625"/>
              <a:gd name="connsiteX907" fmla="*/ 219439 w 11991973"/>
              <a:gd name="connsiteY907" fmla="*/ 1325898 h 3476625"/>
              <a:gd name="connsiteX908" fmla="*/ 232368 w 11991973"/>
              <a:gd name="connsiteY908" fmla="*/ 1314990 h 3476625"/>
              <a:gd name="connsiteX909" fmla="*/ 305329 w 11991973"/>
              <a:gd name="connsiteY909" fmla="*/ 1311218 h 3476625"/>
              <a:gd name="connsiteX910" fmla="*/ 301175 w 11991973"/>
              <a:gd name="connsiteY910" fmla="*/ 1325759 h 3476625"/>
              <a:gd name="connsiteX911" fmla="*/ 299536 w 11991973"/>
              <a:gd name="connsiteY911" fmla="*/ 1325928 h 3476625"/>
              <a:gd name="connsiteX912" fmla="*/ 298453 w 11991973"/>
              <a:gd name="connsiteY912" fmla="*/ 1321853 h 3476625"/>
              <a:gd name="connsiteX913" fmla="*/ 305329 w 11991973"/>
              <a:gd name="connsiteY913" fmla="*/ 1311218 h 3476625"/>
              <a:gd name="connsiteX914" fmla="*/ 446050 w 11991973"/>
              <a:gd name="connsiteY914" fmla="*/ 1320443 h 3476625"/>
              <a:gd name="connsiteX915" fmla="*/ 443230 w 11991973"/>
              <a:gd name="connsiteY915" fmla="*/ 1334625 h 3476625"/>
              <a:gd name="connsiteX916" fmla="*/ 446050 w 11991973"/>
              <a:gd name="connsiteY916" fmla="*/ 1320443 h 3476625"/>
              <a:gd name="connsiteX917" fmla="*/ 1287615 w 11991973"/>
              <a:gd name="connsiteY917" fmla="*/ 1389895 h 3476625"/>
              <a:gd name="connsiteX918" fmla="*/ 1262464 w 11991973"/>
              <a:gd name="connsiteY918" fmla="*/ 1387713 h 3476625"/>
              <a:gd name="connsiteX919" fmla="*/ 1238719 w 11991973"/>
              <a:gd name="connsiteY919" fmla="*/ 1398621 h 3476625"/>
              <a:gd name="connsiteX920" fmla="*/ 1287615 w 11991973"/>
              <a:gd name="connsiteY920" fmla="*/ 1389895 h 3476625"/>
              <a:gd name="connsiteX921" fmla="*/ 452867 w 11991973"/>
              <a:gd name="connsiteY921" fmla="*/ 1299490 h 3476625"/>
              <a:gd name="connsiteX922" fmla="*/ 484601 w 11991973"/>
              <a:gd name="connsiteY922" fmla="*/ 1311353 h 3476625"/>
              <a:gd name="connsiteX923" fmla="*/ 452867 w 11991973"/>
              <a:gd name="connsiteY923" fmla="*/ 1299490 h 3476625"/>
              <a:gd name="connsiteX924" fmla="*/ 535377 w 11991973"/>
              <a:gd name="connsiteY924" fmla="*/ 1297899 h 3476625"/>
              <a:gd name="connsiteX925" fmla="*/ 522214 w 11991973"/>
              <a:gd name="connsiteY925" fmla="*/ 1305535 h 3476625"/>
              <a:gd name="connsiteX926" fmla="*/ 532557 w 11991973"/>
              <a:gd name="connsiteY926" fmla="*/ 1305535 h 3476625"/>
              <a:gd name="connsiteX927" fmla="*/ 538858 w 11991973"/>
              <a:gd name="connsiteY927" fmla="*/ 1305535 h 3476625"/>
              <a:gd name="connsiteX928" fmla="*/ 537693 w 11991973"/>
              <a:gd name="connsiteY928" fmla="*/ 1300250 h 3476625"/>
              <a:gd name="connsiteX929" fmla="*/ 1641343 w 11991973"/>
              <a:gd name="connsiteY929" fmla="*/ 1387850 h 3476625"/>
              <a:gd name="connsiteX930" fmla="*/ 1635527 w 11991973"/>
              <a:gd name="connsiteY930" fmla="*/ 1389895 h 3476625"/>
              <a:gd name="connsiteX931" fmla="*/ 1641343 w 11991973"/>
              <a:gd name="connsiteY931" fmla="*/ 1387850 h 3476625"/>
              <a:gd name="connsiteX932" fmla="*/ 1393722 w 11991973"/>
              <a:gd name="connsiteY932" fmla="*/ 1365533 h 3476625"/>
              <a:gd name="connsiteX933" fmla="*/ 1392928 w 11991973"/>
              <a:gd name="connsiteY933" fmla="*/ 1375350 h 3476625"/>
              <a:gd name="connsiteX934" fmla="*/ 1393722 w 11991973"/>
              <a:gd name="connsiteY934" fmla="*/ 1365533 h 3476625"/>
              <a:gd name="connsiteX935" fmla="*/ 517218 w 11991973"/>
              <a:gd name="connsiteY935" fmla="*/ 1286263 h 3476625"/>
              <a:gd name="connsiteX936" fmla="*/ 490244 w 11991973"/>
              <a:gd name="connsiteY936" fmla="*/ 1302627 h 3476625"/>
              <a:gd name="connsiteX937" fmla="*/ 517218 w 11991973"/>
              <a:gd name="connsiteY937" fmla="*/ 1286263 h 3476625"/>
              <a:gd name="connsiteX938" fmla="*/ 368631 w 11991973"/>
              <a:gd name="connsiteY938" fmla="*/ 1272163 h 3476625"/>
              <a:gd name="connsiteX939" fmla="*/ 368005 w 11991973"/>
              <a:gd name="connsiteY939" fmla="*/ 1273537 h 3476625"/>
              <a:gd name="connsiteX940" fmla="*/ 365626 w 11991973"/>
              <a:gd name="connsiteY940" fmla="*/ 1272309 h 3476625"/>
              <a:gd name="connsiteX941" fmla="*/ 529972 w 11991973"/>
              <a:gd name="connsiteY941" fmla="*/ 1273901 h 3476625"/>
              <a:gd name="connsiteX942" fmla="*/ 522213 w 11991973"/>
              <a:gd name="connsiteY942" fmla="*/ 1273537 h 3476625"/>
              <a:gd name="connsiteX943" fmla="*/ 526445 w 11991973"/>
              <a:gd name="connsiteY943" fmla="*/ 1283718 h 3476625"/>
              <a:gd name="connsiteX944" fmla="*/ 533195 w 11991973"/>
              <a:gd name="connsiteY944" fmla="*/ 1279851 h 3476625"/>
              <a:gd name="connsiteX945" fmla="*/ 532008 w 11991973"/>
              <a:gd name="connsiteY945" fmla="*/ 1274467 h 3476625"/>
              <a:gd name="connsiteX946" fmla="*/ 10967033 w 11991973"/>
              <a:gd name="connsiteY946" fmla="*/ 2176042 h 3476625"/>
              <a:gd name="connsiteX947" fmla="*/ 10959510 w 11991973"/>
              <a:gd name="connsiteY947" fmla="*/ 2184041 h 3476625"/>
              <a:gd name="connsiteX948" fmla="*/ 10974554 w 11991973"/>
              <a:gd name="connsiteY948" fmla="*/ 2181131 h 3476625"/>
              <a:gd name="connsiteX949" fmla="*/ 10967033 w 11991973"/>
              <a:gd name="connsiteY949" fmla="*/ 2176042 h 3476625"/>
              <a:gd name="connsiteX950" fmla="*/ 576750 w 11991973"/>
              <a:gd name="connsiteY950" fmla="*/ 1241538 h 3476625"/>
              <a:gd name="connsiteX951" fmla="*/ 467676 w 11991973"/>
              <a:gd name="connsiteY951" fmla="*/ 1261901 h 3476625"/>
              <a:gd name="connsiteX952" fmla="*/ 576750 w 11991973"/>
              <a:gd name="connsiteY952" fmla="*/ 1241538 h 3476625"/>
              <a:gd name="connsiteX953" fmla="*/ 592501 w 11991973"/>
              <a:gd name="connsiteY953" fmla="*/ 1238266 h 3476625"/>
              <a:gd name="connsiteX954" fmla="*/ 586770 w 11991973"/>
              <a:gd name="connsiteY954" fmla="*/ 1243856 h 3476625"/>
              <a:gd name="connsiteX955" fmla="*/ 589844 w 11991973"/>
              <a:gd name="connsiteY955" fmla="*/ 1253116 h 3476625"/>
              <a:gd name="connsiteX956" fmla="*/ 594420 w 11991973"/>
              <a:gd name="connsiteY956" fmla="*/ 1252107 h 3476625"/>
              <a:gd name="connsiteX957" fmla="*/ 597878 w 11991973"/>
              <a:gd name="connsiteY957" fmla="*/ 1243038 h 3476625"/>
              <a:gd name="connsiteX958" fmla="*/ 592501 w 11991973"/>
              <a:gd name="connsiteY958" fmla="*/ 1238266 h 3476625"/>
              <a:gd name="connsiteX959" fmla="*/ 10947579 w 11991973"/>
              <a:gd name="connsiteY959" fmla="*/ 2157496 h 3476625"/>
              <a:gd name="connsiteX960" fmla="*/ 10940704 w 11991973"/>
              <a:gd name="connsiteY960" fmla="*/ 2160769 h 3476625"/>
              <a:gd name="connsiteX961" fmla="*/ 10947579 w 11991973"/>
              <a:gd name="connsiteY961" fmla="*/ 2157496 h 3476625"/>
              <a:gd name="connsiteX962" fmla="*/ 687089 w 11991973"/>
              <a:gd name="connsiteY962" fmla="*/ 1203040 h 3476625"/>
              <a:gd name="connsiteX963" fmla="*/ 654560 w 11991973"/>
              <a:gd name="connsiteY963" fmla="*/ 1202630 h 3476625"/>
              <a:gd name="connsiteX964" fmla="*/ 631288 w 11991973"/>
              <a:gd name="connsiteY964" fmla="*/ 1212448 h 3476625"/>
              <a:gd name="connsiteX965" fmla="*/ 693347 w 11991973"/>
              <a:gd name="connsiteY965" fmla="*/ 1203721 h 3476625"/>
              <a:gd name="connsiteX966" fmla="*/ 687089 w 11991973"/>
              <a:gd name="connsiteY966" fmla="*/ 1203040 h 3476625"/>
              <a:gd name="connsiteX967" fmla="*/ 1618571 w 11991973"/>
              <a:gd name="connsiteY967" fmla="*/ 1276900 h 3476625"/>
              <a:gd name="connsiteX968" fmla="*/ 1633644 w 11991973"/>
              <a:gd name="connsiteY968" fmla="*/ 1279354 h 3476625"/>
              <a:gd name="connsiteX969" fmla="*/ 1618571 w 11991973"/>
              <a:gd name="connsiteY969" fmla="*/ 1276900 h 3476625"/>
              <a:gd name="connsiteX970" fmla="*/ 1802899 w 11991973"/>
              <a:gd name="connsiteY970" fmla="*/ 1285173 h 3476625"/>
              <a:gd name="connsiteX971" fmla="*/ 1802899 w 11991973"/>
              <a:gd name="connsiteY971" fmla="*/ 1285173 h 3476625"/>
              <a:gd name="connsiteX972" fmla="*/ 700870 w 11991973"/>
              <a:gd name="connsiteY972" fmla="*/ 1180450 h 3476625"/>
              <a:gd name="connsiteX973" fmla="*/ 708392 w 11991973"/>
              <a:gd name="connsiteY973" fmla="*/ 1194995 h 3476625"/>
              <a:gd name="connsiteX974" fmla="*/ 700870 w 11991973"/>
              <a:gd name="connsiteY974" fmla="*/ 1180450 h 3476625"/>
              <a:gd name="connsiteX975" fmla="*/ 1811509 w 11991973"/>
              <a:gd name="connsiteY975" fmla="*/ 1271992 h 3476625"/>
              <a:gd name="connsiteX976" fmla="*/ 1812301 w 11991973"/>
              <a:gd name="connsiteY976" fmla="*/ 1279354 h 3476625"/>
              <a:gd name="connsiteX977" fmla="*/ 1811509 w 11991973"/>
              <a:gd name="connsiteY977" fmla="*/ 1271992 h 3476625"/>
              <a:gd name="connsiteX978" fmla="*/ 11351848 w 11991973"/>
              <a:gd name="connsiteY978" fmla="*/ 2112045 h 3476625"/>
              <a:gd name="connsiteX979" fmla="*/ 11343151 w 11991973"/>
              <a:gd name="connsiteY979" fmla="*/ 2122953 h 3476625"/>
              <a:gd name="connsiteX980" fmla="*/ 11361957 w 11991973"/>
              <a:gd name="connsiteY980" fmla="*/ 2114226 h 3476625"/>
              <a:gd name="connsiteX981" fmla="*/ 11351848 w 11991973"/>
              <a:gd name="connsiteY981" fmla="*/ 2112045 h 3476625"/>
              <a:gd name="connsiteX982" fmla="*/ 623765 w 11991973"/>
              <a:gd name="connsiteY982" fmla="*/ 1154269 h 3476625"/>
              <a:gd name="connsiteX983" fmla="*/ 623917 w 11991973"/>
              <a:gd name="connsiteY983" fmla="*/ 1154934 h 3476625"/>
              <a:gd name="connsiteX984" fmla="*/ 620474 w 11991973"/>
              <a:gd name="connsiteY984" fmla="*/ 1160088 h 3476625"/>
              <a:gd name="connsiteX985" fmla="*/ 617117 w 11991973"/>
              <a:gd name="connsiteY985" fmla="*/ 1165391 h 3476625"/>
              <a:gd name="connsiteX986" fmla="*/ 616243 w 11991973"/>
              <a:gd name="connsiteY986" fmla="*/ 1163723 h 3476625"/>
              <a:gd name="connsiteX987" fmla="*/ 623765 w 11991973"/>
              <a:gd name="connsiteY987" fmla="*/ 1154269 h 3476625"/>
              <a:gd name="connsiteX988" fmla="*/ 1789647 w 11991973"/>
              <a:gd name="connsiteY988" fmla="*/ 1237629 h 3476625"/>
              <a:gd name="connsiteX989" fmla="*/ 1784091 w 11991973"/>
              <a:gd name="connsiteY989" fmla="*/ 1253174 h 3476625"/>
              <a:gd name="connsiteX990" fmla="*/ 1789647 w 11991973"/>
              <a:gd name="connsiteY990" fmla="*/ 1237629 h 3476625"/>
              <a:gd name="connsiteX991" fmla="*/ 1983082 w 11991973"/>
              <a:gd name="connsiteY991" fmla="*/ 1222948 h 3476625"/>
              <a:gd name="connsiteX992" fmla="*/ 1994720 w 11991973"/>
              <a:gd name="connsiteY992" fmla="*/ 1229902 h 3476625"/>
              <a:gd name="connsiteX993" fmla="*/ 1983082 w 11991973"/>
              <a:gd name="connsiteY993" fmla="*/ 1222948 h 3476625"/>
              <a:gd name="connsiteX994" fmla="*/ 614480 w 11991973"/>
              <a:gd name="connsiteY994" fmla="*/ 1063410 h 3476625"/>
              <a:gd name="connsiteX995" fmla="*/ 621885 w 11991973"/>
              <a:gd name="connsiteY995" fmla="*/ 1072818 h 3476625"/>
              <a:gd name="connsiteX996" fmla="*/ 597555 w 11991973"/>
              <a:gd name="connsiteY996" fmla="*/ 1070773 h 3476625"/>
              <a:gd name="connsiteX997" fmla="*/ 600456 w 11991973"/>
              <a:gd name="connsiteY997" fmla="*/ 1065664 h 3476625"/>
              <a:gd name="connsiteX998" fmla="*/ 601658 w 11991973"/>
              <a:gd name="connsiteY998" fmla="*/ 1065063 h 3476625"/>
              <a:gd name="connsiteX999" fmla="*/ 2004936 w 11991973"/>
              <a:gd name="connsiteY999" fmla="*/ 1185256 h 3476625"/>
              <a:gd name="connsiteX1000" fmla="*/ 2003939 w 11991973"/>
              <a:gd name="connsiteY1000" fmla="*/ 1185899 h 3476625"/>
              <a:gd name="connsiteX1001" fmla="*/ 2000361 w 11991973"/>
              <a:gd name="connsiteY1001" fmla="*/ 1186267 h 3476625"/>
              <a:gd name="connsiteX1002" fmla="*/ 619876 w 11991973"/>
              <a:gd name="connsiteY1002" fmla="*/ 1055949 h 3476625"/>
              <a:gd name="connsiteX1003" fmla="*/ 601658 w 11991973"/>
              <a:gd name="connsiteY1003" fmla="*/ 1065063 h 3476625"/>
              <a:gd name="connsiteX1004" fmla="*/ 600730 w 11991973"/>
              <a:gd name="connsiteY1004" fmla="*/ 1065183 h 3476625"/>
              <a:gd name="connsiteX1005" fmla="*/ 600456 w 11991973"/>
              <a:gd name="connsiteY1005" fmla="*/ 1065664 h 3476625"/>
              <a:gd name="connsiteX1006" fmla="*/ 586155 w 11991973"/>
              <a:gd name="connsiteY1006" fmla="*/ 1072818 h 3476625"/>
              <a:gd name="connsiteX1007" fmla="*/ 556064 w 11991973"/>
              <a:gd name="connsiteY1007" fmla="*/ 1093182 h 3476625"/>
              <a:gd name="connsiteX1008" fmla="*/ 606311 w 11991973"/>
              <a:gd name="connsiteY1008" fmla="*/ 1058410 h 3476625"/>
              <a:gd name="connsiteX1009" fmla="*/ 719889 w 11991973"/>
              <a:gd name="connsiteY1009" fmla="*/ 1052848 h 3476625"/>
              <a:gd name="connsiteX1010" fmla="*/ 745194 w 11991973"/>
              <a:gd name="connsiteY1010" fmla="*/ 1057172 h 3476625"/>
              <a:gd name="connsiteX1011" fmla="*/ 770715 w 11991973"/>
              <a:gd name="connsiteY1011" fmla="*/ 1063343 h 3476625"/>
              <a:gd name="connsiteX1012" fmla="*/ 752881 w 11991973"/>
              <a:gd name="connsiteY1012" fmla="*/ 1067365 h 3476625"/>
              <a:gd name="connsiteX1013" fmla="*/ 698990 w 11991973"/>
              <a:gd name="connsiteY1013" fmla="*/ 1064092 h 3476625"/>
              <a:gd name="connsiteX1014" fmla="*/ 686207 w 11991973"/>
              <a:gd name="connsiteY1014" fmla="*/ 1047093 h 3476625"/>
              <a:gd name="connsiteX1015" fmla="*/ 699916 w 11991973"/>
              <a:gd name="connsiteY1015" fmla="*/ 1049435 h 3476625"/>
              <a:gd name="connsiteX1016" fmla="*/ 691996 w 11991973"/>
              <a:gd name="connsiteY1016" fmla="*/ 1051047 h 3476625"/>
              <a:gd name="connsiteX1017" fmla="*/ 649154 w 11991973"/>
              <a:gd name="connsiteY1017" fmla="*/ 1050638 h 3476625"/>
              <a:gd name="connsiteX1018" fmla="*/ 619876 w 11991973"/>
              <a:gd name="connsiteY1018" fmla="*/ 1055949 h 3476625"/>
              <a:gd name="connsiteX1019" fmla="*/ 632380 w 11991973"/>
              <a:gd name="connsiteY1019" fmla="*/ 1049695 h 3476625"/>
              <a:gd name="connsiteX1020" fmla="*/ 686207 w 11991973"/>
              <a:gd name="connsiteY1020" fmla="*/ 1047093 h 3476625"/>
              <a:gd name="connsiteX1021" fmla="*/ 742243 w 11991973"/>
              <a:gd name="connsiteY1021" fmla="*/ 1040820 h 3476625"/>
              <a:gd name="connsiteX1022" fmla="*/ 719889 w 11991973"/>
              <a:gd name="connsiteY1022" fmla="*/ 1052848 h 3476625"/>
              <a:gd name="connsiteX1023" fmla="*/ 699916 w 11991973"/>
              <a:gd name="connsiteY1023" fmla="*/ 1049435 h 3476625"/>
              <a:gd name="connsiteX1024" fmla="*/ 10978785 w 11991973"/>
              <a:gd name="connsiteY1024" fmla="*/ 1948052 h 3476625"/>
              <a:gd name="connsiteX1025" fmla="*/ 10968912 w 11991973"/>
              <a:gd name="connsiteY1025" fmla="*/ 1948415 h 3476625"/>
              <a:gd name="connsiteX1026" fmla="*/ 10985838 w 11991973"/>
              <a:gd name="connsiteY1026" fmla="*/ 1954234 h 3476625"/>
              <a:gd name="connsiteX1027" fmla="*/ 10978785 w 11991973"/>
              <a:gd name="connsiteY1027" fmla="*/ 1948052 h 3476625"/>
              <a:gd name="connsiteX1028" fmla="*/ 781326 w 11991973"/>
              <a:gd name="connsiteY1028" fmla="*/ 1035503 h 3476625"/>
              <a:gd name="connsiteX1029" fmla="*/ 785497 w 11991973"/>
              <a:gd name="connsiteY1029" fmla="*/ 1040820 h 3476625"/>
              <a:gd name="connsiteX1030" fmla="*/ 755407 w 11991973"/>
              <a:gd name="connsiteY1030" fmla="*/ 1040820 h 3476625"/>
              <a:gd name="connsiteX1031" fmla="*/ 773273 w 11991973"/>
              <a:gd name="connsiteY1031" fmla="*/ 1035367 h 3476625"/>
              <a:gd name="connsiteX1032" fmla="*/ 781326 w 11991973"/>
              <a:gd name="connsiteY1032" fmla="*/ 1035503 h 3476625"/>
              <a:gd name="connsiteX1033" fmla="*/ 814881 w 11991973"/>
              <a:gd name="connsiteY1033" fmla="*/ 1033911 h 3476625"/>
              <a:gd name="connsiteX1034" fmla="*/ 823109 w 11991973"/>
              <a:gd name="connsiteY1034" fmla="*/ 1043728 h 3476625"/>
              <a:gd name="connsiteX1035" fmla="*/ 802422 w 11991973"/>
              <a:gd name="connsiteY1035" fmla="*/ 1035002 h 3476625"/>
              <a:gd name="connsiteX1036" fmla="*/ 814881 w 11991973"/>
              <a:gd name="connsiteY1036" fmla="*/ 1033911 h 3476625"/>
              <a:gd name="connsiteX1037" fmla="*/ 1489633 w 11991973"/>
              <a:gd name="connsiteY1037" fmla="*/ 1088954 h 3476625"/>
              <a:gd name="connsiteX1038" fmla="*/ 1479436 w 11991973"/>
              <a:gd name="connsiteY1038" fmla="*/ 1096090 h 3476625"/>
              <a:gd name="connsiteX1039" fmla="*/ 1490465 w 11991973"/>
              <a:gd name="connsiteY1039" fmla="*/ 1099318 h 3476625"/>
              <a:gd name="connsiteX1040" fmla="*/ 1502848 w 11991973"/>
              <a:gd name="connsiteY1040" fmla="*/ 1096449 h 3476625"/>
              <a:gd name="connsiteX1041" fmla="*/ 1502558 w 11991973"/>
              <a:gd name="connsiteY1041" fmla="*/ 1095039 h 3476625"/>
              <a:gd name="connsiteX1042" fmla="*/ 1489633 w 11991973"/>
              <a:gd name="connsiteY1042" fmla="*/ 1088954 h 3476625"/>
              <a:gd name="connsiteX1043" fmla="*/ 1078561 w 11991973"/>
              <a:gd name="connsiteY1043" fmla="*/ 1042241 h 3476625"/>
              <a:gd name="connsiteX1044" fmla="*/ 1086391 w 11991973"/>
              <a:gd name="connsiteY1044" fmla="*/ 1043728 h 3476625"/>
              <a:gd name="connsiteX1045" fmla="*/ 1078165 w 11991973"/>
              <a:gd name="connsiteY1045" fmla="*/ 1042639 h 3476625"/>
              <a:gd name="connsiteX1046" fmla="*/ 1473089 w 11991973"/>
              <a:gd name="connsiteY1046" fmla="*/ 1065183 h 3476625"/>
              <a:gd name="connsiteX1047" fmla="*/ 1472679 w 11991973"/>
              <a:gd name="connsiteY1047" fmla="*/ 1065638 h 3476625"/>
              <a:gd name="connsiteX1048" fmla="*/ 1473964 w 11991973"/>
              <a:gd name="connsiteY1048" fmla="*/ 1071466 h 3476625"/>
              <a:gd name="connsiteX1049" fmla="*/ 1476879 w 11991973"/>
              <a:gd name="connsiteY1049" fmla="*/ 1066410 h 3476625"/>
              <a:gd name="connsiteX1050" fmla="*/ 1473089 w 11991973"/>
              <a:gd name="connsiteY1050" fmla="*/ 1065183 h 3476625"/>
              <a:gd name="connsiteX1051" fmla="*/ 11019928 w 11991973"/>
              <a:gd name="connsiteY1051" fmla="*/ 1915127 h 3476625"/>
              <a:gd name="connsiteX1052" fmla="*/ 11011961 w 11991973"/>
              <a:gd name="connsiteY1052" fmla="*/ 1932462 h 3476625"/>
              <a:gd name="connsiteX1053" fmla="*/ 11011194 w 11991973"/>
              <a:gd name="connsiteY1053" fmla="*/ 1937096 h 3476625"/>
              <a:gd name="connsiteX1054" fmla="*/ 11008874 w 11991973"/>
              <a:gd name="connsiteY1054" fmla="*/ 1936779 h 3476625"/>
              <a:gd name="connsiteX1055" fmla="*/ 11010286 w 11991973"/>
              <a:gd name="connsiteY1055" fmla="*/ 1942598 h 3476625"/>
              <a:gd name="connsiteX1056" fmla="*/ 11011194 w 11991973"/>
              <a:gd name="connsiteY1056" fmla="*/ 1937096 h 3476625"/>
              <a:gd name="connsiteX1057" fmla="*/ 11030841 w 11991973"/>
              <a:gd name="connsiteY1057" fmla="*/ 1939773 h 3476625"/>
              <a:gd name="connsiteX1058" fmla="*/ 11032852 w 11991973"/>
              <a:gd name="connsiteY1058" fmla="*/ 1948415 h 3476625"/>
              <a:gd name="connsiteX1059" fmla="*/ 11033558 w 11991973"/>
              <a:gd name="connsiteY1059" fmla="*/ 1940143 h 3476625"/>
              <a:gd name="connsiteX1060" fmla="*/ 11030841 w 11991973"/>
              <a:gd name="connsiteY1060" fmla="*/ 1939773 h 3476625"/>
              <a:gd name="connsiteX1061" fmla="*/ 11028103 w 11991973"/>
              <a:gd name="connsiteY1061" fmla="*/ 1928001 h 3476625"/>
              <a:gd name="connsiteX1062" fmla="*/ 11023773 w 11991973"/>
              <a:gd name="connsiteY1062" fmla="*/ 1917644 h 3476625"/>
              <a:gd name="connsiteX1063" fmla="*/ 11019928 w 11991973"/>
              <a:gd name="connsiteY1063" fmla="*/ 1915127 h 3476625"/>
              <a:gd name="connsiteX1064" fmla="*/ 983752 w 11991973"/>
              <a:gd name="connsiteY1064" fmla="*/ 1015367 h 3476625"/>
              <a:gd name="connsiteX1065" fmla="*/ 966034 w 11991973"/>
              <a:gd name="connsiteY1065" fmla="*/ 1035002 h 3476625"/>
              <a:gd name="connsiteX1066" fmla="*/ 990483 w 11991973"/>
              <a:gd name="connsiteY1066" fmla="*/ 1017548 h 3476625"/>
              <a:gd name="connsiteX1067" fmla="*/ 983752 w 11991973"/>
              <a:gd name="connsiteY1067" fmla="*/ 1015367 h 3476625"/>
              <a:gd name="connsiteX1068" fmla="*/ 11208924 w 11991973"/>
              <a:gd name="connsiteY1068" fmla="*/ 1925871 h 3476625"/>
              <a:gd name="connsiteX1069" fmla="*/ 11226453 w 11991973"/>
              <a:gd name="connsiteY1069" fmla="*/ 1928320 h 3476625"/>
              <a:gd name="connsiteX1070" fmla="*/ 11218092 w 11991973"/>
              <a:gd name="connsiteY1070" fmla="*/ 1928325 h 3476625"/>
              <a:gd name="connsiteX1071" fmla="*/ 11208091 w 11991973"/>
              <a:gd name="connsiteY1071" fmla="*/ 1928982 h 3476625"/>
              <a:gd name="connsiteX1072" fmla="*/ 11236795 w 11991973"/>
              <a:gd name="connsiteY1072" fmla="*/ 1928314 h 3476625"/>
              <a:gd name="connsiteX1073" fmla="*/ 11245360 w 11991973"/>
              <a:gd name="connsiteY1073" fmla="*/ 1930961 h 3476625"/>
              <a:gd name="connsiteX1074" fmla="*/ 11226453 w 11991973"/>
              <a:gd name="connsiteY1074" fmla="*/ 1928320 h 3476625"/>
              <a:gd name="connsiteX1075" fmla="*/ 1041258 w 11991973"/>
              <a:gd name="connsiteY1075" fmla="*/ 1011731 h 3476625"/>
              <a:gd name="connsiteX1076" fmla="*/ 1042423 w 11991973"/>
              <a:gd name="connsiteY1076" fmla="*/ 1015979 h 3476625"/>
              <a:gd name="connsiteX1077" fmla="*/ 1038622 w 11991973"/>
              <a:gd name="connsiteY1077" fmla="*/ 1017937 h 3476625"/>
              <a:gd name="connsiteX1078" fmla="*/ 1421568 w 11991973"/>
              <a:gd name="connsiteY1078" fmla="*/ 1044939 h 3476625"/>
              <a:gd name="connsiteX1079" fmla="*/ 1421958 w 11991973"/>
              <a:gd name="connsiteY1079" fmla="*/ 1045130 h 3476625"/>
              <a:gd name="connsiteX1080" fmla="*/ 1420893 w 11991973"/>
              <a:gd name="connsiteY1080" fmla="*/ 1045232 h 3476625"/>
              <a:gd name="connsiteX1081" fmla="*/ 1477086 w 11991973"/>
              <a:gd name="connsiteY1081" fmla="*/ 1039002 h 3476625"/>
              <a:gd name="connsiteX1082" fmla="*/ 1479068 w 11991973"/>
              <a:gd name="connsiteY1082" fmla="*/ 1041618 h 3476625"/>
              <a:gd name="connsiteX1083" fmla="*/ 1471993 w 11991973"/>
              <a:gd name="connsiteY1083" fmla="*/ 1041228 h 3476625"/>
              <a:gd name="connsiteX1084" fmla="*/ 1152212 w 11991973"/>
              <a:gd name="connsiteY1084" fmla="*/ 988459 h 3476625"/>
              <a:gd name="connsiteX1085" fmla="*/ 1152212 w 11991973"/>
              <a:gd name="connsiteY1085" fmla="*/ 988459 h 3476625"/>
              <a:gd name="connsiteX1086" fmla="*/ 1007643 w 11991973"/>
              <a:gd name="connsiteY1086" fmla="*/ 973914 h 3476625"/>
              <a:gd name="connsiteX1087" fmla="*/ 1005527 w 11991973"/>
              <a:gd name="connsiteY1087" fmla="*/ 1000095 h 3476625"/>
              <a:gd name="connsiteX1088" fmla="*/ 1007643 w 11991973"/>
              <a:gd name="connsiteY1088" fmla="*/ 973914 h 3476625"/>
              <a:gd name="connsiteX1089" fmla="*/ 1050102 w 11991973"/>
              <a:gd name="connsiteY1089" fmla="*/ 976141 h 3476625"/>
              <a:gd name="connsiteX1090" fmla="*/ 1045019 w 11991973"/>
              <a:gd name="connsiteY1090" fmla="*/ 982641 h 3476625"/>
              <a:gd name="connsiteX1091" fmla="*/ 1065705 w 11991973"/>
              <a:gd name="connsiteY1091" fmla="*/ 985550 h 3476625"/>
              <a:gd name="connsiteX1092" fmla="*/ 1050102 w 11991973"/>
              <a:gd name="connsiteY1092" fmla="*/ 976141 h 3476625"/>
              <a:gd name="connsiteX1093" fmla="*/ 1229121 w 11991973"/>
              <a:gd name="connsiteY1093" fmla="*/ 991527 h 3476625"/>
              <a:gd name="connsiteX1094" fmla="*/ 1219914 w 11991973"/>
              <a:gd name="connsiteY1094" fmla="*/ 999004 h 3476625"/>
              <a:gd name="connsiteX1095" fmla="*/ 1210522 w 11991973"/>
              <a:gd name="connsiteY1095" fmla="*/ 991374 h 3476625"/>
              <a:gd name="connsiteX1096" fmla="*/ 1210747 w 11991973"/>
              <a:gd name="connsiteY1096" fmla="*/ 991368 h 3476625"/>
              <a:gd name="connsiteX1097" fmla="*/ 1028094 w 11991973"/>
              <a:gd name="connsiteY1097" fmla="*/ 968096 h 3476625"/>
              <a:gd name="connsiteX1098" fmla="*/ 1028094 w 11991973"/>
              <a:gd name="connsiteY1098" fmla="*/ 968096 h 3476625"/>
              <a:gd name="connsiteX1099" fmla="*/ 1187181 w 11991973"/>
              <a:gd name="connsiteY1099" fmla="*/ 972005 h 3476625"/>
              <a:gd name="connsiteX1100" fmla="*/ 1189824 w 11991973"/>
              <a:gd name="connsiteY1100" fmla="*/ 982641 h 3476625"/>
              <a:gd name="connsiteX1101" fmla="*/ 1187181 w 11991973"/>
              <a:gd name="connsiteY1101" fmla="*/ 972005 h 3476625"/>
              <a:gd name="connsiteX1102" fmla="*/ 1291376 w 11991973"/>
              <a:gd name="connsiteY1102" fmla="*/ 973914 h 3476625"/>
              <a:gd name="connsiteX1103" fmla="*/ 1280093 w 11991973"/>
              <a:gd name="connsiteY1103" fmla="*/ 988459 h 3476625"/>
              <a:gd name="connsiteX1104" fmla="*/ 1291376 w 11991973"/>
              <a:gd name="connsiteY1104" fmla="*/ 973914 h 3476625"/>
              <a:gd name="connsiteX1105" fmla="*/ 1724619 w 11991973"/>
              <a:gd name="connsiteY1105" fmla="*/ 1012185 h 3476625"/>
              <a:gd name="connsiteX1106" fmla="*/ 1701346 w 11991973"/>
              <a:gd name="connsiteY1106" fmla="*/ 1014640 h 3476625"/>
              <a:gd name="connsiteX1107" fmla="*/ 1727675 w 11991973"/>
              <a:gd name="connsiteY1107" fmla="*/ 1014640 h 3476625"/>
              <a:gd name="connsiteX1108" fmla="*/ 1724619 w 11991973"/>
              <a:gd name="connsiteY1108" fmla="*/ 1012185 h 3476625"/>
              <a:gd name="connsiteX1109" fmla="*/ 1798492 w 11991973"/>
              <a:gd name="connsiteY1109" fmla="*/ 1001594 h 3476625"/>
              <a:gd name="connsiteX1110" fmla="*/ 1791615 w 11991973"/>
              <a:gd name="connsiteY1110" fmla="*/ 1017548 h 3476625"/>
              <a:gd name="connsiteX1111" fmla="*/ 1798492 w 11991973"/>
              <a:gd name="connsiteY1111" fmla="*/ 1001594 h 3476625"/>
              <a:gd name="connsiteX1112" fmla="*/ 1775776 w 11991973"/>
              <a:gd name="connsiteY1112" fmla="*/ 994822 h 3476625"/>
              <a:gd name="connsiteX1113" fmla="*/ 1769047 w 11991973"/>
              <a:gd name="connsiteY1113" fmla="*/ 1000095 h 3476625"/>
              <a:gd name="connsiteX1114" fmla="*/ 1793496 w 11991973"/>
              <a:gd name="connsiteY1114" fmla="*/ 1003004 h 3476625"/>
              <a:gd name="connsiteX1115" fmla="*/ 1775776 w 11991973"/>
              <a:gd name="connsiteY1115" fmla="*/ 994822 h 3476625"/>
              <a:gd name="connsiteX1116" fmla="*/ 1725794 w 11991973"/>
              <a:gd name="connsiteY1116" fmla="*/ 982641 h 3476625"/>
              <a:gd name="connsiteX1117" fmla="*/ 1720151 w 11991973"/>
              <a:gd name="connsiteY1117" fmla="*/ 1000095 h 3476625"/>
              <a:gd name="connsiteX1118" fmla="*/ 1725794 w 11991973"/>
              <a:gd name="connsiteY1118" fmla="*/ 982641 h 3476625"/>
              <a:gd name="connsiteX1119" fmla="*/ 1282914 w 11991973"/>
              <a:gd name="connsiteY1119" fmla="*/ 934280 h 3476625"/>
              <a:gd name="connsiteX1120" fmla="*/ 1251884 w 11991973"/>
              <a:gd name="connsiteY1120" fmla="*/ 950643 h 3476625"/>
              <a:gd name="connsiteX1121" fmla="*/ 1282914 w 11991973"/>
              <a:gd name="connsiteY1121" fmla="*/ 934280 h 3476625"/>
              <a:gd name="connsiteX1122" fmla="*/ 1332750 w 11991973"/>
              <a:gd name="connsiteY1122" fmla="*/ 933188 h 3476625"/>
              <a:gd name="connsiteX1123" fmla="*/ 1332751 w 11991973"/>
              <a:gd name="connsiteY1123" fmla="*/ 959369 h 3476625"/>
              <a:gd name="connsiteX1124" fmla="*/ 1332750 w 11991973"/>
              <a:gd name="connsiteY1124" fmla="*/ 933188 h 3476625"/>
              <a:gd name="connsiteX1125" fmla="*/ 1714012 w 11991973"/>
              <a:gd name="connsiteY1125" fmla="*/ 966231 h 3476625"/>
              <a:gd name="connsiteX1126" fmla="*/ 1712277 w 11991973"/>
              <a:gd name="connsiteY1126" fmla="*/ 966414 h 3476625"/>
              <a:gd name="connsiteX1127" fmla="*/ 1714393 w 11991973"/>
              <a:gd name="connsiteY1127" fmla="*/ 972141 h 3476625"/>
              <a:gd name="connsiteX1128" fmla="*/ 1715891 w 11991973"/>
              <a:gd name="connsiteY1128" fmla="*/ 971047 h 3476625"/>
              <a:gd name="connsiteX1129" fmla="*/ 1216153 w 11991973"/>
              <a:gd name="connsiteY1129" fmla="*/ 921553 h 3476625"/>
              <a:gd name="connsiteX1130" fmla="*/ 1198286 w 11991973"/>
              <a:gd name="connsiteY1130" fmla="*/ 920098 h 3476625"/>
              <a:gd name="connsiteX1131" fmla="*/ 1180423 w 11991973"/>
              <a:gd name="connsiteY1131" fmla="*/ 927370 h 3476625"/>
              <a:gd name="connsiteX1132" fmla="*/ 1216153 w 11991973"/>
              <a:gd name="connsiteY1132" fmla="*/ 921553 h 3476625"/>
              <a:gd name="connsiteX1133" fmla="*/ 1767166 w 11991973"/>
              <a:gd name="connsiteY1133" fmla="*/ 968096 h 3476625"/>
              <a:gd name="connsiteX1134" fmla="*/ 1767166 w 11991973"/>
              <a:gd name="connsiteY1134" fmla="*/ 968096 h 3476625"/>
              <a:gd name="connsiteX1135" fmla="*/ 1823585 w 11991973"/>
              <a:gd name="connsiteY1135" fmla="*/ 953551 h 3476625"/>
              <a:gd name="connsiteX1136" fmla="*/ 1802898 w 11991973"/>
              <a:gd name="connsiteY1136" fmla="*/ 956460 h 3476625"/>
              <a:gd name="connsiteX1137" fmla="*/ 1823585 w 11991973"/>
              <a:gd name="connsiteY1137" fmla="*/ 953551 h 3476625"/>
              <a:gd name="connsiteX1138" fmla="*/ 2028246 w 11991973"/>
              <a:gd name="connsiteY1138" fmla="*/ 966960 h 3476625"/>
              <a:gd name="connsiteX1139" fmla="*/ 2041733 w 11991973"/>
              <a:gd name="connsiteY1139" fmla="*/ 973914 h 3476625"/>
              <a:gd name="connsiteX1140" fmla="*/ 2028246 w 11991973"/>
              <a:gd name="connsiteY1140" fmla="*/ 966960 h 3476625"/>
              <a:gd name="connsiteX1141" fmla="*/ 1885644 w 11991973"/>
              <a:gd name="connsiteY1141" fmla="*/ 941915 h 3476625"/>
              <a:gd name="connsiteX1142" fmla="*/ 1875301 w 11991973"/>
              <a:gd name="connsiteY1142" fmla="*/ 941189 h 3476625"/>
              <a:gd name="connsiteX1143" fmla="*/ 1864958 w 11991973"/>
              <a:gd name="connsiteY1143" fmla="*/ 944824 h 3476625"/>
              <a:gd name="connsiteX1144" fmla="*/ 1885644 w 11991973"/>
              <a:gd name="connsiteY1144" fmla="*/ 941915 h 3476625"/>
              <a:gd name="connsiteX1145" fmla="*/ 1994543 w 11991973"/>
              <a:gd name="connsiteY1145" fmla="*/ 951234 h 3476625"/>
              <a:gd name="connsiteX1146" fmla="*/ 1983435 w 11991973"/>
              <a:gd name="connsiteY1146" fmla="*/ 962278 h 3476625"/>
              <a:gd name="connsiteX1147" fmla="*/ 1994543 w 11991973"/>
              <a:gd name="connsiteY1147" fmla="*/ 951234 h 3476625"/>
              <a:gd name="connsiteX1148" fmla="*/ 1939521 w 11991973"/>
              <a:gd name="connsiteY1148" fmla="*/ 943536 h 3476625"/>
              <a:gd name="connsiteX1149" fmla="*/ 1939241 w 11991973"/>
              <a:gd name="connsiteY1149" fmla="*/ 944006 h 3476625"/>
              <a:gd name="connsiteX1150" fmla="*/ 1939224 w 11991973"/>
              <a:gd name="connsiteY1150" fmla="*/ 944750 h 3476625"/>
              <a:gd name="connsiteX1151" fmla="*/ 1938301 w 11991973"/>
              <a:gd name="connsiteY1151" fmla="*/ 944824 h 3476625"/>
              <a:gd name="connsiteX1152" fmla="*/ 1972057 w 11991973"/>
              <a:gd name="connsiteY1152" fmla="*/ 935160 h 3476625"/>
              <a:gd name="connsiteX1153" fmla="*/ 1949144 w 11991973"/>
              <a:gd name="connsiteY1153" fmla="*/ 933371 h 3476625"/>
              <a:gd name="connsiteX1154" fmla="*/ 1939521 w 11991973"/>
              <a:gd name="connsiteY1154" fmla="*/ 943536 h 3476625"/>
              <a:gd name="connsiteX1155" fmla="*/ 1943942 w 11991973"/>
              <a:gd name="connsiteY1155" fmla="*/ 936098 h 3476625"/>
              <a:gd name="connsiteX1156" fmla="*/ 1810421 w 11991973"/>
              <a:gd name="connsiteY1156" fmla="*/ 1000095 h 3476625"/>
              <a:gd name="connsiteX1157" fmla="*/ 1930779 w 11991973"/>
              <a:gd name="connsiteY1157" fmla="*/ 971005 h 3476625"/>
              <a:gd name="connsiteX1158" fmla="*/ 1938771 w 11991973"/>
              <a:gd name="connsiteY1158" fmla="*/ 964460 h 3476625"/>
              <a:gd name="connsiteX1159" fmla="*/ 1939224 w 11991973"/>
              <a:gd name="connsiteY1159" fmla="*/ 944750 h 3476625"/>
              <a:gd name="connsiteX1160" fmla="*/ 1961981 w 11991973"/>
              <a:gd name="connsiteY1160" fmla="*/ 942915 h 3476625"/>
              <a:gd name="connsiteX1161" fmla="*/ 1972057 w 11991973"/>
              <a:gd name="connsiteY1161" fmla="*/ 935160 h 3476625"/>
              <a:gd name="connsiteX1162" fmla="*/ 2002654 w 11991973"/>
              <a:gd name="connsiteY1162" fmla="*/ 923007 h 3476625"/>
              <a:gd name="connsiteX1163" fmla="*/ 1977794 w 11991973"/>
              <a:gd name="connsiteY1163" fmla="*/ 936098 h 3476625"/>
              <a:gd name="connsiteX1164" fmla="*/ 2002654 w 11991973"/>
              <a:gd name="connsiteY1164" fmla="*/ 923007 h 3476625"/>
              <a:gd name="connsiteX1165" fmla="*/ 2106497 w 11991973"/>
              <a:gd name="connsiteY1165" fmla="*/ 924734 h 3476625"/>
              <a:gd name="connsiteX1166" fmla="*/ 2022927 w 11991973"/>
              <a:gd name="connsiteY1166" fmla="*/ 941915 h 3476625"/>
              <a:gd name="connsiteX1167" fmla="*/ 2126362 w 11991973"/>
              <a:gd name="connsiteY1167" fmla="*/ 927370 h 3476625"/>
              <a:gd name="connsiteX1168" fmla="*/ 2106497 w 11991973"/>
              <a:gd name="connsiteY1168" fmla="*/ 924734 h 3476625"/>
              <a:gd name="connsiteX1169" fmla="*/ 2111315 w 11991973"/>
              <a:gd name="connsiteY1169" fmla="*/ 915734 h 3476625"/>
              <a:gd name="connsiteX1170" fmla="*/ 2111315 w 11991973"/>
              <a:gd name="connsiteY1170" fmla="*/ 915734 h 3476625"/>
              <a:gd name="connsiteX1171" fmla="*/ 9707034 w 11991973"/>
              <a:gd name="connsiteY1171" fmla="*/ 1546979 h 3476625"/>
              <a:gd name="connsiteX1172" fmla="*/ 9697631 w 11991973"/>
              <a:gd name="connsiteY1172" fmla="*/ 1552796 h 3476625"/>
              <a:gd name="connsiteX1173" fmla="*/ 9707034 w 11991973"/>
              <a:gd name="connsiteY1173" fmla="*/ 1546979 h 3476625"/>
              <a:gd name="connsiteX1174" fmla="*/ 9891332 w 11991973"/>
              <a:gd name="connsiteY1174" fmla="*/ 1543706 h 3476625"/>
              <a:gd name="connsiteX1175" fmla="*/ 9840555 w 11991973"/>
              <a:gd name="connsiteY1175" fmla="*/ 1573160 h 3476625"/>
              <a:gd name="connsiteX1176" fmla="*/ 9891332 w 11991973"/>
              <a:gd name="connsiteY1176" fmla="*/ 1543706 h 3476625"/>
              <a:gd name="connsiteX1177" fmla="*/ 2079788 w 11991973"/>
              <a:gd name="connsiteY1177" fmla="*/ 847375 h 3476625"/>
              <a:gd name="connsiteX1178" fmla="*/ 2056778 w 11991973"/>
              <a:gd name="connsiteY1178" fmla="*/ 860464 h 3476625"/>
              <a:gd name="connsiteX1179" fmla="*/ 2084989 w 11991973"/>
              <a:gd name="connsiteY1179" fmla="*/ 851737 h 3476625"/>
              <a:gd name="connsiteX1180" fmla="*/ 2079788 w 11991973"/>
              <a:gd name="connsiteY1180" fmla="*/ 847375 h 3476625"/>
              <a:gd name="connsiteX1181" fmla="*/ 10310705 w 11991973"/>
              <a:gd name="connsiteY1181" fmla="*/ 1578977 h 3476625"/>
              <a:gd name="connsiteX1182" fmla="*/ 10311747 w 11991973"/>
              <a:gd name="connsiteY1182" fmla="*/ 1582447 h 3476625"/>
              <a:gd name="connsiteX1183" fmla="*/ 10309499 w 11991973"/>
              <a:gd name="connsiteY1183" fmla="*/ 1582386 h 3476625"/>
              <a:gd name="connsiteX1184" fmla="*/ 10308314 w 11991973"/>
              <a:gd name="connsiteY1184" fmla="*/ 1581373 h 3476625"/>
              <a:gd name="connsiteX1185" fmla="*/ 10352460 w 11991973"/>
              <a:gd name="connsiteY1185" fmla="*/ 1580841 h 3476625"/>
              <a:gd name="connsiteX1186" fmla="*/ 10369004 w 11991973"/>
              <a:gd name="connsiteY1186" fmla="*/ 1587704 h 3476625"/>
              <a:gd name="connsiteX1187" fmla="*/ 10316641 w 11991973"/>
              <a:gd name="connsiteY1187" fmla="*/ 1598748 h 3476625"/>
              <a:gd name="connsiteX1188" fmla="*/ 10311747 w 11991973"/>
              <a:gd name="connsiteY1188" fmla="*/ 1582447 h 3476625"/>
              <a:gd name="connsiteX1189" fmla="*/ 10331155 w 11991973"/>
              <a:gd name="connsiteY1189" fmla="*/ 1582977 h 3476625"/>
              <a:gd name="connsiteX1190" fmla="*/ 10352460 w 11991973"/>
              <a:gd name="connsiteY1190" fmla="*/ 1580841 h 3476625"/>
              <a:gd name="connsiteX1191" fmla="*/ 9739004 w 11991973"/>
              <a:gd name="connsiteY1191" fmla="*/ 1517889 h 3476625"/>
              <a:gd name="connsiteX1192" fmla="*/ 9712676 w 11991973"/>
              <a:gd name="connsiteY1192" fmla="*/ 1535343 h 3476625"/>
              <a:gd name="connsiteX1193" fmla="*/ 9739004 w 11991973"/>
              <a:gd name="connsiteY1193" fmla="*/ 1517889 h 3476625"/>
              <a:gd name="connsiteX1194" fmla="*/ 10364950 w 11991973"/>
              <a:gd name="connsiteY1194" fmla="*/ 1566712 h 3476625"/>
              <a:gd name="connsiteX1195" fmla="*/ 10365007 w 11991973"/>
              <a:gd name="connsiteY1195" fmla="*/ 1566979 h 3476625"/>
              <a:gd name="connsiteX1196" fmla="*/ 10353163 w 11991973"/>
              <a:gd name="connsiteY1196" fmla="*/ 1572478 h 3476625"/>
              <a:gd name="connsiteX1197" fmla="*/ 10347212 w 11991973"/>
              <a:gd name="connsiteY1197" fmla="*/ 1567290 h 3476625"/>
              <a:gd name="connsiteX1198" fmla="*/ 10350902 w 11991973"/>
              <a:gd name="connsiteY1198" fmla="*/ 1567341 h 3476625"/>
              <a:gd name="connsiteX1199" fmla="*/ 10344059 w 11991973"/>
              <a:gd name="connsiteY1199" fmla="*/ 1561263 h 3476625"/>
              <a:gd name="connsiteX1200" fmla="*/ 10341053 w 11991973"/>
              <a:gd name="connsiteY1200" fmla="*/ 1561917 h 3476625"/>
              <a:gd name="connsiteX1201" fmla="*/ 10340744 w 11991973"/>
              <a:gd name="connsiteY1201" fmla="*/ 1561650 h 3476625"/>
              <a:gd name="connsiteX1202" fmla="*/ 10342587 w 11991973"/>
              <a:gd name="connsiteY1202" fmla="*/ 1561433 h 3476625"/>
              <a:gd name="connsiteX1203" fmla="*/ 10344059 w 11991973"/>
              <a:gd name="connsiteY1203" fmla="*/ 1561263 h 3476625"/>
              <a:gd name="connsiteX1204" fmla="*/ 10339830 w 11991973"/>
              <a:gd name="connsiteY1204" fmla="*/ 1560851 h 3476625"/>
              <a:gd name="connsiteX1205" fmla="*/ 10340744 w 11991973"/>
              <a:gd name="connsiteY1205" fmla="*/ 1561650 h 3476625"/>
              <a:gd name="connsiteX1206" fmla="*/ 10335884 w 11991973"/>
              <a:gd name="connsiteY1206" fmla="*/ 1562221 h 3476625"/>
              <a:gd name="connsiteX1207" fmla="*/ 1830789 w 11991973"/>
              <a:gd name="connsiteY1207" fmla="*/ 800135 h 3476625"/>
              <a:gd name="connsiteX1208" fmla="*/ 1829197 w 11991973"/>
              <a:gd name="connsiteY1208" fmla="*/ 800695 h 3476625"/>
              <a:gd name="connsiteX1209" fmla="*/ 1819823 w 11991973"/>
              <a:gd name="connsiteY1209" fmla="*/ 805194 h 3476625"/>
              <a:gd name="connsiteX1210" fmla="*/ 1825847 w 11991973"/>
              <a:gd name="connsiteY1210" fmla="*/ 800604 h 3476625"/>
              <a:gd name="connsiteX1211" fmla="*/ 10366182 w 11991973"/>
              <a:gd name="connsiteY1211" fmla="*/ 1551706 h 3476625"/>
              <a:gd name="connsiteX1212" fmla="*/ 10402854 w 11991973"/>
              <a:gd name="connsiteY1212" fmla="*/ 1558615 h 3476625"/>
              <a:gd name="connsiteX1213" fmla="*/ 10387369 w 11991973"/>
              <a:gd name="connsiteY1213" fmla="*/ 1565705 h 3476625"/>
              <a:gd name="connsiteX1214" fmla="*/ 10364950 w 11991973"/>
              <a:gd name="connsiteY1214" fmla="*/ 1566712 h 3476625"/>
              <a:gd name="connsiteX1215" fmla="*/ 10362076 w 11991973"/>
              <a:gd name="connsiteY1215" fmla="*/ 1553132 h 3476625"/>
              <a:gd name="connsiteX1216" fmla="*/ 10120765 w 11991973"/>
              <a:gd name="connsiteY1216" fmla="*/ 1529525 h 3476625"/>
              <a:gd name="connsiteX1217" fmla="*/ 10110186 w 11991973"/>
              <a:gd name="connsiteY1217" fmla="*/ 1529162 h 3476625"/>
              <a:gd name="connsiteX1218" fmla="*/ 10103836 w 11991973"/>
              <a:gd name="connsiteY1218" fmla="*/ 1535343 h 3476625"/>
              <a:gd name="connsiteX1219" fmla="*/ 10120765 w 11991973"/>
              <a:gd name="connsiteY1219" fmla="*/ 1529525 h 3476625"/>
              <a:gd name="connsiteX1220" fmla="*/ 1911239 w 11991973"/>
              <a:gd name="connsiteY1220" fmla="*/ 787423 h 3476625"/>
              <a:gd name="connsiteX1221" fmla="*/ 1916126 w 11991973"/>
              <a:gd name="connsiteY1221" fmla="*/ 790680 h 3476625"/>
              <a:gd name="connsiteX1222" fmla="*/ 1908346 w 11991973"/>
              <a:gd name="connsiteY1222" fmla="*/ 795422 h 3476625"/>
              <a:gd name="connsiteX1223" fmla="*/ 1907143 w 11991973"/>
              <a:gd name="connsiteY1223" fmla="*/ 796441 h 3476625"/>
              <a:gd name="connsiteX1224" fmla="*/ 1898807 w 11991973"/>
              <a:gd name="connsiteY1224" fmla="*/ 793559 h 3476625"/>
              <a:gd name="connsiteX1225" fmla="*/ 1911239 w 11991973"/>
              <a:gd name="connsiteY1225" fmla="*/ 787423 h 3476625"/>
              <a:gd name="connsiteX1226" fmla="*/ 10353959 w 11991973"/>
              <a:gd name="connsiteY1226" fmla="*/ 1529525 h 3476625"/>
              <a:gd name="connsiteX1227" fmla="*/ 10359571 w 11991973"/>
              <a:gd name="connsiteY1227" fmla="*/ 1541297 h 3476625"/>
              <a:gd name="connsiteX1228" fmla="*/ 10362076 w 11991973"/>
              <a:gd name="connsiteY1228" fmla="*/ 1553132 h 3476625"/>
              <a:gd name="connsiteX1229" fmla="*/ 10339830 w 11991973"/>
              <a:gd name="connsiteY1229" fmla="*/ 1560851 h 3476625"/>
              <a:gd name="connsiteX1230" fmla="*/ 10335420 w 11991973"/>
              <a:gd name="connsiteY1230" fmla="*/ 1557007 h 3476625"/>
              <a:gd name="connsiteX1231" fmla="*/ 10324689 w 11991973"/>
              <a:gd name="connsiteY1231" fmla="*/ 1544459 h 3476625"/>
              <a:gd name="connsiteX1232" fmla="*/ 2004122 w 11991973"/>
              <a:gd name="connsiteY1232" fmla="*/ 779014 h 3476625"/>
              <a:gd name="connsiteX1233" fmla="*/ 2011200 w 11991973"/>
              <a:gd name="connsiteY1233" fmla="*/ 782454 h 3476625"/>
              <a:gd name="connsiteX1234" fmla="*/ 2012860 w 11991973"/>
              <a:gd name="connsiteY1234" fmla="*/ 781806 h 3476625"/>
              <a:gd name="connsiteX1235" fmla="*/ 1975120 w 11991973"/>
              <a:gd name="connsiteY1235" fmla="*/ 773741 h 3476625"/>
              <a:gd name="connsiteX1236" fmla="*/ 1992838 w 11991973"/>
              <a:gd name="connsiteY1236" fmla="*/ 781922 h 3476625"/>
              <a:gd name="connsiteX1237" fmla="*/ 1975120 w 11991973"/>
              <a:gd name="connsiteY1237" fmla="*/ 773741 h 3476625"/>
              <a:gd name="connsiteX1238" fmla="*/ 1961258 w 11991973"/>
              <a:gd name="connsiteY1238" fmla="*/ 770534 h 3476625"/>
              <a:gd name="connsiteX1239" fmla="*/ 1943286 w 11991973"/>
              <a:gd name="connsiteY1239" fmla="*/ 775954 h 3476625"/>
              <a:gd name="connsiteX1240" fmla="*/ 1944854 w 11991973"/>
              <a:gd name="connsiteY1240" fmla="*/ 771105 h 3476625"/>
              <a:gd name="connsiteX1241" fmla="*/ 2077465 w 11991973"/>
              <a:gd name="connsiteY1241" fmla="*/ 741198 h 3476625"/>
              <a:gd name="connsiteX1242" fmla="*/ 2086986 w 11991973"/>
              <a:gd name="connsiteY1242" fmla="*/ 752652 h 3476625"/>
              <a:gd name="connsiteX1243" fmla="*/ 2087655 w 11991973"/>
              <a:gd name="connsiteY1243" fmla="*/ 752632 h 3476625"/>
              <a:gd name="connsiteX1244" fmla="*/ 2105475 w 11991973"/>
              <a:gd name="connsiteY1244" fmla="*/ 745680 h 3476625"/>
              <a:gd name="connsiteX1245" fmla="*/ 10231955 w 11991973"/>
              <a:gd name="connsiteY1245" fmla="*/ 1454483 h 3476625"/>
              <a:gd name="connsiteX1246" fmla="*/ 10229839 w 11991973"/>
              <a:gd name="connsiteY1246" fmla="*/ 1465528 h 3476625"/>
              <a:gd name="connsiteX1247" fmla="*/ 10231955 w 11991973"/>
              <a:gd name="connsiteY1247" fmla="*/ 1454483 h 3476625"/>
              <a:gd name="connsiteX1248" fmla="*/ 10222317 w 11991973"/>
              <a:gd name="connsiteY1248" fmla="*/ 1427712 h 3476625"/>
              <a:gd name="connsiteX1249" fmla="*/ 10222870 w 11991973"/>
              <a:gd name="connsiteY1249" fmla="*/ 1428200 h 3476625"/>
              <a:gd name="connsiteX1250" fmla="*/ 10222719 w 11991973"/>
              <a:gd name="connsiteY1250" fmla="*/ 1428244 h 3476625"/>
              <a:gd name="connsiteX1251" fmla="*/ 10237191 w 11991973"/>
              <a:gd name="connsiteY1251" fmla="*/ 1424063 h 3476625"/>
              <a:gd name="connsiteX1252" fmla="*/ 10232189 w 11991973"/>
              <a:gd name="connsiteY1252" fmla="*/ 1436439 h 3476625"/>
              <a:gd name="connsiteX1253" fmla="*/ 10222870 w 11991973"/>
              <a:gd name="connsiteY1253" fmla="*/ 1428200 h 3476625"/>
              <a:gd name="connsiteX1254" fmla="*/ 10237032 w 11991973"/>
              <a:gd name="connsiteY1254" fmla="*/ 1424098 h 3476625"/>
              <a:gd name="connsiteX1255" fmla="*/ 10141065 w 11991973"/>
              <a:gd name="connsiteY1255" fmla="*/ 1415258 h 3476625"/>
              <a:gd name="connsiteX1256" fmla="*/ 10145786 w 11991973"/>
              <a:gd name="connsiteY1256" fmla="*/ 1416556 h 3476625"/>
              <a:gd name="connsiteX1257" fmla="*/ 10146079 w 11991973"/>
              <a:gd name="connsiteY1257" fmla="*/ 1417951 h 3476625"/>
              <a:gd name="connsiteX1258" fmla="*/ 10143432 w 11991973"/>
              <a:gd name="connsiteY1258" fmla="*/ 1423104 h 3476625"/>
              <a:gd name="connsiteX1259" fmla="*/ 10135765 w 11991973"/>
              <a:gd name="connsiteY1259" fmla="*/ 1425927 h 3476625"/>
              <a:gd name="connsiteX1260" fmla="*/ 10132988 w 11991973"/>
              <a:gd name="connsiteY1260" fmla="*/ 1418258 h 3476625"/>
              <a:gd name="connsiteX1261" fmla="*/ 10139793 w 11991973"/>
              <a:gd name="connsiteY1261" fmla="*/ 1415447 h 3476625"/>
              <a:gd name="connsiteX1262" fmla="*/ 10239242 w 11991973"/>
              <a:gd name="connsiteY1262" fmla="*/ 1418985 h 3476625"/>
              <a:gd name="connsiteX1263" fmla="*/ 10242857 w 11991973"/>
              <a:gd name="connsiteY1263" fmla="*/ 1422798 h 3476625"/>
              <a:gd name="connsiteX1264" fmla="*/ 10237191 w 11991973"/>
              <a:gd name="connsiteY1264" fmla="*/ 1424063 h 3476625"/>
              <a:gd name="connsiteX1265" fmla="*/ 10259929 w 11991973"/>
              <a:gd name="connsiteY1265" fmla="*/ 1418985 h 3476625"/>
              <a:gd name="connsiteX1266" fmla="*/ 10249586 w 11991973"/>
              <a:gd name="connsiteY1266" fmla="*/ 1429894 h 3476625"/>
              <a:gd name="connsiteX1267" fmla="*/ 10242857 w 11991973"/>
              <a:gd name="connsiteY1267" fmla="*/ 1422798 h 3476625"/>
              <a:gd name="connsiteX1268" fmla="*/ 10188936 w 11991973"/>
              <a:gd name="connsiteY1268" fmla="*/ 1403759 h 3476625"/>
              <a:gd name="connsiteX1269" fmla="*/ 10201630 w 11991973"/>
              <a:gd name="connsiteY1269" fmla="*/ 1413167 h 3476625"/>
              <a:gd name="connsiteX1270" fmla="*/ 10188936 w 11991973"/>
              <a:gd name="connsiteY1270" fmla="*/ 1403759 h 3476625"/>
              <a:gd name="connsiteX1271" fmla="*/ 10205391 w 11991973"/>
              <a:gd name="connsiteY1271" fmla="*/ 1392804 h 3476625"/>
              <a:gd name="connsiteX1272" fmla="*/ 10209152 w 11991973"/>
              <a:gd name="connsiteY1272" fmla="*/ 1416076 h 3476625"/>
              <a:gd name="connsiteX1273" fmla="*/ 10205391 w 11991973"/>
              <a:gd name="connsiteY1273" fmla="*/ 1392804 h 3476625"/>
              <a:gd name="connsiteX1274" fmla="*/ 10577749 w 11991973"/>
              <a:gd name="connsiteY1274" fmla="*/ 1389895 h 3476625"/>
              <a:gd name="connsiteX1275" fmla="*/ 10500644 w 11991973"/>
              <a:gd name="connsiteY1275" fmla="*/ 1407349 h 3476625"/>
              <a:gd name="connsiteX1276" fmla="*/ 10362186 w 11991973"/>
              <a:gd name="connsiteY1276" fmla="*/ 1442620 h 3476625"/>
              <a:gd name="connsiteX1277" fmla="*/ 10331135 w 11991973"/>
              <a:gd name="connsiteY1277" fmla="*/ 1445968 h 3476625"/>
              <a:gd name="connsiteX1278" fmla="*/ 10357745 w 11991973"/>
              <a:gd name="connsiteY1278" fmla="*/ 1434910 h 3476625"/>
              <a:gd name="connsiteX1279" fmla="*/ 10479508 w 11991973"/>
              <a:gd name="connsiteY1279" fmla="*/ 1402943 h 3476625"/>
              <a:gd name="connsiteX1280" fmla="*/ 10497324 w 11991973"/>
              <a:gd name="connsiteY1280" fmla="*/ 1401167 h 3476625"/>
              <a:gd name="connsiteX1281" fmla="*/ 10577749 w 11991973"/>
              <a:gd name="connsiteY1281" fmla="*/ 1389895 h 3476625"/>
              <a:gd name="connsiteX1282" fmla="*/ 10651092 w 11991973"/>
              <a:gd name="connsiteY1282" fmla="*/ 1381169 h 3476625"/>
              <a:gd name="connsiteX1283" fmla="*/ 10575869 w 11991973"/>
              <a:gd name="connsiteY1283" fmla="*/ 1398621 h 3476625"/>
              <a:gd name="connsiteX1284" fmla="*/ 10651092 w 11991973"/>
              <a:gd name="connsiteY1284" fmla="*/ 1381169 h 3476625"/>
              <a:gd name="connsiteX1285" fmla="*/ 10745592 w 11991973"/>
              <a:gd name="connsiteY1285" fmla="*/ 1379714 h 3476625"/>
              <a:gd name="connsiteX1286" fmla="*/ 10754525 w 11991973"/>
              <a:gd name="connsiteY1286" fmla="*/ 1381169 h 3476625"/>
              <a:gd name="connsiteX1287" fmla="*/ 10739481 w 11991973"/>
              <a:gd name="connsiteY1287" fmla="*/ 1386986 h 3476625"/>
              <a:gd name="connsiteX1288" fmla="*/ 10745592 w 11991973"/>
              <a:gd name="connsiteY1288" fmla="*/ 1379714 h 3476625"/>
              <a:gd name="connsiteX1289" fmla="*/ 10743828 w 11991973"/>
              <a:gd name="connsiteY1289" fmla="*/ 1357771 h 3476625"/>
              <a:gd name="connsiteX1290" fmla="*/ 10743714 w 11991973"/>
              <a:gd name="connsiteY1290" fmla="*/ 1357820 h 3476625"/>
              <a:gd name="connsiteX1291" fmla="*/ 10730078 w 11991973"/>
              <a:gd name="connsiteY1291" fmla="*/ 1372441 h 3476625"/>
              <a:gd name="connsiteX1292" fmla="*/ 10720674 w 11991973"/>
              <a:gd name="connsiteY1292" fmla="*/ 1371032 h 3476625"/>
              <a:gd name="connsiteX1293" fmla="*/ 10712794 w 11991973"/>
              <a:gd name="connsiteY1293" fmla="*/ 1361085 h 3476625"/>
              <a:gd name="connsiteX1294" fmla="*/ 10726129 w 11991973"/>
              <a:gd name="connsiteY1294" fmla="*/ 1359085 h 3476625"/>
              <a:gd name="connsiteX1295" fmla="*/ 10729456 w 11991973"/>
              <a:gd name="connsiteY1295" fmla="*/ 1358838 h 3476625"/>
              <a:gd name="connsiteX1296" fmla="*/ 10737599 w 11991973"/>
              <a:gd name="connsiteY1296" fmla="*/ 1360805 h 3476625"/>
              <a:gd name="connsiteX1297" fmla="*/ 10734503 w 11991973"/>
              <a:gd name="connsiteY1297" fmla="*/ 1358463 h 3476625"/>
              <a:gd name="connsiteX1298" fmla="*/ 10713377 w 11991973"/>
              <a:gd name="connsiteY1298" fmla="*/ 1342698 h 3476625"/>
              <a:gd name="connsiteX1299" fmla="*/ 10714136 w 11991973"/>
              <a:gd name="connsiteY1299" fmla="*/ 1343051 h 3476625"/>
              <a:gd name="connsiteX1300" fmla="*/ 10734503 w 11991973"/>
              <a:gd name="connsiteY1300" fmla="*/ 1358463 h 3476625"/>
              <a:gd name="connsiteX1301" fmla="*/ 10729456 w 11991973"/>
              <a:gd name="connsiteY1301" fmla="*/ 1358838 h 3476625"/>
              <a:gd name="connsiteX1302" fmla="*/ 10706647 w 11991973"/>
              <a:gd name="connsiteY1302" fmla="*/ 1353324 h 3476625"/>
              <a:gd name="connsiteX1303" fmla="*/ 10704219 w 11991973"/>
              <a:gd name="connsiteY1303" fmla="*/ 1350260 h 3476625"/>
              <a:gd name="connsiteX1304" fmla="*/ 10701370 w 11991973"/>
              <a:gd name="connsiteY1304" fmla="*/ 1343888 h 3476625"/>
              <a:gd name="connsiteX1305" fmla="*/ 2881537 w 11991973"/>
              <a:gd name="connsiteY1305" fmla="*/ 641928 h 3476625"/>
              <a:gd name="connsiteX1306" fmla="*/ 2897403 w 11991973"/>
              <a:gd name="connsiteY1306" fmla="*/ 645202 h 3476625"/>
              <a:gd name="connsiteX1307" fmla="*/ 2881537 w 11991973"/>
              <a:gd name="connsiteY1307" fmla="*/ 641928 h 3476625"/>
              <a:gd name="connsiteX1308" fmla="*/ 2801330 w 11991973"/>
              <a:gd name="connsiteY1308" fmla="*/ 631458 h 3476625"/>
              <a:gd name="connsiteX1309" fmla="*/ 2803376 w 11991973"/>
              <a:gd name="connsiteY1309" fmla="*/ 633566 h 3476625"/>
              <a:gd name="connsiteX1310" fmla="*/ 2801366 w 11991973"/>
              <a:gd name="connsiteY1310" fmla="*/ 634561 h 3476625"/>
              <a:gd name="connsiteX1311" fmla="*/ 2801127 w 11991973"/>
              <a:gd name="connsiteY1311" fmla="*/ 631572 h 3476625"/>
              <a:gd name="connsiteX1312" fmla="*/ 11039633 w 11991973"/>
              <a:gd name="connsiteY1312" fmla="*/ 1341595 h 3476625"/>
              <a:gd name="connsiteX1313" fmla="*/ 10913670 w 11991973"/>
              <a:gd name="connsiteY1313" fmla="*/ 1345171 h 3476625"/>
              <a:gd name="connsiteX1314" fmla="*/ 10743828 w 11991973"/>
              <a:gd name="connsiteY1314" fmla="*/ 1357771 h 3476625"/>
              <a:gd name="connsiteX1315" fmla="*/ 10772700 w 11991973"/>
              <a:gd name="connsiteY1315" fmla="*/ 1345465 h 3476625"/>
              <a:gd name="connsiteX1316" fmla="*/ 10816609 w 11991973"/>
              <a:gd name="connsiteY1316" fmla="*/ 1336928 h 3476625"/>
              <a:gd name="connsiteX1317" fmla="*/ 10862571 w 11991973"/>
              <a:gd name="connsiteY1317" fmla="*/ 1336489 h 3476625"/>
              <a:gd name="connsiteX1318" fmla="*/ 2951679 w 11991973"/>
              <a:gd name="connsiteY1318" fmla="*/ 603931 h 3476625"/>
              <a:gd name="connsiteX1319" fmla="*/ 2945439 w 11991973"/>
              <a:gd name="connsiteY1319" fmla="*/ 609465 h 3476625"/>
              <a:gd name="connsiteX1320" fmla="*/ 2934076 w 11991973"/>
              <a:gd name="connsiteY1320" fmla="*/ 610294 h 3476625"/>
              <a:gd name="connsiteX1321" fmla="*/ 2938778 w 11991973"/>
              <a:gd name="connsiteY1321" fmla="*/ 624839 h 3476625"/>
              <a:gd name="connsiteX1322" fmla="*/ 2945195 w 11991973"/>
              <a:gd name="connsiteY1322" fmla="*/ 609681 h 3476625"/>
              <a:gd name="connsiteX1323" fmla="*/ 2945439 w 11991973"/>
              <a:gd name="connsiteY1323" fmla="*/ 609465 h 3476625"/>
              <a:gd name="connsiteX1324" fmla="*/ 2947769 w 11991973"/>
              <a:gd name="connsiteY1324" fmla="*/ 609294 h 3476625"/>
              <a:gd name="connsiteX1325" fmla="*/ 2970247 w 11991973"/>
              <a:gd name="connsiteY1325" fmla="*/ 616765 h 3476625"/>
              <a:gd name="connsiteX1326" fmla="*/ 2976068 w 11991973"/>
              <a:gd name="connsiteY1326" fmla="*/ 623202 h 3476625"/>
              <a:gd name="connsiteX1327" fmla="*/ 2985791 w 11991973"/>
              <a:gd name="connsiteY1327" fmla="*/ 621930 h 3476625"/>
              <a:gd name="connsiteX1328" fmla="*/ 2970247 w 11991973"/>
              <a:gd name="connsiteY1328" fmla="*/ 616765 h 3476625"/>
              <a:gd name="connsiteX1329" fmla="*/ 2964403 w 11991973"/>
              <a:gd name="connsiteY1329" fmla="*/ 610294 h 3476625"/>
              <a:gd name="connsiteX1330" fmla="*/ 2951679 w 11991973"/>
              <a:gd name="connsiteY1330" fmla="*/ 603931 h 3476625"/>
              <a:gd name="connsiteX1331" fmla="*/ 11198517 w 11991973"/>
              <a:gd name="connsiteY1331" fmla="*/ 1337087 h 3476625"/>
              <a:gd name="connsiteX1332" fmla="*/ 11161839 w 11991973"/>
              <a:gd name="connsiteY1332" fmla="*/ 1340835 h 3476625"/>
              <a:gd name="connsiteX1333" fmla="*/ 11062707 w 11991973"/>
              <a:gd name="connsiteY1333" fmla="*/ 1342261 h 3476625"/>
              <a:gd name="connsiteX1334" fmla="*/ 11039633 w 11991973"/>
              <a:gd name="connsiteY1334" fmla="*/ 1341595 h 3476625"/>
              <a:gd name="connsiteX1335" fmla="*/ 2951944 w 11991973"/>
              <a:gd name="connsiteY1335" fmla="*/ 598659 h 3476625"/>
              <a:gd name="connsiteX1336" fmla="*/ 2916211 w 11991973"/>
              <a:gd name="connsiteY1336" fmla="*/ 610294 h 3476625"/>
              <a:gd name="connsiteX1337" fmla="*/ 2951944 w 11991973"/>
              <a:gd name="connsiteY1337" fmla="*/ 598659 h 3476625"/>
              <a:gd name="connsiteX1338" fmla="*/ 3040330 w 11991973"/>
              <a:gd name="connsiteY1338" fmla="*/ 604476 h 3476625"/>
              <a:gd name="connsiteX1339" fmla="*/ 3057254 w 11991973"/>
              <a:gd name="connsiteY1339" fmla="*/ 610294 h 3476625"/>
              <a:gd name="connsiteX1340" fmla="*/ 3040330 w 11991973"/>
              <a:gd name="connsiteY1340" fmla="*/ 604476 h 3476625"/>
              <a:gd name="connsiteX1341" fmla="*/ 2993316 w 11991973"/>
              <a:gd name="connsiteY1341" fmla="*/ 584114 h 3476625"/>
              <a:gd name="connsiteX1342" fmla="*/ 2993316 w 11991973"/>
              <a:gd name="connsiteY1342" fmla="*/ 584114 h 3476625"/>
              <a:gd name="connsiteX1343" fmla="*/ 3110618 w 11991973"/>
              <a:gd name="connsiteY1343" fmla="*/ 585205 h 3476625"/>
              <a:gd name="connsiteX1344" fmla="*/ 3112884 w 11991973"/>
              <a:gd name="connsiteY1344" fmla="*/ 589680 h 3476625"/>
              <a:gd name="connsiteX1345" fmla="*/ 3107341 w 11991973"/>
              <a:gd name="connsiteY1345" fmla="*/ 593704 h 3476625"/>
              <a:gd name="connsiteX1346" fmla="*/ 3098104 w 11991973"/>
              <a:gd name="connsiteY1346" fmla="*/ 595488 h 3476625"/>
              <a:gd name="connsiteX1347" fmla="*/ 3097196 w 11991973"/>
              <a:gd name="connsiteY1347" fmla="*/ 595407 h 3476625"/>
              <a:gd name="connsiteX1348" fmla="*/ 3190218 w 11991973"/>
              <a:gd name="connsiteY1348" fmla="*/ 580886 h 3476625"/>
              <a:gd name="connsiteX1349" fmla="*/ 3201037 w 11991973"/>
              <a:gd name="connsiteY1349" fmla="*/ 585140 h 3476625"/>
              <a:gd name="connsiteX1350" fmla="*/ 3188895 w 11991973"/>
              <a:gd name="connsiteY1350" fmla="*/ 587022 h 3476625"/>
              <a:gd name="connsiteX1351" fmla="*/ 3189721 w 11991973"/>
              <a:gd name="connsiteY1351" fmla="*/ 581855 h 3476625"/>
              <a:gd name="connsiteX1352" fmla="*/ 3019642 w 11991973"/>
              <a:gd name="connsiteY1352" fmla="*/ 555024 h 3476625"/>
              <a:gd name="connsiteX1353" fmla="*/ 3019642 w 11991973"/>
              <a:gd name="connsiteY1353" fmla="*/ 555024 h 3476625"/>
              <a:gd name="connsiteX1354" fmla="*/ 3305448 w 11991973"/>
              <a:gd name="connsiteY1354" fmla="*/ 571637 h 3476625"/>
              <a:gd name="connsiteX1355" fmla="*/ 3303496 w 11991973"/>
              <a:gd name="connsiteY1355" fmla="*/ 575205 h 3476625"/>
              <a:gd name="connsiteX1356" fmla="*/ 3304932 w 11991973"/>
              <a:gd name="connsiteY1356" fmla="*/ 577426 h 3476625"/>
              <a:gd name="connsiteX1357" fmla="*/ 11660972 w 11991973"/>
              <a:gd name="connsiteY1357" fmla="*/ 1305535 h 3476625"/>
              <a:gd name="connsiteX1358" fmla="*/ 11290054 w 11991973"/>
              <a:gd name="connsiteY1358" fmla="*/ 1334488 h 3476625"/>
              <a:gd name="connsiteX1359" fmla="*/ 11198517 w 11991973"/>
              <a:gd name="connsiteY1359" fmla="*/ 1337087 h 3476625"/>
              <a:gd name="connsiteX1360" fmla="*/ 11256849 w 11991973"/>
              <a:gd name="connsiteY1360" fmla="*/ 1331125 h 3476625"/>
              <a:gd name="connsiteX1361" fmla="*/ 11345116 w 11991973"/>
              <a:gd name="connsiteY1361" fmla="*/ 1309075 h 3476625"/>
              <a:gd name="connsiteX1362" fmla="*/ 11352159 w 11991973"/>
              <a:gd name="connsiteY1362" fmla="*/ 1305643 h 3476625"/>
              <a:gd name="connsiteX1363" fmla="*/ 11463157 w 11991973"/>
              <a:gd name="connsiteY1363" fmla="*/ 1305353 h 3476625"/>
              <a:gd name="connsiteX1364" fmla="*/ 11660972 w 11991973"/>
              <a:gd name="connsiteY1364" fmla="*/ 1305535 h 3476625"/>
              <a:gd name="connsiteX1365" fmla="*/ 3267440 w 11991973"/>
              <a:gd name="connsiteY1365" fmla="*/ 555070 h 3476625"/>
              <a:gd name="connsiteX1366" fmla="*/ 3290447 w 11991973"/>
              <a:gd name="connsiteY1366" fmla="*/ 557933 h 3476625"/>
              <a:gd name="connsiteX1367" fmla="*/ 3267440 w 11991973"/>
              <a:gd name="connsiteY1367" fmla="*/ 555070 h 3476625"/>
              <a:gd name="connsiteX1368" fmla="*/ 3307981 w 11991973"/>
              <a:gd name="connsiteY1368" fmla="*/ 543212 h 3476625"/>
              <a:gd name="connsiteX1369" fmla="*/ 3300498 w 11991973"/>
              <a:gd name="connsiteY1369" fmla="*/ 544922 h 3476625"/>
              <a:gd name="connsiteX1370" fmla="*/ 3303673 w 11991973"/>
              <a:gd name="connsiteY1370" fmla="*/ 545881 h 3476625"/>
              <a:gd name="connsiteX1371" fmla="*/ 3307787 w 11991973"/>
              <a:gd name="connsiteY1371" fmla="*/ 545383 h 3476625"/>
              <a:gd name="connsiteX1372" fmla="*/ 3460497 w 11991973"/>
              <a:gd name="connsiteY1372" fmla="*/ 525571 h 3476625"/>
              <a:gd name="connsiteX1373" fmla="*/ 3460269 w 11991973"/>
              <a:gd name="connsiteY1373" fmla="*/ 531400 h 3476625"/>
              <a:gd name="connsiteX1374" fmla="*/ 3473663 w 11991973"/>
              <a:gd name="connsiteY1374" fmla="*/ 532593 h 3476625"/>
              <a:gd name="connsiteX1375" fmla="*/ 3476626 w 11991973"/>
              <a:gd name="connsiteY1375" fmla="*/ 528843 h 3476625"/>
              <a:gd name="connsiteX1376" fmla="*/ 3460497 w 11991973"/>
              <a:gd name="connsiteY1376" fmla="*/ 525571 h 3476625"/>
              <a:gd name="connsiteX1377" fmla="*/ 3621955 w 11991973"/>
              <a:gd name="connsiteY1377" fmla="*/ 537735 h 3476625"/>
              <a:gd name="connsiteX1378" fmla="*/ 3620183 w 11991973"/>
              <a:gd name="connsiteY1378" fmla="*/ 545586 h 3476625"/>
              <a:gd name="connsiteX1379" fmla="*/ 3620190 w 11991973"/>
              <a:gd name="connsiteY1379" fmla="*/ 545651 h 3476625"/>
              <a:gd name="connsiteX1380" fmla="*/ 3625049 w 11991973"/>
              <a:gd name="connsiteY1380" fmla="*/ 546083 h 3476625"/>
              <a:gd name="connsiteX1381" fmla="*/ 3625196 w 11991973"/>
              <a:gd name="connsiteY1381" fmla="*/ 540479 h 3476625"/>
              <a:gd name="connsiteX1382" fmla="*/ 3621955 w 11991973"/>
              <a:gd name="connsiteY1382" fmla="*/ 537735 h 3476625"/>
              <a:gd name="connsiteX1383" fmla="*/ 3566898 w 11991973"/>
              <a:gd name="connsiteY1383" fmla="*/ 517207 h 3476625"/>
              <a:gd name="connsiteX1384" fmla="*/ 3536808 w 11991973"/>
              <a:gd name="connsiteY1384" fmla="*/ 531752 h 3476625"/>
              <a:gd name="connsiteX1385" fmla="*/ 3566898 w 11991973"/>
              <a:gd name="connsiteY1385" fmla="*/ 517207 h 3476625"/>
              <a:gd name="connsiteX1386" fmla="*/ 3763449 w 11991973"/>
              <a:gd name="connsiteY1386" fmla="*/ 488618 h 3476625"/>
              <a:gd name="connsiteX1387" fmla="*/ 3756837 w 11991973"/>
              <a:gd name="connsiteY1387" fmla="*/ 493936 h 3476625"/>
              <a:gd name="connsiteX1388" fmla="*/ 3763449 w 11991973"/>
              <a:gd name="connsiteY1388" fmla="*/ 488618 h 3476625"/>
              <a:gd name="connsiteX1389" fmla="*/ 11721150 w 11991973"/>
              <a:gd name="connsiteY1389" fmla="*/ 1157179 h 3476625"/>
              <a:gd name="connsiteX1390" fmla="*/ 11698584 w 11991973"/>
              <a:gd name="connsiteY1390" fmla="*/ 1160088 h 3476625"/>
              <a:gd name="connsiteX1391" fmla="*/ 11721150 w 11991973"/>
              <a:gd name="connsiteY1391" fmla="*/ 1157179 h 3476625"/>
              <a:gd name="connsiteX1392" fmla="*/ 4079230 w 11991973"/>
              <a:gd name="connsiteY1392" fmla="*/ 458366 h 3476625"/>
              <a:gd name="connsiteX1393" fmla="*/ 4080172 w 11991973"/>
              <a:gd name="connsiteY1393" fmla="*/ 458950 h 3476625"/>
              <a:gd name="connsiteX1394" fmla="*/ 4077429 w 11991973"/>
              <a:gd name="connsiteY1394" fmla="*/ 459091 h 3476625"/>
              <a:gd name="connsiteX1395" fmla="*/ 11847637 w 11991973"/>
              <a:gd name="connsiteY1395" fmla="*/ 1046194 h 3476625"/>
              <a:gd name="connsiteX1396" fmla="*/ 11839774 w 11991973"/>
              <a:gd name="connsiteY1396" fmla="*/ 1046002 h 3476625"/>
              <a:gd name="connsiteX1397" fmla="*/ 11832105 w 11991973"/>
              <a:gd name="connsiteY1397" fmla="*/ 1058273 h 3476625"/>
              <a:gd name="connsiteX1398" fmla="*/ 11847637 w 11991973"/>
              <a:gd name="connsiteY1398" fmla="*/ 1046194 h 3476625"/>
              <a:gd name="connsiteX1399" fmla="*/ 4604983 w 11991973"/>
              <a:gd name="connsiteY1399" fmla="*/ 386304 h 3476625"/>
              <a:gd name="connsiteX1400" fmla="*/ 4621910 w 11991973"/>
              <a:gd name="connsiteY1400" fmla="*/ 400849 h 3476625"/>
              <a:gd name="connsiteX1401" fmla="*/ 4604983 w 11991973"/>
              <a:gd name="connsiteY1401" fmla="*/ 386304 h 3476625"/>
              <a:gd name="connsiteX1402" fmla="*/ 6636025 w 11991973"/>
              <a:gd name="connsiteY1402" fmla="*/ 563750 h 3476625"/>
              <a:gd name="connsiteX1403" fmla="*/ 6636025 w 11991973"/>
              <a:gd name="connsiteY1403" fmla="*/ 563750 h 3476625"/>
              <a:gd name="connsiteX1404" fmla="*/ 6602172 w 11991973"/>
              <a:gd name="connsiteY1404" fmla="*/ 552115 h 3476625"/>
              <a:gd name="connsiteX1405" fmla="*/ 6602172 w 11991973"/>
              <a:gd name="connsiteY1405" fmla="*/ 552115 h 3476625"/>
              <a:gd name="connsiteX1406" fmla="*/ 6660472 w 11991973"/>
              <a:gd name="connsiteY1406" fmla="*/ 552115 h 3476625"/>
              <a:gd name="connsiteX1407" fmla="*/ 6660472 w 11991973"/>
              <a:gd name="connsiteY1407" fmla="*/ 552115 h 3476625"/>
              <a:gd name="connsiteX1408" fmla="*/ 6690561 w 11991973"/>
              <a:gd name="connsiteY1408" fmla="*/ 546297 h 3476625"/>
              <a:gd name="connsiteX1409" fmla="*/ 6690561 w 11991973"/>
              <a:gd name="connsiteY1409" fmla="*/ 546297 h 3476625"/>
              <a:gd name="connsiteX1410" fmla="*/ 4734743 w 11991973"/>
              <a:gd name="connsiteY1410" fmla="*/ 368850 h 3476625"/>
              <a:gd name="connsiteX1411" fmla="*/ 4734743 w 11991973"/>
              <a:gd name="connsiteY1411" fmla="*/ 368850 h 3476625"/>
              <a:gd name="connsiteX1412" fmla="*/ 4791161 w 11991973"/>
              <a:gd name="connsiteY1412" fmla="*/ 365941 h 3476625"/>
              <a:gd name="connsiteX1413" fmla="*/ 4811849 w 11991973"/>
              <a:gd name="connsiteY1413" fmla="*/ 374669 h 3476625"/>
              <a:gd name="connsiteX1414" fmla="*/ 4791161 w 11991973"/>
              <a:gd name="connsiteY1414" fmla="*/ 365941 h 3476625"/>
              <a:gd name="connsiteX1415" fmla="*/ 6737576 w 11991973"/>
              <a:gd name="connsiteY1415" fmla="*/ 523025 h 3476625"/>
              <a:gd name="connsiteX1416" fmla="*/ 6737576 w 11991973"/>
              <a:gd name="connsiteY1416" fmla="*/ 523025 h 3476625"/>
              <a:gd name="connsiteX1417" fmla="*/ 6912470 w 11991973"/>
              <a:gd name="connsiteY1417" fmla="*/ 525934 h 3476625"/>
              <a:gd name="connsiteX1418" fmla="*/ 6905674 w 11991973"/>
              <a:gd name="connsiteY1418" fmla="*/ 536447 h 3476625"/>
              <a:gd name="connsiteX1419" fmla="*/ 6901187 w 11991973"/>
              <a:gd name="connsiteY1419" fmla="*/ 543388 h 3476625"/>
              <a:gd name="connsiteX1420" fmla="*/ 6899777 w 11991973"/>
              <a:gd name="connsiteY1420" fmla="*/ 545570 h 3476625"/>
              <a:gd name="connsiteX1421" fmla="*/ 6905674 w 11991973"/>
              <a:gd name="connsiteY1421" fmla="*/ 536447 h 3476625"/>
              <a:gd name="connsiteX1422" fmla="*/ 6908240 w 11991973"/>
              <a:gd name="connsiteY1422" fmla="*/ 532480 h 3476625"/>
              <a:gd name="connsiteX1423" fmla="*/ 6912470 w 11991973"/>
              <a:gd name="connsiteY1423" fmla="*/ 525934 h 3476625"/>
              <a:gd name="connsiteX1424" fmla="*/ 5045652 w 11991973"/>
              <a:gd name="connsiteY1424" fmla="*/ 336798 h 3476625"/>
              <a:gd name="connsiteX1425" fmla="*/ 5043340 w 11991973"/>
              <a:gd name="connsiteY1425" fmla="*/ 339066 h 3476625"/>
              <a:gd name="connsiteX1426" fmla="*/ 5042722 w 11991973"/>
              <a:gd name="connsiteY1426" fmla="*/ 337216 h 3476625"/>
              <a:gd name="connsiteX1427" fmla="*/ 11932719 w 11991973"/>
              <a:gd name="connsiteY1427" fmla="*/ 947156 h 3476625"/>
              <a:gd name="connsiteX1428" fmla="*/ 11935242 w 11991973"/>
              <a:gd name="connsiteY1428" fmla="*/ 951838 h 3476625"/>
              <a:gd name="connsiteX1429" fmla="*/ 11933655 w 11991973"/>
              <a:gd name="connsiteY1429" fmla="*/ 951324 h 3476625"/>
              <a:gd name="connsiteX1430" fmla="*/ 11931993 w 11991973"/>
              <a:gd name="connsiteY1430" fmla="*/ 947159 h 3476625"/>
              <a:gd name="connsiteX1431" fmla="*/ 5092321 w 11991973"/>
              <a:gd name="connsiteY1431" fmla="*/ 335398 h 3476625"/>
              <a:gd name="connsiteX1432" fmla="*/ 5075131 w 11991973"/>
              <a:gd name="connsiteY1432" fmla="*/ 348488 h 3476625"/>
              <a:gd name="connsiteX1433" fmla="*/ 5093937 w 11991973"/>
              <a:gd name="connsiteY1433" fmla="*/ 342669 h 3476625"/>
              <a:gd name="connsiteX1434" fmla="*/ 5092321 w 11991973"/>
              <a:gd name="connsiteY1434" fmla="*/ 335398 h 3476625"/>
              <a:gd name="connsiteX1435" fmla="*/ 11945589 w 11991973"/>
              <a:gd name="connsiteY1435" fmla="*/ 933371 h 3476625"/>
              <a:gd name="connsiteX1436" fmla="*/ 11952464 w 11991973"/>
              <a:gd name="connsiteY1436" fmla="*/ 944824 h 3476625"/>
              <a:gd name="connsiteX1437" fmla="*/ 11945589 w 11991973"/>
              <a:gd name="connsiteY1437" fmla="*/ 933371 h 3476625"/>
              <a:gd name="connsiteX1438" fmla="*/ 7284830 w 11991973"/>
              <a:gd name="connsiteY1438" fmla="*/ 508480 h 3476625"/>
              <a:gd name="connsiteX1439" fmla="*/ 7284830 w 11991973"/>
              <a:gd name="connsiteY1439" fmla="*/ 508480 h 3476625"/>
              <a:gd name="connsiteX1440" fmla="*/ 7311422 w 11991973"/>
              <a:gd name="connsiteY1440" fmla="*/ 509936 h 3476625"/>
              <a:gd name="connsiteX1441" fmla="*/ 7294232 w 11991973"/>
              <a:gd name="connsiteY1441" fmla="*/ 523025 h 3476625"/>
              <a:gd name="connsiteX1442" fmla="*/ 7313038 w 11991973"/>
              <a:gd name="connsiteY1442" fmla="*/ 517207 h 3476625"/>
              <a:gd name="connsiteX1443" fmla="*/ 7311422 w 11991973"/>
              <a:gd name="connsiteY1443" fmla="*/ 509936 h 3476625"/>
              <a:gd name="connsiteX1444" fmla="*/ 11345031 w 11991973"/>
              <a:gd name="connsiteY1444" fmla="*/ 854647 h 3476625"/>
              <a:gd name="connsiteX1445" fmla="*/ 11333923 w 11991973"/>
              <a:gd name="connsiteY1445" fmla="*/ 854237 h 3476625"/>
              <a:gd name="connsiteX1446" fmla="*/ 11345031 w 11991973"/>
              <a:gd name="connsiteY1446" fmla="*/ 854647 h 3476625"/>
              <a:gd name="connsiteX1447" fmla="*/ 11416494 w 11991973"/>
              <a:gd name="connsiteY1447" fmla="*/ 854647 h 3476625"/>
              <a:gd name="connsiteX1448" fmla="*/ 11397688 w 11991973"/>
              <a:gd name="connsiteY1448" fmla="*/ 857556 h 3476625"/>
              <a:gd name="connsiteX1449" fmla="*/ 11416494 w 11991973"/>
              <a:gd name="connsiteY1449" fmla="*/ 854647 h 3476625"/>
              <a:gd name="connsiteX1450" fmla="*/ 5350404 w 11991973"/>
              <a:gd name="connsiteY1450" fmla="*/ 295036 h 3476625"/>
              <a:gd name="connsiteX1451" fmla="*/ 5362861 w 11991973"/>
              <a:gd name="connsiteY1451" fmla="*/ 299036 h 3476625"/>
              <a:gd name="connsiteX1452" fmla="*/ 5336534 w 11991973"/>
              <a:gd name="connsiteY1452" fmla="*/ 301944 h 3476625"/>
              <a:gd name="connsiteX1453" fmla="*/ 5350404 w 11991973"/>
              <a:gd name="connsiteY1453" fmla="*/ 295036 h 3476625"/>
              <a:gd name="connsiteX1454" fmla="*/ 11815180 w 11991973"/>
              <a:gd name="connsiteY1454" fmla="*/ 863009 h 3476625"/>
              <a:gd name="connsiteX1455" fmla="*/ 11843388 w 11991973"/>
              <a:gd name="connsiteY1455" fmla="*/ 869191 h 3476625"/>
              <a:gd name="connsiteX1456" fmla="*/ 11801884 w 11991973"/>
              <a:gd name="connsiteY1456" fmla="*/ 873508 h 3476625"/>
              <a:gd name="connsiteX1457" fmla="*/ 7569504 w 11991973"/>
              <a:gd name="connsiteY1457" fmla="*/ 469574 h 3476625"/>
              <a:gd name="connsiteX1458" fmla="*/ 7581963 w 11991973"/>
              <a:gd name="connsiteY1458" fmla="*/ 473573 h 3476625"/>
              <a:gd name="connsiteX1459" fmla="*/ 7555634 w 11991973"/>
              <a:gd name="connsiteY1459" fmla="*/ 476482 h 3476625"/>
              <a:gd name="connsiteX1460" fmla="*/ 7569504 w 11991973"/>
              <a:gd name="connsiteY1460" fmla="*/ 469574 h 3476625"/>
              <a:gd name="connsiteX1461" fmla="*/ 6849472 w 11991973"/>
              <a:gd name="connsiteY1461" fmla="*/ 348851 h 3476625"/>
              <a:gd name="connsiteX1462" fmla="*/ 6841008 w 11991973"/>
              <a:gd name="connsiteY1462" fmla="*/ 357214 h 3476625"/>
              <a:gd name="connsiteX1463" fmla="*/ 6857934 w 11991973"/>
              <a:gd name="connsiteY1463" fmla="*/ 351397 h 3476625"/>
              <a:gd name="connsiteX1464" fmla="*/ 6849472 w 11991973"/>
              <a:gd name="connsiteY1464" fmla="*/ 348851 h 3476625"/>
              <a:gd name="connsiteX1465" fmla="*/ 10895161 w 11991973"/>
              <a:gd name="connsiteY1465" fmla="*/ 705801 h 3476625"/>
              <a:gd name="connsiteX1466" fmla="*/ 10888782 w 11991973"/>
              <a:gd name="connsiteY1466" fmla="*/ 705290 h 3476625"/>
              <a:gd name="connsiteX1467" fmla="*/ 10884285 w 11991973"/>
              <a:gd name="connsiteY1467" fmla="*/ 720834 h 3476625"/>
              <a:gd name="connsiteX1468" fmla="*/ 10895161 w 11991973"/>
              <a:gd name="connsiteY1468" fmla="*/ 705801 h 3476625"/>
              <a:gd name="connsiteX1469" fmla="*/ 10942291 w 11991973"/>
              <a:gd name="connsiteY1469" fmla="*/ 704653 h 3476625"/>
              <a:gd name="connsiteX1470" fmla="*/ 10957629 w 11991973"/>
              <a:gd name="connsiteY1470" fmla="*/ 706289 h 3476625"/>
              <a:gd name="connsiteX1471" fmla="*/ 10942291 w 11991973"/>
              <a:gd name="connsiteY1471" fmla="*/ 704653 h 3476625"/>
              <a:gd name="connsiteX1472" fmla="*/ 6833487 w 11991973"/>
              <a:gd name="connsiteY1472" fmla="*/ 322307 h 3476625"/>
              <a:gd name="connsiteX1473" fmla="*/ 6833487 w 11991973"/>
              <a:gd name="connsiteY1473" fmla="*/ 322307 h 3476625"/>
              <a:gd name="connsiteX1474" fmla="*/ 5777065 w 11991973"/>
              <a:gd name="connsiteY1474" fmla="*/ 227766 h 3476625"/>
              <a:gd name="connsiteX1475" fmla="*/ 5759667 w 11991973"/>
              <a:gd name="connsiteY1475" fmla="*/ 237947 h 3476625"/>
              <a:gd name="connsiteX1476" fmla="*/ 5785995 w 11991973"/>
              <a:gd name="connsiteY1476" fmla="*/ 235038 h 3476625"/>
              <a:gd name="connsiteX1477" fmla="*/ 5777065 w 11991973"/>
              <a:gd name="connsiteY1477" fmla="*/ 227766 h 3476625"/>
              <a:gd name="connsiteX1478" fmla="*/ 5806917 w 11991973"/>
              <a:gd name="connsiteY1478" fmla="*/ 220494 h 3476625"/>
              <a:gd name="connsiteX1479" fmla="*/ 5789759 w 11991973"/>
              <a:gd name="connsiteY1479" fmla="*/ 229220 h 3476625"/>
              <a:gd name="connsiteX1480" fmla="*/ 5825490 w 11991973"/>
              <a:gd name="connsiteY1480" fmla="*/ 229220 h 3476625"/>
              <a:gd name="connsiteX1481" fmla="*/ 5806917 w 11991973"/>
              <a:gd name="connsiteY1481" fmla="*/ 220494 h 3476625"/>
              <a:gd name="connsiteX1482" fmla="*/ 5771186 w 11991973"/>
              <a:gd name="connsiteY1482" fmla="*/ 214675 h 3476625"/>
              <a:gd name="connsiteX1483" fmla="*/ 5759054 w 11991973"/>
              <a:gd name="connsiteY1483" fmla="*/ 225413 h 3476625"/>
              <a:gd name="connsiteX1484" fmla="*/ 5749989 w 11991973"/>
              <a:gd name="connsiteY1484" fmla="*/ 229037 h 3476625"/>
              <a:gd name="connsiteX1485" fmla="*/ 5751763 w 11991973"/>
              <a:gd name="connsiteY1485" fmla="*/ 222403 h 3476625"/>
              <a:gd name="connsiteX1486" fmla="*/ 5771186 w 11991973"/>
              <a:gd name="connsiteY1486" fmla="*/ 214675 h 3476625"/>
              <a:gd name="connsiteX1487" fmla="*/ 9085262 w 11991973"/>
              <a:gd name="connsiteY1487" fmla="*/ 506890 h 3476625"/>
              <a:gd name="connsiteX1488" fmla="*/ 9093020 w 11991973"/>
              <a:gd name="connsiteY1488" fmla="*/ 514662 h 3476625"/>
              <a:gd name="connsiteX1489" fmla="*/ 9093390 w 11991973"/>
              <a:gd name="connsiteY1489" fmla="*/ 517884 h 3476625"/>
              <a:gd name="connsiteX1490" fmla="*/ 9091106 w 11991973"/>
              <a:gd name="connsiteY1490" fmla="*/ 517571 h 3476625"/>
              <a:gd name="connsiteX1491" fmla="*/ 9083601 w 11991973"/>
              <a:gd name="connsiteY1491" fmla="*/ 508068 h 3476625"/>
              <a:gd name="connsiteX1492" fmla="*/ 5840533 w 11991973"/>
              <a:gd name="connsiteY1492" fmla="*/ 217585 h 3476625"/>
              <a:gd name="connsiteX1493" fmla="*/ 5828897 w 11991973"/>
              <a:gd name="connsiteY1493" fmla="*/ 217585 h 3476625"/>
              <a:gd name="connsiteX1494" fmla="*/ 5840533 w 11991973"/>
              <a:gd name="connsiteY1494" fmla="*/ 217585 h 3476625"/>
              <a:gd name="connsiteX1495" fmla="*/ 9046828 w 11991973"/>
              <a:gd name="connsiteY1495" fmla="*/ 503117 h 3476625"/>
              <a:gd name="connsiteX1496" fmla="*/ 9056349 w 11991973"/>
              <a:gd name="connsiteY1496" fmla="*/ 505572 h 3476625"/>
              <a:gd name="connsiteX1497" fmla="*/ 9046828 w 11991973"/>
              <a:gd name="connsiteY1497" fmla="*/ 503117 h 3476625"/>
              <a:gd name="connsiteX1498" fmla="*/ 7996164 w 11991973"/>
              <a:gd name="connsiteY1498" fmla="*/ 402304 h 3476625"/>
              <a:gd name="connsiteX1499" fmla="*/ 7978768 w 11991973"/>
              <a:gd name="connsiteY1499" fmla="*/ 412485 h 3476625"/>
              <a:gd name="connsiteX1500" fmla="*/ 8005096 w 11991973"/>
              <a:gd name="connsiteY1500" fmla="*/ 409576 h 3476625"/>
              <a:gd name="connsiteX1501" fmla="*/ 7996164 w 11991973"/>
              <a:gd name="connsiteY1501" fmla="*/ 402304 h 3476625"/>
              <a:gd name="connsiteX1502" fmla="*/ 8026019 w 11991973"/>
              <a:gd name="connsiteY1502" fmla="*/ 395031 h 3476625"/>
              <a:gd name="connsiteX1503" fmla="*/ 8008858 w 11991973"/>
              <a:gd name="connsiteY1503" fmla="*/ 403757 h 3476625"/>
              <a:gd name="connsiteX1504" fmla="*/ 8044589 w 11991973"/>
              <a:gd name="connsiteY1504" fmla="*/ 403757 h 3476625"/>
              <a:gd name="connsiteX1505" fmla="*/ 8026019 w 11991973"/>
              <a:gd name="connsiteY1505" fmla="*/ 395031 h 3476625"/>
              <a:gd name="connsiteX1506" fmla="*/ 7986526 w 11991973"/>
              <a:gd name="connsiteY1506" fmla="*/ 389213 h 3476625"/>
              <a:gd name="connsiteX1507" fmla="*/ 7974394 w 11991973"/>
              <a:gd name="connsiteY1507" fmla="*/ 399951 h 3476625"/>
              <a:gd name="connsiteX1508" fmla="*/ 7965329 w 11991973"/>
              <a:gd name="connsiteY1508" fmla="*/ 403575 h 3476625"/>
              <a:gd name="connsiteX1509" fmla="*/ 7967103 w 11991973"/>
              <a:gd name="connsiteY1509" fmla="*/ 396940 h 3476625"/>
              <a:gd name="connsiteX1510" fmla="*/ 7986526 w 11991973"/>
              <a:gd name="connsiteY1510" fmla="*/ 389213 h 3476625"/>
              <a:gd name="connsiteX1511" fmla="*/ 8059634 w 11991973"/>
              <a:gd name="connsiteY1511" fmla="*/ 392121 h 3476625"/>
              <a:gd name="connsiteX1512" fmla="*/ 8059634 w 11991973"/>
              <a:gd name="connsiteY1512" fmla="*/ 392121 h 3476625"/>
              <a:gd name="connsiteX1513" fmla="*/ 11200227 w 11991973"/>
              <a:gd name="connsiteY1513" fmla="*/ 671382 h 3476625"/>
              <a:gd name="connsiteX1514" fmla="*/ 11200227 w 11991973"/>
              <a:gd name="connsiteY1514" fmla="*/ 671382 h 3476625"/>
              <a:gd name="connsiteX1515" fmla="*/ 11009972 w 11991973"/>
              <a:gd name="connsiteY1515" fmla="*/ 649672 h 3476625"/>
              <a:gd name="connsiteX1516" fmla="*/ 10976435 w 11991973"/>
              <a:gd name="connsiteY1516" fmla="*/ 706289 h 3476625"/>
              <a:gd name="connsiteX1517" fmla="*/ 11011971 w 11991973"/>
              <a:gd name="connsiteY1517" fmla="*/ 650809 h 3476625"/>
              <a:gd name="connsiteX1518" fmla="*/ 11009972 w 11991973"/>
              <a:gd name="connsiteY1518" fmla="*/ 649672 h 3476625"/>
              <a:gd name="connsiteX1519" fmla="*/ 9353482 w 11991973"/>
              <a:gd name="connsiteY1519" fmla="*/ 479391 h 3476625"/>
              <a:gd name="connsiteX1520" fmla="*/ 9353482 w 11991973"/>
              <a:gd name="connsiteY1520" fmla="*/ 479391 h 3476625"/>
              <a:gd name="connsiteX1521" fmla="*/ 9380075 w 11991973"/>
              <a:gd name="connsiteY1521" fmla="*/ 480846 h 3476625"/>
              <a:gd name="connsiteX1522" fmla="*/ 9362886 w 11991973"/>
              <a:gd name="connsiteY1522" fmla="*/ 493936 h 3476625"/>
              <a:gd name="connsiteX1523" fmla="*/ 9381691 w 11991973"/>
              <a:gd name="connsiteY1523" fmla="*/ 488118 h 3476625"/>
              <a:gd name="connsiteX1524" fmla="*/ 9380075 w 11991973"/>
              <a:gd name="connsiteY1524" fmla="*/ 480846 h 3476625"/>
              <a:gd name="connsiteX1525" fmla="*/ 6273069 w 11991973"/>
              <a:gd name="connsiteY1525" fmla="*/ 153588 h 3476625"/>
              <a:gd name="connsiteX1526" fmla="*/ 6272672 w 11991973"/>
              <a:gd name="connsiteY1526" fmla="*/ 154036 h 3476625"/>
              <a:gd name="connsiteX1527" fmla="*/ 6271620 w 11991973"/>
              <a:gd name="connsiteY1527" fmla="*/ 153887 h 3476625"/>
              <a:gd name="connsiteX1528" fmla="*/ 9638156 w 11991973"/>
              <a:gd name="connsiteY1528" fmla="*/ 440484 h 3476625"/>
              <a:gd name="connsiteX1529" fmla="*/ 9650616 w 11991973"/>
              <a:gd name="connsiteY1529" fmla="*/ 444483 h 3476625"/>
              <a:gd name="connsiteX1530" fmla="*/ 9624288 w 11991973"/>
              <a:gd name="connsiteY1530" fmla="*/ 447392 h 3476625"/>
              <a:gd name="connsiteX1531" fmla="*/ 9638156 w 11991973"/>
              <a:gd name="connsiteY1531" fmla="*/ 440484 h 3476625"/>
              <a:gd name="connsiteX1532" fmla="*/ 8492170 w 11991973"/>
              <a:gd name="connsiteY1532" fmla="*/ 328124 h 3476625"/>
              <a:gd name="connsiteX1533" fmla="*/ 8492045 w 11991973"/>
              <a:gd name="connsiteY1533" fmla="*/ 328266 h 3476625"/>
              <a:gd name="connsiteX1534" fmla="*/ 8491664 w 11991973"/>
              <a:gd name="connsiteY1534" fmla="*/ 328229 h 3476625"/>
              <a:gd name="connsiteX1535" fmla="*/ 6720651 w 11991973"/>
              <a:gd name="connsiteY1535" fmla="*/ 113589 h 3476625"/>
              <a:gd name="connsiteX1536" fmla="*/ 6709368 w 11991973"/>
              <a:gd name="connsiteY1536" fmla="*/ 118679 h 3476625"/>
              <a:gd name="connsiteX1537" fmla="*/ 6726293 w 11991973"/>
              <a:gd name="connsiteY1537" fmla="*/ 121589 h 3476625"/>
              <a:gd name="connsiteX1538" fmla="*/ 6720651 w 11991973"/>
              <a:gd name="connsiteY1538" fmla="*/ 113589 h 3476625"/>
              <a:gd name="connsiteX1539" fmla="*/ 6783356 w 11991973"/>
              <a:gd name="connsiteY1539" fmla="*/ 118862 h 3476625"/>
              <a:gd name="connsiteX1540" fmla="*/ 6756381 w 11991973"/>
              <a:gd name="connsiteY1540" fmla="*/ 130315 h 3476625"/>
              <a:gd name="connsiteX1541" fmla="*/ 6792112 w 11991973"/>
              <a:gd name="connsiteY1541" fmla="*/ 121589 h 3476625"/>
              <a:gd name="connsiteX1542" fmla="*/ 6783356 w 11991973"/>
              <a:gd name="connsiteY1542" fmla="*/ 118862 h 3476625"/>
              <a:gd name="connsiteX1543" fmla="*/ 6829725 w 11991973"/>
              <a:gd name="connsiteY1543" fmla="*/ 120134 h 3476625"/>
              <a:gd name="connsiteX1544" fmla="*/ 6820322 w 11991973"/>
              <a:gd name="connsiteY1544" fmla="*/ 124498 h 3476625"/>
              <a:gd name="connsiteX1545" fmla="*/ 6839127 w 11991973"/>
              <a:gd name="connsiteY1545" fmla="*/ 124498 h 3476625"/>
              <a:gd name="connsiteX1546" fmla="*/ 6829725 w 11991973"/>
              <a:gd name="connsiteY1546" fmla="*/ 120134 h 3476625"/>
              <a:gd name="connsiteX1547" fmla="*/ 7252124 w 11991973"/>
              <a:gd name="connsiteY1547" fmla="*/ 152587 h 3476625"/>
              <a:gd name="connsiteX1548" fmla="*/ 7239694 w 11991973"/>
              <a:gd name="connsiteY1548" fmla="*/ 168133 h 3476625"/>
              <a:gd name="connsiteX1549" fmla="*/ 7258501 w 11991973"/>
              <a:gd name="connsiteY1549" fmla="*/ 153588 h 3476625"/>
              <a:gd name="connsiteX1550" fmla="*/ 7252124 w 11991973"/>
              <a:gd name="connsiteY1550" fmla="*/ 152587 h 3476625"/>
              <a:gd name="connsiteX1551" fmla="*/ 11137226 w 11991973"/>
              <a:gd name="connsiteY1551" fmla="*/ 494300 h 3476625"/>
              <a:gd name="connsiteX1552" fmla="*/ 11128763 w 11991973"/>
              <a:gd name="connsiteY1552" fmla="*/ 502662 h 3476625"/>
              <a:gd name="connsiteX1553" fmla="*/ 11145689 w 11991973"/>
              <a:gd name="connsiteY1553" fmla="*/ 496844 h 3476625"/>
              <a:gd name="connsiteX1554" fmla="*/ 11137226 w 11991973"/>
              <a:gd name="connsiteY1554" fmla="*/ 494300 h 3476625"/>
              <a:gd name="connsiteX1555" fmla="*/ 6447054 w 11991973"/>
              <a:gd name="connsiteY1555" fmla="*/ 74636 h 3476625"/>
              <a:gd name="connsiteX1556" fmla="*/ 6440442 w 11991973"/>
              <a:gd name="connsiteY1556" fmla="*/ 75046 h 3476625"/>
              <a:gd name="connsiteX1557" fmla="*/ 6447054 w 11991973"/>
              <a:gd name="connsiteY1557" fmla="*/ 74636 h 3476625"/>
              <a:gd name="connsiteX1558" fmla="*/ 8939752 w 11991973"/>
              <a:gd name="connsiteY1558" fmla="*/ 288127 h 3476625"/>
              <a:gd name="connsiteX1559" fmla="*/ 8928468 w 11991973"/>
              <a:gd name="connsiteY1559" fmla="*/ 293217 h 3476625"/>
              <a:gd name="connsiteX1560" fmla="*/ 8945393 w 11991973"/>
              <a:gd name="connsiteY1560" fmla="*/ 296127 h 3476625"/>
              <a:gd name="connsiteX1561" fmla="*/ 8939752 w 11991973"/>
              <a:gd name="connsiteY1561" fmla="*/ 288127 h 3476625"/>
              <a:gd name="connsiteX1562" fmla="*/ 9002457 w 11991973"/>
              <a:gd name="connsiteY1562" fmla="*/ 293399 h 3476625"/>
              <a:gd name="connsiteX1563" fmla="*/ 8993348 w 11991973"/>
              <a:gd name="connsiteY1563" fmla="*/ 296127 h 3476625"/>
              <a:gd name="connsiteX1564" fmla="*/ 8975483 w 11991973"/>
              <a:gd name="connsiteY1564" fmla="*/ 304853 h 3476625"/>
              <a:gd name="connsiteX1565" fmla="*/ 9011214 w 11991973"/>
              <a:gd name="connsiteY1565" fmla="*/ 296127 h 3476625"/>
              <a:gd name="connsiteX1566" fmla="*/ 9002457 w 11991973"/>
              <a:gd name="connsiteY1566" fmla="*/ 293399 h 3476625"/>
              <a:gd name="connsiteX1567" fmla="*/ 9048826 w 11991973"/>
              <a:gd name="connsiteY1567" fmla="*/ 294672 h 3476625"/>
              <a:gd name="connsiteX1568" fmla="*/ 9039423 w 11991973"/>
              <a:gd name="connsiteY1568" fmla="*/ 299036 h 3476625"/>
              <a:gd name="connsiteX1569" fmla="*/ 9058229 w 11991973"/>
              <a:gd name="connsiteY1569" fmla="*/ 299036 h 3476625"/>
              <a:gd name="connsiteX1570" fmla="*/ 9048826 w 11991973"/>
              <a:gd name="connsiteY1570" fmla="*/ 294672 h 3476625"/>
              <a:gd name="connsiteX1571" fmla="*/ 9471225 w 11991973"/>
              <a:gd name="connsiteY1571" fmla="*/ 327125 h 3476625"/>
              <a:gd name="connsiteX1572" fmla="*/ 9458795 w 11991973"/>
              <a:gd name="connsiteY1572" fmla="*/ 342669 h 3476625"/>
              <a:gd name="connsiteX1573" fmla="*/ 9477601 w 11991973"/>
              <a:gd name="connsiteY1573" fmla="*/ 328125 h 3476625"/>
              <a:gd name="connsiteX1574" fmla="*/ 9471225 w 11991973"/>
              <a:gd name="connsiteY1574" fmla="*/ 327125 h 3476625"/>
              <a:gd name="connsiteX1575" fmla="*/ 8666155 w 11991973"/>
              <a:gd name="connsiteY1575" fmla="*/ 249174 h 3476625"/>
              <a:gd name="connsiteX1576" fmla="*/ 8659543 w 11991973"/>
              <a:gd name="connsiteY1576" fmla="*/ 249582 h 3476625"/>
              <a:gd name="connsiteX1577" fmla="*/ 8666155 w 11991973"/>
              <a:gd name="connsiteY1577" fmla="*/ 249174 h 3476625"/>
              <a:gd name="connsiteX1578" fmla="*/ 11121241 w 11991973"/>
              <a:gd name="connsiteY1578" fmla="*/ 467755 h 3476625"/>
              <a:gd name="connsiteX1579" fmla="*/ 11121241 w 11991973"/>
              <a:gd name="connsiteY1579" fmla="*/ 467755 h 3476625"/>
              <a:gd name="connsiteX1580" fmla="*/ 10064817 w 11991973"/>
              <a:gd name="connsiteY1580" fmla="*/ 373214 h 3476625"/>
              <a:gd name="connsiteX1581" fmla="*/ 10047421 w 11991973"/>
              <a:gd name="connsiteY1581" fmla="*/ 383395 h 3476625"/>
              <a:gd name="connsiteX1582" fmla="*/ 10073750 w 11991973"/>
              <a:gd name="connsiteY1582" fmla="*/ 380486 h 3476625"/>
              <a:gd name="connsiteX1583" fmla="*/ 10064817 w 11991973"/>
              <a:gd name="connsiteY1583" fmla="*/ 373214 h 3476625"/>
              <a:gd name="connsiteX1584" fmla="*/ 6856053 w 11991973"/>
              <a:gd name="connsiteY1584" fmla="*/ 86681 h 3476625"/>
              <a:gd name="connsiteX1585" fmla="*/ 6893665 w 11991973"/>
              <a:gd name="connsiteY1585" fmla="*/ 118679 h 3476625"/>
              <a:gd name="connsiteX1586" fmla="*/ 6856053 w 11991973"/>
              <a:gd name="connsiteY1586" fmla="*/ 86681 h 3476625"/>
              <a:gd name="connsiteX1587" fmla="*/ 10094671 w 11991973"/>
              <a:gd name="connsiteY1587" fmla="*/ 365942 h 3476625"/>
              <a:gd name="connsiteX1588" fmla="*/ 10077512 w 11991973"/>
              <a:gd name="connsiteY1588" fmla="*/ 374668 h 3476625"/>
              <a:gd name="connsiteX1589" fmla="*/ 10113242 w 11991973"/>
              <a:gd name="connsiteY1589" fmla="*/ 374668 h 3476625"/>
              <a:gd name="connsiteX1590" fmla="*/ 10094671 w 11991973"/>
              <a:gd name="connsiteY1590" fmla="*/ 365942 h 3476625"/>
              <a:gd name="connsiteX1591" fmla="*/ 10051417 w 11991973"/>
              <a:gd name="connsiteY1591" fmla="*/ 360124 h 3476625"/>
              <a:gd name="connsiteX1592" fmla="*/ 10039286 w 11991973"/>
              <a:gd name="connsiteY1592" fmla="*/ 370861 h 3476625"/>
              <a:gd name="connsiteX1593" fmla="*/ 10030219 w 11991973"/>
              <a:gd name="connsiteY1593" fmla="*/ 374485 h 3476625"/>
              <a:gd name="connsiteX1594" fmla="*/ 10031994 w 11991973"/>
              <a:gd name="connsiteY1594" fmla="*/ 367851 h 3476625"/>
              <a:gd name="connsiteX1595" fmla="*/ 10051417 w 11991973"/>
              <a:gd name="connsiteY1595" fmla="*/ 360124 h 3476625"/>
              <a:gd name="connsiteX1596" fmla="*/ 10128288 w 11991973"/>
              <a:gd name="connsiteY1596" fmla="*/ 363033 h 3476625"/>
              <a:gd name="connsiteX1597" fmla="*/ 10116651 w 11991973"/>
              <a:gd name="connsiteY1597" fmla="*/ 363033 h 3476625"/>
              <a:gd name="connsiteX1598" fmla="*/ 10128288 w 11991973"/>
              <a:gd name="connsiteY1598" fmla="*/ 363033 h 3476625"/>
              <a:gd name="connsiteX1599" fmla="*/ 9075154 w 11991973"/>
              <a:gd name="connsiteY1599" fmla="*/ 261218 h 3476625"/>
              <a:gd name="connsiteX1600" fmla="*/ 9112766 w 11991973"/>
              <a:gd name="connsiteY1600" fmla="*/ 293217 h 3476625"/>
              <a:gd name="connsiteX1601" fmla="*/ 9075154 w 11991973"/>
              <a:gd name="connsiteY1601" fmla="*/ 261218 h 3476625"/>
              <a:gd name="connsiteX1602" fmla="*/ 10560824 w 11991973"/>
              <a:gd name="connsiteY1602" fmla="*/ 299036 h 3476625"/>
              <a:gd name="connsiteX1603" fmla="*/ 10560404 w 11991973"/>
              <a:gd name="connsiteY1603" fmla="*/ 299510 h 3476625"/>
              <a:gd name="connsiteX1604" fmla="*/ 10559124 w 11991973"/>
              <a:gd name="connsiteY1604" fmla="*/ 299386 h 3476625"/>
              <a:gd name="connsiteX1605" fmla="*/ 11008405 w 11991973"/>
              <a:gd name="connsiteY1605" fmla="*/ 259038 h 3476625"/>
              <a:gd name="connsiteX1606" fmla="*/ 10997121 w 11991973"/>
              <a:gd name="connsiteY1606" fmla="*/ 264127 h 3476625"/>
              <a:gd name="connsiteX1607" fmla="*/ 11014047 w 11991973"/>
              <a:gd name="connsiteY1607" fmla="*/ 267037 h 3476625"/>
              <a:gd name="connsiteX1608" fmla="*/ 11008405 w 11991973"/>
              <a:gd name="connsiteY1608" fmla="*/ 259038 h 3476625"/>
              <a:gd name="connsiteX1609" fmla="*/ 11071112 w 11991973"/>
              <a:gd name="connsiteY1609" fmla="*/ 264310 h 3476625"/>
              <a:gd name="connsiteX1610" fmla="*/ 11044136 w 11991973"/>
              <a:gd name="connsiteY1610" fmla="*/ 275763 h 3476625"/>
              <a:gd name="connsiteX1611" fmla="*/ 11079868 w 11991973"/>
              <a:gd name="connsiteY1611" fmla="*/ 267037 h 3476625"/>
              <a:gd name="connsiteX1612" fmla="*/ 11071112 w 11991973"/>
              <a:gd name="connsiteY1612" fmla="*/ 264310 h 3476625"/>
              <a:gd name="connsiteX1613" fmla="*/ 11117480 w 11991973"/>
              <a:gd name="connsiteY1613" fmla="*/ 265582 h 3476625"/>
              <a:gd name="connsiteX1614" fmla="*/ 11108076 w 11991973"/>
              <a:gd name="connsiteY1614" fmla="*/ 269946 h 3476625"/>
              <a:gd name="connsiteX1615" fmla="*/ 11126883 w 11991973"/>
              <a:gd name="connsiteY1615" fmla="*/ 269946 h 3476625"/>
              <a:gd name="connsiteX1616" fmla="*/ 11117480 w 11991973"/>
              <a:gd name="connsiteY1616" fmla="*/ 265582 h 3476625"/>
              <a:gd name="connsiteX1617" fmla="*/ 11539878 w 11991973"/>
              <a:gd name="connsiteY1617" fmla="*/ 298036 h 3476625"/>
              <a:gd name="connsiteX1618" fmla="*/ 11527449 w 11991973"/>
              <a:gd name="connsiteY1618" fmla="*/ 313580 h 3476625"/>
              <a:gd name="connsiteX1619" fmla="*/ 11546255 w 11991973"/>
              <a:gd name="connsiteY1619" fmla="*/ 299036 h 3476625"/>
              <a:gd name="connsiteX1620" fmla="*/ 11539878 w 11991973"/>
              <a:gd name="connsiteY1620" fmla="*/ 298036 h 3476625"/>
              <a:gd name="connsiteX1621" fmla="*/ 11143808 w 11991973"/>
              <a:gd name="connsiteY1621" fmla="*/ 232130 h 3476625"/>
              <a:gd name="connsiteX1622" fmla="*/ 11181421 w 11991973"/>
              <a:gd name="connsiteY1622" fmla="*/ 264128 h 3476625"/>
              <a:gd name="connsiteX1623" fmla="*/ 11143808 w 11991973"/>
              <a:gd name="connsiteY1623" fmla="*/ 232130 h 3476625"/>
              <a:gd name="connsiteX1624" fmla="*/ 11465295 w 11991973"/>
              <a:gd name="connsiteY1624" fmla="*/ 170990 h 3476625"/>
              <a:gd name="connsiteX1625" fmla="*/ 11412733 w 11991973"/>
              <a:gd name="connsiteY1625" fmla="*/ 237947 h 3476625"/>
              <a:gd name="connsiteX1626" fmla="*/ 11704225 w 11991973"/>
              <a:gd name="connsiteY1626" fmla="*/ 252492 h 3476625"/>
              <a:gd name="connsiteX1627" fmla="*/ 11416494 w 11991973"/>
              <a:gd name="connsiteY1627" fmla="*/ 377578 h 3476625"/>
              <a:gd name="connsiteX1628" fmla="*/ 11141928 w 11991973"/>
              <a:gd name="connsiteY1628" fmla="*/ 470663 h 3476625"/>
              <a:gd name="connsiteX1629" fmla="*/ 11220912 w 11991973"/>
              <a:gd name="connsiteY1629" fmla="*/ 496844 h 3476625"/>
              <a:gd name="connsiteX1630" fmla="*/ 11416494 w 11991973"/>
              <a:gd name="connsiteY1630" fmla="*/ 534660 h 3476625"/>
              <a:gd name="connsiteX1631" fmla="*/ 11183300 w 11991973"/>
              <a:gd name="connsiteY1631" fmla="*/ 607385 h 3476625"/>
              <a:gd name="connsiteX1632" fmla="*/ 11113718 w 11991973"/>
              <a:gd name="connsiteY1632" fmla="*/ 624839 h 3476625"/>
              <a:gd name="connsiteX1633" fmla="*/ 11023450 w 11991973"/>
              <a:gd name="connsiteY1633" fmla="*/ 677200 h 3476625"/>
              <a:gd name="connsiteX1634" fmla="*/ 11059181 w 11991973"/>
              <a:gd name="connsiteY1634" fmla="*/ 659746 h 3476625"/>
              <a:gd name="connsiteX1635" fmla="*/ 11044136 w 11991973"/>
              <a:gd name="connsiteY1635" fmla="*/ 712108 h 3476625"/>
              <a:gd name="connsiteX1636" fmla="*/ 11329987 w 11991973"/>
              <a:gd name="connsiteY1636" fmla="*/ 616112 h 3476625"/>
              <a:gd name="connsiteX1637" fmla="*/ 11412733 w 11991973"/>
              <a:gd name="connsiteY1637" fmla="*/ 645201 h 3476625"/>
              <a:gd name="connsiteX1638" fmla="*/ 11407092 w 11991973"/>
              <a:gd name="connsiteY1638" fmla="*/ 668473 h 3476625"/>
              <a:gd name="connsiteX1639" fmla="*/ 11066703 w 11991973"/>
              <a:gd name="connsiteY1639" fmla="*/ 845920 h 3476625"/>
              <a:gd name="connsiteX1640" fmla="*/ 11773839 w 11991973"/>
              <a:gd name="connsiteY1640" fmla="*/ 876425 h 3476625"/>
              <a:gd name="connsiteX1641" fmla="*/ 11801884 w 11991973"/>
              <a:gd name="connsiteY1641" fmla="*/ 873508 h 3476625"/>
              <a:gd name="connsiteX1642" fmla="*/ 11792613 w 11991973"/>
              <a:gd name="connsiteY1642" fmla="*/ 880827 h 3476625"/>
              <a:gd name="connsiteX1643" fmla="*/ 11975030 w 11991973"/>
              <a:gd name="connsiteY1643" fmla="*/ 939006 h 3476625"/>
              <a:gd name="connsiteX1644" fmla="*/ 11956695 w 11991973"/>
              <a:gd name="connsiteY1644" fmla="*/ 947006 h 3476625"/>
              <a:gd name="connsiteX1645" fmla="*/ 11932719 w 11991973"/>
              <a:gd name="connsiteY1645" fmla="*/ 947156 h 3476625"/>
              <a:gd name="connsiteX1646" fmla="*/ 11929896 w 11991973"/>
              <a:gd name="connsiteY1646" fmla="*/ 941915 h 3476625"/>
              <a:gd name="connsiteX1647" fmla="*/ 11931993 w 11991973"/>
              <a:gd name="connsiteY1647" fmla="*/ 947159 h 3476625"/>
              <a:gd name="connsiteX1648" fmla="*/ 11927429 w 11991973"/>
              <a:gd name="connsiteY1648" fmla="*/ 947187 h 3476625"/>
              <a:gd name="connsiteX1649" fmla="*/ 11907330 w 11991973"/>
              <a:gd name="connsiteY1649" fmla="*/ 950643 h 3476625"/>
              <a:gd name="connsiteX1650" fmla="*/ 11936948 w 11991973"/>
              <a:gd name="connsiteY1650" fmla="*/ 955005 h 3476625"/>
              <a:gd name="connsiteX1651" fmla="*/ 11935242 w 11991973"/>
              <a:gd name="connsiteY1651" fmla="*/ 951838 h 3476625"/>
              <a:gd name="connsiteX1652" fmla="*/ 11941649 w 11991973"/>
              <a:gd name="connsiteY1652" fmla="*/ 953916 h 3476625"/>
              <a:gd name="connsiteX1653" fmla="*/ 11967507 w 11991973"/>
              <a:gd name="connsiteY1653" fmla="*/ 968096 h 3476625"/>
              <a:gd name="connsiteX1654" fmla="*/ 11975030 w 11991973"/>
              <a:gd name="connsiteY1654" fmla="*/ 982641 h 3476625"/>
              <a:gd name="connsiteX1655" fmla="*/ 11723028 w 11991973"/>
              <a:gd name="connsiteY1655" fmla="*/ 1116453 h 3476625"/>
              <a:gd name="connsiteX1656" fmla="*/ 11775688 w 11991973"/>
              <a:gd name="connsiteY1656" fmla="*/ 1148451 h 3476625"/>
              <a:gd name="connsiteX1657" fmla="*/ 11525568 w 11991973"/>
              <a:gd name="connsiteY1657" fmla="*/ 1232811 h 3476625"/>
              <a:gd name="connsiteX1658" fmla="*/ 11371360 w 11991973"/>
              <a:gd name="connsiteY1658" fmla="*/ 1256083 h 3476625"/>
              <a:gd name="connsiteX1659" fmla="*/ 11424016 w 11991973"/>
              <a:gd name="connsiteY1659" fmla="*/ 1270627 h 3476625"/>
              <a:gd name="connsiteX1660" fmla="*/ 11352159 w 11991973"/>
              <a:gd name="connsiteY1660" fmla="*/ 1305643 h 3476625"/>
              <a:gd name="connsiteX1661" fmla="*/ 11315192 w 11991973"/>
              <a:gd name="connsiteY1661" fmla="*/ 1305740 h 3476625"/>
              <a:gd name="connsiteX1662" fmla="*/ 10868654 w 11991973"/>
              <a:gd name="connsiteY1662" fmla="*/ 1326807 h 3476625"/>
              <a:gd name="connsiteX1663" fmla="*/ 10816609 w 11991973"/>
              <a:gd name="connsiteY1663" fmla="*/ 1336928 h 3476625"/>
              <a:gd name="connsiteX1664" fmla="*/ 10766811 w 11991973"/>
              <a:gd name="connsiteY1664" fmla="*/ 1337403 h 3476625"/>
              <a:gd name="connsiteX1665" fmla="*/ 10713377 w 11991973"/>
              <a:gd name="connsiteY1665" fmla="*/ 1342698 h 3476625"/>
              <a:gd name="connsiteX1666" fmla="*/ 10702574 w 11991973"/>
              <a:gd name="connsiteY1666" fmla="*/ 1337670 h 3476625"/>
              <a:gd name="connsiteX1667" fmla="*/ 10700179 w 11991973"/>
              <a:gd name="connsiteY1667" fmla="*/ 1341221 h 3476625"/>
              <a:gd name="connsiteX1668" fmla="*/ 10701370 w 11991973"/>
              <a:gd name="connsiteY1668" fmla="*/ 1343888 h 3476625"/>
              <a:gd name="connsiteX1669" fmla="*/ 10677420 w 11991973"/>
              <a:gd name="connsiteY1669" fmla="*/ 1346260 h 3476625"/>
              <a:gd name="connsiteX1670" fmla="*/ 10706647 w 11991973"/>
              <a:gd name="connsiteY1670" fmla="*/ 1353324 h 3476625"/>
              <a:gd name="connsiteX1671" fmla="*/ 10712794 w 11991973"/>
              <a:gd name="connsiteY1671" fmla="*/ 1361085 h 3476625"/>
              <a:gd name="connsiteX1672" fmla="*/ 10540460 w 11991973"/>
              <a:gd name="connsiteY1672" fmla="*/ 1386941 h 3476625"/>
              <a:gd name="connsiteX1673" fmla="*/ 10479508 w 11991973"/>
              <a:gd name="connsiteY1673" fmla="*/ 1402943 h 3476625"/>
              <a:gd name="connsiteX1674" fmla="*/ 10428007 w 11991973"/>
              <a:gd name="connsiteY1674" fmla="*/ 1408076 h 3476625"/>
              <a:gd name="connsiteX1675" fmla="*/ 10321988 w 11991973"/>
              <a:gd name="connsiteY1675" fmla="*/ 1430621 h 3476625"/>
              <a:gd name="connsiteX1676" fmla="*/ 10190347 w 11991973"/>
              <a:gd name="connsiteY1676" fmla="*/ 1413167 h 3476625"/>
              <a:gd name="connsiteX1677" fmla="*/ 10139570 w 11991973"/>
              <a:gd name="connsiteY1677" fmla="*/ 1430621 h 3476625"/>
              <a:gd name="connsiteX1678" fmla="*/ 10143432 w 11991973"/>
              <a:gd name="connsiteY1678" fmla="*/ 1423104 h 3476625"/>
              <a:gd name="connsiteX1679" fmla="*/ 10154615 w 11991973"/>
              <a:gd name="connsiteY1679" fmla="*/ 1418985 h 3476625"/>
              <a:gd name="connsiteX1680" fmla="*/ 10145786 w 11991973"/>
              <a:gd name="connsiteY1680" fmla="*/ 1416556 h 3476625"/>
              <a:gd name="connsiteX1681" fmla="*/ 10145095 w 11991973"/>
              <a:gd name="connsiteY1681" fmla="*/ 1413257 h 3476625"/>
              <a:gd name="connsiteX1682" fmla="*/ 10139793 w 11991973"/>
              <a:gd name="connsiteY1682" fmla="*/ 1415447 h 3476625"/>
              <a:gd name="connsiteX1683" fmla="*/ 10111097 w 11991973"/>
              <a:gd name="connsiteY1683" fmla="*/ 1419712 h 3476625"/>
              <a:gd name="connsiteX1684" fmla="*/ 9891332 w 11991973"/>
              <a:gd name="connsiteY1684" fmla="*/ 1465528 h 3476625"/>
              <a:gd name="connsiteX1685" fmla="*/ 9742765 w 11991973"/>
              <a:gd name="connsiteY1685" fmla="*/ 1514980 h 3476625"/>
              <a:gd name="connsiteX1686" fmla="*/ 9740885 w 11991973"/>
              <a:gd name="connsiteY1686" fmla="*/ 1538252 h 3476625"/>
              <a:gd name="connsiteX1687" fmla="*/ 9791661 w 11991973"/>
              <a:gd name="connsiteY1687" fmla="*/ 1532434 h 3476625"/>
              <a:gd name="connsiteX1688" fmla="*/ 10179357 w 11991973"/>
              <a:gd name="connsiteY1688" fmla="*/ 1440802 h 3476625"/>
              <a:gd name="connsiteX1689" fmla="*/ 10222719 w 11991973"/>
              <a:gd name="connsiteY1689" fmla="*/ 1428244 h 3476625"/>
              <a:gd name="connsiteX1690" fmla="*/ 10236204 w 11991973"/>
              <a:gd name="connsiteY1690" fmla="*/ 1446046 h 3476625"/>
              <a:gd name="connsiteX1691" fmla="*/ 10268186 w 11991973"/>
              <a:gd name="connsiteY1691" fmla="*/ 1452757 h 3476625"/>
              <a:gd name="connsiteX1692" fmla="*/ 10331135 w 11991973"/>
              <a:gd name="connsiteY1692" fmla="*/ 1445968 h 3476625"/>
              <a:gd name="connsiteX1693" fmla="*/ 10179063 w 11991973"/>
              <a:gd name="connsiteY1693" fmla="*/ 1509163 h 3476625"/>
              <a:gd name="connsiteX1694" fmla="*/ 10380286 w 11991973"/>
              <a:gd name="connsiteY1694" fmla="*/ 1500435 h 3476625"/>
              <a:gd name="connsiteX1695" fmla="*/ 10306944 w 11991973"/>
              <a:gd name="connsiteY1695" fmla="*/ 1523708 h 3476625"/>
              <a:gd name="connsiteX1696" fmla="*/ 10324689 w 11991973"/>
              <a:gd name="connsiteY1696" fmla="*/ 1544459 h 3476625"/>
              <a:gd name="connsiteX1697" fmla="*/ 10317813 w 11991973"/>
              <a:gd name="connsiteY1697" fmla="*/ 1547968 h 3476625"/>
              <a:gd name="connsiteX1698" fmla="*/ 10317051 w 11991973"/>
              <a:gd name="connsiteY1698" fmla="*/ 1564433 h 3476625"/>
              <a:gd name="connsiteX1699" fmla="*/ 10335884 w 11991973"/>
              <a:gd name="connsiteY1699" fmla="*/ 1562221 h 3476625"/>
              <a:gd name="connsiteX1700" fmla="*/ 10329510 w 11991973"/>
              <a:gd name="connsiteY1700" fmla="*/ 1564432 h 3476625"/>
              <a:gd name="connsiteX1701" fmla="*/ 10341053 w 11991973"/>
              <a:gd name="connsiteY1701" fmla="*/ 1561917 h 3476625"/>
              <a:gd name="connsiteX1702" fmla="*/ 10347212 w 11991973"/>
              <a:gd name="connsiteY1702" fmla="*/ 1567290 h 3476625"/>
              <a:gd name="connsiteX1703" fmla="*/ 10312673 w 11991973"/>
              <a:gd name="connsiteY1703" fmla="*/ 1566796 h 3476625"/>
              <a:gd name="connsiteX1704" fmla="*/ 10291899 w 11991973"/>
              <a:gd name="connsiteY1704" fmla="*/ 1567341 h 3476625"/>
              <a:gd name="connsiteX1705" fmla="*/ 10308314 w 11991973"/>
              <a:gd name="connsiteY1705" fmla="*/ 1581373 h 3476625"/>
              <a:gd name="connsiteX1706" fmla="*/ 10303946 w 11991973"/>
              <a:gd name="connsiteY1706" fmla="*/ 1585750 h 3476625"/>
              <a:gd name="connsiteX1707" fmla="*/ 10267450 w 11991973"/>
              <a:gd name="connsiteY1707" fmla="*/ 1619702 h 3476625"/>
              <a:gd name="connsiteX1708" fmla="*/ 10927540 w 11991973"/>
              <a:gd name="connsiteY1708" fmla="*/ 1523708 h 3476625"/>
              <a:gd name="connsiteX1709" fmla="*/ 10914376 w 11991973"/>
              <a:gd name="connsiteY1709" fmla="*/ 1561524 h 3476625"/>
              <a:gd name="connsiteX1710" fmla="*/ 11044136 w 11991973"/>
              <a:gd name="connsiteY1710" fmla="*/ 1549888 h 3476625"/>
              <a:gd name="connsiteX1711" fmla="*/ 11000881 w 11991973"/>
              <a:gd name="connsiteY1711" fmla="*/ 1602249 h 3476625"/>
              <a:gd name="connsiteX1712" fmla="*/ 11318703 w 11991973"/>
              <a:gd name="connsiteY1712" fmla="*/ 1590614 h 3476625"/>
              <a:gd name="connsiteX1713" fmla="*/ 11294256 w 11991973"/>
              <a:gd name="connsiteY1713" fmla="*/ 1634248 h 3476625"/>
              <a:gd name="connsiteX1714" fmla="*/ 11365718 w 11991973"/>
              <a:gd name="connsiteY1714" fmla="*/ 1651702 h 3476625"/>
              <a:gd name="connsiteX1715" fmla="*/ 11331779 w 11991973"/>
              <a:gd name="connsiteY1715" fmla="*/ 1668929 h 3476625"/>
              <a:gd name="connsiteX1716" fmla="*/ 11307517 w 11991973"/>
              <a:gd name="connsiteY1716" fmla="*/ 1663054 h 3476625"/>
              <a:gd name="connsiteX1717" fmla="*/ 11301983 w 11991973"/>
              <a:gd name="connsiteY1717" fmla="*/ 1658656 h 3476625"/>
              <a:gd name="connsiteX1718" fmla="*/ 11307185 w 11991973"/>
              <a:gd name="connsiteY1718" fmla="*/ 1662974 h 3476625"/>
              <a:gd name="connsiteX1719" fmla="*/ 11307517 w 11991973"/>
              <a:gd name="connsiteY1719" fmla="*/ 1663054 h 3476625"/>
              <a:gd name="connsiteX1720" fmla="*/ 11309795 w 11991973"/>
              <a:gd name="connsiteY1720" fmla="*/ 1664866 h 3476625"/>
              <a:gd name="connsiteX1721" fmla="*/ 11326225 w 11991973"/>
              <a:gd name="connsiteY1721" fmla="*/ 1680792 h 3476625"/>
              <a:gd name="connsiteX1722" fmla="*/ 10824108 w 11991973"/>
              <a:gd name="connsiteY1722" fmla="*/ 1788422 h 3476625"/>
              <a:gd name="connsiteX1723" fmla="*/ 11046017 w 11991973"/>
              <a:gd name="connsiteY1723" fmla="*/ 1785514 h 3476625"/>
              <a:gd name="connsiteX1724" fmla="*/ 10942583 w 11991973"/>
              <a:gd name="connsiteY1724" fmla="*/ 1823330 h 3476625"/>
              <a:gd name="connsiteX1725" fmla="*/ 11049779 w 11991973"/>
              <a:gd name="connsiteY1725" fmla="*/ 1875692 h 3476625"/>
              <a:gd name="connsiteX1726" fmla="*/ 11043060 w 11991973"/>
              <a:gd name="connsiteY1726" fmla="*/ 1883042 h 3476625"/>
              <a:gd name="connsiteX1727" fmla="*/ 11040933 w 11991973"/>
              <a:gd name="connsiteY1727" fmla="*/ 1882919 h 3476625"/>
              <a:gd name="connsiteX1728" fmla="*/ 11029091 w 11991973"/>
              <a:gd name="connsiteY1728" fmla="*/ 1881509 h 3476625"/>
              <a:gd name="connsiteX1729" fmla="*/ 11040140 w 11991973"/>
              <a:gd name="connsiteY1729" fmla="*/ 1886237 h 3476625"/>
              <a:gd name="connsiteX1730" fmla="*/ 11043060 w 11991973"/>
              <a:gd name="connsiteY1730" fmla="*/ 1883042 h 3476625"/>
              <a:gd name="connsiteX1731" fmla="*/ 11060355 w 11991973"/>
              <a:gd name="connsiteY1731" fmla="*/ 1884054 h 3476625"/>
              <a:gd name="connsiteX1732" fmla="*/ 11093032 w 11991973"/>
              <a:gd name="connsiteY1732" fmla="*/ 1893145 h 3476625"/>
              <a:gd name="connsiteX1733" fmla="*/ 11062942 w 11991973"/>
              <a:gd name="connsiteY1733" fmla="*/ 1942598 h 3476625"/>
              <a:gd name="connsiteX1734" fmla="*/ 11125002 w 11991973"/>
              <a:gd name="connsiteY1734" fmla="*/ 1919325 h 3476625"/>
              <a:gd name="connsiteX1735" fmla="*/ 11166845 w 11991973"/>
              <a:gd name="connsiteY1735" fmla="*/ 1931688 h 3476625"/>
              <a:gd name="connsiteX1736" fmla="*/ 11208091 w 11991973"/>
              <a:gd name="connsiteY1736" fmla="*/ 1928982 h 3476625"/>
              <a:gd name="connsiteX1737" fmla="*/ 11202106 w 11991973"/>
              <a:gd name="connsiteY1737" fmla="*/ 1951324 h 3476625"/>
              <a:gd name="connsiteX1738" fmla="*/ 11262286 w 11991973"/>
              <a:gd name="connsiteY1738" fmla="*/ 1989141 h 3476625"/>
              <a:gd name="connsiteX1739" fmla="*/ 11523688 w 11991973"/>
              <a:gd name="connsiteY1739" fmla="*/ 2096772 h 3476625"/>
              <a:gd name="connsiteX1740" fmla="*/ 10985838 w 11991973"/>
              <a:gd name="connsiteY1740" fmla="*/ 2134589 h 3476625"/>
              <a:gd name="connsiteX1741" fmla="*/ 11053539 w 11991973"/>
              <a:gd name="connsiteY1741" fmla="*/ 2181132 h 3476625"/>
              <a:gd name="connsiteX1742" fmla="*/ 11222792 w 11991973"/>
              <a:gd name="connsiteY1742" fmla="*/ 2280037 h 3476625"/>
              <a:gd name="connsiteX1743" fmla="*/ 11006524 w 11991973"/>
              <a:gd name="connsiteY1743" fmla="*/ 2280037 h 3476625"/>
              <a:gd name="connsiteX1744" fmla="*/ 10942584 w 11991973"/>
              <a:gd name="connsiteY1744" fmla="*/ 2280037 h 3476625"/>
              <a:gd name="connsiteX1745" fmla="*/ 10899330 w 11991973"/>
              <a:gd name="connsiteY1745" fmla="*/ 2288036 h 3476625"/>
              <a:gd name="connsiteX1746" fmla="*/ 10881528 w 11991973"/>
              <a:gd name="connsiteY1746" fmla="*/ 2293632 h 3476625"/>
              <a:gd name="connsiteX1747" fmla="*/ 10881465 w 11991973"/>
              <a:gd name="connsiteY1747" fmla="*/ 2293582 h 3476625"/>
              <a:gd name="connsiteX1748" fmla="*/ 10881321 w 11991973"/>
              <a:gd name="connsiteY1748" fmla="*/ 2293698 h 3476625"/>
              <a:gd name="connsiteX1749" fmla="*/ 10870123 w 11991973"/>
              <a:gd name="connsiteY1749" fmla="*/ 2297218 h 3476625"/>
              <a:gd name="connsiteX1750" fmla="*/ 10856077 w 11991973"/>
              <a:gd name="connsiteY1750" fmla="*/ 2309126 h 3476625"/>
              <a:gd name="connsiteX1751" fmla="*/ 10873002 w 11991973"/>
              <a:gd name="connsiteY1751" fmla="*/ 2300399 h 3476625"/>
              <a:gd name="connsiteX1752" fmla="*/ 10881321 w 11991973"/>
              <a:gd name="connsiteY1752" fmla="*/ 2293698 h 3476625"/>
              <a:gd name="connsiteX1753" fmla="*/ 10881528 w 11991973"/>
              <a:gd name="connsiteY1753" fmla="*/ 2293632 h 3476625"/>
              <a:gd name="connsiteX1754" fmla="*/ 10889928 w 11991973"/>
              <a:gd name="connsiteY1754" fmla="*/ 2300399 h 3476625"/>
              <a:gd name="connsiteX1755" fmla="*/ 10871122 w 11991973"/>
              <a:gd name="connsiteY1755" fmla="*/ 2346942 h 3476625"/>
              <a:gd name="connsiteX1756" fmla="*/ 10912494 w 11991973"/>
              <a:gd name="connsiteY1756" fmla="*/ 2323670 h 3476625"/>
              <a:gd name="connsiteX1757" fmla="*/ 10919200 w 11991973"/>
              <a:gd name="connsiteY1757" fmla="*/ 2320429 h 3476625"/>
              <a:gd name="connsiteX1758" fmla="*/ 10920017 w 11991973"/>
              <a:gd name="connsiteY1758" fmla="*/ 2329489 h 3476625"/>
              <a:gd name="connsiteX1759" fmla="*/ 11138166 w 11991973"/>
              <a:gd name="connsiteY1759" fmla="*/ 2329489 h 3476625"/>
              <a:gd name="connsiteX1760" fmla="*/ 11205868 w 11991973"/>
              <a:gd name="connsiteY1760" fmla="*/ 2384760 h 3476625"/>
              <a:gd name="connsiteX1761" fmla="*/ 11198345 w 11991973"/>
              <a:gd name="connsiteY1761" fmla="*/ 2405121 h 3476625"/>
              <a:gd name="connsiteX1762" fmla="*/ 10532616 w 11991973"/>
              <a:gd name="connsiteY1762" fmla="*/ 2512754 h 3476625"/>
              <a:gd name="connsiteX1763" fmla="*/ 9793540 w 11991973"/>
              <a:gd name="connsiteY1763" fmla="*/ 2620385 h 3476625"/>
              <a:gd name="connsiteX1764" fmla="*/ 9868765 w 11991973"/>
              <a:gd name="connsiteY1764" fmla="*/ 2600022 h 3476625"/>
              <a:gd name="connsiteX1765" fmla="*/ 9883811 w 11991973"/>
              <a:gd name="connsiteY1765" fmla="*/ 2579659 h 3476625"/>
              <a:gd name="connsiteX1766" fmla="*/ 9464437 w 11991973"/>
              <a:gd name="connsiteY1766" fmla="*/ 2637838 h 3476625"/>
              <a:gd name="connsiteX1767" fmla="*/ 7830201 w 11991973"/>
              <a:gd name="connsiteY1767" fmla="*/ 2888009 h 3476625"/>
              <a:gd name="connsiteX1768" fmla="*/ 6152475 w 11991973"/>
              <a:gd name="connsiteY1768" fmla="*/ 3246766 h 3476625"/>
              <a:gd name="connsiteX1769" fmla="*/ 5636287 w 11991973"/>
              <a:gd name="connsiteY1769" fmla="*/ 3363156 h 3476625"/>
              <a:gd name="connsiteX1770" fmla="*/ 5639310 w 11991973"/>
              <a:gd name="connsiteY1770" fmla="*/ 3359260 h 3476625"/>
              <a:gd name="connsiteX1771" fmla="*/ 5627320 w 11991973"/>
              <a:gd name="connsiteY1771" fmla="*/ 3357078 h 3476625"/>
              <a:gd name="connsiteX1772" fmla="*/ 5617269 w 11991973"/>
              <a:gd name="connsiteY1772" fmla="*/ 3367444 h 3476625"/>
              <a:gd name="connsiteX1773" fmla="*/ 5614860 w 11991973"/>
              <a:gd name="connsiteY1773" fmla="*/ 3367987 h 3476625"/>
              <a:gd name="connsiteX1774" fmla="*/ 5041280 w 11991973"/>
              <a:gd name="connsiteY1774" fmla="*/ 3431984 h 3476625"/>
              <a:gd name="connsiteX1775" fmla="*/ 5214296 w 11991973"/>
              <a:gd name="connsiteY1775" fmla="*/ 3370896 h 3476625"/>
              <a:gd name="connsiteX1776" fmla="*/ 5562440 w 11991973"/>
              <a:gd name="connsiteY1776" fmla="*/ 3245084 h 3476625"/>
              <a:gd name="connsiteX1777" fmla="*/ 5639651 w 11991973"/>
              <a:gd name="connsiteY1777" fmla="*/ 3227840 h 3476625"/>
              <a:gd name="connsiteX1778" fmla="*/ 5659585 w 11991973"/>
              <a:gd name="connsiteY1778" fmla="*/ 3229448 h 3476625"/>
              <a:gd name="connsiteX1779" fmla="*/ 5769070 w 11991973"/>
              <a:gd name="connsiteY1779" fmla="*/ 3207268 h 3476625"/>
              <a:gd name="connsiteX1780" fmla="*/ 5794271 w 11991973"/>
              <a:gd name="connsiteY1780" fmla="*/ 3198726 h 3476625"/>
              <a:gd name="connsiteX1781" fmla="*/ 5863890 w 11991973"/>
              <a:gd name="connsiteY1781" fmla="*/ 3190575 h 3476625"/>
              <a:gd name="connsiteX1782" fmla="*/ 5906354 w 11991973"/>
              <a:gd name="connsiteY1782" fmla="*/ 3193450 h 3476625"/>
              <a:gd name="connsiteX1783" fmla="*/ 5878145 w 11991973"/>
              <a:gd name="connsiteY1783" fmla="*/ 3219631 h 3476625"/>
              <a:gd name="connsiteX1784" fmla="*/ 5994742 w 11991973"/>
              <a:gd name="connsiteY1784" fmla="*/ 3170177 h 3476625"/>
              <a:gd name="connsiteX1785" fmla="*/ 6555157 w 11991973"/>
              <a:gd name="connsiteY1785" fmla="*/ 3068364 h 3476625"/>
              <a:gd name="connsiteX1786" fmla="*/ 7339366 w 11991973"/>
              <a:gd name="connsiteY1786" fmla="*/ 2879282 h 3476625"/>
              <a:gd name="connsiteX1787" fmla="*/ 7510325 w 11991973"/>
              <a:gd name="connsiteY1787" fmla="*/ 2822421 h 3476625"/>
              <a:gd name="connsiteX1788" fmla="*/ 7559547 w 11991973"/>
              <a:gd name="connsiteY1788" fmla="*/ 2804245 h 3476625"/>
              <a:gd name="connsiteX1789" fmla="*/ 7587752 w 11991973"/>
              <a:gd name="connsiteY1789" fmla="*/ 2798287 h 3476625"/>
              <a:gd name="connsiteX1790" fmla="*/ 8125454 w 11991973"/>
              <a:gd name="connsiteY1790" fmla="*/ 2696018 h 3476625"/>
              <a:gd name="connsiteX1791" fmla="*/ 7623461 w 11991973"/>
              <a:gd name="connsiteY1791" fmla="*/ 2780644 h 3476625"/>
              <a:gd name="connsiteX1792" fmla="*/ 7559547 w 11991973"/>
              <a:gd name="connsiteY1792" fmla="*/ 2804245 h 3476625"/>
              <a:gd name="connsiteX1793" fmla="*/ 7049520 w 11991973"/>
              <a:gd name="connsiteY1793" fmla="*/ 2912009 h 3476625"/>
              <a:gd name="connsiteX1794" fmla="*/ 5972174 w 11991973"/>
              <a:gd name="connsiteY1794" fmla="*/ 3141089 h 3476625"/>
              <a:gd name="connsiteX1795" fmla="*/ 5882787 w 11991973"/>
              <a:gd name="connsiteY1795" fmla="*/ 3168724 h 3476625"/>
              <a:gd name="connsiteX1796" fmla="*/ 5844206 w 11991973"/>
              <a:gd name="connsiteY1796" fmla="*/ 3181800 h 3476625"/>
              <a:gd name="connsiteX1797" fmla="*/ 5823842 w 11991973"/>
              <a:gd name="connsiteY1797" fmla="*/ 3178541 h 3476625"/>
              <a:gd name="connsiteX1798" fmla="*/ 5810443 w 11991973"/>
              <a:gd name="connsiteY1798" fmla="*/ 3190541 h 3476625"/>
              <a:gd name="connsiteX1799" fmla="*/ 5827370 w 11991973"/>
              <a:gd name="connsiteY1799" fmla="*/ 3187268 h 3476625"/>
              <a:gd name="connsiteX1800" fmla="*/ 5841666 w 11991973"/>
              <a:gd name="connsiteY1800" fmla="*/ 3182662 h 3476625"/>
              <a:gd name="connsiteX1801" fmla="*/ 5794271 w 11991973"/>
              <a:gd name="connsiteY1801" fmla="*/ 3198726 h 3476625"/>
              <a:gd name="connsiteX1802" fmla="*/ 5784204 w 11991973"/>
              <a:gd name="connsiteY1802" fmla="*/ 3199904 h 3476625"/>
              <a:gd name="connsiteX1803" fmla="*/ 5679615 w 11991973"/>
              <a:gd name="connsiteY1803" fmla="*/ 3218915 h 3476625"/>
              <a:gd name="connsiteX1804" fmla="*/ 5639651 w 11991973"/>
              <a:gd name="connsiteY1804" fmla="*/ 3227840 h 3476625"/>
              <a:gd name="connsiteX1805" fmla="*/ 5615353 w 11991973"/>
              <a:gd name="connsiteY1805" fmla="*/ 3225881 h 3476625"/>
              <a:gd name="connsiteX1806" fmla="*/ 5604759 w 11991973"/>
              <a:gd name="connsiteY1806" fmla="*/ 3220044 h 3476625"/>
              <a:gd name="connsiteX1807" fmla="*/ 5609220 w 11991973"/>
              <a:gd name="connsiteY1807" fmla="*/ 3213812 h 3476625"/>
              <a:gd name="connsiteX1808" fmla="*/ 5596997 w 11991973"/>
              <a:gd name="connsiteY1808" fmla="*/ 3215267 h 3476625"/>
              <a:gd name="connsiteX1809" fmla="*/ 5596759 w 11991973"/>
              <a:gd name="connsiteY1809" fmla="*/ 3215635 h 3476625"/>
              <a:gd name="connsiteX1810" fmla="*/ 5582893 w 11991973"/>
              <a:gd name="connsiteY1810" fmla="*/ 3207995 h 3476625"/>
              <a:gd name="connsiteX1811" fmla="*/ 5250026 w 11991973"/>
              <a:gd name="connsiteY1811" fmla="*/ 3283628 h 3476625"/>
              <a:gd name="connsiteX1812" fmla="*/ 5285758 w 11991973"/>
              <a:gd name="connsiteY1812" fmla="*/ 3234175 h 3476625"/>
              <a:gd name="connsiteX1813" fmla="*/ 5161639 w 11991973"/>
              <a:gd name="connsiteY1813" fmla="*/ 3286536 h 3476625"/>
              <a:gd name="connsiteX1814" fmla="*/ 5087589 w 11991973"/>
              <a:gd name="connsiteY1814" fmla="*/ 3284491 h 3476625"/>
              <a:gd name="connsiteX1815" fmla="*/ 5076085 w 11991973"/>
              <a:gd name="connsiteY1815" fmla="*/ 3290789 h 3476625"/>
              <a:gd name="connsiteX1816" fmla="*/ 5074660 w 11991973"/>
              <a:gd name="connsiteY1816" fmla="*/ 3276356 h 3476625"/>
              <a:gd name="connsiteX1817" fmla="*/ 5074661 w 11991973"/>
              <a:gd name="connsiteY1817" fmla="*/ 3275031 h 3476625"/>
              <a:gd name="connsiteX1818" fmla="*/ 5080538 w 11991973"/>
              <a:gd name="connsiteY1818" fmla="*/ 3275265 h 3476625"/>
              <a:gd name="connsiteX1819" fmla="*/ 5088295 w 11991973"/>
              <a:gd name="connsiteY1819" fmla="*/ 3269083 h 3476625"/>
              <a:gd name="connsiteX1820" fmla="*/ 5081948 w 11991973"/>
              <a:gd name="connsiteY1820" fmla="*/ 3266537 h 3476625"/>
              <a:gd name="connsiteX1821" fmla="*/ 5074661 w 11991973"/>
              <a:gd name="connsiteY1821" fmla="*/ 3272298 h 3476625"/>
              <a:gd name="connsiteX1822" fmla="*/ 5074661 w 11991973"/>
              <a:gd name="connsiteY1822" fmla="*/ 3254901 h 3476625"/>
              <a:gd name="connsiteX1823" fmla="*/ 5078894 w 11991973"/>
              <a:gd name="connsiteY1823" fmla="*/ 3248719 h 3476625"/>
              <a:gd name="connsiteX1824" fmla="*/ 5056325 w 11991973"/>
              <a:gd name="connsiteY1824" fmla="*/ 3245812 h 3476625"/>
              <a:gd name="connsiteX1825" fmla="*/ 5061968 w 11991973"/>
              <a:gd name="connsiteY1825" fmla="*/ 3266173 h 3476625"/>
              <a:gd name="connsiteX1826" fmla="*/ 5033758 w 11991973"/>
              <a:gd name="connsiteY1826" fmla="*/ 3274900 h 3476625"/>
              <a:gd name="connsiteX1827" fmla="*/ 4998027 w 11991973"/>
              <a:gd name="connsiteY1827" fmla="*/ 3286536 h 3476625"/>
              <a:gd name="connsiteX1828" fmla="*/ 4909641 w 11991973"/>
              <a:gd name="connsiteY1828" fmla="*/ 3301081 h 3476625"/>
              <a:gd name="connsiteX1829" fmla="*/ 4811848 w 11991973"/>
              <a:gd name="connsiteY1829" fmla="*/ 3309808 h 3476625"/>
              <a:gd name="connsiteX1830" fmla="*/ 4787167 w 11991973"/>
              <a:gd name="connsiteY1830" fmla="*/ 3279264 h 3476625"/>
              <a:gd name="connsiteX1831" fmla="*/ 4776555 w 11991973"/>
              <a:gd name="connsiteY1831" fmla="*/ 3290467 h 3476625"/>
              <a:gd name="connsiteX1832" fmla="*/ 4775177 w 11991973"/>
              <a:gd name="connsiteY1832" fmla="*/ 3288400 h 3476625"/>
              <a:gd name="connsiteX1833" fmla="*/ 4775177 w 11991973"/>
              <a:gd name="connsiteY1833" fmla="*/ 3291263 h 3476625"/>
              <a:gd name="connsiteX1834" fmla="*/ 4775405 w 11991973"/>
              <a:gd name="connsiteY1834" fmla="*/ 3291682 h 3476625"/>
              <a:gd name="connsiteX1835" fmla="*/ 4761337 w 11991973"/>
              <a:gd name="connsiteY1835" fmla="*/ 3306536 h 3476625"/>
              <a:gd name="connsiteX1836" fmla="*/ 4744337 w 11991973"/>
              <a:gd name="connsiteY1836" fmla="*/ 3318910 h 3476625"/>
              <a:gd name="connsiteX1837" fmla="*/ 4739211 w 11991973"/>
              <a:gd name="connsiteY1837" fmla="*/ 3301808 h 3476625"/>
              <a:gd name="connsiteX1838" fmla="*/ 4732601 w 11991973"/>
              <a:gd name="connsiteY1838" fmla="*/ 3290090 h 3476625"/>
              <a:gd name="connsiteX1839" fmla="*/ 4749407 w 11991973"/>
              <a:gd name="connsiteY1839" fmla="*/ 3277764 h 3476625"/>
              <a:gd name="connsiteX1840" fmla="*/ 4725341 w 11991973"/>
              <a:gd name="connsiteY1840" fmla="*/ 3274900 h 3476625"/>
              <a:gd name="connsiteX1841" fmla="*/ 4830654 w 11991973"/>
              <a:gd name="connsiteY1841" fmla="*/ 3266174 h 3476625"/>
              <a:gd name="connsiteX1842" fmla="*/ 5077013 w 11991973"/>
              <a:gd name="connsiteY1842" fmla="*/ 3152725 h 3476625"/>
              <a:gd name="connsiteX1843" fmla="*/ 5065728 w 11991973"/>
              <a:gd name="connsiteY1843" fmla="*/ 3143997 h 3476625"/>
              <a:gd name="connsiteX1844" fmla="*/ 5071371 w 11991973"/>
              <a:gd name="connsiteY1844" fmla="*/ 3173087 h 3476625"/>
              <a:gd name="connsiteX1845" fmla="*/ 5385429 w 11991973"/>
              <a:gd name="connsiteY1845" fmla="*/ 3065455 h 3476625"/>
              <a:gd name="connsiteX1846" fmla="*/ 4789280 w 11991973"/>
              <a:gd name="connsiteY1846" fmla="*/ 3141089 h 3476625"/>
              <a:gd name="connsiteX1847" fmla="*/ 4155520 w 11991973"/>
              <a:gd name="connsiteY1847" fmla="*/ 3267264 h 3476625"/>
              <a:gd name="connsiteX1848" fmla="*/ 3779068 w 11991973"/>
              <a:gd name="connsiteY1848" fmla="*/ 3349012 h 3476625"/>
              <a:gd name="connsiteX1849" fmla="*/ 3777376 w 11991973"/>
              <a:gd name="connsiteY1849" fmla="*/ 3347851 h 3476625"/>
              <a:gd name="connsiteX1850" fmla="*/ 3775142 w 11991973"/>
              <a:gd name="connsiteY1850" fmla="*/ 3349865 h 3476625"/>
              <a:gd name="connsiteX1851" fmla="*/ 3565138 w 11991973"/>
              <a:gd name="connsiteY1851" fmla="*/ 3395468 h 3476625"/>
              <a:gd name="connsiteX1852" fmla="*/ 3570656 w 11991973"/>
              <a:gd name="connsiteY1852" fmla="*/ 3388350 h 3476625"/>
              <a:gd name="connsiteX1853" fmla="*/ 3548088 w 11991973"/>
              <a:gd name="connsiteY1853" fmla="*/ 3397077 h 3476625"/>
              <a:gd name="connsiteX1854" fmla="*/ 3553719 w 11991973"/>
              <a:gd name="connsiteY1854" fmla="*/ 3397948 h 3476625"/>
              <a:gd name="connsiteX1855" fmla="*/ 3544328 w 11991973"/>
              <a:gd name="connsiteY1855" fmla="*/ 3399986 h 3476625"/>
              <a:gd name="connsiteX1856" fmla="*/ 2970749 w 11991973"/>
              <a:gd name="connsiteY1856" fmla="*/ 3463983 h 3476625"/>
              <a:gd name="connsiteX1857" fmla="*/ 3143762 w 11991973"/>
              <a:gd name="connsiteY1857" fmla="*/ 3402895 h 3476625"/>
              <a:gd name="connsiteX1858" fmla="*/ 3491908 w 11991973"/>
              <a:gd name="connsiteY1858" fmla="*/ 3277082 h 3476625"/>
              <a:gd name="connsiteX1859" fmla="*/ 3569118 w 11991973"/>
              <a:gd name="connsiteY1859" fmla="*/ 3259839 h 3476625"/>
              <a:gd name="connsiteX1860" fmla="*/ 3589052 w 11991973"/>
              <a:gd name="connsiteY1860" fmla="*/ 3261447 h 3476625"/>
              <a:gd name="connsiteX1861" fmla="*/ 3698539 w 11991973"/>
              <a:gd name="connsiteY1861" fmla="*/ 3239267 h 3476625"/>
              <a:gd name="connsiteX1862" fmla="*/ 3723742 w 11991973"/>
              <a:gd name="connsiteY1862" fmla="*/ 3230724 h 3476625"/>
              <a:gd name="connsiteX1863" fmla="*/ 3793358 w 11991973"/>
              <a:gd name="connsiteY1863" fmla="*/ 3222573 h 3476625"/>
              <a:gd name="connsiteX1864" fmla="*/ 3835821 w 11991973"/>
              <a:gd name="connsiteY1864" fmla="*/ 3225448 h 3476625"/>
              <a:gd name="connsiteX1865" fmla="*/ 3807613 w 11991973"/>
              <a:gd name="connsiteY1865" fmla="*/ 3251629 h 3476625"/>
              <a:gd name="connsiteX1866" fmla="*/ 3924209 w 11991973"/>
              <a:gd name="connsiteY1866" fmla="*/ 3202177 h 3476625"/>
              <a:gd name="connsiteX1867" fmla="*/ 4484624 w 11991973"/>
              <a:gd name="connsiteY1867" fmla="*/ 3100363 h 3476625"/>
              <a:gd name="connsiteX1868" fmla="*/ 5985338 w 11991973"/>
              <a:gd name="connsiteY1868" fmla="*/ 2751287 h 3476625"/>
              <a:gd name="connsiteX1869" fmla="*/ 5966532 w 11991973"/>
              <a:gd name="connsiteY1869" fmla="*/ 2745470 h 3476625"/>
              <a:gd name="connsiteX1870" fmla="*/ 3901643 w 11991973"/>
              <a:gd name="connsiteY1870" fmla="*/ 3173087 h 3476625"/>
              <a:gd name="connsiteX1871" fmla="*/ 3812256 w 11991973"/>
              <a:gd name="connsiteY1871" fmla="*/ 3200722 h 3476625"/>
              <a:gd name="connsiteX1872" fmla="*/ 3723742 w 11991973"/>
              <a:gd name="connsiteY1872" fmla="*/ 3230724 h 3476625"/>
              <a:gd name="connsiteX1873" fmla="*/ 3713671 w 11991973"/>
              <a:gd name="connsiteY1873" fmla="*/ 3231902 h 3476625"/>
              <a:gd name="connsiteX1874" fmla="*/ 3609083 w 11991973"/>
              <a:gd name="connsiteY1874" fmla="*/ 3250913 h 3476625"/>
              <a:gd name="connsiteX1875" fmla="*/ 3569118 w 11991973"/>
              <a:gd name="connsiteY1875" fmla="*/ 3259839 h 3476625"/>
              <a:gd name="connsiteX1876" fmla="*/ 3544821 w 11991973"/>
              <a:gd name="connsiteY1876" fmla="*/ 3257879 h 3476625"/>
              <a:gd name="connsiteX1877" fmla="*/ 3534085 w 11991973"/>
              <a:gd name="connsiteY1877" fmla="*/ 3251963 h 3476625"/>
              <a:gd name="connsiteX1878" fmla="*/ 3540567 w 11991973"/>
              <a:gd name="connsiteY1878" fmla="*/ 3242902 h 3476625"/>
              <a:gd name="connsiteX1879" fmla="*/ 3528344 w 11991973"/>
              <a:gd name="connsiteY1879" fmla="*/ 3244357 h 3476625"/>
              <a:gd name="connsiteX1880" fmla="*/ 3526226 w 11991973"/>
              <a:gd name="connsiteY1880" fmla="*/ 3247633 h 3476625"/>
              <a:gd name="connsiteX1881" fmla="*/ 3512359 w 11991973"/>
              <a:gd name="connsiteY1881" fmla="*/ 3239993 h 3476625"/>
              <a:gd name="connsiteX1882" fmla="*/ 3179494 w 11991973"/>
              <a:gd name="connsiteY1882" fmla="*/ 3315626 h 3476625"/>
              <a:gd name="connsiteX1883" fmla="*/ 3215227 w 11991973"/>
              <a:gd name="connsiteY1883" fmla="*/ 3266174 h 3476625"/>
              <a:gd name="connsiteX1884" fmla="*/ 3091107 w 11991973"/>
              <a:gd name="connsiteY1884" fmla="*/ 3318535 h 3476625"/>
              <a:gd name="connsiteX1885" fmla="*/ 3017058 w 11991973"/>
              <a:gd name="connsiteY1885" fmla="*/ 3316490 h 3476625"/>
              <a:gd name="connsiteX1886" fmla="*/ 3005554 w 11991973"/>
              <a:gd name="connsiteY1886" fmla="*/ 3322787 h 3476625"/>
              <a:gd name="connsiteX1887" fmla="*/ 3004129 w 11991973"/>
              <a:gd name="connsiteY1887" fmla="*/ 3308354 h 3476625"/>
              <a:gd name="connsiteX1888" fmla="*/ 3004129 w 11991973"/>
              <a:gd name="connsiteY1888" fmla="*/ 3304046 h 3476625"/>
              <a:gd name="connsiteX1889" fmla="*/ 3011887 w 11991973"/>
              <a:gd name="connsiteY1889" fmla="*/ 3304354 h 3476625"/>
              <a:gd name="connsiteX1890" fmla="*/ 3019643 w 11991973"/>
              <a:gd name="connsiteY1890" fmla="*/ 3298173 h 3476625"/>
              <a:gd name="connsiteX1891" fmla="*/ 3013296 w 11991973"/>
              <a:gd name="connsiteY1891" fmla="*/ 3295627 h 3476625"/>
              <a:gd name="connsiteX1892" fmla="*/ 3004129 w 11991973"/>
              <a:gd name="connsiteY1892" fmla="*/ 3302876 h 3476625"/>
              <a:gd name="connsiteX1893" fmla="*/ 3004129 w 11991973"/>
              <a:gd name="connsiteY1893" fmla="*/ 3286901 h 3476625"/>
              <a:gd name="connsiteX1894" fmla="*/ 3008360 w 11991973"/>
              <a:gd name="connsiteY1894" fmla="*/ 3280719 h 3476625"/>
              <a:gd name="connsiteX1895" fmla="*/ 2985794 w 11991973"/>
              <a:gd name="connsiteY1895" fmla="*/ 3277809 h 3476625"/>
              <a:gd name="connsiteX1896" fmla="*/ 2991435 w 11991973"/>
              <a:gd name="connsiteY1896" fmla="*/ 3298173 h 3476625"/>
              <a:gd name="connsiteX1897" fmla="*/ 2963223 w 11991973"/>
              <a:gd name="connsiteY1897" fmla="*/ 3306899 h 3476625"/>
              <a:gd name="connsiteX1898" fmla="*/ 2927494 w 11991973"/>
              <a:gd name="connsiteY1898" fmla="*/ 3318535 h 3476625"/>
              <a:gd name="connsiteX1899" fmla="*/ 2839107 w 11991973"/>
              <a:gd name="connsiteY1899" fmla="*/ 3333080 h 3476625"/>
              <a:gd name="connsiteX1900" fmla="*/ 2741316 w 11991973"/>
              <a:gd name="connsiteY1900" fmla="*/ 3341806 h 3476625"/>
              <a:gd name="connsiteX1901" fmla="*/ 2716635 w 11991973"/>
              <a:gd name="connsiteY1901" fmla="*/ 3311263 h 3476625"/>
              <a:gd name="connsiteX1902" fmla="*/ 2708266 w 11991973"/>
              <a:gd name="connsiteY1902" fmla="*/ 3320098 h 3476625"/>
              <a:gd name="connsiteX1903" fmla="*/ 2706525 w 11991973"/>
              <a:gd name="connsiteY1903" fmla="*/ 3317490 h 3476625"/>
              <a:gd name="connsiteX1904" fmla="*/ 2706526 w 11991973"/>
              <a:gd name="connsiteY1904" fmla="*/ 3320353 h 3476625"/>
              <a:gd name="connsiteX1905" fmla="*/ 2707073 w 11991973"/>
              <a:gd name="connsiteY1905" fmla="*/ 3321358 h 3476625"/>
              <a:gd name="connsiteX1906" fmla="*/ 2690804 w 11991973"/>
              <a:gd name="connsiteY1906" fmla="*/ 3338535 h 3476625"/>
              <a:gd name="connsiteX1907" fmla="*/ 2673803 w 11991973"/>
              <a:gd name="connsiteY1907" fmla="*/ 3350910 h 3476625"/>
              <a:gd name="connsiteX1908" fmla="*/ 2668679 w 11991973"/>
              <a:gd name="connsiteY1908" fmla="*/ 3333807 h 3476625"/>
              <a:gd name="connsiteX1909" fmla="*/ 2662068 w 11991973"/>
              <a:gd name="connsiteY1909" fmla="*/ 3322088 h 3476625"/>
              <a:gd name="connsiteX1910" fmla="*/ 2678875 w 11991973"/>
              <a:gd name="connsiteY1910" fmla="*/ 3309762 h 3476625"/>
              <a:gd name="connsiteX1911" fmla="*/ 2654808 w 11991973"/>
              <a:gd name="connsiteY1911" fmla="*/ 3306899 h 3476625"/>
              <a:gd name="connsiteX1912" fmla="*/ 2760122 w 11991973"/>
              <a:gd name="connsiteY1912" fmla="*/ 3298173 h 3476625"/>
              <a:gd name="connsiteX1913" fmla="*/ 3006480 w 11991973"/>
              <a:gd name="connsiteY1913" fmla="*/ 3184723 h 3476625"/>
              <a:gd name="connsiteX1914" fmla="*/ 2995195 w 11991973"/>
              <a:gd name="connsiteY1914" fmla="*/ 3175996 h 3476625"/>
              <a:gd name="connsiteX1915" fmla="*/ 3000837 w 11991973"/>
              <a:gd name="connsiteY1915" fmla="*/ 3205086 h 3476625"/>
              <a:gd name="connsiteX1916" fmla="*/ 3314898 w 11991973"/>
              <a:gd name="connsiteY1916" fmla="*/ 3097454 h 3476625"/>
              <a:gd name="connsiteX1917" fmla="*/ 2965106 w 11991973"/>
              <a:gd name="connsiteY1917" fmla="*/ 3129452 h 3476625"/>
              <a:gd name="connsiteX1918" fmla="*/ 3092282 w 11991973"/>
              <a:gd name="connsiteY1918" fmla="*/ 3068728 h 3476625"/>
              <a:gd name="connsiteX1919" fmla="*/ 3161370 w 11991973"/>
              <a:gd name="connsiteY1919" fmla="*/ 3042620 h 3476625"/>
              <a:gd name="connsiteX1920" fmla="*/ 3172911 w 11991973"/>
              <a:gd name="connsiteY1920" fmla="*/ 3042547 h 3476625"/>
              <a:gd name="connsiteX1921" fmla="*/ 3237790 w 11991973"/>
              <a:gd name="connsiteY1921" fmla="*/ 3027639 h 3476625"/>
              <a:gd name="connsiteX1922" fmla="*/ 3183814 w 11991973"/>
              <a:gd name="connsiteY1922" fmla="*/ 3034139 h 3476625"/>
              <a:gd name="connsiteX1923" fmla="*/ 3161370 w 11991973"/>
              <a:gd name="connsiteY1923" fmla="*/ 3042620 h 3476625"/>
              <a:gd name="connsiteX1924" fmla="*/ 3136770 w 11991973"/>
              <a:gd name="connsiteY1924" fmla="*/ 3042774 h 3476625"/>
              <a:gd name="connsiteX1925" fmla="*/ 3124955 w 11991973"/>
              <a:gd name="connsiteY1925" fmla="*/ 3042183 h 3476625"/>
              <a:gd name="connsiteX1926" fmla="*/ 3140003 w 11991973"/>
              <a:gd name="connsiteY1926" fmla="*/ 3016003 h 3476625"/>
              <a:gd name="connsiteX1927" fmla="*/ 3152698 w 11991973"/>
              <a:gd name="connsiteY1927" fmla="*/ 3026549 h 3476625"/>
              <a:gd name="connsiteX1928" fmla="*/ 3155489 w 11991973"/>
              <a:gd name="connsiteY1928" fmla="*/ 3022556 h 3476625"/>
              <a:gd name="connsiteX1929" fmla="*/ 3151285 w 11991973"/>
              <a:gd name="connsiteY1929" fmla="*/ 3039274 h 3476625"/>
              <a:gd name="connsiteX1930" fmla="*/ 3292330 w 11991973"/>
              <a:gd name="connsiteY1930" fmla="*/ 2984005 h 3476625"/>
              <a:gd name="connsiteX1931" fmla="*/ 3262239 w 11991973"/>
              <a:gd name="connsiteY1931" fmla="*/ 3007277 h 3476625"/>
              <a:gd name="connsiteX1932" fmla="*/ 3820775 w 11991973"/>
              <a:gd name="connsiteY1932" fmla="*/ 2835647 h 3476625"/>
              <a:gd name="connsiteX1933" fmla="*/ 3788808 w 11991973"/>
              <a:gd name="connsiteY1933" fmla="*/ 2826921 h 3476625"/>
              <a:gd name="connsiteX1934" fmla="*/ 3783164 w 11991973"/>
              <a:gd name="connsiteY1934" fmla="*/ 2824012 h 3476625"/>
              <a:gd name="connsiteX1935" fmla="*/ 3841464 w 11991973"/>
              <a:gd name="connsiteY1935" fmla="*/ 2847283 h 3476625"/>
              <a:gd name="connsiteX1936" fmla="*/ 4007190 w 11991973"/>
              <a:gd name="connsiteY1936" fmla="*/ 2786559 h 3476625"/>
              <a:gd name="connsiteX1937" fmla="*/ 4075323 w 11991973"/>
              <a:gd name="connsiteY1937" fmla="*/ 2759786 h 3476625"/>
              <a:gd name="connsiteX1938" fmla="*/ 4118496 w 11991973"/>
              <a:gd name="connsiteY1938" fmla="*/ 2748334 h 3476625"/>
              <a:gd name="connsiteX1939" fmla="*/ 4148046 w 11991973"/>
              <a:gd name="connsiteY1939" fmla="*/ 2745790 h 3476625"/>
              <a:gd name="connsiteX1940" fmla="*/ 4151759 w 11991973"/>
              <a:gd name="connsiteY1940" fmla="*/ 2771650 h 3476625"/>
              <a:gd name="connsiteX1941" fmla="*/ 4317252 w 11991973"/>
              <a:gd name="connsiteY1941" fmla="*/ 2748379 h 3476625"/>
              <a:gd name="connsiteX1942" fmla="*/ 4376490 w 11991973"/>
              <a:gd name="connsiteY1942" fmla="*/ 2706926 h 3476625"/>
              <a:gd name="connsiteX1943" fmla="*/ 4415131 w 11991973"/>
              <a:gd name="connsiteY1943" fmla="*/ 2688774 h 3476625"/>
              <a:gd name="connsiteX1944" fmla="*/ 4424217 w 11991973"/>
              <a:gd name="connsiteY1944" fmla="*/ 2689682 h 3476625"/>
              <a:gd name="connsiteX1945" fmla="*/ 4423976 w 11991973"/>
              <a:gd name="connsiteY1945" fmla="*/ 2693155 h 3476625"/>
              <a:gd name="connsiteX1946" fmla="*/ 4432188 w 11991973"/>
              <a:gd name="connsiteY1946" fmla="*/ 2690955 h 3476625"/>
              <a:gd name="connsiteX1947" fmla="*/ 4432698 w 11991973"/>
              <a:gd name="connsiteY1947" fmla="*/ 2690529 h 3476625"/>
              <a:gd name="connsiteX1948" fmla="*/ 4446248 w 11991973"/>
              <a:gd name="connsiteY1948" fmla="*/ 2691883 h 3476625"/>
              <a:gd name="connsiteX1949" fmla="*/ 4451810 w 11991973"/>
              <a:gd name="connsiteY1949" fmla="*/ 2691993 h 3476625"/>
              <a:gd name="connsiteX1950" fmla="*/ 4448893 w 11991973"/>
              <a:gd name="connsiteY1950" fmla="*/ 2698927 h 3476625"/>
              <a:gd name="connsiteX1951" fmla="*/ 4459004 w 11991973"/>
              <a:gd name="connsiteY1951" fmla="*/ 2694927 h 3476625"/>
              <a:gd name="connsiteX1952" fmla="*/ 4458313 w 11991973"/>
              <a:gd name="connsiteY1952" fmla="*/ 2692123 h 3476625"/>
              <a:gd name="connsiteX1953" fmla="*/ 4467123 w 11991973"/>
              <a:gd name="connsiteY1953" fmla="*/ 2692298 h 3476625"/>
              <a:gd name="connsiteX1954" fmla="*/ 4461793 w 11991973"/>
              <a:gd name="connsiteY1954" fmla="*/ 2702564 h 3476625"/>
              <a:gd name="connsiteX1955" fmla="*/ 4447013 w 11991973"/>
              <a:gd name="connsiteY1955" fmla="*/ 2710563 h 3476625"/>
              <a:gd name="connsiteX1956" fmla="*/ 4501550 w 11991973"/>
              <a:gd name="connsiteY1956" fmla="*/ 2684382 h 3476625"/>
              <a:gd name="connsiteX1957" fmla="*/ 4483000 w 11991973"/>
              <a:gd name="connsiteY1957" fmla="*/ 2692615 h 3476625"/>
              <a:gd name="connsiteX1958" fmla="*/ 4467123 w 11991973"/>
              <a:gd name="connsiteY1958" fmla="*/ 2692298 h 3476625"/>
              <a:gd name="connsiteX1959" fmla="*/ 4469348 w 11991973"/>
              <a:gd name="connsiteY1959" fmla="*/ 2688019 h 3476625"/>
              <a:gd name="connsiteX1960" fmla="*/ 4478982 w 11991973"/>
              <a:gd name="connsiteY1960" fmla="*/ 2669837 h 3476625"/>
              <a:gd name="connsiteX1961" fmla="*/ 4424915 w 11991973"/>
              <a:gd name="connsiteY1961" fmla="*/ 2679655 h 3476625"/>
              <a:gd name="connsiteX1962" fmla="*/ 4424582 w 11991973"/>
              <a:gd name="connsiteY1962" fmla="*/ 2684435 h 3476625"/>
              <a:gd name="connsiteX1963" fmla="*/ 4424094 w 11991973"/>
              <a:gd name="connsiteY1963" fmla="*/ 2684564 h 3476625"/>
              <a:gd name="connsiteX1964" fmla="*/ 4415131 w 11991973"/>
              <a:gd name="connsiteY1964" fmla="*/ 2688774 h 3476625"/>
              <a:gd name="connsiteX1965" fmla="*/ 4338410 w 11991973"/>
              <a:gd name="connsiteY1965" fmla="*/ 2681109 h 3476625"/>
              <a:gd name="connsiteX1966" fmla="*/ 4166840 w 11991973"/>
              <a:gd name="connsiteY1966" fmla="*/ 2707648 h 3476625"/>
              <a:gd name="connsiteX1967" fmla="*/ 4130686 w 11991973"/>
              <a:gd name="connsiteY1967" fmla="*/ 2742243 h 3476625"/>
              <a:gd name="connsiteX1968" fmla="*/ 4103539 w 11991973"/>
              <a:gd name="connsiteY1968" fmla="*/ 2748698 h 3476625"/>
              <a:gd name="connsiteX1969" fmla="*/ 4075323 w 11991973"/>
              <a:gd name="connsiteY1969" fmla="*/ 2759786 h 3476625"/>
              <a:gd name="connsiteX1970" fmla="*/ 4067602 w 11991973"/>
              <a:gd name="connsiteY1970" fmla="*/ 2761833 h 3476625"/>
              <a:gd name="connsiteX1971" fmla="*/ 3986270 w 11991973"/>
              <a:gd name="connsiteY1971" fmla="*/ 2771651 h 3476625"/>
              <a:gd name="connsiteX1972" fmla="*/ 4006955 w 11991973"/>
              <a:gd name="connsiteY1972" fmla="*/ 2754197 h 3476625"/>
              <a:gd name="connsiteX1973" fmla="*/ 3982038 w 11991973"/>
              <a:gd name="connsiteY1973" fmla="*/ 2752378 h 3476625"/>
              <a:gd name="connsiteX1974" fmla="*/ 3978910 w 11991973"/>
              <a:gd name="connsiteY1974" fmla="*/ 2753473 h 3476625"/>
              <a:gd name="connsiteX1975" fmla="*/ 3979684 w 11991973"/>
              <a:gd name="connsiteY1975" fmla="*/ 2748794 h 3476625"/>
              <a:gd name="connsiteX1976" fmla="*/ 4116028 w 11991973"/>
              <a:gd name="connsiteY1976" fmla="*/ 2716380 h 3476625"/>
              <a:gd name="connsiteX1977" fmla="*/ 4100719 w 11991973"/>
              <a:gd name="connsiteY1977" fmla="*/ 2715154 h 3476625"/>
              <a:gd name="connsiteX1978" fmla="*/ 4051136 w 11991973"/>
              <a:gd name="connsiteY1978" fmla="*/ 2720749 h 3476625"/>
              <a:gd name="connsiteX1979" fmla="*/ 4056084 w 11991973"/>
              <a:gd name="connsiteY1979" fmla="*/ 2713836 h 3476625"/>
              <a:gd name="connsiteX1980" fmla="*/ 4051149 w 11991973"/>
              <a:gd name="connsiteY1980" fmla="*/ 2714927 h 3476625"/>
              <a:gd name="connsiteX1981" fmla="*/ 4044592 w 11991973"/>
              <a:gd name="connsiteY1981" fmla="*/ 2721487 h 3476625"/>
              <a:gd name="connsiteX1982" fmla="*/ 4041509 w 11991973"/>
              <a:gd name="connsiteY1982" fmla="*/ 2721835 h 3476625"/>
              <a:gd name="connsiteX1983" fmla="*/ 3948656 w 11991973"/>
              <a:gd name="connsiteY1983" fmla="*/ 2742561 h 3476625"/>
              <a:gd name="connsiteX1984" fmla="*/ 3826418 w 11991973"/>
              <a:gd name="connsiteY1984" fmla="*/ 2789105 h 3476625"/>
              <a:gd name="connsiteX1985" fmla="*/ 3542449 w 11991973"/>
              <a:gd name="connsiteY1985" fmla="*/ 2832739 h 3476625"/>
              <a:gd name="connsiteX1986" fmla="*/ 2965106 w 11991973"/>
              <a:gd name="connsiteY1986" fmla="*/ 2917099 h 3476625"/>
              <a:gd name="connsiteX1987" fmla="*/ 2985793 w 11991973"/>
              <a:gd name="connsiteY1987" fmla="*/ 2893827 h 3476625"/>
              <a:gd name="connsiteX1988" fmla="*/ 2951943 w 11991973"/>
              <a:gd name="connsiteY1988" fmla="*/ 2899645 h 3476625"/>
              <a:gd name="connsiteX1989" fmla="*/ 2966988 w 11991973"/>
              <a:gd name="connsiteY1989" fmla="*/ 2931644 h 3476625"/>
              <a:gd name="connsiteX1990" fmla="*/ 2903047 w 11991973"/>
              <a:gd name="connsiteY1990" fmla="*/ 2908371 h 3476625"/>
              <a:gd name="connsiteX1991" fmla="*/ 1990958 w 11991973"/>
              <a:gd name="connsiteY1991" fmla="*/ 3091637 h 3476625"/>
              <a:gd name="connsiteX1992" fmla="*/ 1650335 w 11991973"/>
              <a:gd name="connsiteY1992" fmla="*/ 3161451 h 3476625"/>
              <a:gd name="connsiteX1993" fmla="*/ 1561147 w 11991973"/>
              <a:gd name="connsiteY1993" fmla="*/ 3179817 h 3476625"/>
              <a:gd name="connsiteX1994" fmla="*/ 1562183 w 11991973"/>
              <a:gd name="connsiteY1994" fmla="*/ 3175996 h 3476625"/>
              <a:gd name="connsiteX1995" fmla="*/ 1554896 w 11991973"/>
              <a:gd name="connsiteY1995" fmla="*/ 3176360 h 3476625"/>
              <a:gd name="connsiteX1996" fmla="*/ 1552125 w 11991973"/>
              <a:gd name="connsiteY1996" fmla="*/ 3181676 h 3476625"/>
              <a:gd name="connsiteX1997" fmla="*/ 1480818 w 11991973"/>
              <a:gd name="connsiteY1997" fmla="*/ 3196359 h 3476625"/>
              <a:gd name="connsiteX1998" fmla="*/ 1319585 w 11991973"/>
              <a:gd name="connsiteY1998" fmla="*/ 3231267 h 3476625"/>
              <a:gd name="connsiteX1999" fmla="*/ 746005 w 11991973"/>
              <a:gd name="connsiteY1999" fmla="*/ 3295264 h 3476625"/>
              <a:gd name="connsiteX2000" fmla="*/ 919019 w 11991973"/>
              <a:gd name="connsiteY2000" fmla="*/ 3234174 h 3476625"/>
              <a:gd name="connsiteX2001" fmla="*/ 1267165 w 11991973"/>
              <a:gd name="connsiteY2001" fmla="*/ 3108363 h 3476625"/>
              <a:gd name="connsiteX2002" fmla="*/ 1337955 w 11991973"/>
              <a:gd name="connsiteY2002" fmla="*/ 3092553 h 3476625"/>
              <a:gd name="connsiteX2003" fmla="*/ 1356210 w 11991973"/>
              <a:gd name="connsiteY2003" fmla="*/ 3096586 h 3476625"/>
              <a:gd name="connsiteX2004" fmla="*/ 1466360 w 11991973"/>
              <a:gd name="connsiteY2004" fmla="*/ 3094318 h 3476625"/>
              <a:gd name="connsiteX2005" fmla="*/ 1592898 w 11991973"/>
              <a:gd name="connsiteY2005" fmla="*/ 3073602 h 3476625"/>
              <a:gd name="connsiteX2006" fmla="*/ 1582868 w 11991973"/>
              <a:gd name="connsiteY2006" fmla="*/ 3082909 h 3476625"/>
              <a:gd name="connsiteX2007" fmla="*/ 1603467 w 11991973"/>
              <a:gd name="connsiteY2007" fmla="*/ 3074774 h 3476625"/>
              <a:gd name="connsiteX2008" fmla="*/ 1616668 w 11991973"/>
              <a:gd name="connsiteY2008" fmla="*/ 3068912 h 3476625"/>
              <a:gd name="connsiteX2009" fmla="*/ 1759409 w 11991973"/>
              <a:gd name="connsiteY2009" fmla="*/ 3035275 h 3476625"/>
              <a:gd name="connsiteX2010" fmla="*/ 1797302 w 11991973"/>
              <a:gd name="connsiteY2010" fmla="*/ 3024786 h 3476625"/>
              <a:gd name="connsiteX2011" fmla="*/ 1823792 w 11991973"/>
              <a:gd name="connsiteY2011" fmla="*/ 3018776 h 3476625"/>
              <a:gd name="connsiteX2012" fmla="*/ 1851838 w 11991973"/>
              <a:gd name="connsiteY2012" fmla="*/ 3009689 h 3476625"/>
              <a:gd name="connsiteX2013" fmla="*/ 1913527 w 11991973"/>
              <a:gd name="connsiteY2013" fmla="*/ 2992613 h 3476625"/>
              <a:gd name="connsiteX2014" fmla="*/ 2164991 w 11991973"/>
              <a:gd name="connsiteY2014" fmla="*/ 2916285 h 3476625"/>
              <a:gd name="connsiteX2015" fmla="*/ 2181536 w 11991973"/>
              <a:gd name="connsiteY2015" fmla="*/ 2911364 h 3476625"/>
              <a:gd name="connsiteX2016" fmla="*/ 2224466 w 11991973"/>
              <a:gd name="connsiteY2016" fmla="*/ 2909889 h 3476625"/>
              <a:gd name="connsiteX2017" fmla="*/ 2259882 w 11991973"/>
              <a:gd name="connsiteY2017" fmla="*/ 2931644 h 3476625"/>
              <a:gd name="connsiteX2018" fmla="*/ 2447749 w 11991973"/>
              <a:gd name="connsiteY2018" fmla="*/ 2869311 h 3476625"/>
              <a:gd name="connsiteX2019" fmla="*/ 2516397 w 11991973"/>
              <a:gd name="connsiteY2019" fmla="*/ 2842866 h 3476625"/>
              <a:gd name="connsiteX2020" fmla="*/ 2541503 w 11991973"/>
              <a:gd name="connsiteY2020" fmla="*/ 2838193 h 3476625"/>
              <a:gd name="connsiteX2021" fmla="*/ 2807136 w 11991973"/>
              <a:gd name="connsiteY2021" fmla="*/ 2777469 h 3476625"/>
              <a:gd name="connsiteX2022" fmla="*/ 2539856 w 11991973"/>
              <a:gd name="connsiteY2022" fmla="*/ 2833829 h 3476625"/>
              <a:gd name="connsiteX2023" fmla="*/ 2516397 w 11991973"/>
              <a:gd name="connsiteY2023" fmla="*/ 2842866 h 3476625"/>
              <a:gd name="connsiteX2024" fmla="*/ 2377658 w 11991973"/>
              <a:gd name="connsiteY2024" fmla="*/ 2868692 h 3476625"/>
              <a:gd name="connsiteX2025" fmla="*/ 2233555 w 11991973"/>
              <a:gd name="connsiteY2025" fmla="*/ 2896736 h 3476625"/>
              <a:gd name="connsiteX2026" fmla="*/ 2205536 w 11991973"/>
              <a:gd name="connsiteY2026" fmla="*/ 2904225 h 3476625"/>
              <a:gd name="connsiteX2027" fmla="*/ 2181536 w 11991973"/>
              <a:gd name="connsiteY2027" fmla="*/ 2911364 h 3476625"/>
              <a:gd name="connsiteX2028" fmla="*/ 2164121 w 11991973"/>
              <a:gd name="connsiteY2028" fmla="*/ 2911963 h 3476625"/>
              <a:gd name="connsiteX2029" fmla="*/ 1908685 w 11991973"/>
              <a:gd name="connsiteY2029" fmla="*/ 2991271 h 3476625"/>
              <a:gd name="connsiteX2030" fmla="*/ 1851838 w 11991973"/>
              <a:gd name="connsiteY2030" fmla="*/ 3009689 h 3476625"/>
              <a:gd name="connsiteX2031" fmla="*/ 1797302 w 11991973"/>
              <a:gd name="connsiteY2031" fmla="*/ 3024786 h 3476625"/>
              <a:gd name="connsiteX2032" fmla="*/ 1751545 w 11991973"/>
              <a:gd name="connsiteY2032" fmla="*/ 3035167 h 3476625"/>
              <a:gd name="connsiteX2033" fmla="*/ 1699465 w 11991973"/>
              <a:gd name="connsiteY2033" fmla="*/ 3033457 h 3476625"/>
              <a:gd name="connsiteX2034" fmla="*/ 1643284 w 11991973"/>
              <a:gd name="connsiteY2034" fmla="*/ 3057092 h 3476625"/>
              <a:gd name="connsiteX2035" fmla="*/ 1616668 w 11991973"/>
              <a:gd name="connsiteY2035" fmla="*/ 3068912 h 3476625"/>
              <a:gd name="connsiteX2036" fmla="*/ 1605558 w 11991973"/>
              <a:gd name="connsiteY2036" fmla="*/ 3071530 h 3476625"/>
              <a:gd name="connsiteX2037" fmla="*/ 1592898 w 11991973"/>
              <a:gd name="connsiteY2037" fmla="*/ 3073602 h 3476625"/>
              <a:gd name="connsiteX2038" fmla="*/ 1611078 w 11991973"/>
              <a:gd name="connsiteY2038" fmla="*/ 3056729 h 3476625"/>
              <a:gd name="connsiteX2039" fmla="*/ 1384338 w 11991973"/>
              <a:gd name="connsiteY2039" fmla="*/ 3082194 h 3476625"/>
              <a:gd name="connsiteX2040" fmla="*/ 1337955 w 11991973"/>
              <a:gd name="connsiteY2040" fmla="*/ 3092553 h 3476625"/>
              <a:gd name="connsiteX2041" fmla="*/ 1316524 w 11991973"/>
              <a:gd name="connsiteY2041" fmla="*/ 3087818 h 3476625"/>
              <a:gd name="connsiteX2042" fmla="*/ 1303566 w 11991973"/>
              <a:gd name="connsiteY2042" fmla="*/ 3079886 h 3476625"/>
              <a:gd name="connsiteX2043" fmla="*/ 1314178 w 11991973"/>
              <a:gd name="connsiteY2043" fmla="*/ 3078545 h 3476625"/>
              <a:gd name="connsiteX2044" fmla="*/ 1321466 w 11991973"/>
              <a:gd name="connsiteY2044" fmla="*/ 3068364 h 3476625"/>
              <a:gd name="connsiteX2045" fmla="*/ 1309242 w 11991973"/>
              <a:gd name="connsiteY2045" fmla="*/ 3069819 h 3476625"/>
              <a:gd name="connsiteX2046" fmla="*/ 1302970 w 11991973"/>
              <a:gd name="connsiteY2046" fmla="*/ 3079521 h 3476625"/>
              <a:gd name="connsiteX2047" fmla="*/ 1289496 w 11991973"/>
              <a:gd name="connsiteY2047" fmla="*/ 3071274 h 3476625"/>
              <a:gd name="connsiteX2048" fmla="*/ 1267018 w 11991973"/>
              <a:gd name="connsiteY2048" fmla="*/ 3086694 h 3476625"/>
              <a:gd name="connsiteX2049" fmla="*/ 1248404 w 11991973"/>
              <a:gd name="connsiteY2049" fmla="*/ 3094618 h 3476625"/>
              <a:gd name="connsiteX2050" fmla="*/ 1248124 w 11991973"/>
              <a:gd name="connsiteY2050" fmla="*/ 3094546 h 3476625"/>
              <a:gd name="connsiteX2051" fmla="*/ 1245989 w 11991973"/>
              <a:gd name="connsiteY2051" fmla="*/ 3095647 h 3476625"/>
              <a:gd name="connsiteX2052" fmla="*/ 1227437 w 11991973"/>
              <a:gd name="connsiteY2052" fmla="*/ 3103544 h 3476625"/>
              <a:gd name="connsiteX2053" fmla="*/ 956631 w 11991973"/>
              <a:gd name="connsiteY2053" fmla="*/ 3146906 h 3476625"/>
              <a:gd name="connsiteX2054" fmla="*/ 992362 w 11991973"/>
              <a:gd name="connsiteY2054" fmla="*/ 3097454 h 3476625"/>
              <a:gd name="connsiteX2055" fmla="*/ 868243 w 11991973"/>
              <a:gd name="connsiteY2055" fmla="*/ 3149815 h 3476625"/>
              <a:gd name="connsiteX2056" fmla="*/ 794196 w 11991973"/>
              <a:gd name="connsiteY2056" fmla="*/ 3147770 h 3476625"/>
              <a:gd name="connsiteX2057" fmla="*/ 782690 w 11991973"/>
              <a:gd name="connsiteY2057" fmla="*/ 3154069 h 3476625"/>
              <a:gd name="connsiteX2058" fmla="*/ 781266 w 11991973"/>
              <a:gd name="connsiteY2058" fmla="*/ 3139634 h 3476625"/>
              <a:gd name="connsiteX2059" fmla="*/ 785497 w 11991973"/>
              <a:gd name="connsiteY2059" fmla="*/ 3111999 h 3476625"/>
              <a:gd name="connsiteX2060" fmla="*/ 762930 w 11991973"/>
              <a:gd name="connsiteY2060" fmla="*/ 3109090 h 3476625"/>
              <a:gd name="connsiteX2061" fmla="*/ 768572 w 11991973"/>
              <a:gd name="connsiteY2061" fmla="*/ 3129452 h 3476625"/>
              <a:gd name="connsiteX2062" fmla="*/ 740362 w 11991973"/>
              <a:gd name="connsiteY2062" fmla="*/ 3138180 h 3476625"/>
              <a:gd name="connsiteX2063" fmla="*/ 704631 w 11991973"/>
              <a:gd name="connsiteY2063" fmla="*/ 3149815 h 3476625"/>
              <a:gd name="connsiteX2064" fmla="*/ 616243 w 11991973"/>
              <a:gd name="connsiteY2064" fmla="*/ 3164360 h 3476625"/>
              <a:gd name="connsiteX2065" fmla="*/ 518453 w 11991973"/>
              <a:gd name="connsiteY2065" fmla="*/ 3173087 h 3476625"/>
              <a:gd name="connsiteX2066" fmla="*/ 493770 w 11991973"/>
              <a:gd name="connsiteY2066" fmla="*/ 3142544 h 3476625"/>
              <a:gd name="connsiteX2067" fmla="*/ 489886 w 11991973"/>
              <a:gd name="connsiteY2067" fmla="*/ 3146644 h 3476625"/>
              <a:gd name="connsiteX2068" fmla="*/ 487424 w 11991973"/>
              <a:gd name="connsiteY2068" fmla="*/ 3142953 h 3476625"/>
              <a:gd name="connsiteX2069" fmla="*/ 487424 w 11991973"/>
              <a:gd name="connsiteY2069" fmla="*/ 3145816 h 3476625"/>
              <a:gd name="connsiteX2070" fmla="*/ 488609 w 11991973"/>
              <a:gd name="connsiteY2070" fmla="*/ 3147993 h 3476625"/>
              <a:gd name="connsiteX2071" fmla="*/ 467940 w 11991973"/>
              <a:gd name="connsiteY2071" fmla="*/ 3169815 h 3476625"/>
              <a:gd name="connsiteX2072" fmla="*/ 450941 w 11991973"/>
              <a:gd name="connsiteY2072" fmla="*/ 3182190 h 3476625"/>
              <a:gd name="connsiteX2073" fmla="*/ 445816 w 11991973"/>
              <a:gd name="connsiteY2073" fmla="*/ 3165088 h 3476625"/>
              <a:gd name="connsiteX2074" fmla="*/ 439205 w 11991973"/>
              <a:gd name="connsiteY2074" fmla="*/ 3153368 h 3476625"/>
              <a:gd name="connsiteX2075" fmla="*/ 456012 w 11991973"/>
              <a:gd name="connsiteY2075" fmla="*/ 3141043 h 3476625"/>
              <a:gd name="connsiteX2076" fmla="*/ 431946 w 11991973"/>
              <a:gd name="connsiteY2076" fmla="*/ 3138180 h 3476625"/>
              <a:gd name="connsiteX2077" fmla="*/ 537258 w 11991973"/>
              <a:gd name="connsiteY2077" fmla="*/ 3129452 h 3476625"/>
              <a:gd name="connsiteX2078" fmla="*/ 783616 w 11991973"/>
              <a:gd name="connsiteY2078" fmla="*/ 3016003 h 3476625"/>
              <a:gd name="connsiteX2079" fmla="*/ 772332 w 11991973"/>
              <a:gd name="connsiteY2079" fmla="*/ 3007277 h 3476625"/>
              <a:gd name="connsiteX2080" fmla="*/ 777974 w 11991973"/>
              <a:gd name="connsiteY2080" fmla="*/ 3036366 h 3476625"/>
              <a:gd name="connsiteX2081" fmla="*/ 1092035 w 11991973"/>
              <a:gd name="connsiteY2081" fmla="*/ 2928735 h 3476625"/>
              <a:gd name="connsiteX2082" fmla="*/ 742243 w 11991973"/>
              <a:gd name="connsiteY2082" fmla="*/ 2960733 h 3476625"/>
              <a:gd name="connsiteX2083" fmla="*/ 869418 w 11991973"/>
              <a:gd name="connsiteY2083" fmla="*/ 2900008 h 3476625"/>
              <a:gd name="connsiteX2084" fmla="*/ 938507 w 11991973"/>
              <a:gd name="connsiteY2084" fmla="*/ 2873900 h 3476625"/>
              <a:gd name="connsiteX2085" fmla="*/ 950050 w 11991973"/>
              <a:gd name="connsiteY2085" fmla="*/ 2873828 h 3476625"/>
              <a:gd name="connsiteX2086" fmla="*/ 1014930 w 11991973"/>
              <a:gd name="connsiteY2086" fmla="*/ 2858919 h 3476625"/>
              <a:gd name="connsiteX2087" fmla="*/ 960952 w 11991973"/>
              <a:gd name="connsiteY2087" fmla="*/ 2865419 h 3476625"/>
              <a:gd name="connsiteX2088" fmla="*/ 938507 w 11991973"/>
              <a:gd name="connsiteY2088" fmla="*/ 2873900 h 3476625"/>
              <a:gd name="connsiteX2089" fmla="*/ 913906 w 11991973"/>
              <a:gd name="connsiteY2089" fmla="*/ 2874055 h 3476625"/>
              <a:gd name="connsiteX2090" fmla="*/ 902095 w 11991973"/>
              <a:gd name="connsiteY2090" fmla="*/ 2873464 h 3476625"/>
              <a:gd name="connsiteX2091" fmla="*/ 917138 w 11991973"/>
              <a:gd name="connsiteY2091" fmla="*/ 2847283 h 3476625"/>
              <a:gd name="connsiteX2092" fmla="*/ 929833 w 11991973"/>
              <a:gd name="connsiteY2092" fmla="*/ 2857829 h 3476625"/>
              <a:gd name="connsiteX2093" fmla="*/ 932626 w 11991973"/>
              <a:gd name="connsiteY2093" fmla="*/ 2853835 h 3476625"/>
              <a:gd name="connsiteX2094" fmla="*/ 928423 w 11991973"/>
              <a:gd name="connsiteY2094" fmla="*/ 2870555 h 3476625"/>
              <a:gd name="connsiteX2095" fmla="*/ 1069466 w 11991973"/>
              <a:gd name="connsiteY2095" fmla="*/ 2815286 h 3476625"/>
              <a:gd name="connsiteX2096" fmla="*/ 1039377 w 11991973"/>
              <a:gd name="connsiteY2096" fmla="*/ 2838557 h 3476625"/>
              <a:gd name="connsiteX2097" fmla="*/ 1597913 w 11991973"/>
              <a:gd name="connsiteY2097" fmla="*/ 2666928 h 3476625"/>
              <a:gd name="connsiteX2098" fmla="*/ 1565943 w 11991973"/>
              <a:gd name="connsiteY2098" fmla="*/ 2658201 h 3476625"/>
              <a:gd name="connsiteX2099" fmla="*/ 1560301 w 11991973"/>
              <a:gd name="connsiteY2099" fmla="*/ 2655292 h 3476625"/>
              <a:gd name="connsiteX2100" fmla="*/ 1618601 w 11991973"/>
              <a:gd name="connsiteY2100" fmla="*/ 2678564 h 3476625"/>
              <a:gd name="connsiteX2101" fmla="*/ 1784328 w 11991973"/>
              <a:gd name="connsiteY2101" fmla="*/ 2617840 h 3476625"/>
              <a:gd name="connsiteX2102" fmla="*/ 1852459 w 11991973"/>
              <a:gd name="connsiteY2102" fmla="*/ 2591067 h 3476625"/>
              <a:gd name="connsiteX2103" fmla="*/ 1895637 w 11991973"/>
              <a:gd name="connsiteY2103" fmla="*/ 2579615 h 3476625"/>
              <a:gd name="connsiteX2104" fmla="*/ 1928899 w 11991973"/>
              <a:gd name="connsiteY2104" fmla="*/ 2576751 h 3476625"/>
              <a:gd name="connsiteX2105" fmla="*/ 1880679 w 11991973"/>
              <a:gd name="connsiteY2105" fmla="*/ 2579977 h 3476625"/>
              <a:gd name="connsiteX2106" fmla="*/ 1852459 w 11991973"/>
              <a:gd name="connsiteY2106" fmla="*/ 2591067 h 3476625"/>
              <a:gd name="connsiteX2107" fmla="*/ 1844740 w 11991973"/>
              <a:gd name="connsiteY2107" fmla="*/ 2593113 h 3476625"/>
              <a:gd name="connsiteX2108" fmla="*/ 1763406 w 11991973"/>
              <a:gd name="connsiteY2108" fmla="*/ 2602931 h 3476625"/>
              <a:gd name="connsiteX2109" fmla="*/ 1784092 w 11991973"/>
              <a:gd name="connsiteY2109" fmla="*/ 2585477 h 3476625"/>
              <a:gd name="connsiteX2110" fmla="*/ 1759176 w 11991973"/>
              <a:gd name="connsiteY2110" fmla="*/ 2583660 h 3476625"/>
              <a:gd name="connsiteX2111" fmla="*/ 1756047 w 11991973"/>
              <a:gd name="connsiteY2111" fmla="*/ 2584753 h 3476625"/>
              <a:gd name="connsiteX2112" fmla="*/ 1756820 w 11991973"/>
              <a:gd name="connsiteY2112" fmla="*/ 2580074 h 3476625"/>
              <a:gd name="connsiteX2113" fmla="*/ 1893167 w 11991973"/>
              <a:gd name="connsiteY2113" fmla="*/ 2547661 h 3476625"/>
              <a:gd name="connsiteX2114" fmla="*/ 1877859 w 11991973"/>
              <a:gd name="connsiteY2114" fmla="*/ 2546434 h 3476625"/>
              <a:gd name="connsiteX2115" fmla="*/ 1826847 w 11991973"/>
              <a:gd name="connsiteY2115" fmla="*/ 2552190 h 3476625"/>
              <a:gd name="connsiteX2116" fmla="*/ 1831519 w 11991973"/>
              <a:gd name="connsiteY2116" fmla="*/ 2546933 h 3476625"/>
              <a:gd name="connsiteX2117" fmla="*/ 1820059 w 11991973"/>
              <a:gd name="connsiteY2117" fmla="*/ 2552388 h 3476625"/>
              <a:gd name="connsiteX2118" fmla="*/ 1819934 w 11991973"/>
              <a:gd name="connsiteY2118" fmla="*/ 2552971 h 3476625"/>
              <a:gd name="connsiteX2119" fmla="*/ 1818649 w 11991973"/>
              <a:gd name="connsiteY2119" fmla="*/ 2553115 h 3476625"/>
              <a:gd name="connsiteX2120" fmla="*/ 1725794 w 11991973"/>
              <a:gd name="connsiteY2120" fmla="*/ 2573841 h 3476625"/>
              <a:gd name="connsiteX2121" fmla="*/ 1603556 w 11991973"/>
              <a:gd name="connsiteY2121" fmla="*/ 2620385 h 3476625"/>
              <a:gd name="connsiteX2122" fmla="*/ 1319585 w 11991973"/>
              <a:gd name="connsiteY2122" fmla="*/ 2664019 h 3476625"/>
              <a:gd name="connsiteX2123" fmla="*/ 742243 w 11991973"/>
              <a:gd name="connsiteY2123" fmla="*/ 2748379 h 3476625"/>
              <a:gd name="connsiteX2124" fmla="*/ 762930 w 11991973"/>
              <a:gd name="connsiteY2124" fmla="*/ 2725107 h 3476625"/>
              <a:gd name="connsiteX2125" fmla="*/ 729078 w 11991973"/>
              <a:gd name="connsiteY2125" fmla="*/ 2730925 h 3476625"/>
              <a:gd name="connsiteX2126" fmla="*/ 744123 w 11991973"/>
              <a:gd name="connsiteY2126" fmla="*/ 2762924 h 3476625"/>
              <a:gd name="connsiteX2127" fmla="*/ 680184 w 11991973"/>
              <a:gd name="connsiteY2127" fmla="*/ 2739652 h 3476625"/>
              <a:gd name="connsiteX2128" fmla="*/ 574870 w 11991973"/>
              <a:gd name="connsiteY2128" fmla="*/ 2733834 h 3476625"/>
              <a:gd name="connsiteX2129" fmla="*/ 729579 w 11991973"/>
              <a:gd name="connsiteY2129" fmla="*/ 2659383 h 3476625"/>
              <a:gd name="connsiteX2130" fmla="*/ 768256 w 11991973"/>
              <a:gd name="connsiteY2130" fmla="*/ 2652440 h 3476625"/>
              <a:gd name="connsiteX2131" fmla="*/ 768689 w 11991973"/>
              <a:gd name="connsiteY2131" fmla="*/ 2654792 h 3476625"/>
              <a:gd name="connsiteX2132" fmla="*/ 826870 w 11991973"/>
              <a:gd name="connsiteY2132" fmla="*/ 2675654 h 3476625"/>
              <a:gd name="connsiteX2133" fmla="*/ 813705 w 11991973"/>
              <a:gd name="connsiteY2133" fmla="*/ 2649474 h 3476625"/>
              <a:gd name="connsiteX2134" fmla="*/ 743419 w 11991973"/>
              <a:gd name="connsiteY2134" fmla="*/ 2650929 h 3476625"/>
              <a:gd name="connsiteX2135" fmla="*/ 694733 w 11991973"/>
              <a:gd name="connsiteY2135" fmla="*/ 2665176 h 3476625"/>
              <a:gd name="connsiteX2136" fmla="*/ 698343 w 11991973"/>
              <a:gd name="connsiteY2136" fmla="*/ 2660020 h 3476625"/>
              <a:gd name="connsiteX2137" fmla="*/ 695699 w 11991973"/>
              <a:gd name="connsiteY2137" fmla="*/ 2661111 h 3476625"/>
              <a:gd name="connsiteX2138" fmla="*/ 693562 w 11991973"/>
              <a:gd name="connsiteY2138" fmla="*/ 2665518 h 3476625"/>
              <a:gd name="connsiteX2139" fmla="*/ 689675 w 11991973"/>
              <a:gd name="connsiteY2139" fmla="*/ 2666656 h 3476625"/>
              <a:gd name="connsiteX2140" fmla="*/ 688661 w 11991973"/>
              <a:gd name="connsiteY2140" fmla="*/ 2666976 h 3476625"/>
              <a:gd name="connsiteX2141" fmla="*/ 683710 w 11991973"/>
              <a:gd name="connsiteY2141" fmla="*/ 2664020 h 3476625"/>
              <a:gd name="connsiteX2142" fmla="*/ 679744 w 11991973"/>
              <a:gd name="connsiteY2142" fmla="*/ 2665383 h 3476625"/>
              <a:gd name="connsiteX2143" fmla="*/ 682633 w 11991973"/>
              <a:gd name="connsiteY2143" fmla="*/ 2668881 h 3476625"/>
              <a:gd name="connsiteX2144" fmla="*/ 651975 w 11991973"/>
              <a:gd name="connsiteY2144" fmla="*/ 2678564 h 3476625"/>
              <a:gd name="connsiteX2145" fmla="*/ 533498 w 11991973"/>
              <a:gd name="connsiteY2145" fmla="*/ 2655292 h 3476625"/>
              <a:gd name="connsiteX2146" fmla="*/ 537258 w 11991973"/>
              <a:gd name="connsiteY2146" fmla="*/ 2649474 h 3476625"/>
              <a:gd name="connsiteX2147" fmla="*/ 586154 w 11991973"/>
              <a:gd name="connsiteY2147" fmla="*/ 2611658 h 3476625"/>
              <a:gd name="connsiteX2148" fmla="*/ 553245 w 11991973"/>
              <a:gd name="connsiteY2148" fmla="*/ 2607659 h 3476625"/>
              <a:gd name="connsiteX2149" fmla="*/ 540567 w 11991973"/>
              <a:gd name="connsiteY2149" fmla="*/ 2606598 h 3476625"/>
              <a:gd name="connsiteX2150" fmla="*/ 526915 w 11991973"/>
              <a:gd name="connsiteY2150" fmla="*/ 2590204 h 3476625"/>
              <a:gd name="connsiteX2151" fmla="*/ 503408 w 11991973"/>
              <a:gd name="connsiteY2151" fmla="*/ 2597113 h 3476625"/>
              <a:gd name="connsiteX2152" fmla="*/ 730960 w 11991973"/>
              <a:gd name="connsiteY2152" fmla="*/ 2416757 h 3476625"/>
              <a:gd name="connsiteX2153" fmla="*/ 685826 w 11991973"/>
              <a:gd name="connsiteY2153" fmla="*/ 2396395 h 3476625"/>
              <a:gd name="connsiteX2154" fmla="*/ 875765 w 11991973"/>
              <a:gd name="connsiteY2154" fmla="*/ 2277127 h 3476625"/>
              <a:gd name="connsiteX2155" fmla="*/ 998004 w 11991973"/>
              <a:gd name="connsiteY2155" fmla="*/ 2230584 h 3476625"/>
              <a:gd name="connsiteX2156" fmla="*/ 954751 w 11991973"/>
              <a:gd name="connsiteY2156" fmla="*/ 2224766 h 3476625"/>
              <a:gd name="connsiteX2157" fmla="*/ 1081927 w 11991973"/>
              <a:gd name="connsiteY2157" fmla="*/ 2148087 h 3476625"/>
              <a:gd name="connsiteX2158" fmla="*/ 1110355 w 11991973"/>
              <a:gd name="connsiteY2158" fmla="*/ 2139822 h 3476625"/>
              <a:gd name="connsiteX2159" fmla="*/ 1271002 w 11991973"/>
              <a:gd name="connsiteY2159" fmla="*/ 2106285 h 3476625"/>
              <a:gd name="connsiteX2160" fmla="*/ 1399042 w 11991973"/>
              <a:gd name="connsiteY2160" fmla="*/ 2088545 h 3476625"/>
              <a:gd name="connsiteX2161" fmla="*/ 1545256 w 11991973"/>
              <a:gd name="connsiteY2161" fmla="*/ 2056047 h 3476625"/>
              <a:gd name="connsiteX2162" fmla="*/ 1532504 w 11991973"/>
              <a:gd name="connsiteY2162" fmla="*/ 2058729 h 3476625"/>
              <a:gd name="connsiteX2163" fmla="*/ 1507721 w 11991973"/>
              <a:gd name="connsiteY2163" fmla="*/ 2051981 h 3476625"/>
              <a:gd name="connsiteX2164" fmla="*/ 1507730 w 11991973"/>
              <a:gd name="connsiteY2164" fmla="*/ 2051978 h 3476625"/>
              <a:gd name="connsiteX2165" fmla="*/ 1938300 w 11991973"/>
              <a:gd name="connsiteY2165" fmla="*/ 1861146 h 3476625"/>
              <a:gd name="connsiteX2166" fmla="*/ 1794701 w 11991973"/>
              <a:gd name="connsiteY2166" fmla="*/ 1877100 h 3476625"/>
              <a:gd name="connsiteX2167" fmla="*/ 1788416 w 11991973"/>
              <a:gd name="connsiteY2167" fmla="*/ 1878999 h 3476625"/>
              <a:gd name="connsiteX2168" fmla="*/ 1805015 w 11991973"/>
              <a:gd name="connsiteY2168" fmla="*/ 1867329 h 3476625"/>
              <a:gd name="connsiteX2169" fmla="*/ 1834868 w 11991973"/>
              <a:gd name="connsiteY2169" fmla="*/ 1858237 h 3476625"/>
              <a:gd name="connsiteX2170" fmla="*/ 1819772 w 11991973"/>
              <a:gd name="connsiteY2170" fmla="*/ 1841392 h 3476625"/>
              <a:gd name="connsiteX2171" fmla="*/ 1823979 w 11991973"/>
              <a:gd name="connsiteY2171" fmla="*/ 1838245 h 3476625"/>
              <a:gd name="connsiteX2172" fmla="*/ 1823351 w 11991973"/>
              <a:gd name="connsiteY2172" fmla="*/ 1822239 h 3476625"/>
              <a:gd name="connsiteX2173" fmla="*/ 1810116 w 11991973"/>
              <a:gd name="connsiteY2173" fmla="*/ 1825296 h 3476625"/>
              <a:gd name="connsiteX2174" fmla="*/ 1814183 w 11991973"/>
              <a:gd name="connsiteY2174" fmla="*/ 1823330 h 3476625"/>
              <a:gd name="connsiteX2175" fmla="*/ 1804171 w 11991973"/>
              <a:gd name="connsiteY2175" fmla="*/ 1826669 h 3476625"/>
              <a:gd name="connsiteX2176" fmla="*/ 1804018 w 11991973"/>
              <a:gd name="connsiteY2176" fmla="*/ 1826704 h 3476625"/>
              <a:gd name="connsiteX2177" fmla="*/ 1798916 w 11991973"/>
              <a:gd name="connsiteY2177" fmla="*/ 1822705 h 3476625"/>
              <a:gd name="connsiteX2178" fmla="*/ 1827522 w 11991973"/>
              <a:gd name="connsiteY2178" fmla="*/ 1819830 h 3476625"/>
              <a:gd name="connsiteX2179" fmla="*/ 1844272 w 11991973"/>
              <a:gd name="connsiteY2179" fmla="*/ 1817512 h 3476625"/>
              <a:gd name="connsiteX2180" fmla="*/ 1780331 w 11991973"/>
              <a:gd name="connsiteY2180" fmla="*/ 1805876 h 3476625"/>
              <a:gd name="connsiteX2181" fmla="*/ 1868719 w 11991973"/>
              <a:gd name="connsiteY2181" fmla="*/ 1776786 h 3476625"/>
              <a:gd name="connsiteX2182" fmla="*/ 1334630 w 11991973"/>
              <a:gd name="connsiteY2182" fmla="*/ 1930961 h 3476625"/>
              <a:gd name="connsiteX2183" fmla="*/ 1294433 w 11991973"/>
              <a:gd name="connsiteY2183" fmla="*/ 1883327 h 3476625"/>
              <a:gd name="connsiteX2184" fmla="*/ 1276915 w 11991973"/>
              <a:gd name="connsiteY2184" fmla="*/ 1900017 h 3476625"/>
              <a:gd name="connsiteX2185" fmla="*/ 1275862 w 11991973"/>
              <a:gd name="connsiteY2185" fmla="*/ 1897508 h 3476625"/>
              <a:gd name="connsiteX2186" fmla="*/ 1265048 w 11991973"/>
              <a:gd name="connsiteY2186" fmla="*/ 1887327 h 3476625"/>
              <a:gd name="connsiteX2187" fmla="*/ 958512 w 11991973"/>
              <a:gd name="connsiteY2187" fmla="*/ 1954234 h 3476625"/>
              <a:gd name="connsiteX2188" fmla="*/ 334155 w 11991973"/>
              <a:gd name="connsiteY2188" fmla="*/ 2047320 h 3476625"/>
              <a:gd name="connsiteX2189" fmla="*/ 522214 w 11991973"/>
              <a:gd name="connsiteY2189" fmla="*/ 1974596 h 3476625"/>
              <a:gd name="connsiteX2190" fmla="*/ 1020571 w 11991973"/>
              <a:gd name="connsiteY2190" fmla="*/ 1855328 h 3476625"/>
              <a:gd name="connsiteX2191" fmla="*/ 1231198 w 11991973"/>
              <a:gd name="connsiteY2191" fmla="*/ 1750606 h 3476625"/>
              <a:gd name="connsiteX2192" fmla="*/ 937826 w 11991973"/>
              <a:gd name="connsiteY2192" fmla="*/ 1794240 h 3476625"/>
              <a:gd name="connsiteX2193" fmla="*/ 574871 w 11991973"/>
              <a:gd name="connsiteY2193" fmla="*/ 1884418 h 3476625"/>
              <a:gd name="connsiteX2194" fmla="*/ 614364 w 11991973"/>
              <a:gd name="connsiteY2194" fmla="*/ 1832057 h 3476625"/>
              <a:gd name="connsiteX2195" fmla="*/ 480840 w 11991973"/>
              <a:gd name="connsiteY2195" fmla="*/ 1893145 h 3476625"/>
              <a:gd name="connsiteX2196" fmla="*/ 415019 w 11991973"/>
              <a:gd name="connsiteY2196" fmla="*/ 1916417 h 3476625"/>
              <a:gd name="connsiteX2197" fmla="*/ 387252 w 11991973"/>
              <a:gd name="connsiteY2197" fmla="*/ 1864464 h 3476625"/>
              <a:gd name="connsiteX2198" fmla="*/ 388547 w 11991973"/>
              <a:gd name="connsiteY2198" fmla="*/ 1861480 h 3476625"/>
              <a:gd name="connsiteX2199" fmla="*/ 389397 w 11991973"/>
              <a:gd name="connsiteY2199" fmla="*/ 1861510 h 3476625"/>
              <a:gd name="connsiteX2200" fmla="*/ 398095 w 11991973"/>
              <a:gd name="connsiteY2200" fmla="*/ 1855328 h 3476625"/>
              <a:gd name="connsiteX2201" fmla="*/ 379288 w 11991973"/>
              <a:gd name="connsiteY2201" fmla="*/ 1861147 h 3476625"/>
              <a:gd name="connsiteX2202" fmla="*/ 388348 w 11991973"/>
              <a:gd name="connsiteY2202" fmla="*/ 1861472 h 3476625"/>
              <a:gd name="connsiteX2203" fmla="*/ 372943 w 11991973"/>
              <a:gd name="connsiteY2203" fmla="*/ 1876055 h 3476625"/>
              <a:gd name="connsiteX2204" fmla="*/ 364244 w 11991973"/>
              <a:gd name="connsiteY2204" fmla="*/ 1858237 h 3476625"/>
              <a:gd name="connsiteX2205" fmla="*/ 371766 w 11991973"/>
              <a:gd name="connsiteY2205" fmla="*/ 1878600 h 3476625"/>
              <a:gd name="connsiteX2206" fmla="*/ 339797 w 11991973"/>
              <a:gd name="connsiteY2206" fmla="*/ 1887327 h 3476625"/>
              <a:gd name="connsiteX2207" fmla="*/ 302184 w 11991973"/>
              <a:gd name="connsiteY2207" fmla="*/ 1901872 h 3476625"/>
              <a:gd name="connsiteX2208" fmla="*/ 206275 w 11991973"/>
              <a:gd name="connsiteY2208" fmla="*/ 1922234 h 3476625"/>
              <a:gd name="connsiteX2209" fmla="*/ 100961 w 11991973"/>
              <a:gd name="connsiteY2209" fmla="*/ 1939689 h 3476625"/>
              <a:gd name="connsiteX2210" fmla="*/ 45426 w 11991973"/>
              <a:gd name="connsiteY2210" fmla="*/ 1942143 h 3476625"/>
              <a:gd name="connsiteX2211" fmla="*/ 26828 w 11991973"/>
              <a:gd name="connsiteY2211" fmla="*/ 1956391 h 3476625"/>
              <a:gd name="connsiteX2212" fmla="*/ 19860 w 11991973"/>
              <a:gd name="connsiteY2212" fmla="*/ 1937143 h 3476625"/>
              <a:gd name="connsiteX2213" fmla="*/ 13474 w 11991973"/>
              <a:gd name="connsiteY2213" fmla="*/ 1927620 h 3476625"/>
              <a:gd name="connsiteX2214" fmla="*/ 21505 w 11991973"/>
              <a:gd name="connsiteY2214" fmla="*/ 1921581 h 3476625"/>
              <a:gd name="connsiteX2215" fmla="*/ 5051 w 11991973"/>
              <a:gd name="connsiteY2215" fmla="*/ 1913508 h 3476625"/>
              <a:gd name="connsiteX2216" fmla="*/ 119766 w 11991973"/>
              <a:gd name="connsiteY2216" fmla="*/ 1893144 h 3476625"/>
              <a:gd name="connsiteX2217" fmla="*/ 386811 w 11991973"/>
              <a:gd name="connsiteY2217" fmla="*/ 1759333 h 3476625"/>
              <a:gd name="connsiteX2218" fmla="*/ 373648 w 11991973"/>
              <a:gd name="connsiteY2218" fmla="*/ 1750606 h 3476625"/>
              <a:gd name="connsiteX2219" fmla="*/ 379288 w 11991973"/>
              <a:gd name="connsiteY2219" fmla="*/ 1779695 h 3476625"/>
              <a:gd name="connsiteX2220" fmla="*/ 586625 w 11991973"/>
              <a:gd name="connsiteY2220" fmla="*/ 1736789 h 3476625"/>
              <a:gd name="connsiteX2221" fmla="*/ 651645 w 11991973"/>
              <a:gd name="connsiteY2221" fmla="*/ 1702297 h 3476625"/>
              <a:gd name="connsiteX2222" fmla="*/ 651976 w 11991973"/>
              <a:gd name="connsiteY2222" fmla="*/ 1702245 h 3476625"/>
              <a:gd name="connsiteX2223" fmla="*/ 663258 w 11991973"/>
              <a:gd name="connsiteY2223" fmla="*/ 1698244 h 3476625"/>
              <a:gd name="connsiteX2224" fmla="*/ 661245 w 11991973"/>
              <a:gd name="connsiteY2224" fmla="*/ 1697205 h 3476625"/>
              <a:gd name="connsiteX2225" fmla="*/ 672308 w 11991973"/>
              <a:gd name="connsiteY2225" fmla="*/ 1691336 h 3476625"/>
              <a:gd name="connsiteX2226" fmla="*/ 723437 w 11991973"/>
              <a:gd name="connsiteY2226" fmla="*/ 1654611 h 3476625"/>
              <a:gd name="connsiteX2227" fmla="*/ 339796 w 11991973"/>
              <a:gd name="connsiteY2227" fmla="*/ 1704063 h 3476625"/>
              <a:gd name="connsiteX2228" fmla="*/ 479430 w 11991973"/>
              <a:gd name="connsiteY2228" fmla="*/ 1632429 h 3476625"/>
              <a:gd name="connsiteX2229" fmla="*/ 549250 w 11991973"/>
              <a:gd name="connsiteY2229" fmla="*/ 1604313 h 3476625"/>
              <a:gd name="connsiteX2230" fmla="*/ 564997 w 11991973"/>
              <a:gd name="connsiteY2230" fmla="*/ 1603703 h 3476625"/>
              <a:gd name="connsiteX2231" fmla="*/ 611249 w 11991973"/>
              <a:gd name="connsiteY2231" fmla="*/ 1597795 h 3476625"/>
              <a:gd name="connsiteX2232" fmla="*/ 633682 w 11991973"/>
              <a:gd name="connsiteY2232" fmla="*/ 1587214 h 3476625"/>
              <a:gd name="connsiteX2233" fmla="*/ 630837 w 11991973"/>
              <a:gd name="connsiteY2233" fmla="*/ 1593795 h 3476625"/>
              <a:gd name="connsiteX2234" fmla="*/ 636931 w 11991973"/>
              <a:gd name="connsiteY2234" fmla="*/ 1610976 h 3476625"/>
              <a:gd name="connsiteX2235" fmla="*/ 664169 w 11991973"/>
              <a:gd name="connsiteY2235" fmla="*/ 1606067 h 3476625"/>
              <a:gd name="connsiteX2236" fmla="*/ 654674 w 11991973"/>
              <a:gd name="connsiteY2236" fmla="*/ 1593378 h 3476625"/>
              <a:gd name="connsiteX2237" fmla="*/ 666520 w 11991973"/>
              <a:gd name="connsiteY2237" fmla="*/ 1592750 h 3476625"/>
              <a:gd name="connsiteX2238" fmla="*/ 719676 w 11991973"/>
              <a:gd name="connsiteY2238" fmla="*/ 1596431 h 3476625"/>
              <a:gd name="connsiteX2239" fmla="*/ 661132 w 11991973"/>
              <a:gd name="connsiteY2239" fmla="*/ 1586130 h 3476625"/>
              <a:gd name="connsiteX2240" fmla="*/ 653725 w 11991973"/>
              <a:gd name="connsiteY2240" fmla="*/ 1592109 h 3476625"/>
              <a:gd name="connsiteX2241" fmla="*/ 653151 w 11991973"/>
              <a:gd name="connsiteY2241" fmla="*/ 1591341 h 3476625"/>
              <a:gd name="connsiteX2242" fmla="*/ 634876 w 11991973"/>
              <a:gd name="connsiteY2242" fmla="*/ 1586651 h 3476625"/>
              <a:gd name="connsiteX2243" fmla="*/ 638810 w 11991973"/>
              <a:gd name="connsiteY2243" fmla="*/ 1584795 h 3476625"/>
              <a:gd name="connsiteX2244" fmla="*/ 578866 w 11991973"/>
              <a:gd name="connsiteY2244" fmla="*/ 1592386 h 3476625"/>
              <a:gd name="connsiteX2245" fmla="*/ 549250 w 11991973"/>
              <a:gd name="connsiteY2245" fmla="*/ 1604313 h 3476625"/>
              <a:gd name="connsiteX2246" fmla="*/ 525094 w 11991973"/>
              <a:gd name="connsiteY2246" fmla="*/ 1605248 h 3476625"/>
              <a:gd name="connsiteX2247" fmla="*/ 516573 w 11991973"/>
              <a:gd name="connsiteY2247" fmla="*/ 1605157 h 3476625"/>
              <a:gd name="connsiteX2248" fmla="*/ 533498 w 11991973"/>
              <a:gd name="connsiteY2248" fmla="*/ 1576069 h 3476625"/>
              <a:gd name="connsiteX2249" fmla="*/ 548072 w 11991973"/>
              <a:gd name="connsiteY2249" fmla="*/ 1585159 h 3476625"/>
              <a:gd name="connsiteX2250" fmla="*/ 553091 w 11991973"/>
              <a:gd name="connsiteY2250" fmla="*/ 1578340 h 3476625"/>
              <a:gd name="connsiteX2251" fmla="*/ 548542 w 11991973"/>
              <a:gd name="connsiteY2251" fmla="*/ 1596431 h 3476625"/>
              <a:gd name="connsiteX2252" fmla="*/ 702750 w 11991973"/>
              <a:gd name="connsiteY2252" fmla="*/ 1532434 h 3476625"/>
              <a:gd name="connsiteX2253" fmla="*/ 668900 w 11991973"/>
              <a:gd name="connsiteY2253" fmla="*/ 1558615 h 3476625"/>
              <a:gd name="connsiteX2254" fmla="*/ 1283855 w 11991973"/>
              <a:gd name="connsiteY2254" fmla="*/ 1369532 h 3476625"/>
              <a:gd name="connsiteX2255" fmla="*/ 1242481 w 11991973"/>
              <a:gd name="connsiteY2255" fmla="*/ 1357896 h 3476625"/>
              <a:gd name="connsiteX2256" fmla="*/ 1304541 w 11991973"/>
              <a:gd name="connsiteY2256" fmla="*/ 1381168 h 3476625"/>
              <a:gd name="connsiteX2257" fmla="*/ 1931302 w 11991973"/>
              <a:gd name="connsiteY2257" fmla="*/ 1232664 h 3476625"/>
              <a:gd name="connsiteX2258" fmla="*/ 2003939 w 11991973"/>
              <a:gd name="connsiteY2258" fmla="*/ 1185899 h 3476625"/>
              <a:gd name="connsiteX2259" fmla="*/ 2028129 w 11991973"/>
              <a:gd name="connsiteY2259" fmla="*/ 1183404 h 3476625"/>
              <a:gd name="connsiteX2260" fmla="*/ 2009617 w 11991973"/>
              <a:gd name="connsiteY2260" fmla="*/ 1184223 h 3476625"/>
              <a:gd name="connsiteX2261" fmla="*/ 2004936 w 11991973"/>
              <a:gd name="connsiteY2261" fmla="*/ 1185256 h 3476625"/>
              <a:gd name="connsiteX2262" fmla="*/ 2007882 w 11991973"/>
              <a:gd name="connsiteY2262" fmla="*/ 1183359 h 3476625"/>
              <a:gd name="connsiteX2263" fmla="*/ 2011645 w 11991973"/>
              <a:gd name="connsiteY2263" fmla="*/ 1174632 h 3476625"/>
              <a:gd name="connsiteX2264" fmla="*/ 1423019 w 11991973"/>
              <a:gd name="connsiteY2264" fmla="*/ 1276446 h 3476625"/>
              <a:gd name="connsiteX2265" fmla="*/ 1287616 w 11991973"/>
              <a:gd name="connsiteY2265" fmla="*/ 1325898 h 3476625"/>
              <a:gd name="connsiteX2266" fmla="*/ 975437 w 11991973"/>
              <a:gd name="connsiteY2266" fmla="*/ 1375350 h 3476625"/>
              <a:gd name="connsiteX2267" fmla="*/ 339796 w 11991973"/>
              <a:gd name="connsiteY2267" fmla="*/ 1488799 h 3476625"/>
              <a:gd name="connsiteX2268" fmla="*/ 364244 w 11991973"/>
              <a:gd name="connsiteY2268" fmla="*/ 1465528 h 3476625"/>
              <a:gd name="connsiteX2269" fmla="*/ 326632 w 11991973"/>
              <a:gd name="connsiteY2269" fmla="*/ 1471346 h 3476625"/>
              <a:gd name="connsiteX2270" fmla="*/ 343558 w 11991973"/>
              <a:gd name="connsiteY2270" fmla="*/ 1503344 h 3476625"/>
              <a:gd name="connsiteX2271" fmla="*/ 261047 w 11991973"/>
              <a:gd name="connsiteY2271" fmla="*/ 1507844 h 3476625"/>
              <a:gd name="connsiteX2272" fmla="*/ 270579 w 11991973"/>
              <a:gd name="connsiteY2272" fmla="*/ 1488903 h 3476625"/>
              <a:gd name="connsiteX2273" fmla="*/ 285729 w 11991973"/>
              <a:gd name="connsiteY2273" fmla="*/ 1489163 h 3476625"/>
              <a:gd name="connsiteX2274" fmla="*/ 309706 w 11991973"/>
              <a:gd name="connsiteY2274" fmla="*/ 1474254 h 3476625"/>
              <a:gd name="connsiteX2275" fmla="*/ 287141 w 11991973"/>
              <a:gd name="connsiteY2275" fmla="*/ 1480436 h 3476625"/>
              <a:gd name="connsiteX2276" fmla="*/ 272020 w 11991973"/>
              <a:gd name="connsiteY2276" fmla="*/ 1486039 h 3476625"/>
              <a:gd name="connsiteX2277" fmla="*/ 272095 w 11991973"/>
              <a:gd name="connsiteY2277" fmla="*/ 1485890 h 3476625"/>
              <a:gd name="connsiteX2278" fmla="*/ 155499 w 11991973"/>
              <a:gd name="connsiteY2278" fmla="*/ 1485890 h 3476625"/>
              <a:gd name="connsiteX2279" fmla="*/ 326863 w 11991973"/>
              <a:gd name="connsiteY2279" fmla="*/ 1418001 h 3476625"/>
              <a:gd name="connsiteX2280" fmla="*/ 342394 w 11991973"/>
              <a:gd name="connsiteY2280" fmla="*/ 1401798 h 3476625"/>
              <a:gd name="connsiteX2281" fmla="*/ 343557 w 11991973"/>
              <a:gd name="connsiteY2281" fmla="*/ 1427711 h 3476625"/>
              <a:gd name="connsiteX2282" fmla="*/ 506592 w 11991973"/>
              <a:gd name="connsiteY2282" fmla="*/ 1365550 h 3476625"/>
              <a:gd name="connsiteX2283" fmla="*/ 522508 w 11991973"/>
              <a:gd name="connsiteY2283" fmla="*/ 1355860 h 3476625"/>
              <a:gd name="connsiteX2284" fmla="*/ 515838 w 11991973"/>
              <a:gd name="connsiteY2284" fmla="*/ 1362987 h 3476625"/>
              <a:gd name="connsiteX2285" fmla="*/ 537259 w 11991973"/>
              <a:gd name="connsiteY2285" fmla="*/ 1369531 h 3476625"/>
              <a:gd name="connsiteX2286" fmla="*/ 544927 w 11991973"/>
              <a:gd name="connsiteY2286" fmla="*/ 1346624 h 3476625"/>
              <a:gd name="connsiteX2287" fmla="*/ 532737 w 11991973"/>
              <a:gd name="connsiteY2287" fmla="*/ 1348994 h 3476625"/>
              <a:gd name="connsiteX2288" fmla="*/ 482810 w 11991973"/>
              <a:gd name="connsiteY2288" fmla="*/ 1337443 h 3476625"/>
              <a:gd name="connsiteX2289" fmla="*/ 345468 w 11991973"/>
              <a:gd name="connsiteY2289" fmla="*/ 1356533 h 3476625"/>
              <a:gd name="connsiteX2290" fmla="*/ 330506 w 11991973"/>
              <a:gd name="connsiteY2290" fmla="*/ 1366753 h 3476625"/>
              <a:gd name="connsiteX2291" fmla="*/ 320990 w 11991973"/>
              <a:gd name="connsiteY2291" fmla="*/ 1365442 h 3476625"/>
              <a:gd name="connsiteX2292" fmla="*/ 100962 w 11991973"/>
              <a:gd name="connsiteY2292" fmla="*/ 1369532 h 3476625"/>
              <a:gd name="connsiteX2293" fmla="*/ 74633 w 11991973"/>
              <a:gd name="connsiteY2293" fmla="*/ 1354988 h 3476625"/>
              <a:gd name="connsiteX2294" fmla="*/ 196871 w 11991973"/>
              <a:gd name="connsiteY2294" fmla="*/ 1314262 h 3476625"/>
              <a:gd name="connsiteX2295" fmla="*/ 174305 w 11991973"/>
              <a:gd name="connsiteY2295" fmla="*/ 1343351 h 3476625"/>
              <a:gd name="connsiteX2296" fmla="*/ 184703 w 11991973"/>
              <a:gd name="connsiteY2296" fmla="*/ 1341496 h 3476625"/>
              <a:gd name="connsiteX2297" fmla="*/ 188380 w 11991973"/>
              <a:gd name="connsiteY2297" fmla="*/ 1342079 h 3476625"/>
              <a:gd name="connsiteX2298" fmla="*/ 188768 w 11991973"/>
              <a:gd name="connsiteY2298" fmla="*/ 1340770 h 3476625"/>
              <a:gd name="connsiteX2299" fmla="*/ 234160 w 11991973"/>
              <a:gd name="connsiteY2299" fmla="*/ 1332670 h 3476625"/>
              <a:gd name="connsiteX2300" fmla="*/ 299536 w 11991973"/>
              <a:gd name="connsiteY2300" fmla="*/ 1325928 h 3476625"/>
              <a:gd name="connsiteX2301" fmla="*/ 300304 w 11991973"/>
              <a:gd name="connsiteY2301" fmla="*/ 1328807 h 3476625"/>
              <a:gd name="connsiteX2302" fmla="*/ 301175 w 11991973"/>
              <a:gd name="connsiteY2302" fmla="*/ 1325759 h 3476625"/>
              <a:gd name="connsiteX2303" fmla="*/ 303361 w 11991973"/>
              <a:gd name="connsiteY2303" fmla="*/ 1325534 h 3476625"/>
              <a:gd name="connsiteX2304" fmla="*/ 416901 w 11991973"/>
              <a:gd name="connsiteY2304" fmla="*/ 1288082 h 3476625"/>
              <a:gd name="connsiteX2305" fmla="*/ 439468 w 11991973"/>
              <a:gd name="connsiteY2305" fmla="*/ 1270628 h 3476625"/>
              <a:gd name="connsiteX2306" fmla="*/ 390349 w 11991973"/>
              <a:gd name="connsiteY2306" fmla="*/ 1271110 h 3476625"/>
              <a:gd name="connsiteX2307" fmla="*/ 368631 w 11991973"/>
              <a:gd name="connsiteY2307" fmla="*/ 1272163 h 3476625"/>
              <a:gd name="connsiteX2308" fmla="*/ 378454 w 11991973"/>
              <a:gd name="connsiteY2308" fmla="*/ 1250617 h 3476625"/>
              <a:gd name="connsiteX2309" fmla="*/ 623765 w 11991973"/>
              <a:gd name="connsiteY2309" fmla="*/ 1206631 h 3476625"/>
              <a:gd name="connsiteX2310" fmla="*/ 578632 w 11991973"/>
              <a:gd name="connsiteY2310" fmla="*/ 1186267 h 3476625"/>
              <a:gd name="connsiteX2311" fmla="*/ 609250 w 11991973"/>
              <a:gd name="connsiteY2311" fmla="*/ 1177814 h 3476625"/>
              <a:gd name="connsiteX2312" fmla="*/ 617117 w 11991973"/>
              <a:gd name="connsiteY2312" fmla="*/ 1165391 h 3476625"/>
              <a:gd name="connsiteX2313" fmla="*/ 619005 w 11991973"/>
              <a:gd name="connsiteY2313" fmla="*/ 1168996 h 3476625"/>
              <a:gd name="connsiteX2314" fmla="*/ 625646 w 11991973"/>
              <a:gd name="connsiteY2314" fmla="*/ 1168814 h 3476625"/>
              <a:gd name="connsiteX2315" fmla="*/ 625411 w 11991973"/>
              <a:gd name="connsiteY2315" fmla="*/ 1161542 h 3476625"/>
              <a:gd name="connsiteX2316" fmla="*/ 623917 w 11991973"/>
              <a:gd name="connsiteY2316" fmla="*/ 1154934 h 3476625"/>
              <a:gd name="connsiteX2317" fmla="*/ 635226 w 11991973"/>
              <a:gd name="connsiteY2317" fmla="*/ 1137998 h 3476625"/>
              <a:gd name="connsiteX2318" fmla="*/ 676422 w 11991973"/>
              <a:gd name="connsiteY2318" fmla="*/ 1116453 h 3476625"/>
              <a:gd name="connsiteX2319" fmla="*/ 896922 w 11991973"/>
              <a:gd name="connsiteY2319" fmla="*/ 1088090 h 3476625"/>
              <a:gd name="connsiteX2320" fmla="*/ 927594 w 11991973"/>
              <a:gd name="connsiteY2320" fmla="*/ 1085072 h 3476625"/>
              <a:gd name="connsiteX2321" fmla="*/ 928628 w 11991973"/>
              <a:gd name="connsiteY2321" fmla="*/ 1085091 h 3476625"/>
              <a:gd name="connsiteX2322" fmla="*/ 929172 w 11991973"/>
              <a:gd name="connsiteY2322" fmla="*/ 1084916 h 3476625"/>
              <a:gd name="connsiteX2323" fmla="*/ 979374 w 11991973"/>
              <a:gd name="connsiteY2323" fmla="*/ 1079977 h 3476625"/>
              <a:gd name="connsiteX2324" fmla="*/ 1142811 w 11991973"/>
              <a:gd name="connsiteY2324" fmla="*/ 1072818 h 3476625"/>
              <a:gd name="connsiteX2325" fmla="*/ 1322171 w 11991973"/>
              <a:gd name="connsiteY2325" fmla="*/ 1054638 h 3476625"/>
              <a:gd name="connsiteX2326" fmla="*/ 1420893 w 11991973"/>
              <a:gd name="connsiteY2326" fmla="*/ 1045232 h 3476625"/>
              <a:gd name="connsiteX2327" fmla="*/ 1404213 w 11991973"/>
              <a:gd name="connsiteY2327" fmla="*/ 1052456 h 3476625"/>
              <a:gd name="connsiteX2328" fmla="*/ 1400093 w 11991973"/>
              <a:gd name="connsiteY2328" fmla="*/ 1070367 h 3476625"/>
              <a:gd name="connsiteX2329" fmla="*/ 1400326 w 11991973"/>
              <a:gd name="connsiteY2329" fmla="*/ 1074432 h 3476625"/>
              <a:gd name="connsiteX2330" fmla="*/ 1416423 w 11991973"/>
              <a:gd name="connsiteY2330" fmla="*/ 1070883 h 3476625"/>
              <a:gd name="connsiteX2331" fmla="*/ 1422869 w 11991973"/>
              <a:gd name="connsiteY2331" fmla="*/ 1063061 h 3476625"/>
              <a:gd name="connsiteX2332" fmla="*/ 1427751 w 11991973"/>
              <a:gd name="connsiteY2332" fmla="*/ 1047957 h 3476625"/>
              <a:gd name="connsiteX2333" fmla="*/ 1421958 w 11991973"/>
              <a:gd name="connsiteY2333" fmla="*/ 1045130 h 3476625"/>
              <a:gd name="connsiteX2334" fmla="*/ 1466242 w 11991973"/>
              <a:gd name="connsiteY2334" fmla="*/ 1040911 h 3476625"/>
              <a:gd name="connsiteX2335" fmla="*/ 1471993 w 11991973"/>
              <a:gd name="connsiteY2335" fmla="*/ 1041228 h 3476625"/>
              <a:gd name="connsiteX2336" fmla="*/ 1466273 w 11991973"/>
              <a:gd name="connsiteY2336" fmla="*/ 1043728 h 3476625"/>
              <a:gd name="connsiteX2337" fmla="*/ 1485078 w 11991973"/>
              <a:gd name="connsiteY2337" fmla="*/ 1049547 h 3476625"/>
              <a:gd name="connsiteX2338" fmla="*/ 1479068 w 11991973"/>
              <a:gd name="connsiteY2338" fmla="*/ 1041618 h 3476625"/>
              <a:gd name="connsiteX2339" fmla="*/ 1524184 w 11991973"/>
              <a:gd name="connsiteY2339" fmla="*/ 1044104 h 3476625"/>
              <a:gd name="connsiteX2340" fmla="*/ 1562182 w 11991973"/>
              <a:gd name="connsiteY2340" fmla="*/ 1058273 h 3476625"/>
              <a:gd name="connsiteX2341" fmla="*/ 1629883 w 11991973"/>
              <a:gd name="connsiteY2341" fmla="*/ 1037911 h 3476625"/>
              <a:gd name="connsiteX2342" fmla="*/ 1596032 w 11991973"/>
              <a:gd name="connsiteY2342" fmla="*/ 1023366 h 3476625"/>
              <a:gd name="connsiteX2343" fmla="*/ 1673843 w 11991973"/>
              <a:gd name="connsiteY2343" fmla="*/ 997549 h 3476625"/>
              <a:gd name="connsiteX2344" fmla="*/ 1704769 w 11991973"/>
              <a:gd name="connsiteY2344" fmla="*/ 982802 h 3476625"/>
              <a:gd name="connsiteX2345" fmla="*/ 1705144 w 11991973"/>
              <a:gd name="connsiteY2345" fmla="*/ 983018 h 3476625"/>
              <a:gd name="connsiteX2346" fmla="*/ 1706283 w 11991973"/>
              <a:gd name="connsiteY2346" fmla="*/ 995367 h 3476625"/>
              <a:gd name="connsiteX2347" fmla="*/ 1714510 w 11991973"/>
              <a:gd name="connsiteY2347" fmla="*/ 988459 h 3476625"/>
              <a:gd name="connsiteX2348" fmla="*/ 1714510 w 11991973"/>
              <a:gd name="connsiteY2348" fmla="*/ 988459 h 3476625"/>
              <a:gd name="connsiteX2349" fmla="*/ 1705144 w 11991973"/>
              <a:gd name="connsiteY2349" fmla="*/ 983018 h 3476625"/>
              <a:gd name="connsiteX2350" fmla="*/ 1705108 w 11991973"/>
              <a:gd name="connsiteY2350" fmla="*/ 982641 h 3476625"/>
              <a:gd name="connsiteX2351" fmla="*/ 1704769 w 11991973"/>
              <a:gd name="connsiteY2351" fmla="*/ 982802 h 3476625"/>
              <a:gd name="connsiteX2352" fmla="*/ 1701196 w 11991973"/>
              <a:gd name="connsiteY2352" fmla="*/ 980727 h 3476625"/>
              <a:gd name="connsiteX2353" fmla="*/ 1490132 w 11991973"/>
              <a:gd name="connsiteY2353" fmla="*/ 988741 h 3476625"/>
              <a:gd name="connsiteX2354" fmla="*/ 1472261 w 11991973"/>
              <a:gd name="connsiteY2354" fmla="*/ 994221 h 3476625"/>
              <a:gd name="connsiteX2355" fmla="*/ 1471679 w 11991973"/>
              <a:gd name="connsiteY2355" fmla="*/ 993913 h 3476625"/>
              <a:gd name="connsiteX2356" fmla="*/ 1453109 w 11991973"/>
              <a:gd name="connsiteY2356" fmla="*/ 1000095 h 3476625"/>
              <a:gd name="connsiteX2357" fmla="*/ 1472261 w 11991973"/>
              <a:gd name="connsiteY2357" fmla="*/ 994221 h 3476625"/>
              <a:gd name="connsiteX2358" fmla="*/ 1488839 w 11991973"/>
              <a:gd name="connsiteY2358" fmla="*/ 1003004 h 3476625"/>
              <a:gd name="connsiteX2359" fmla="*/ 1306422 w 11991973"/>
              <a:gd name="connsiteY2359" fmla="*/ 1011731 h 3476625"/>
              <a:gd name="connsiteX2360" fmla="*/ 1312064 w 11991973"/>
              <a:gd name="connsiteY2360" fmla="*/ 997186 h 3476625"/>
              <a:gd name="connsiteX2361" fmla="*/ 1328989 w 11991973"/>
              <a:gd name="connsiteY2361" fmla="*/ 991367 h 3476625"/>
              <a:gd name="connsiteX2362" fmla="*/ 1273834 w 11991973"/>
              <a:gd name="connsiteY2362" fmla="*/ 991913 h 3476625"/>
              <a:gd name="connsiteX2363" fmla="*/ 1229121 w 11991973"/>
              <a:gd name="connsiteY2363" fmla="*/ 991527 h 3476625"/>
              <a:gd name="connsiteX2364" fmla="*/ 1229318 w 11991973"/>
              <a:gd name="connsiteY2364" fmla="*/ 991367 h 3476625"/>
              <a:gd name="connsiteX2365" fmla="*/ 1210511 w 11991973"/>
              <a:gd name="connsiteY2365" fmla="*/ 991367 h 3476625"/>
              <a:gd name="connsiteX2366" fmla="*/ 1210522 w 11991973"/>
              <a:gd name="connsiteY2366" fmla="*/ 991374 h 3476625"/>
              <a:gd name="connsiteX2367" fmla="*/ 1153654 w 11991973"/>
              <a:gd name="connsiteY2367" fmla="*/ 993004 h 3476625"/>
              <a:gd name="connsiteX2368" fmla="*/ 1116482 w 11991973"/>
              <a:gd name="connsiteY2368" fmla="*/ 1000095 h 3476625"/>
              <a:gd name="connsiteX2369" fmla="*/ 1100409 w 11991973"/>
              <a:gd name="connsiteY2369" fmla="*/ 1020412 h 3476625"/>
              <a:gd name="connsiteX2370" fmla="*/ 1078561 w 11991973"/>
              <a:gd name="connsiteY2370" fmla="*/ 1042241 h 3476625"/>
              <a:gd name="connsiteX2371" fmla="*/ 1057918 w 11991973"/>
              <a:gd name="connsiteY2371" fmla="*/ 1038321 h 3476625"/>
              <a:gd name="connsiteX2372" fmla="*/ 1032707 w 11991973"/>
              <a:gd name="connsiteY2372" fmla="*/ 1031867 h 3476625"/>
              <a:gd name="connsiteX2373" fmla="*/ 1034167 w 11991973"/>
              <a:gd name="connsiteY2373" fmla="*/ 1028427 h 3476625"/>
              <a:gd name="connsiteX2374" fmla="*/ 1040054 w 11991973"/>
              <a:gd name="connsiteY2374" fmla="*/ 1030730 h 3476625"/>
              <a:gd name="connsiteX2375" fmla="*/ 1045250 w 11991973"/>
              <a:gd name="connsiteY2375" fmla="*/ 1026310 h 3476625"/>
              <a:gd name="connsiteX2376" fmla="*/ 1042423 w 11991973"/>
              <a:gd name="connsiteY2376" fmla="*/ 1015979 h 3476625"/>
              <a:gd name="connsiteX2377" fmla="*/ 1045637 w 11991973"/>
              <a:gd name="connsiteY2377" fmla="*/ 1014321 h 3476625"/>
              <a:gd name="connsiteX2378" fmla="*/ 1033735 w 11991973"/>
              <a:gd name="connsiteY2378" fmla="*/ 1020457 h 3476625"/>
              <a:gd name="connsiteX2379" fmla="*/ 1038622 w 11991973"/>
              <a:gd name="connsiteY2379" fmla="*/ 1017937 h 3476625"/>
              <a:gd name="connsiteX2380" fmla="*/ 1034167 w 11991973"/>
              <a:gd name="connsiteY2380" fmla="*/ 1028427 h 3476625"/>
              <a:gd name="connsiteX2381" fmla="*/ 1028680 w 11991973"/>
              <a:gd name="connsiteY2381" fmla="*/ 1026280 h 3476625"/>
              <a:gd name="connsiteX2382" fmla="*/ 1031855 w 11991973"/>
              <a:gd name="connsiteY2382" fmla="*/ 1023366 h 3476625"/>
              <a:gd name="connsiteX2383" fmla="*/ 1017516 w 11991973"/>
              <a:gd name="connsiteY2383" fmla="*/ 1021912 h 3476625"/>
              <a:gd name="connsiteX2384" fmla="*/ 1028680 w 11991973"/>
              <a:gd name="connsiteY2384" fmla="*/ 1026280 h 3476625"/>
              <a:gd name="connsiteX2385" fmla="*/ 983778 w 11991973"/>
              <a:gd name="connsiteY2385" fmla="*/ 1067489 h 3476625"/>
              <a:gd name="connsiteX2386" fmla="*/ 929172 w 11991973"/>
              <a:gd name="connsiteY2386" fmla="*/ 1084916 h 3476625"/>
              <a:gd name="connsiteX2387" fmla="*/ 927594 w 11991973"/>
              <a:gd name="connsiteY2387" fmla="*/ 1085072 h 3476625"/>
              <a:gd name="connsiteX2388" fmla="*/ 868849 w 11991973"/>
              <a:gd name="connsiteY2388" fmla="*/ 1084011 h 3476625"/>
              <a:gd name="connsiteX2389" fmla="*/ 806888 w 11991973"/>
              <a:gd name="connsiteY2389" fmla="*/ 1072092 h 3476625"/>
              <a:gd name="connsiteX2390" fmla="*/ 770715 w 11991973"/>
              <a:gd name="connsiteY2390" fmla="*/ 1063343 h 3476625"/>
              <a:gd name="connsiteX2391" fmla="*/ 825460 w 11991973"/>
              <a:gd name="connsiteY2391" fmla="*/ 1051001 h 3476625"/>
              <a:gd name="connsiteX2392" fmla="*/ 949108 w 11991973"/>
              <a:gd name="connsiteY2392" fmla="*/ 985550 h 3476625"/>
              <a:gd name="connsiteX2393" fmla="*/ 934063 w 11991973"/>
              <a:gd name="connsiteY2393" fmla="*/ 1023366 h 3476625"/>
              <a:gd name="connsiteX2394" fmla="*/ 996123 w 11991973"/>
              <a:gd name="connsiteY2394" fmla="*/ 985550 h 3476625"/>
              <a:gd name="connsiteX2395" fmla="*/ 990584 w 11991973"/>
              <a:gd name="connsiteY2395" fmla="*/ 977079 h 3476625"/>
              <a:gd name="connsiteX2396" fmla="*/ 992624 w 11991973"/>
              <a:gd name="connsiteY2396" fmla="*/ 974671 h 3476625"/>
              <a:gd name="connsiteX2397" fmla="*/ 1005644 w 11991973"/>
              <a:gd name="connsiteY2397" fmla="*/ 972051 h 3476625"/>
              <a:gd name="connsiteX2398" fmla="*/ 995537 w 11991973"/>
              <a:gd name="connsiteY2398" fmla="*/ 971232 h 3476625"/>
              <a:gd name="connsiteX2399" fmla="*/ 992624 w 11991973"/>
              <a:gd name="connsiteY2399" fmla="*/ 974671 h 3476625"/>
              <a:gd name="connsiteX2400" fmla="*/ 977097 w 11991973"/>
              <a:gd name="connsiteY2400" fmla="*/ 977794 h 3476625"/>
              <a:gd name="connsiteX2401" fmla="*/ 924662 w 11991973"/>
              <a:gd name="connsiteY2401" fmla="*/ 985550 h 3476625"/>
              <a:gd name="connsiteX2402" fmla="*/ 1328989 w 11991973"/>
              <a:gd name="connsiteY2402" fmla="*/ 930279 h 3476625"/>
              <a:gd name="connsiteX2403" fmla="*/ 1866838 w 11991973"/>
              <a:gd name="connsiteY2403" fmla="*/ 799376 h 3476625"/>
              <a:gd name="connsiteX2404" fmla="*/ 1842625 w 11991973"/>
              <a:gd name="connsiteY2404" fmla="*/ 799012 h 3476625"/>
              <a:gd name="connsiteX2405" fmla="*/ 1830789 w 11991973"/>
              <a:gd name="connsiteY2405" fmla="*/ 800135 h 3476625"/>
              <a:gd name="connsiteX2406" fmla="*/ 1856730 w 11991973"/>
              <a:gd name="connsiteY2406" fmla="*/ 791013 h 3476625"/>
              <a:gd name="connsiteX2407" fmla="*/ 1895048 w 11991973"/>
              <a:gd name="connsiteY2407" fmla="*/ 779014 h 3476625"/>
              <a:gd name="connsiteX2408" fmla="*/ 1876242 w 11991973"/>
              <a:gd name="connsiteY2408" fmla="*/ 822647 h 3476625"/>
              <a:gd name="connsiteX2409" fmla="*/ 1907143 w 11991973"/>
              <a:gd name="connsiteY2409" fmla="*/ 796441 h 3476625"/>
              <a:gd name="connsiteX2410" fmla="*/ 1921288 w 11991973"/>
              <a:gd name="connsiteY2410" fmla="*/ 801331 h 3476625"/>
              <a:gd name="connsiteX2411" fmla="*/ 1922082 w 11991973"/>
              <a:gd name="connsiteY2411" fmla="*/ 794650 h 3476625"/>
              <a:gd name="connsiteX2412" fmla="*/ 1916126 w 11991973"/>
              <a:gd name="connsiteY2412" fmla="*/ 790680 h 3476625"/>
              <a:gd name="connsiteX2413" fmla="*/ 1937361 w 11991973"/>
              <a:gd name="connsiteY2413" fmla="*/ 777741 h 3476625"/>
              <a:gd name="connsiteX2414" fmla="*/ 1943286 w 11991973"/>
              <a:gd name="connsiteY2414" fmla="*/ 775954 h 3476625"/>
              <a:gd name="connsiteX2415" fmla="*/ 1940886 w 11991973"/>
              <a:gd name="connsiteY2415" fmla="*/ 783378 h 3476625"/>
              <a:gd name="connsiteX2416" fmla="*/ 1968391 w 11991973"/>
              <a:gd name="connsiteY2416" fmla="*/ 770286 h 3476625"/>
              <a:gd name="connsiteX2417" fmla="*/ 1961258 w 11991973"/>
              <a:gd name="connsiteY2417" fmla="*/ 770534 h 3476625"/>
              <a:gd name="connsiteX2418" fmla="*/ 1988607 w 11991973"/>
              <a:gd name="connsiteY2418" fmla="*/ 762287 h 3476625"/>
              <a:gd name="connsiteX2419" fmla="*/ 2034917 w 11991973"/>
              <a:gd name="connsiteY2419" fmla="*/ 758833 h 3476625"/>
              <a:gd name="connsiteX2420" fmla="*/ 2072900 w 11991973"/>
              <a:gd name="connsiteY2420" fmla="*/ 751526 h 3476625"/>
              <a:gd name="connsiteX2421" fmla="*/ 2075333 w 11991973"/>
              <a:gd name="connsiteY2421" fmla="*/ 752941 h 3476625"/>
              <a:gd name="connsiteX2422" fmla="*/ 2081228 w 11991973"/>
              <a:gd name="connsiteY2422" fmla="*/ 749924 h 3476625"/>
              <a:gd name="connsiteX2423" fmla="*/ 2072900 w 11991973"/>
              <a:gd name="connsiteY2423" fmla="*/ 751526 h 3476625"/>
              <a:gd name="connsiteX2424" fmla="*/ 2070385 w 11991973"/>
              <a:gd name="connsiteY2424" fmla="*/ 750061 h 3476625"/>
              <a:gd name="connsiteX2425" fmla="*/ 2064301 w 11991973"/>
              <a:gd name="connsiteY2425" fmla="*/ 706289 h 3476625"/>
              <a:gd name="connsiteX2426" fmla="*/ 2557237 w 11991973"/>
              <a:gd name="connsiteY2426" fmla="*/ 681154 h 3476625"/>
              <a:gd name="connsiteX2427" fmla="*/ 2576693 w 11991973"/>
              <a:gd name="connsiteY2427" fmla="*/ 689659 h 3476625"/>
              <a:gd name="connsiteX2428" fmla="*/ 2583783 w 11991973"/>
              <a:gd name="connsiteY2428" fmla="*/ 689465 h 3476625"/>
              <a:gd name="connsiteX2429" fmla="*/ 2599998 w 11991973"/>
              <a:gd name="connsiteY2429" fmla="*/ 673512 h 3476625"/>
              <a:gd name="connsiteX2430" fmla="*/ 2671734 w 11991973"/>
              <a:gd name="connsiteY2430" fmla="*/ 642292 h 3476625"/>
              <a:gd name="connsiteX2431" fmla="*/ 2656689 w 11991973"/>
              <a:gd name="connsiteY2431" fmla="*/ 680109 h 3476625"/>
              <a:gd name="connsiteX2432" fmla="*/ 2773846 w 11991973"/>
              <a:gd name="connsiteY2432" fmla="*/ 648201 h 3476625"/>
              <a:gd name="connsiteX2433" fmla="*/ 2801366 w 11991973"/>
              <a:gd name="connsiteY2433" fmla="*/ 634561 h 3476625"/>
              <a:gd name="connsiteX2434" fmla="*/ 2803375 w 11991973"/>
              <a:gd name="connsiteY2434" fmla="*/ 659746 h 3476625"/>
              <a:gd name="connsiteX2435" fmla="*/ 2848510 w 11991973"/>
              <a:gd name="connsiteY2435" fmla="*/ 624839 h 3476625"/>
              <a:gd name="connsiteX2436" fmla="*/ 2820300 w 11991973"/>
              <a:gd name="connsiteY2436" fmla="*/ 620885 h 3476625"/>
              <a:gd name="connsiteX2437" fmla="*/ 2801330 w 11991973"/>
              <a:gd name="connsiteY2437" fmla="*/ 631458 h 3476625"/>
              <a:gd name="connsiteX2438" fmla="*/ 2797734 w 11991973"/>
              <a:gd name="connsiteY2438" fmla="*/ 627748 h 3476625"/>
              <a:gd name="connsiteX2439" fmla="*/ 2780810 w 11991973"/>
              <a:gd name="connsiteY2439" fmla="*/ 613202 h 3476625"/>
              <a:gd name="connsiteX2440" fmla="*/ 2797735 w 11991973"/>
              <a:gd name="connsiteY2440" fmla="*/ 601567 h 3476625"/>
              <a:gd name="connsiteX2441" fmla="*/ 2868959 w 11991973"/>
              <a:gd name="connsiteY2441" fmla="*/ 587385 h 3476625"/>
              <a:gd name="connsiteX2442" fmla="*/ 2871623 w 11991973"/>
              <a:gd name="connsiteY2442" fmla="*/ 586904 h 3476625"/>
              <a:gd name="connsiteX2443" fmla="*/ 2871146 w 11991973"/>
              <a:gd name="connsiteY2443" fmla="*/ 587562 h 3476625"/>
              <a:gd name="connsiteX2444" fmla="*/ 2861673 w 11991973"/>
              <a:gd name="connsiteY2444" fmla="*/ 604476 h 3476625"/>
              <a:gd name="connsiteX2445" fmla="*/ 2927495 w 11991973"/>
              <a:gd name="connsiteY2445" fmla="*/ 584114 h 3476625"/>
              <a:gd name="connsiteX2446" fmla="*/ 2905897 w 11991973"/>
              <a:gd name="connsiteY2446" fmla="*/ 580704 h 3476625"/>
              <a:gd name="connsiteX2447" fmla="*/ 2871623 w 11991973"/>
              <a:gd name="connsiteY2447" fmla="*/ 586904 h 3476625"/>
              <a:gd name="connsiteX2448" fmla="*/ 2877511 w 11991973"/>
              <a:gd name="connsiteY2448" fmla="*/ 578795 h 3476625"/>
              <a:gd name="connsiteX2449" fmla="*/ 2893644 w 11991973"/>
              <a:gd name="connsiteY2449" fmla="*/ 557933 h 3476625"/>
              <a:gd name="connsiteX2450" fmla="*/ 2995197 w 11991973"/>
              <a:gd name="connsiteY2450" fmla="*/ 546297 h 3476625"/>
              <a:gd name="connsiteX2451" fmla="*/ 2995195 w 11991973"/>
              <a:gd name="connsiteY2451" fmla="*/ 556717 h 3476625"/>
              <a:gd name="connsiteX2452" fmla="*/ 2981648 w 11991973"/>
              <a:gd name="connsiteY2452" fmla="*/ 563523 h 3476625"/>
              <a:gd name="connsiteX2453" fmla="*/ 2971227 w 11991973"/>
              <a:gd name="connsiteY2453" fmla="*/ 575587 h 3476625"/>
              <a:gd name="connsiteX2454" fmla="*/ 2959232 w 11991973"/>
              <a:gd name="connsiteY2454" fmla="*/ 580658 h 3476625"/>
              <a:gd name="connsiteX2455" fmla="*/ 2961346 w 11991973"/>
              <a:gd name="connsiteY2455" fmla="*/ 587022 h 3476625"/>
              <a:gd name="connsiteX2456" fmla="*/ 2971227 w 11991973"/>
              <a:gd name="connsiteY2456" fmla="*/ 575587 h 3476625"/>
              <a:gd name="connsiteX2457" fmla="*/ 2976859 w 11991973"/>
              <a:gd name="connsiteY2457" fmla="*/ 573205 h 3476625"/>
              <a:gd name="connsiteX2458" fmla="*/ 2995194 w 11991973"/>
              <a:gd name="connsiteY2458" fmla="*/ 562478 h 3476625"/>
              <a:gd name="connsiteX2459" fmla="*/ 2995195 w 11991973"/>
              <a:gd name="connsiteY2459" fmla="*/ 556717 h 3476625"/>
              <a:gd name="connsiteX2460" fmla="*/ 3013768 w 11991973"/>
              <a:gd name="connsiteY2460" fmla="*/ 547388 h 3476625"/>
              <a:gd name="connsiteX2461" fmla="*/ 3076061 w 11991973"/>
              <a:gd name="connsiteY2461" fmla="*/ 549205 h 3476625"/>
              <a:gd name="connsiteX2462" fmla="*/ 3061016 w 11991973"/>
              <a:gd name="connsiteY2462" fmla="*/ 566660 h 3476625"/>
              <a:gd name="connsiteX2463" fmla="*/ 3121197 w 11991973"/>
              <a:gd name="connsiteY2463" fmla="*/ 543388 h 3476625"/>
              <a:gd name="connsiteX2464" fmla="*/ 3097189 w 11991973"/>
              <a:gd name="connsiteY2464" fmla="*/ 572341 h 3476625"/>
              <a:gd name="connsiteX2465" fmla="*/ 3041334 w 11991973"/>
              <a:gd name="connsiteY2465" fmla="*/ 591020 h 3476625"/>
              <a:gd name="connsiteX2466" fmla="*/ 3039420 w 11991973"/>
              <a:gd name="connsiteY2466" fmla="*/ 590885 h 3476625"/>
              <a:gd name="connsiteX2467" fmla="*/ 3023405 w 11991973"/>
              <a:gd name="connsiteY2467" fmla="*/ 589931 h 3476625"/>
              <a:gd name="connsiteX2468" fmla="*/ 3039156 w 11991973"/>
              <a:gd name="connsiteY2468" fmla="*/ 591749 h 3476625"/>
              <a:gd name="connsiteX2469" fmla="*/ 3041334 w 11991973"/>
              <a:gd name="connsiteY2469" fmla="*/ 591020 h 3476625"/>
              <a:gd name="connsiteX2470" fmla="*/ 3072534 w 11991973"/>
              <a:gd name="connsiteY2470" fmla="*/ 593204 h 3476625"/>
              <a:gd name="connsiteX2471" fmla="*/ 3097196 w 11991973"/>
              <a:gd name="connsiteY2471" fmla="*/ 595407 h 3476625"/>
              <a:gd name="connsiteX2472" fmla="*/ 3096748 w 11991973"/>
              <a:gd name="connsiteY2472" fmla="*/ 595749 h 3476625"/>
              <a:gd name="connsiteX2473" fmla="*/ 3098104 w 11991973"/>
              <a:gd name="connsiteY2473" fmla="*/ 595488 h 3476625"/>
              <a:gd name="connsiteX2474" fmla="*/ 3104595 w 11991973"/>
              <a:gd name="connsiteY2474" fmla="*/ 596068 h 3476625"/>
              <a:gd name="connsiteX2475" fmla="*/ 3117435 w 11991973"/>
              <a:gd name="connsiteY2475" fmla="*/ 598658 h 3476625"/>
              <a:gd name="connsiteX2476" fmla="*/ 3112884 w 11991973"/>
              <a:gd name="connsiteY2476" fmla="*/ 589680 h 3476625"/>
              <a:gd name="connsiteX2477" fmla="*/ 3123309 w 11991973"/>
              <a:gd name="connsiteY2477" fmla="*/ 582114 h 3476625"/>
              <a:gd name="connsiteX2478" fmla="*/ 3194348 w 11991973"/>
              <a:gd name="connsiteY2478" fmla="*/ 552796 h 3476625"/>
              <a:gd name="connsiteX2479" fmla="*/ 3189721 w 11991973"/>
              <a:gd name="connsiteY2479" fmla="*/ 581855 h 3476625"/>
              <a:gd name="connsiteX2480" fmla="*/ 3185371 w 11991973"/>
              <a:gd name="connsiteY2480" fmla="*/ 590295 h 3476625"/>
              <a:gd name="connsiteX2481" fmla="*/ 3205822 w 11991973"/>
              <a:gd name="connsiteY2481" fmla="*/ 587022 h 3476625"/>
              <a:gd name="connsiteX2482" fmla="*/ 3201037 w 11991973"/>
              <a:gd name="connsiteY2482" fmla="*/ 585140 h 3476625"/>
              <a:gd name="connsiteX2483" fmla="*/ 3203267 w 11991973"/>
              <a:gd name="connsiteY2483" fmla="*/ 584795 h 3476625"/>
              <a:gd name="connsiteX2484" fmla="*/ 3262240 w 11991973"/>
              <a:gd name="connsiteY2484" fmla="*/ 575386 h 3476625"/>
              <a:gd name="connsiteX2485" fmla="*/ 3245314 w 11991973"/>
              <a:gd name="connsiteY2485" fmla="*/ 557933 h 3476625"/>
              <a:gd name="connsiteX2486" fmla="*/ 3604508 w 11991973"/>
              <a:gd name="connsiteY2486" fmla="*/ 496844 h 3476625"/>
              <a:gd name="connsiteX2487" fmla="*/ 3583821 w 11991973"/>
              <a:gd name="connsiteY2487" fmla="*/ 531752 h 3476625"/>
              <a:gd name="connsiteX2488" fmla="*/ 3741791 w 11991973"/>
              <a:gd name="connsiteY2488" fmla="*/ 511389 h 3476625"/>
              <a:gd name="connsiteX2489" fmla="*/ 3659047 w 11991973"/>
              <a:gd name="connsiteY2489" fmla="*/ 508480 h 3476625"/>
              <a:gd name="connsiteX2490" fmla="*/ 4116030 w 11991973"/>
              <a:gd name="connsiteY2490" fmla="*/ 438666 h 3476625"/>
              <a:gd name="connsiteX2491" fmla="*/ 4080302 w 11991973"/>
              <a:gd name="connsiteY2491" fmla="*/ 457938 h 3476625"/>
              <a:gd name="connsiteX2492" fmla="*/ 4079230 w 11991973"/>
              <a:gd name="connsiteY2492" fmla="*/ 458366 h 3476625"/>
              <a:gd name="connsiteX2493" fmla="*/ 4070896 w 11991973"/>
              <a:gd name="connsiteY2493" fmla="*/ 453209 h 3476625"/>
              <a:gd name="connsiteX2494" fmla="*/ 4061493 w 11991973"/>
              <a:gd name="connsiteY2494" fmla="*/ 456119 h 3476625"/>
              <a:gd name="connsiteX2495" fmla="*/ 4080301 w 11991973"/>
              <a:gd name="connsiteY2495" fmla="*/ 459028 h 3476625"/>
              <a:gd name="connsiteX2496" fmla="*/ 4080172 w 11991973"/>
              <a:gd name="connsiteY2496" fmla="*/ 458950 h 3476625"/>
              <a:gd name="connsiteX2497" fmla="*/ 4084824 w 11991973"/>
              <a:gd name="connsiteY2497" fmla="*/ 458710 h 3476625"/>
              <a:gd name="connsiteX2498" fmla="*/ 4146120 w 11991973"/>
              <a:gd name="connsiteY2498" fmla="*/ 453210 h 3476625"/>
              <a:gd name="connsiteX2499" fmla="*/ 4490266 w 11991973"/>
              <a:gd name="connsiteY2499" fmla="*/ 409576 h 3476625"/>
              <a:gd name="connsiteX2500" fmla="*/ 4471461 w 11991973"/>
              <a:gd name="connsiteY2500" fmla="*/ 365941 h 3476625"/>
              <a:gd name="connsiteX2501" fmla="*/ 4497788 w 11991973"/>
              <a:gd name="connsiteY2501" fmla="*/ 371759 h 3476625"/>
              <a:gd name="connsiteX2502" fmla="*/ 4674563 w 11991973"/>
              <a:gd name="connsiteY2502" fmla="*/ 377578 h 3476625"/>
              <a:gd name="connsiteX2503" fmla="*/ 5011191 w 11991973"/>
              <a:gd name="connsiteY2503" fmla="*/ 313580 h 3476625"/>
              <a:gd name="connsiteX2504" fmla="*/ 5042893 w 11991973"/>
              <a:gd name="connsiteY2504" fmla="*/ 339505 h 3476625"/>
              <a:gd name="connsiteX2505" fmla="*/ 5043340 w 11991973"/>
              <a:gd name="connsiteY2505" fmla="*/ 339066 h 3476625"/>
              <a:gd name="connsiteX2506" fmla="*/ 5045277 w 11991973"/>
              <a:gd name="connsiteY2506" fmla="*/ 344851 h 3476625"/>
              <a:gd name="connsiteX2507" fmla="*/ 5065728 w 11991973"/>
              <a:gd name="connsiteY2507" fmla="*/ 333943 h 3476625"/>
              <a:gd name="connsiteX2508" fmla="*/ 5045652 w 11991973"/>
              <a:gd name="connsiteY2508" fmla="*/ 336798 h 3476625"/>
              <a:gd name="connsiteX2509" fmla="*/ 5060792 w 11991973"/>
              <a:gd name="connsiteY2509" fmla="*/ 321944 h 3476625"/>
              <a:gd name="connsiteX2510" fmla="*/ 5148474 w 11991973"/>
              <a:gd name="connsiteY2510" fmla="*/ 310671 h 3476625"/>
              <a:gd name="connsiteX2511" fmla="*/ 5118383 w 11991973"/>
              <a:gd name="connsiteY2511" fmla="*/ 336852 h 3476625"/>
              <a:gd name="connsiteX2512" fmla="*/ 5180445 w 11991973"/>
              <a:gd name="connsiteY2512" fmla="*/ 304853 h 3476625"/>
              <a:gd name="connsiteX2513" fmla="*/ 5161639 w 11991973"/>
              <a:gd name="connsiteY2513" fmla="*/ 339760 h 3476625"/>
              <a:gd name="connsiteX2514" fmla="*/ 5752145 w 11991973"/>
              <a:gd name="connsiteY2514" fmla="*/ 246674 h 3476625"/>
              <a:gd name="connsiteX2515" fmla="*/ 5727697 w 11991973"/>
              <a:gd name="connsiteY2515" fmla="*/ 237947 h 3476625"/>
              <a:gd name="connsiteX2516" fmla="*/ 5749989 w 11991973"/>
              <a:gd name="connsiteY2516" fmla="*/ 229037 h 3476625"/>
              <a:gd name="connsiteX2517" fmla="*/ 5748383 w 11991973"/>
              <a:gd name="connsiteY2517" fmla="*/ 235038 h 3476625"/>
              <a:gd name="connsiteX2518" fmla="*/ 5883787 w 11991973"/>
              <a:gd name="connsiteY2518" fmla="*/ 191404 h 3476625"/>
              <a:gd name="connsiteX2519" fmla="*/ 5930801 w 11991973"/>
              <a:gd name="connsiteY2519" fmla="*/ 200130 h 3476625"/>
              <a:gd name="connsiteX2520" fmla="*/ 5906353 w 11991973"/>
              <a:gd name="connsiteY2520" fmla="*/ 229220 h 3476625"/>
              <a:gd name="connsiteX2521" fmla="*/ 6043637 w 11991973"/>
              <a:gd name="connsiteY2521" fmla="*/ 168133 h 3476625"/>
              <a:gd name="connsiteX2522" fmla="*/ 6083129 w 11991973"/>
              <a:gd name="connsiteY2522" fmla="*/ 173950 h 3476625"/>
              <a:gd name="connsiteX2523" fmla="*/ 6045519 w 11991973"/>
              <a:gd name="connsiteY2523" fmla="*/ 147769 h 3476625"/>
              <a:gd name="connsiteX2524" fmla="*/ 6257348 w 11991973"/>
              <a:gd name="connsiteY2524" fmla="*/ 151860 h 3476625"/>
              <a:gd name="connsiteX2525" fmla="*/ 6271620 w 11991973"/>
              <a:gd name="connsiteY2525" fmla="*/ 153887 h 3476625"/>
              <a:gd name="connsiteX2526" fmla="*/ 6258964 w 11991973"/>
              <a:gd name="connsiteY2526" fmla="*/ 156496 h 3476625"/>
              <a:gd name="connsiteX2527" fmla="*/ 6244859 w 11991973"/>
              <a:gd name="connsiteY2527" fmla="*/ 168132 h 3476625"/>
              <a:gd name="connsiteX2528" fmla="*/ 6261786 w 11991973"/>
              <a:gd name="connsiteY2528" fmla="*/ 166314 h 3476625"/>
              <a:gd name="connsiteX2529" fmla="*/ 6272672 w 11991973"/>
              <a:gd name="connsiteY2529" fmla="*/ 154036 h 3476625"/>
              <a:gd name="connsiteX2530" fmla="*/ 6289994 w 11991973"/>
              <a:gd name="connsiteY2530" fmla="*/ 156496 h 3476625"/>
              <a:gd name="connsiteX2531" fmla="*/ 6444203 w 11991973"/>
              <a:gd name="connsiteY2531" fmla="*/ 89591 h 3476625"/>
              <a:gd name="connsiteX2532" fmla="*/ 6303159 w 11991973"/>
              <a:gd name="connsiteY2532" fmla="*/ 141952 h 3476625"/>
              <a:gd name="connsiteX2533" fmla="*/ 6596088 w 11991973"/>
              <a:gd name="connsiteY2533" fmla="*/ 804 h 3476625"/>
              <a:gd name="connsiteX2534" fmla="*/ 6611576 w 11991973"/>
              <a:gd name="connsiteY2534" fmla="*/ 2321 h 3476625"/>
              <a:gd name="connsiteX2535" fmla="*/ 6581486 w 11991973"/>
              <a:gd name="connsiteY2535" fmla="*/ 66318 h 3476625"/>
              <a:gd name="connsiteX2536" fmla="*/ 6893665 w 11991973"/>
              <a:gd name="connsiteY2536" fmla="*/ 57592 h 3476625"/>
              <a:gd name="connsiteX2537" fmla="*/ 6889759 w 11991973"/>
              <a:gd name="connsiteY2537" fmla="*/ 64496 h 3476625"/>
              <a:gd name="connsiteX2538" fmla="*/ 6885966 w 11991973"/>
              <a:gd name="connsiteY2538" fmla="*/ 65409 h 3476625"/>
              <a:gd name="connsiteX2539" fmla="*/ 6872979 w 11991973"/>
              <a:gd name="connsiteY2539" fmla="*/ 69227 h 3476625"/>
              <a:gd name="connsiteX2540" fmla="*/ 6885438 w 11991973"/>
              <a:gd name="connsiteY2540" fmla="*/ 72136 h 3476625"/>
              <a:gd name="connsiteX2541" fmla="*/ 6889759 w 11991973"/>
              <a:gd name="connsiteY2541" fmla="*/ 64496 h 3476625"/>
              <a:gd name="connsiteX2542" fmla="*/ 6906359 w 11991973"/>
              <a:gd name="connsiteY2542" fmla="*/ 60501 h 3476625"/>
              <a:gd name="connsiteX2543" fmla="*/ 6942560 w 11991973"/>
              <a:gd name="connsiteY2543" fmla="*/ 60501 h 3476625"/>
              <a:gd name="connsiteX2544" fmla="*/ 6918113 w 11991973"/>
              <a:gd name="connsiteY2544" fmla="*/ 115771 h 3476625"/>
              <a:gd name="connsiteX2545" fmla="*/ 7106172 w 11991973"/>
              <a:gd name="connsiteY2545" fmla="*/ 43047 h 3476625"/>
              <a:gd name="connsiteX2546" fmla="*/ 7064799 w 11991973"/>
              <a:gd name="connsiteY2546" fmla="*/ 77954 h 3476625"/>
              <a:gd name="connsiteX2547" fmla="*/ 7132500 w 11991973"/>
              <a:gd name="connsiteY2547" fmla="*/ 92499 h 3476625"/>
              <a:gd name="connsiteX2548" fmla="*/ 7423993 w 11991973"/>
              <a:gd name="connsiteY2548" fmla="*/ 107044 h 3476625"/>
              <a:gd name="connsiteX2549" fmla="*/ 7136261 w 11991973"/>
              <a:gd name="connsiteY2549" fmla="*/ 232130 h 3476625"/>
              <a:gd name="connsiteX2550" fmla="*/ 6861695 w 11991973"/>
              <a:gd name="connsiteY2550" fmla="*/ 325216 h 3476625"/>
              <a:gd name="connsiteX2551" fmla="*/ 6940680 w 11991973"/>
              <a:gd name="connsiteY2551" fmla="*/ 351397 h 3476625"/>
              <a:gd name="connsiteX2552" fmla="*/ 7136261 w 11991973"/>
              <a:gd name="connsiteY2552" fmla="*/ 389213 h 3476625"/>
              <a:gd name="connsiteX2553" fmla="*/ 6903068 w 11991973"/>
              <a:gd name="connsiteY2553" fmla="*/ 461937 h 3476625"/>
              <a:gd name="connsiteX2554" fmla="*/ 6833487 w 11991973"/>
              <a:gd name="connsiteY2554" fmla="*/ 479391 h 3476625"/>
              <a:gd name="connsiteX2555" fmla="*/ 6743217 w 11991973"/>
              <a:gd name="connsiteY2555" fmla="*/ 531752 h 3476625"/>
              <a:gd name="connsiteX2556" fmla="*/ 6778948 w 11991973"/>
              <a:gd name="connsiteY2556" fmla="*/ 514298 h 3476625"/>
              <a:gd name="connsiteX2557" fmla="*/ 6763905 w 11991973"/>
              <a:gd name="connsiteY2557" fmla="*/ 566659 h 3476625"/>
              <a:gd name="connsiteX2558" fmla="*/ 7049755 w 11991973"/>
              <a:gd name="connsiteY2558" fmla="*/ 470663 h 3476625"/>
              <a:gd name="connsiteX2559" fmla="*/ 7132500 w 11991973"/>
              <a:gd name="connsiteY2559" fmla="*/ 499753 h 3476625"/>
              <a:gd name="connsiteX2560" fmla="*/ 7226530 w 11991973"/>
              <a:gd name="connsiteY2560" fmla="*/ 488118 h 3476625"/>
              <a:gd name="connsiteX2561" fmla="*/ 7363814 w 11991973"/>
              <a:gd name="connsiteY2561" fmla="*/ 485208 h 3476625"/>
              <a:gd name="connsiteX2562" fmla="*/ 7333724 w 11991973"/>
              <a:gd name="connsiteY2562" fmla="*/ 511389 h 3476625"/>
              <a:gd name="connsiteX2563" fmla="*/ 7395784 w 11991973"/>
              <a:gd name="connsiteY2563" fmla="*/ 479391 h 3476625"/>
              <a:gd name="connsiteX2564" fmla="*/ 7376978 w 11991973"/>
              <a:gd name="connsiteY2564" fmla="*/ 514298 h 3476625"/>
              <a:gd name="connsiteX2565" fmla="*/ 7967484 w 11991973"/>
              <a:gd name="connsiteY2565" fmla="*/ 421211 h 3476625"/>
              <a:gd name="connsiteX2566" fmla="*/ 7943037 w 11991973"/>
              <a:gd name="connsiteY2566" fmla="*/ 412485 h 3476625"/>
              <a:gd name="connsiteX2567" fmla="*/ 7965329 w 11991973"/>
              <a:gd name="connsiteY2567" fmla="*/ 403575 h 3476625"/>
              <a:gd name="connsiteX2568" fmla="*/ 7963723 w 11991973"/>
              <a:gd name="connsiteY2568" fmla="*/ 409576 h 3476625"/>
              <a:gd name="connsiteX2569" fmla="*/ 8099126 w 11991973"/>
              <a:gd name="connsiteY2569" fmla="*/ 365941 h 3476625"/>
              <a:gd name="connsiteX2570" fmla="*/ 8146142 w 11991973"/>
              <a:gd name="connsiteY2570" fmla="*/ 374668 h 3476625"/>
              <a:gd name="connsiteX2571" fmla="*/ 8121693 w 11991973"/>
              <a:gd name="connsiteY2571" fmla="*/ 403757 h 3476625"/>
              <a:gd name="connsiteX2572" fmla="*/ 8258977 w 11991973"/>
              <a:gd name="connsiteY2572" fmla="*/ 342669 h 3476625"/>
              <a:gd name="connsiteX2573" fmla="*/ 8298470 w 11991973"/>
              <a:gd name="connsiteY2573" fmla="*/ 348488 h 3476625"/>
              <a:gd name="connsiteX2574" fmla="*/ 8260858 w 11991973"/>
              <a:gd name="connsiteY2574" fmla="*/ 322307 h 3476625"/>
              <a:gd name="connsiteX2575" fmla="*/ 8472688 w 11991973"/>
              <a:gd name="connsiteY2575" fmla="*/ 326398 h 3476625"/>
              <a:gd name="connsiteX2576" fmla="*/ 8491664 w 11991973"/>
              <a:gd name="connsiteY2576" fmla="*/ 328229 h 3476625"/>
              <a:gd name="connsiteX2577" fmla="*/ 8478065 w 11991973"/>
              <a:gd name="connsiteY2577" fmla="*/ 331034 h 3476625"/>
              <a:gd name="connsiteX2578" fmla="*/ 8463961 w 11991973"/>
              <a:gd name="connsiteY2578" fmla="*/ 342669 h 3476625"/>
              <a:gd name="connsiteX2579" fmla="*/ 8480886 w 11991973"/>
              <a:gd name="connsiteY2579" fmla="*/ 340852 h 3476625"/>
              <a:gd name="connsiteX2580" fmla="*/ 8492045 w 11991973"/>
              <a:gd name="connsiteY2580" fmla="*/ 328266 h 3476625"/>
              <a:gd name="connsiteX2581" fmla="*/ 8497067 w 11991973"/>
              <a:gd name="connsiteY2581" fmla="*/ 328750 h 3476625"/>
              <a:gd name="connsiteX2582" fmla="*/ 8505335 w 11991973"/>
              <a:gd name="connsiteY2582" fmla="*/ 331034 h 3476625"/>
              <a:gd name="connsiteX2583" fmla="*/ 8659543 w 11991973"/>
              <a:gd name="connsiteY2583" fmla="*/ 264127 h 3476625"/>
              <a:gd name="connsiteX2584" fmla="*/ 8518498 w 11991973"/>
              <a:gd name="connsiteY2584" fmla="*/ 316489 h 3476625"/>
              <a:gd name="connsiteX2585" fmla="*/ 8826917 w 11991973"/>
              <a:gd name="connsiteY2585" fmla="*/ 176859 h 3476625"/>
              <a:gd name="connsiteX2586" fmla="*/ 8796827 w 11991973"/>
              <a:gd name="connsiteY2586" fmla="*/ 240856 h 3476625"/>
              <a:gd name="connsiteX2587" fmla="*/ 9109005 w 11991973"/>
              <a:gd name="connsiteY2587" fmla="*/ 232130 h 3476625"/>
              <a:gd name="connsiteX2588" fmla="*/ 9105099 w 11991973"/>
              <a:gd name="connsiteY2588" fmla="*/ 239034 h 3476625"/>
              <a:gd name="connsiteX2589" fmla="*/ 9101307 w 11991973"/>
              <a:gd name="connsiteY2589" fmla="*/ 239947 h 3476625"/>
              <a:gd name="connsiteX2590" fmla="*/ 9088319 w 11991973"/>
              <a:gd name="connsiteY2590" fmla="*/ 243765 h 3476625"/>
              <a:gd name="connsiteX2591" fmla="*/ 9100777 w 11991973"/>
              <a:gd name="connsiteY2591" fmla="*/ 246674 h 3476625"/>
              <a:gd name="connsiteX2592" fmla="*/ 9105099 w 11991973"/>
              <a:gd name="connsiteY2592" fmla="*/ 239034 h 3476625"/>
              <a:gd name="connsiteX2593" fmla="*/ 9121699 w 11991973"/>
              <a:gd name="connsiteY2593" fmla="*/ 235038 h 3476625"/>
              <a:gd name="connsiteX2594" fmla="*/ 9157900 w 11991973"/>
              <a:gd name="connsiteY2594" fmla="*/ 235038 h 3476625"/>
              <a:gd name="connsiteX2595" fmla="*/ 9133452 w 11991973"/>
              <a:gd name="connsiteY2595" fmla="*/ 290308 h 3476625"/>
              <a:gd name="connsiteX2596" fmla="*/ 9321512 w 11991973"/>
              <a:gd name="connsiteY2596" fmla="*/ 217585 h 3476625"/>
              <a:gd name="connsiteX2597" fmla="*/ 9280139 w 11991973"/>
              <a:gd name="connsiteY2597" fmla="*/ 252492 h 3476625"/>
              <a:gd name="connsiteX2598" fmla="*/ 9347841 w 11991973"/>
              <a:gd name="connsiteY2598" fmla="*/ 267037 h 3476625"/>
              <a:gd name="connsiteX2599" fmla="*/ 9639333 w 11991973"/>
              <a:gd name="connsiteY2599" fmla="*/ 281582 h 3476625"/>
              <a:gd name="connsiteX2600" fmla="*/ 9351602 w 11991973"/>
              <a:gd name="connsiteY2600" fmla="*/ 406666 h 3476625"/>
              <a:gd name="connsiteX2601" fmla="*/ 9077035 w 11991973"/>
              <a:gd name="connsiteY2601" fmla="*/ 499753 h 3476625"/>
              <a:gd name="connsiteX2602" fmla="*/ 9083601 w 11991973"/>
              <a:gd name="connsiteY2602" fmla="*/ 508068 h 3476625"/>
              <a:gd name="connsiteX2603" fmla="*/ 9078915 w 11991973"/>
              <a:gd name="connsiteY2603" fmla="*/ 511389 h 3476625"/>
              <a:gd name="connsiteX2604" fmla="*/ 9093725 w 11991973"/>
              <a:gd name="connsiteY2604" fmla="*/ 520798 h 3476625"/>
              <a:gd name="connsiteX2605" fmla="*/ 9093390 w 11991973"/>
              <a:gd name="connsiteY2605" fmla="*/ 517884 h 3476625"/>
              <a:gd name="connsiteX2606" fmla="*/ 9117673 w 11991973"/>
              <a:gd name="connsiteY2606" fmla="*/ 521208 h 3476625"/>
              <a:gd name="connsiteX2607" fmla="*/ 9291422 w 11991973"/>
              <a:gd name="connsiteY2607" fmla="*/ 459028 h 3476625"/>
              <a:gd name="connsiteX2608" fmla="*/ 9428706 w 11991973"/>
              <a:gd name="connsiteY2608" fmla="*/ 456118 h 3476625"/>
              <a:gd name="connsiteX2609" fmla="*/ 9398616 w 11991973"/>
              <a:gd name="connsiteY2609" fmla="*/ 482299 h 3476625"/>
              <a:gd name="connsiteX2610" fmla="*/ 9460677 w 11991973"/>
              <a:gd name="connsiteY2610" fmla="*/ 450301 h 3476625"/>
              <a:gd name="connsiteX2611" fmla="*/ 9441871 w 11991973"/>
              <a:gd name="connsiteY2611" fmla="*/ 485208 h 3476625"/>
              <a:gd name="connsiteX2612" fmla="*/ 10032377 w 11991973"/>
              <a:gd name="connsiteY2612" fmla="*/ 392121 h 3476625"/>
              <a:gd name="connsiteX2613" fmla="*/ 10007929 w 11991973"/>
              <a:gd name="connsiteY2613" fmla="*/ 383395 h 3476625"/>
              <a:gd name="connsiteX2614" fmla="*/ 10030219 w 11991973"/>
              <a:gd name="connsiteY2614" fmla="*/ 374485 h 3476625"/>
              <a:gd name="connsiteX2615" fmla="*/ 10028615 w 11991973"/>
              <a:gd name="connsiteY2615" fmla="*/ 380486 h 3476625"/>
              <a:gd name="connsiteX2616" fmla="*/ 10164018 w 11991973"/>
              <a:gd name="connsiteY2616" fmla="*/ 336852 h 3476625"/>
              <a:gd name="connsiteX2617" fmla="*/ 10211033 w 11991973"/>
              <a:gd name="connsiteY2617" fmla="*/ 345579 h 3476625"/>
              <a:gd name="connsiteX2618" fmla="*/ 10186586 w 11991973"/>
              <a:gd name="connsiteY2618" fmla="*/ 374669 h 3476625"/>
              <a:gd name="connsiteX2619" fmla="*/ 10323869 w 11991973"/>
              <a:gd name="connsiteY2619" fmla="*/ 313579 h 3476625"/>
              <a:gd name="connsiteX2620" fmla="*/ 10363362 w 11991973"/>
              <a:gd name="connsiteY2620" fmla="*/ 319398 h 3476625"/>
              <a:gd name="connsiteX2621" fmla="*/ 10325749 w 11991973"/>
              <a:gd name="connsiteY2621" fmla="*/ 293217 h 3476625"/>
              <a:gd name="connsiteX2622" fmla="*/ 10537581 w 11991973"/>
              <a:gd name="connsiteY2622" fmla="*/ 297308 h 3476625"/>
              <a:gd name="connsiteX2623" fmla="*/ 10559124 w 11991973"/>
              <a:gd name="connsiteY2623" fmla="*/ 299386 h 3476625"/>
              <a:gd name="connsiteX2624" fmla="*/ 10546720 w 11991973"/>
              <a:gd name="connsiteY2624" fmla="*/ 301945 h 3476625"/>
              <a:gd name="connsiteX2625" fmla="*/ 10532616 w 11991973"/>
              <a:gd name="connsiteY2625" fmla="*/ 313580 h 3476625"/>
              <a:gd name="connsiteX2626" fmla="*/ 10549540 w 11991973"/>
              <a:gd name="connsiteY2626" fmla="*/ 311762 h 3476625"/>
              <a:gd name="connsiteX2627" fmla="*/ 10560404 w 11991973"/>
              <a:gd name="connsiteY2627" fmla="*/ 299510 h 3476625"/>
              <a:gd name="connsiteX2628" fmla="*/ 10561959 w 11991973"/>
              <a:gd name="connsiteY2628" fmla="*/ 299661 h 3476625"/>
              <a:gd name="connsiteX2629" fmla="*/ 10570227 w 11991973"/>
              <a:gd name="connsiteY2629" fmla="*/ 301944 h 3476625"/>
              <a:gd name="connsiteX2630" fmla="*/ 10724435 w 11991973"/>
              <a:gd name="connsiteY2630" fmla="*/ 235038 h 3476625"/>
              <a:gd name="connsiteX2631" fmla="*/ 10583391 w 11991973"/>
              <a:gd name="connsiteY2631" fmla="*/ 287399 h 3476625"/>
              <a:gd name="connsiteX2632" fmla="*/ 10891808 w 11991973"/>
              <a:gd name="connsiteY2632" fmla="*/ 147769 h 3476625"/>
              <a:gd name="connsiteX2633" fmla="*/ 10861719 w 11991973"/>
              <a:gd name="connsiteY2633" fmla="*/ 211766 h 3476625"/>
              <a:gd name="connsiteX2634" fmla="*/ 11173898 w 11991973"/>
              <a:gd name="connsiteY2634" fmla="*/ 203040 h 3476625"/>
              <a:gd name="connsiteX2635" fmla="*/ 11169992 w 11991973"/>
              <a:gd name="connsiteY2635" fmla="*/ 209944 h 3476625"/>
              <a:gd name="connsiteX2636" fmla="*/ 11166200 w 11991973"/>
              <a:gd name="connsiteY2636" fmla="*/ 210858 h 3476625"/>
              <a:gd name="connsiteX2637" fmla="*/ 11153211 w 11991973"/>
              <a:gd name="connsiteY2637" fmla="*/ 214675 h 3476625"/>
              <a:gd name="connsiteX2638" fmla="*/ 11165670 w 11991973"/>
              <a:gd name="connsiteY2638" fmla="*/ 217585 h 3476625"/>
              <a:gd name="connsiteX2639" fmla="*/ 11169992 w 11991973"/>
              <a:gd name="connsiteY2639" fmla="*/ 209944 h 3476625"/>
              <a:gd name="connsiteX2640" fmla="*/ 11186591 w 11991973"/>
              <a:gd name="connsiteY2640" fmla="*/ 205949 h 3476625"/>
              <a:gd name="connsiteX2641" fmla="*/ 11222792 w 11991973"/>
              <a:gd name="connsiteY2641" fmla="*/ 205949 h 3476625"/>
              <a:gd name="connsiteX2642" fmla="*/ 11198345 w 11991973"/>
              <a:gd name="connsiteY2642" fmla="*/ 261218 h 3476625"/>
              <a:gd name="connsiteX2643" fmla="*/ 11386403 w 11991973"/>
              <a:gd name="connsiteY2643" fmla="*/ 188495 h 3476625"/>
              <a:gd name="connsiteX2644" fmla="*/ 11345031 w 11991973"/>
              <a:gd name="connsiteY2644" fmla="*/ 223402 h 3476625"/>
              <a:gd name="connsiteX2645" fmla="*/ 11465295 w 11991973"/>
              <a:gd name="connsiteY2645" fmla="*/ 170990 h 3476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</a:cxnLst>
            <a:rect l="l" t="t" r="r" b="b"/>
            <a:pathLst>
              <a:path w="11991973" h="3476625">
                <a:moveTo>
                  <a:pt x="450941" y="3182190"/>
                </a:moveTo>
                <a:lnTo>
                  <a:pt x="453308" y="3190087"/>
                </a:lnTo>
                <a:cubicBezTo>
                  <a:pt x="453103" y="3195996"/>
                  <a:pt x="449341" y="3197814"/>
                  <a:pt x="439468" y="3190541"/>
                </a:cubicBezTo>
                <a:close/>
                <a:moveTo>
                  <a:pt x="2673803" y="3350910"/>
                </a:moveTo>
                <a:lnTo>
                  <a:pt x="2676171" y="3358806"/>
                </a:lnTo>
                <a:cubicBezTo>
                  <a:pt x="2675964" y="3364715"/>
                  <a:pt x="2672204" y="3366533"/>
                  <a:pt x="2662332" y="3359260"/>
                </a:cubicBezTo>
                <a:close/>
                <a:moveTo>
                  <a:pt x="432327" y="3145543"/>
                </a:moveTo>
                <a:cubicBezTo>
                  <a:pt x="434224" y="3146679"/>
                  <a:pt x="436508" y="3149293"/>
                  <a:pt x="438861" y="3152759"/>
                </a:cubicBezTo>
                <a:lnTo>
                  <a:pt x="439205" y="3153368"/>
                </a:lnTo>
                <a:lnTo>
                  <a:pt x="428185" y="3161451"/>
                </a:lnTo>
                <a:cubicBezTo>
                  <a:pt x="426303" y="3146906"/>
                  <a:pt x="428536" y="3143269"/>
                  <a:pt x="432327" y="3145543"/>
                </a:cubicBezTo>
                <a:close/>
                <a:moveTo>
                  <a:pt x="489886" y="3146644"/>
                </a:moveTo>
                <a:lnTo>
                  <a:pt x="495885" y="3155634"/>
                </a:lnTo>
                <a:cubicBezTo>
                  <a:pt x="494946" y="3157089"/>
                  <a:pt x="493300" y="3155815"/>
                  <a:pt x="491654" y="3153588"/>
                </a:cubicBezTo>
                <a:lnTo>
                  <a:pt x="488609" y="3147993"/>
                </a:lnTo>
                <a:close/>
                <a:moveTo>
                  <a:pt x="1339568" y="3211630"/>
                </a:moveTo>
                <a:cubicBezTo>
                  <a:pt x="1335572" y="3212358"/>
                  <a:pt x="1331810" y="3215267"/>
                  <a:pt x="1328990" y="3222539"/>
                </a:cubicBezTo>
                <a:cubicBezTo>
                  <a:pt x="1336511" y="3228357"/>
                  <a:pt x="1351557" y="3225448"/>
                  <a:pt x="1351557" y="3213812"/>
                </a:cubicBezTo>
                <a:cubicBezTo>
                  <a:pt x="1347796" y="3212358"/>
                  <a:pt x="1343563" y="3210903"/>
                  <a:pt x="1339568" y="3211630"/>
                </a:cubicBezTo>
                <a:close/>
                <a:moveTo>
                  <a:pt x="783157" y="3158808"/>
                </a:moveTo>
                <a:lnTo>
                  <a:pt x="785497" y="3167270"/>
                </a:lnTo>
                <a:cubicBezTo>
                  <a:pt x="785028" y="3169452"/>
                  <a:pt x="784204" y="3166542"/>
                  <a:pt x="783381" y="3161088"/>
                </a:cubicBezTo>
                <a:close/>
                <a:moveTo>
                  <a:pt x="782690" y="3154069"/>
                </a:moveTo>
                <a:lnTo>
                  <a:pt x="783157" y="3158808"/>
                </a:lnTo>
                <a:lnTo>
                  <a:pt x="781957" y="3154469"/>
                </a:lnTo>
                <a:close/>
                <a:moveTo>
                  <a:pt x="2708266" y="3320098"/>
                </a:moveTo>
                <a:lnTo>
                  <a:pt x="2714989" y="3330171"/>
                </a:lnTo>
                <a:cubicBezTo>
                  <a:pt x="2714048" y="3331625"/>
                  <a:pt x="2712402" y="3330353"/>
                  <a:pt x="2710756" y="3328125"/>
                </a:cubicBezTo>
                <a:lnTo>
                  <a:pt x="2707073" y="3321358"/>
                </a:lnTo>
                <a:close/>
                <a:moveTo>
                  <a:pt x="3565138" y="3395468"/>
                </a:moveTo>
                <a:lnTo>
                  <a:pt x="3562194" y="3399259"/>
                </a:lnTo>
                <a:lnTo>
                  <a:pt x="3553719" y="3397948"/>
                </a:lnTo>
                <a:close/>
                <a:moveTo>
                  <a:pt x="2655191" y="3314263"/>
                </a:moveTo>
                <a:cubicBezTo>
                  <a:pt x="2657086" y="3315400"/>
                  <a:pt x="2659371" y="3318013"/>
                  <a:pt x="2661723" y="3321478"/>
                </a:cubicBezTo>
                <a:lnTo>
                  <a:pt x="2662068" y="3322088"/>
                </a:lnTo>
                <a:lnTo>
                  <a:pt x="2651047" y="3330171"/>
                </a:lnTo>
                <a:cubicBezTo>
                  <a:pt x="2649167" y="3315627"/>
                  <a:pt x="2651401" y="3311990"/>
                  <a:pt x="2655191" y="3314263"/>
                </a:cubicBezTo>
                <a:close/>
                <a:moveTo>
                  <a:pt x="3006020" y="3327528"/>
                </a:moveTo>
                <a:lnTo>
                  <a:pt x="3008361" y="3335989"/>
                </a:lnTo>
                <a:cubicBezTo>
                  <a:pt x="3007892" y="3338171"/>
                  <a:pt x="3007069" y="3335262"/>
                  <a:pt x="3006245" y="3329808"/>
                </a:cubicBezTo>
                <a:close/>
                <a:moveTo>
                  <a:pt x="3005554" y="3322787"/>
                </a:moveTo>
                <a:lnTo>
                  <a:pt x="3006020" y="3327528"/>
                </a:lnTo>
                <a:lnTo>
                  <a:pt x="3004821" y="3323188"/>
                </a:lnTo>
                <a:close/>
                <a:moveTo>
                  <a:pt x="794195" y="3121090"/>
                </a:moveTo>
                <a:cubicBezTo>
                  <a:pt x="791139" y="3120727"/>
                  <a:pt x="787377" y="3122180"/>
                  <a:pt x="783617" y="3129452"/>
                </a:cubicBezTo>
                <a:cubicBezTo>
                  <a:pt x="791138" y="3135271"/>
                  <a:pt x="794899" y="3126544"/>
                  <a:pt x="800542" y="3123635"/>
                </a:cubicBezTo>
                <a:cubicBezTo>
                  <a:pt x="799601" y="3123635"/>
                  <a:pt x="797252" y="3121453"/>
                  <a:pt x="794195" y="3121090"/>
                </a:cubicBezTo>
                <a:close/>
                <a:moveTo>
                  <a:pt x="1561147" y="3179817"/>
                </a:moveTo>
                <a:lnTo>
                  <a:pt x="1559126" y="3187268"/>
                </a:lnTo>
                <a:cubicBezTo>
                  <a:pt x="1555601" y="3190541"/>
                  <a:pt x="1550900" y="3191996"/>
                  <a:pt x="1549018" y="3187632"/>
                </a:cubicBezTo>
                <a:lnTo>
                  <a:pt x="1552125" y="3181676"/>
                </a:lnTo>
                <a:close/>
                <a:moveTo>
                  <a:pt x="3004129" y="3302876"/>
                </a:moveTo>
                <a:lnTo>
                  <a:pt x="3004129" y="3304046"/>
                </a:lnTo>
                <a:lnTo>
                  <a:pt x="3002719" y="3303990"/>
                </a:lnTo>
                <a:close/>
                <a:moveTo>
                  <a:pt x="1082866" y="3118181"/>
                </a:moveTo>
                <a:cubicBezTo>
                  <a:pt x="1079339" y="3118545"/>
                  <a:pt x="1076049" y="3120727"/>
                  <a:pt x="1073228" y="3126544"/>
                </a:cubicBezTo>
                <a:cubicBezTo>
                  <a:pt x="1080751" y="3132361"/>
                  <a:pt x="1093915" y="3129452"/>
                  <a:pt x="1093915" y="3120725"/>
                </a:cubicBezTo>
                <a:cubicBezTo>
                  <a:pt x="1090153" y="3119271"/>
                  <a:pt x="1086391" y="3117818"/>
                  <a:pt x="1082866" y="3118181"/>
                </a:cubicBezTo>
                <a:close/>
                <a:moveTo>
                  <a:pt x="3779068" y="3349012"/>
                </a:moveTo>
                <a:lnTo>
                  <a:pt x="3781285" y="3350533"/>
                </a:lnTo>
                <a:cubicBezTo>
                  <a:pt x="3786925" y="3356351"/>
                  <a:pt x="3771882" y="3370896"/>
                  <a:pt x="3768120" y="3362170"/>
                </a:cubicBezTo>
                <a:cubicBezTo>
                  <a:pt x="3769999" y="3359261"/>
                  <a:pt x="3771882" y="3354170"/>
                  <a:pt x="3773996" y="3350897"/>
                </a:cubicBezTo>
                <a:lnTo>
                  <a:pt x="3775142" y="3349865"/>
                </a:lnTo>
                <a:close/>
                <a:moveTo>
                  <a:pt x="1149216" y="3101227"/>
                </a:moveTo>
                <a:cubicBezTo>
                  <a:pt x="1147042" y="3100636"/>
                  <a:pt x="1144925" y="3100909"/>
                  <a:pt x="1142810" y="3101454"/>
                </a:cubicBezTo>
                <a:cubicBezTo>
                  <a:pt x="1138579" y="3102544"/>
                  <a:pt x="1134348" y="3104726"/>
                  <a:pt x="1129645" y="3103271"/>
                </a:cubicBezTo>
                <a:cubicBezTo>
                  <a:pt x="1129645" y="3114908"/>
                  <a:pt x="1148452" y="3111999"/>
                  <a:pt x="1155973" y="3106181"/>
                </a:cubicBezTo>
                <a:cubicBezTo>
                  <a:pt x="1153624" y="3103272"/>
                  <a:pt x="1151391" y="3101818"/>
                  <a:pt x="1149216" y="3101227"/>
                </a:cubicBezTo>
                <a:close/>
                <a:moveTo>
                  <a:pt x="3301968" y="3292718"/>
                </a:moveTo>
                <a:cubicBezTo>
                  <a:pt x="3298441" y="3293082"/>
                  <a:pt x="3295151" y="3295263"/>
                  <a:pt x="3292330" y="3301081"/>
                </a:cubicBezTo>
                <a:cubicBezTo>
                  <a:pt x="3299854" y="3306899"/>
                  <a:pt x="3313014" y="3303990"/>
                  <a:pt x="3313017" y="3295264"/>
                </a:cubicBezTo>
                <a:cubicBezTo>
                  <a:pt x="3309257" y="3293809"/>
                  <a:pt x="3305496" y="3292354"/>
                  <a:pt x="3301968" y="3292718"/>
                </a:cubicBezTo>
                <a:close/>
                <a:moveTo>
                  <a:pt x="1248404" y="3094618"/>
                </a:moveTo>
                <a:lnTo>
                  <a:pt x="1259407" y="3097454"/>
                </a:lnTo>
                <a:cubicBezTo>
                  <a:pt x="1253764" y="3106180"/>
                  <a:pt x="1246243" y="3103271"/>
                  <a:pt x="1236840" y="3100363"/>
                </a:cubicBezTo>
                <a:lnTo>
                  <a:pt x="1245989" y="3095647"/>
                </a:lnTo>
                <a:close/>
                <a:moveTo>
                  <a:pt x="3368315" y="3275765"/>
                </a:moveTo>
                <a:cubicBezTo>
                  <a:pt x="3366143" y="3275174"/>
                  <a:pt x="3364027" y="3275447"/>
                  <a:pt x="3361913" y="3275992"/>
                </a:cubicBezTo>
                <a:cubicBezTo>
                  <a:pt x="3357680" y="3277082"/>
                  <a:pt x="3353449" y="3279264"/>
                  <a:pt x="3348749" y="3277809"/>
                </a:cubicBezTo>
                <a:cubicBezTo>
                  <a:pt x="3348748" y="3289445"/>
                  <a:pt x="3367553" y="3286536"/>
                  <a:pt x="3375074" y="3280719"/>
                </a:cubicBezTo>
                <a:cubicBezTo>
                  <a:pt x="3372726" y="3277810"/>
                  <a:pt x="3370493" y="3276356"/>
                  <a:pt x="3368315" y="3275765"/>
                </a:cubicBezTo>
                <a:close/>
                <a:moveTo>
                  <a:pt x="1302970" y="3079521"/>
                </a:moveTo>
                <a:lnTo>
                  <a:pt x="1303566" y="3079886"/>
                </a:lnTo>
                <a:lnTo>
                  <a:pt x="1302660" y="3080000"/>
                </a:lnTo>
                <a:close/>
                <a:moveTo>
                  <a:pt x="3467225" y="3269083"/>
                </a:moveTo>
                <a:cubicBezTo>
                  <a:pt x="3470984" y="3269810"/>
                  <a:pt x="3474746" y="3271992"/>
                  <a:pt x="3478507" y="3271992"/>
                </a:cubicBezTo>
                <a:cubicBezTo>
                  <a:pt x="3472866" y="3280719"/>
                  <a:pt x="3465345" y="3277809"/>
                  <a:pt x="3455943" y="3274900"/>
                </a:cubicBezTo>
                <a:cubicBezTo>
                  <a:pt x="3459702" y="3269083"/>
                  <a:pt x="3463463" y="3268355"/>
                  <a:pt x="3467225" y="3269083"/>
                </a:cubicBezTo>
                <a:close/>
                <a:moveTo>
                  <a:pt x="3526226" y="3247633"/>
                </a:moveTo>
                <a:lnTo>
                  <a:pt x="3534085" y="3251963"/>
                </a:lnTo>
                <a:lnTo>
                  <a:pt x="3533281" y="3253083"/>
                </a:lnTo>
                <a:cubicBezTo>
                  <a:pt x="3529285" y="3254538"/>
                  <a:pt x="3524585" y="3254538"/>
                  <a:pt x="3521761" y="3254538"/>
                </a:cubicBezTo>
                <a:close/>
                <a:moveTo>
                  <a:pt x="1650569" y="3077092"/>
                </a:moveTo>
                <a:cubicBezTo>
                  <a:pt x="1644928" y="3077092"/>
                  <a:pt x="1639286" y="3077092"/>
                  <a:pt x="1633645" y="3085818"/>
                </a:cubicBezTo>
                <a:cubicBezTo>
                  <a:pt x="1641167" y="3091637"/>
                  <a:pt x="1644929" y="3082909"/>
                  <a:pt x="1650569" y="3077092"/>
                </a:cubicBezTo>
                <a:close/>
                <a:moveTo>
                  <a:pt x="1451228" y="3050911"/>
                </a:moveTo>
                <a:cubicBezTo>
                  <a:pt x="1447466" y="3048002"/>
                  <a:pt x="1444175" y="3048729"/>
                  <a:pt x="1441120" y="3050184"/>
                </a:cubicBezTo>
                <a:cubicBezTo>
                  <a:pt x="1438063" y="3051639"/>
                  <a:pt x="1435243" y="3053819"/>
                  <a:pt x="1432422" y="3053819"/>
                </a:cubicBezTo>
                <a:cubicBezTo>
                  <a:pt x="1423019" y="3050911"/>
                  <a:pt x="1447467" y="3065455"/>
                  <a:pt x="1451228" y="3050911"/>
                </a:cubicBezTo>
                <a:close/>
                <a:moveTo>
                  <a:pt x="1730496" y="3061820"/>
                </a:moveTo>
                <a:cubicBezTo>
                  <a:pt x="1727675" y="3063274"/>
                  <a:pt x="1725794" y="3066911"/>
                  <a:pt x="1725795" y="3071274"/>
                </a:cubicBezTo>
                <a:cubicBezTo>
                  <a:pt x="1731435" y="3077092"/>
                  <a:pt x="1737078" y="3071273"/>
                  <a:pt x="1740839" y="3065455"/>
                </a:cubicBezTo>
                <a:cubicBezTo>
                  <a:pt x="1737078" y="3061092"/>
                  <a:pt x="1733316" y="3060365"/>
                  <a:pt x="1730496" y="3061820"/>
                </a:cubicBezTo>
                <a:close/>
                <a:moveTo>
                  <a:pt x="3869673" y="3251629"/>
                </a:moveTo>
                <a:cubicBezTo>
                  <a:pt x="3864031" y="3251629"/>
                  <a:pt x="3858387" y="3251629"/>
                  <a:pt x="3852746" y="3260355"/>
                </a:cubicBezTo>
                <a:cubicBezTo>
                  <a:pt x="3860268" y="3266174"/>
                  <a:pt x="3864032" y="3257447"/>
                  <a:pt x="3869673" y="3251629"/>
                </a:cubicBezTo>
                <a:close/>
                <a:moveTo>
                  <a:pt x="3670331" y="3225448"/>
                </a:moveTo>
                <a:cubicBezTo>
                  <a:pt x="3666569" y="3222540"/>
                  <a:pt x="3663278" y="3223267"/>
                  <a:pt x="3660223" y="3224722"/>
                </a:cubicBezTo>
                <a:cubicBezTo>
                  <a:pt x="3657165" y="3226175"/>
                  <a:pt x="3654345" y="3228357"/>
                  <a:pt x="3651524" y="3228357"/>
                </a:cubicBezTo>
                <a:cubicBezTo>
                  <a:pt x="3642119" y="3225448"/>
                  <a:pt x="3666568" y="3239993"/>
                  <a:pt x="3670331" y="3225448"/>
                </a:cubicBezTo>
                <a:close/>
                <a:moveTo>
                  <a:pt x="1536088" y="3033094"/>
                </a:moveTo>
                <a:cubicBezTo>
                  <a:pt x="1529273" y="3033457"/>
                  <a:pt x="1523631" y="3036366"/>
                  <a:pt x="1522690" y="3045093"/>
                </a:cubicBezTo>
                <a:cubicBezTo>
                  <a:pt x="1533973" y="3039274"/>
                  <a:pt x="1545258" y="3045093"/>
                  <a:pt x="1556541" y="3036366"/>
                </a:cubicBezTo>
                <a:cubicBezTo>
                  <a:pt x="1550899" y="3034912"/>
                  <a:pt x="1542906" y="3032730"/>
                  <a:pt x="1536088" y="3033094"/>
                </a:cubicBezTo>
                <a:close/>
                <a:moveTo>
                  <a:pt x="4744337" y="3318910"/>
                </a:moveTo>
                <a:lnTo>
                  <a:pt x="4746705" y="3326807"/>
                </a:lnTo>
                <a:cubicBezTo>
                  <a:pt x="4746496" y="3332716"/>
                  <a:pt x="4742738" y="3334534"/>
                  <a:pt x="4732863" y="3327262"/>
                </a:cubicBezTo>
                <a:close/>
                <a:moveTo>
                  <a:pt x="3949596" y="3236358"/>
                </a:moveTo>
                <a:cubicBezTo>
                  <a:pt x="3946777" y="3237811"/>
                  <a:pt x="3944896" y="3241448"/>
                  <a:pt x="3944895" y="3245812"/>
                </a:cubicBezTo>
                <a:cubicBezTo>
                  <a:pt x="3950535" y="3251629"/>
                  <a:pt x="3956178" y="3245812"/>
                  <a:pt x="3959937" y="3239993"/>
                </a:cubicBezTo>
                <a:cubicBezTo>
                  <a:pt x="3956177" y="3235630"/>
                  <a:pt x="3952416" y="3234903"/>
                  <a:pt x="3949596" y="3236358"/>
                </a:cubicBezTo>
                <a:close/>
                <a:moveTo>
                  <a:pt x="1040699" y="2972960"/>
                </a:moveTo>
                <a:cubicBezTo>
                  <a:pt x="1039201" y="2972279"/>
                  <a:pt x="1037144" y="2972551"/>
                  <a:pt x="1034911" y="2973460"/>
                </a:cubicBezTo>
                <a:cubicBezTo>
                  <a:pt x="1030445" y="2975277"/>
                  <a:pt x="1025273" y="2979641"/>
                  <a:pt x="1022452" y="2984005"/>
                </a:cubicBezTo>
                <a:cubicBezTo>
                  <a:pt x="1029975" y="2989822"/>
                  <a:pt x="1037497" y="2981096"/>
                  <a:pt x="1043139" y="2978187"/>
                </a:cubicBezTo>
                <a:cubicBezTo>
                  <a:pt x="1043138" y="2975278"/>
                  <a:pt x="1042199" y="2973642"/>
                  <a:pt x="1040699" y="2972960"/>
                </a:cubicBezTo>
                <a:close/>
                <a:moveTo>
                  <a:pt x="3755191" y="3207631"/>
                </a:moveTo>
                <a:cubicBezTo>
                  <a:pt x="3748373" y="3207995"/>
                  <a:pt x="3742732" y="3210904"/>
                  <a:pt x="3741791" y="3219631"/>
                </a:cubicBezTo>
                <a:cubicBezTo>
                  <a:pt x="3753074" y="3213812"/>
                  <a:pt x="3764358" y="3219631"/>
                  <a:pt x="3775640" y="3210903"/>
                </a:cubicBezTo>
                <a:cubicBezTo>
                  <a:pt x="3769999" y="3209450"/>
                  <a:pt x="3762010" y="3207268"/>
                  <a:pt x="3755191" y="3207631"/>
                </a:cubicBezTo>
                <a:close/>
                <a:moveTo>
                  <a:pt x="1855555" y="3031958"/>
                </a:moveTo>
                <a:cubicBezTo>
                  <a:pt x="1844271" y="3032912"/>
                  <a:pt x="1849914" y="3059638"/>
                  <a:pt x="1872481" y="3042184"/>
                </a:cubicBezTo>
                <a:cubicBezTo>
                  <a:pt x="1864958" y="3034184"/>
                  <a:pt x="1859316" y="3031639"/>
                  <a:pt x="1855555" y="3031958"/>
                </a:cubicBezTo>
                <a:close/>
                <a:moveTo>
                  <a:pt x="1824930" y="3029083"/>
                </a:moveTo>
                <a:cubicBezTo>
                  <a:pt x="1825113" y="3026184"/>
                  <a:pt x="1816297" y="3048002"/>
                  <a:pt x="1810421" y="3033457"/>
                </a:cubicBezTo>
                <a:cubicBezTo>
                  <a:pt x="1765286" y="3053819"/>
                  <a:pt x="1765286" y="3068364"/>
                  <a:pt x="1812302" y="3074183"/>
                </a:cubicBezTo>
                <a:cubicBezTo>
                  <a:pt x="1821469" y="3041456"/>
                  <a:pt x="1824818" y="3030821"/>
                  <a:pt x="1824930" y="3029083"/>
                </a:cubicBezTo>
                <a:close/>
                <a:moveTo>
                  <a:pt x="4776555" y="3290467"/>
                </a:moveTo>
                <a:lnTo>
                  <a:pt x="4783638" y="3301081"/>
                </a:lnTo>
                <a:cubicBezTo>
                  <a:pt x="4782702" y="3302535"/>
                  <a:pt x="4781053" y="3301263"/>
                  <a:pt x="4779408" y="3299035"/>
                </a:cubicBezTo>
                <a:lnTo>
                  <a:pt x="4775405" y="3291682"/>
                </a:lnTo>
                <a:close/>
                <a:moveTo>
                  <a:pt x="4725722" y="3282264"/>
                </a:moveTo>
                <a:cubicBezTo>
                  <a:pt x="4727617" y="3283401"/>
                  <a:pt x="4729902" y="3286015"/>
                  <a:pt x="4732257" y="3289479"/>
                </a:cubicBezTo>
                <a:lnTo>
                  <a:pt x="4732601" y="3290090"/>
                </a:lnTo>
                <a:lnTo>
                  <a:pt x="4721579" y="3298173"/>
                </a:lnTo>
                <a:cubicBezTo>
                  <a:pt x="4719698" y="3283628"/>
                  <a:pt x="4721933" y="3279991"/>
                  <a:pt x="4725722" y="3282264"/>
                </a:cubicBezTo>
                <a:close/>
                <a:moveTo>
                  <a:pt x="5636287" y="3363156"/>
                </a:moveTo>
                <a:lnTo>
                  <a:pt x="5630846" y="3370169"/>
                </a:lnTo>
                <a:cubicBezTo>
                  <a:pt x="5626145" y="3371624"/>
                  <a:pt x="5620504" y="3370896"/>
                  <a:pt x="5616742" y="3367987"/>
                </a:cubicBezTo>
                <a:lnTo>
                  <a:pt x="5617269" y="3367444"/>
                </a:lnTo>
                <a:close/>
                <a:moveTo>
                  <a:pt x="3259801" y="3147498"/>
                </a:moveTo>
                <a:cubicBezTo>
                  <a:pt x="3258302" y="3146816"/>
                  <a:pt x="3256247" y="3147089"/>
                  <a:pt x="3254014" y="3147998"/>
                </a:cubicBezTo>
                <a:cubicBezTo>
                  <a:pt x="3249545" y="3149815"/>
                  <a:pt x="3244376" y="3154179"/>
                  <a:pt x="3241551" y="3158542"/>
                </a:cubicBezTo>
                <a:cubicBezTo>
                  <a:pt x="3249077" y="3164360"/>
                  <a:pt x="3256598" y="3155634"/>
                  <a:pt x="3262238" y="3152725"/>
                </a:cubicBezTo>
                <a:cubicBezTo>
                  <a:pt x="3262239" y="3149816"/>
                  <a:pt x="3261300" y="3148180"/>
                  <a:pt x="3259801" y="3147498"/>
                </a:cubicBezTo>
                <a:close/>
                <a:moveTo>
                  <a:pt x="4074656" y="3206495"/>
                </a:moveTo>
                <a:cubicBezTo>
                  <a:pt x="4063372" y="3207449"/>
                  <a:pt x="4069015" y="3234176"/>
                  <a:pt x="4091581" y="3216721"/>
                </a:cubicBezTo>
                <a:cubicBezTo>
                  <a:pt x="4084058" y="3208722"/>
                  <a:pt x="4078416" y="3206177"/>
                  <a:pt x="4074656" y="3206495"/>
                </a:cubicBezTo>
                <a:close/>
                <a:moveTo>
                  <a:pt x="4044029" y="3203619"/>
                </a:moveTo>
                <a:cubicBezTo>
                  <a:pt x="4044213" y="3200722"/>
                  <a:pt x="4035397" y="3222540"/>
                  <a:pt x="4029523" y="3207995"/>
                </a:cubicBezTo>
                <a:cubicBezTo>
                  <a:pt x="3984386" y="3228357"/>
                  <a:pt x="3984387" y="3242902"/>
                  <a:pt x="4031401" y="3248720"/>
                </a:cubicBezTo>
                <a:cubicBezTo>
                  <a:pt x="4040569" y="3215994"/>
                  <a:pt x="4043919" y="3205359"/>
                  <a:pt x="4044029" y="3203619"/>
                </a:cubicBezTo>
                <a:close/>
                <a:moveTo>
                  <a:pt x="5076553" y="3295530"/>
                </a:moveTo>
                <a:lnTo>
                  <a:pt x="5078892" y="3303990"/>
                </a:lnTo>
                <a:cubicBezTo>
                  <a:pt x="5078422" y="3306172"/>
                  <a:pt x="5077599" y="3303264"/>
                  <a:pt x="5076778" y="3297809"/>
                </a:cubicBezTo>
                <a:close/>
                <a:moveTo>
                  <a:pt x="5076085" y="3290789"/>
                </a:moveTo>
                <a:lnTo>
                  <a:pt x="5076553" y="3295530"/>
                </a:lnTo>
                <a:lnTo>
                  <a:pt x="5075353" y="3291189"/>
                </a:lnTo>
                <a:close/>
                <a:moveTo>
                  <a:pt x="1944885" y="3010913"/>
                </a:moveTo>
                <a:cubicBezTo>
                  <a:pt x="1942063" y="3011640"/>
                  <a:pt x="1939244" y="3014550"/>
                  <a:pt x="1936420" y="3018912"/>
                </a:cubicBezTo>
                <a:cubicBezTo>
                  <a:pt x="1942062" y="3018912"/>
                  <a:pt x="1947706" y="3024731"/>
                  <a:pt x="1953347" y="3016003"/>
                </a:cubicBezTo>
                <a:cubicBezTo>
                  <a:pt x="1950528" y="3011640"/>
                  <a:pt x="1947706" y="3010186"/>
                  <a:pt x="1944885" y="3010913"/>
                </a:cubicBezTo>
                <a:close/>
                <a:moveTo>
                  <a:pt x="5074661" y="3272298"/>
                </a:moveTo>
                <a:lnTo>
                  <a:pt x="5074661" y="3275031"/>
                </a:lnTo>
                <a:lnTo>
                  <a:pt x="5071371" y="3274900"/>
                </a:lnTo>
                <a:close/>
                <a:moveTo>
                  <a:pt x="4163983" y="3185451"/>
                </a:moveTo>
                <a:cubicBezTo>
                  <a:pt x="4161162" y="3186177"/>
                  <a:pt x="4158341" y="3189086"/>
                  <a:pt x="4155520" y="3193450"/>
                </a:cubicBezTo>
                <a:cubicBezTo>
                  <a:pt x="4161162" y="3193450"/>
                  <a:pt x="4166804" y="3199268"/>
                  <a:pt x="4172445" y="3190541"/>
                </a:cubicBezTo>
                <a:cubicBezTo>
                  <a:pt x="4169625" y="3186178"/>
                  <a:pt x="4166804" y="3184724"/>
                  <a:pt x="4163983" y="3185451"/>
                </a:cubicBezTo>
                <a:close/>
                <a:moveTo>
                  <a:pt x="2054811" y="2997459"/>
                </a:moveTo>
                <a:cubicBezTo>
                  <a:pt x="2052842" y="2996368"/>
                  <a:pt x="2050315" y="2996368"/>
                  <a:pt x="2047611" y="2997095"/>
                </a:cubicBezTo>
                <a:cubicBezTo>
                  <a:pt x="2042205" y="2998550"/>
                  <a:pt x="2036094" y="3002914"/>
                  <a:pt x="2032330" y="3007277"/>
                </a:cubicBezTo>
                <a:cubicBezTo>
                  <a:pt x="2043614" y="3013094"/>
                  <a:pt x="2051137" y="3007277"/>
                  <a:pt x="2058660" y="3004367"/>
                </a:cubicBezTo>
                <a:cubicBezTo>
                  <a:pt x="2058191" y="3000731"/>
                  <a:pt x="2056780" y="2998550"/>
                  <a:pt x="2054811" y="2997459"/>
                </a:cubicBezTo>
                <a:close/>
                <a:moveTo>
                  <a:pt x="5846027" y="3318763"/>
                </a:moveTo>
                <a:cubicBezTo>
                  <a:pt x="5847232" y="3318535"/>
                  <a:pt x="5848524" y="3319263"/>
                  <a:pt x="5849935" y="3321444"/>
                </a:cubicBezTo>
                <a:cubicBezTo>
                  <a:pt x="5855577" y="3327261"/>
                  <a:pt x="5840532" y="3341806"/>
                  <a:pt x="5836772" y="3333080"/>
                </a:cubicBezTo>
                <a:cubicBezTo>
                  <a:pt x="5839592" y="3328716"/>
                  <a:pt x="5842413" y="3319444"/>
                  <a:pt x="5846027" y="3318763"/>
                </a:cubicBezTo>
                <a:close/>
                <a:moveTo>
                  <a:pt x="4273910" y="3171997"/>
                </a:moveTo>
                <a:cubicBezTo>
                  <a:pt x="4271941" y="3170906"/>
                  <a:pt x="4269415" y="3170906"/>
                  <a:pt x="4266713" y="3171633"/>
                </a:cubicBezTo>
                <a:cubicBezTo>
                  <a:pt x="4261304" y="3173087"/>
                  <a:pt x="4255191" y="3177450"/>
                  <a:pt x="4251431" y="3181815"/>
                </a:cubicBezTo>
                <a:cubicBezTo>
                  <a:pt x="4262715" y="3187632"/>
                  <a:pt x="4270237" y="3181814"/>
                  <a:pt x="4277758" y="3178905"/>
                </a:cubicBezTo>
                <a:cubicBezTo>
                  <a:pt x="4277289" y="3175269"/>
                  <a:pt x="4275878" y="3173088"/>
                  <a:pt x="4273910" y="3171997"/>
                </a:cubicBezTo>
                <a:close/>
                <a:moveTo>
                  <a:pt x="5370620" y="3263628"/>
                </a:moveTo>
                <a:cubicBezTo>
                  <a:pt x="5367094" y="3263992"/>
                  <a:pt x="5363802" y="3266174"/>
                  <a:pt x="5360981" y="3271992"/>
                </a:cubicBezTo>
                <a:cubicBezTo>
                  <a:pt x="5368504" y="3277809"/>
                  <a:pt x="5381668" y="3274900"/>
                  <a:pt x="5381667" y="3266174"/>
                </a:cubicBezTo>
                <a:cubicBezTo>
                  <a:pt x="5377907" y="3264719"/>
                  <a:pt x="5374146" y="3263264"/>
                  <a:pt x="5370620" y="3263628"/>
                </a:cubicBezTo>
                <a:close/>
                <a:moveTo>
                  <a:pt x="1032522" y="2873107"/>
                </a:moveTo>
                <a:lnTo>
                  <a:pt x="1033500" y="2873465"/>
                </a:lnTo>
                <a:lnTo>
                  <a:pt x="1033613" y="2873637"/>
                </a:lnTo>
                <a:lnTo>
                  <a:pt x="1031854" y="2873464"/>
                </a:lnTo>
                <a:close/>
                <a:moveTo>
                  <a:pt x="5436969" y="3246675"/>
                </a:moveTo>
                <a:cubicBezTo>
                  <a:pt x="5434794" y="3246084"/>
                  <a:pt x="5432680" y="3246357"/>
                  <a:pt x="5430563" y="3246902"/>
                </a:cubicBezTo>
                <a:cubicBezTo>
                  <a:pt x="5426331" y="3247992"/>
                  <a:pt x="5422102" y="3250174"/>
                  <a:pt x="5417401" y="3248719"/>
                </a:cubicBezTo>
                <a:cubicBezTo>
                  <a:pt x="5417399" y="3260355"/>
                  <a:pt x="5436204" y="3257447"/>
                  <a:pt x="5443726" y="3251629"/>
                </a:cubicBezTo>
                <a:cubicBezTo>
                  <a:pt x="5441376" y="3248720"/>
                  <a:pt x="5439146" y="3247266"/>
                  <a:pt x="5436969" y="3246675"/>
                </a:cubicBezTo>
                <a:close/>
                <a:moveTo>
                  <a:pt x="3251624" y="3047644"/>
                </a:moveTo>
                <a:lnTo>
                  <a:pt x="3252604" y="3048002"/>
                </a:lnTo>
                <a:lnTo>
                  <a:pt x="3252717" y="3048175"/>
                </a:lnTo>
                <a:lnTo>
                  <a:pt x="3250958" y="3048002"/>
                </a:lnTo>
                <a:close/>
                <a:moveTo>
                  <a:pt x="945348" y="2835648"/>
                </a:moveTo>
                <a:lnTo>
                  <a:pt x="932626" y="2853835"/>
                </a:lnTo>
                <a:lnTo>
                  <a:pt x="933360" y="2850920"/>
                </a:lnTo>
                <a:cubicBezTo>
                  <a:pt x="938296" y="2842921"/>
                  <a:pt x="944408" y="2835647"/>
                  <a:pt x="945348" y="2835648"/>
                </a:cubicBezTo>
                <a:close/>
                <a:moveTo>
                  <a:pt x="2236847" y="2948734"/>
                </a:moveTo>
                <a:cubicBezTo>
                  <a:pt x="2234966" y="2949097"/>
                  <a:pt x="2232615" y="2950551"/>
                  <a:pt x="2229794" y="2949097"/>
                </a:cubicBezTo>
                <a:cubicBezTo>
                  <a:pt x="2224151" y="2957824"/>
                  <a:pt x="2235436" y="2963641"/>
                  <a:pt x="2241077" y="2954915"/>
                </a:cubicBezTo>
                <a:cubicBezTo>
                  <a:pt x="2240138" y="2949098"/>
                  <a:pt x="2238728" y="2948371"/>
                  <a:pt x="2236847" y="2948734"/>
                </a:cubicBezTo>
                <a:close/>
                <a:moveTo>
                  <a:pt x="998004" y="2835648"/>
                </a:moveTo>
                <a:cubicBezTo>
                  <a:pt x="994243" y="2829830"/>
                  <a:pt x="982960" y="2841466"/>
                  <a:pt x="986721" y="2847283"/>
                </a:cubicBezTo>
                <a:cubicBezTo>
                  <a:pt x="992363" y="2856010"/>
                  <a:pt x="998004" y="2835648"/>
                  <a:pt x="998004" y="2835648"/>
                </a:cubicBezTo>
                <a:close/>
                <a:moveTo>
                  <a:pt x="5535876" y="3239993"/>
                </a:moveTo>
                <a:cubicBezTo>
                  <a:pt x="5539638" y="3240720"/>
                  <a:pt x="5543398" y="3242902"/>
                  <a:pt x="5547159" y="3242902"/>
                </a:cubicBezTo>
                <a:cubicBezTo>
                  <a:pt x="5541517" y="3251629"/>
                  <a:pt x="5533997" y="3248720"/>
                  <a:pt x="5524593" y="3245812"/>
                </a:cubicBezTo>
                <a:cubicBezTo>
                  <a:pt x="5528358" y="3239993"/>
                  <a:pt x="5532116" y="3239266"/>
                  <a:pt x="5535876" y="3239993"/>
                </a:cubicBezTo>
                <a:close/>
                <a:moveTo>
                  <a:pt x="1018690" y="2835647"/>
                </a:moveTo>
                <a:cubicBezTo>
                  <a:pt x="999884" y="2850192"/>
                  <a:pt x="1043138" y="2856010"/>
                  <a:pt x="1018690" y="2835647"/>
                </a:cubicBezTo>
                <a:close/>
                <a:moveTo>
                  <a:pt x="1116262" y="2841904"/>
                </a:moveTo>
                <a:cubicBezTo>
                  <a:pt x="1111957" y="2841944"/>
                  <a:pt x="1106139" y="2843012"/>
                  <a:pt x="1099557" y="2844739"/>
                </a:cubicBezTo>
                <a:cubicBezTo>
                  <a:pt x="1086391" y="2848193"/>
                  <a:pt x="1070172" y="2854283"/>
                  <a:pt x="1056891" y="2860056"/>
                </a:cubicBezTo>
                <a:lnTo>
                  <a:pt x="1032522" y="2873107"/>
                </a:lnTo>
                <a:lnTo>
                  <a:pt x="1016310" y="2867193"/>
                </a:lnTo>
                <a:cubicBezTo>
                  <a:pt x="1012344" y="2868920"/>
                  <a:pt x="1011638" y="2875646"/>
                  <a:pt x="1018690" y="2890918"/>
                </a:cubicBezTo>
                <a:cubicBezTo>
                  <a:pt x="1035616" y="2894555"/>
                  <a:pt x="1042316" y="2892555"/>
                  <a:pt x="1043285" y="2888464"/>
                </a:cubicBezTo>
                <a:lnTo>
                  <a:pt x="1033613" y="2873637"/>
                </a:lnTo>
                <a:lnTo>
                  <a:pt x="1045254" y="2874782"/>
                </a:lnTo>
                <a:cubicBezTo>
                  <a:pt x="1060416" y="2870555"/>
                  <a:pt x="1079810" y="2855284"/>
                  <a:pt x="1093915" y="2879283"/>
                </a:cubicBezTo>
                <a:cubicBezTo>
                  <a:pt x="1128471" y="2850920"/>
                  <a:pt x="1129175" y="2841784"/>
                  <a:pt x="1116262" y="2841904"/>
                </a:cubicBezTo>
                <a:close/>
                <a:moveTo>
                  <a:pt x="4455947" y="3123271"/>
                </a:moveTo>
                <a:cubicBezTo>
                  <a:pt x="4454065" y="3123635"/>
                  <a:pt x="4451715" y="3125089"/>
                  <a:pt x="4448893" y="3123635"/>
                </a:cubicBezTo>
                <a:cubicBezTo>
                  <a:pt x="4443253" y="3132361"/>
                  <a:pt x="4454536" y="3138180"/>
                  <a:pt x="4460178" y="3129452"/>
                </a:cubicBezTo>
                <a:cubicBezTo>
                  <a:pt x="4459236" y="3123635"/>
                  <a:pt x="4457826" y="3122908"/>
                  <a:pt x="4455947" y="3123271"/>
                </a:cubicBezTo>
                <a:close/>
                <a:moveTo>
                  <a:pt x="3217106" y="3010186"/>
                </a:moveTo>
                <a:cubicBezTo>
                  <a:pt x="3213344" y="3004367"/>
                  <a:pt x="3202059" y="3016003"/>
                  <a:pt x="3205820" y="3021821"/>
                </a:cubicBezTo>
                <a:cubicBezTo>
                  <a:pt x="3211464" y="3030548"/>
                  <a:pt x="3217106" y="3010186"/>
                  <a:pt x="3217106" y="3010186"/>
                </a:cubicBezTo>
                <a:close/>
                <a:moveTo>
                  <a:pt x="3168209" y="3004367"/>
                </a:moveTo>
                <a:lnTo>
                  <a:pt x="3155489" y="3022556"/>
                </a:lnTo>
                <a:lnTo>
                  <a:pt x="3156222" y="3019640"/>
                </a:lnTo>
                <a:cubicBezTo>
                  <a:pt x="3161159" y="3011640"/>
                  <a:pt x="3167269" y="3004367"/>
                  <a:pt x="3168209" y="3004367"/>
                </a:cubicBezTo>
                <a:close/>
                <a:moveTo>
                  <a:pt x="3237793" y="3010186"/>
                </a:moveTo>
                <a:cubicBezTo>
                  <a:pt x="3218988" y="3024731"/>
                  <a:pt x="3262239" y="3030548"/>
                  <a:pt x="3237793" y="3010186"/>
                </a:cubicBezTo>
                <a:close/>
                <a:moveTo>
                  <a:pt x="3335361" y="3016441"/>
                </a:moveTo>
                <a:cubicBezTo>
                  <a:pt x="3331057" y="3016481"/>
                  <a:pt x="3325240" y="3017549"/>
                  <a:pt x="3318656" y="3019276"/>
                </a:cubicBezTo>
                <a:cubicBezTo>
                  <a:pt x="3305493" y="3022730"/>
                  <a:pt x="3289273" y="3028821"/>
                  <a:pt x="3275990" y="3034594"/>
                </a:cubicBezTo>
                <a:lnTo>
                  <a:pt x="3251624" y="3047644"/>
                </a:lnTo>
                <a:lnTo>
                  <a:pt x="3235412" y="3041729"/>
                </a:lnTo>
                <a:cubicBezTo>
                  <a:pt x="3231445" y="3043457"/>
                  <a:pt x="3230740" y="3050183"/>
                  <a:pt x="3237790" y="3065455"/>
                </a:cubicBezTo>
                <a:cubicBezTo>
                  <a:pt x="3254717" y="3069092"/>
                  <a:pt x="3261416" y="3067092"/>
                  <a:pt x="3262387" y="3063001"/>
                </a:cubicBezTo>
                <a:lnTo>
                  <a:pt x="3252717" y="3048175"/>
                </a:lnTo>
                <a:lnTo>
                  <a:pt x="3264357" y="3049320"/>
                </a:lnTo>
                <a:cubicBezTo>
                  <a:pt x="3279517" y="3045093"/>
                  <a:pt x="3298912" y="3029820"/>
                  <a:pt x="3313017" y="3053819"/>
                </a:cubicBezTo>
                <a:cubicBezTo>
                  <a:pt x="3347570" y="3025457"/>
                  <a:pt x="3348279" y="3016322"/>
                  <a:pt x="3335361" y="3016441"/>
                </a:cubicBezTo>
                <a:close/>
                <a:moveTo>
                  <a:pt x="1201108" y="2824012"/>
                </a:moveTo>
                <a:cubicBezTo>
                  <a:pt x="1186063" y="2812376"/>
                  <a:pt x="1120243" y="2864737"/>
                  <a:pt x="1125884" y="2853102"/>
                </a:cubicBezTo>
                <a:cubicBezTo>
                  <a:pt x="1112721" y="2847283"/>
                  <a:pt x="1202988" y="2885100"/>
                  <a:pt x="1199228" y="2856010"/>
                </a:cubicBezTo>
                <a:cubicBezTo>
                  <a:pt x="1231198" y="2815286"/>
                  <a:pt x="1187943" y="2850193"/>
                  <a:pt x="1165378" y="2853102"/>
                </a:cubicBezTo>
                <a:cubicBezTo>
                  <a:pt x="1174781" y="2835648"/>
                  <a:pt x="1186063" y="2826921"/>
                  <a:pt x="1201108" y="2824012"/>
                </a:cubicBezTo>
                <a:close/>
                <a:moveTo>
                  <a:pt x="5596759" y="3215635"/>
                </a:moveTo>
                <a:lnTo>
                  <a:pt x="5604759" y="3220044"/>
                </a:lnTo>
                <a:lnTo>
                  <a:pt x="5601934" y="3223994"/>
                </a:lnTo>
                <a:cubicBezTo>
                  <a:pt x="5597936" y="3225448"/>
                  <a:pt x="5593234" y="3225448"/>
                  <a:pt x="5590414" y="3225448"/>
                </a:cubicBezTo>
                <a:close/>
                <a:moveTo>
                  <a:pt x="1237192" y="2816831"/>
                </a:moveTo>
                <a:cubicBezTo>
                  <a:pt x="1234607" y="2818012"/>
                  <a:pt x="1230729" y="2823284"/>
                  <a:pt x="1225555" y="2835648"/>
                </a:cubicBezTo>
                <a:cubicBezTo>
                  <a:pt x="1241071" y="2846557"/>
                  <a:pt x="1244951" y="2813286"/>
                  <a:pt x="1237192" y="2816831"/>
                </a:cubicBezTo>
                <a:close/>
                <a:moveTo>
                  <a:pt x="1274687" y="2817831"/>
                </a:moveTo>
                <a:cubicBezTo>
                  <a:pt x="1271161" y="2817467"/>
                  <a:pt x="1267869" y="2818195"/>
                  <a:pt x="1265048" y="2821103"/>
                </a:cubicBezTo>
                <a:cubicBezTo>
                  <a:pt x="1272570" y="2829830"/>
                  <a:pt x="1280094" y="2829830"/>
                  <a:pt x="1285735" y="2821103"/>
                </a:cubicBezTo>
                <a:cubicBezTo>
                  <a:pt x="1281975" y="2819648"/>
                  <a:pt x="1278213" y="2818194"/>
                  <a:pt x="1274687" y="2817831"/>
                </a:cubicBezTo>
                <a:close/>
                <a:moveTo>
                  <a:pt x="3420209" y="2998550"/>
                </a:moveTo>
                <a:cubicBezTo>
                  <a:pt x="3405166" y="2986913"/>
                  <a:pt x="3339346" y="3039274"/>
                  <a:pt x="3344987" y="3027639"/>
                </a:cubicBezTo>
                <a:cubicBezTo>
                  <a:pt x="3331822" y="3021821"/>
                  <a:pt x="3422090" y="3059638"/>
                  <a:pt x="3418331" y="3030548"/>
                </a:cubicBezTo>
                <a:cubicBezTo>
                  <a:pt x="3450299" y="2989822"/>
                  <a:pt x="3407046" y="3024730"/>
                  <a:pt x="3384477" y="3027638"/>
                </a:cubicBezTo>
                <a:cubicBezTo>
                  <a:pt x="3393880" y="3010186"/>
                  <a:pt x="3405165" y="3001458"/>
                  <a:pt x="3420209" y="2998550"/>
                </a:cubicBezTo>
                <a:close/>
                <a:moveTo>
                  <a:pt x="5938324" y="3222539"/>
                </a:moveTo>
                <a:cubicBezTo>
                  <a:pt x="5932682" y="3222539"/>
                  <a:pt x="5927041" y="3222539"/>
                  <a:pt x="5921400" y="3231267"/>
                </a:cubicBezTo>
                <a:cubicBezTo>
                  <a:pt x="5928920" y="3237084"/>
                  <a:pt x="5932681" y="3228357"/>
                  <a:pt x="5938324" y="3222539"/>
                </a:cubicBezTo>
                <a:close/>
                <a:moveTo>
                  <a:pt x="1312252" y="2803547"/>
                </a:moveTo>
                <a:cubicBezTo>
                  <a:pt x="1307444" y="2802218"/>
                  <a:pt x="1303410" y="2802332"/>
                  <a:pt x="1300163" y="2803377"/>
                </a:cubicBezTo>
                <a:cubicBezTo>
                  <a:pt x="1280681" y="2809649"/>
                  <a:pt x="1289496" y="2849465"/>
                  <a:pt x="1328990" y="2812376"/>
                </a:cubicBezTo>
                <a:cubicBezTo>
                  <a:pt x="1322643" y="2807649"/>
                  <a:pt x="1317060" y="2804877"/>
                  <a:pt x="1312252" y="2803547"/>
                </a:cubicBezTo>
                <a:close/>
                <a:moveTo>
                  <a:pt x="5738980" y="3196358"/>
                </a:moveTo>
                <a:cubicBezTo>
                  <a:pt x="5735220" y="3193450"/>
                  <a:pt x="5731930" y="3194177"/>
                  <a:pt x="5728873" y="3195632"/>
                </a:cubicBezTo>
                <a:cubicBezTo>
                  <a:pt x="5725816" y="3197086"/>
                  <a:pt x="5722996" y="3199267"/>
                  <a:pt x="5720177" y="3199267"/>
                </a:cubicBezTo>
                <a:cubicBezTo>
                  <a:pt x="5710774" y="3196358"/>
                  <a:pt x="5735219" y="3210903"/>
                  <a:pt x="5738980" y="3196358"/>
                </a:cubicBezTo>
                <a:close/>
                <a:moveTo>
                  <a:pt x="3456293" y="2991369"/>
                </a:moveTo>
                <a:cubicBezTo>
                  <a:pt x="3453709" y="2992550"/>
                  <a:pt x="3449830" y="2997823"/>
                  <a:pt x="3444658" y="3010186"/>
                </a:cubicBezTo>
                <a:cubicBezTo>
                  <a:pt x="3460172" y="3021095"/>
                  <a:pt x="3464050" y="2987824"/>
                  <a:pt x="3456293" y="2991369"/>
                </a:cubicBezTo>
                <a:close/>
                <a:moveTo>
                  <a:pt x="1203987" y="2789605"/>
                </a:moveTo>
                <a:cubicBezTo>
                  <a:pt x="1202283" y="2788832"/>
                  <a:pt x="1199933" y="2788923"/>
                  <a:pt x="1197348" y="2789469"/>
                </a:cubicBezTo>
                <a:cubicBezTo>
                  <a:pt x="1192175" y="2790558"/>
                  <a:pt x="1186063" y="2793468"/>
                  <a:pt x="1182303" y="2794922"/>
                </a:cubicBezTo>
                <a:cubicBezTo>
                  <a:pt x="1184183" y="2803650"/>
                  <a:pt x="1201109" y="2794922"/>
                  <a:pt x="1206750" y="2794922"/>
                </a:cubicBezTo>
                <a:cubicBezTo>
                  <a:pt x="1206749" y="2792013"/>
                  <a:pt x="1205693" y="2790377"/>
                  <a:pt x="1203987" y="2789605"/>
                </a:cubicBezTo>
                <a:close/>
                <a:moveTo>
                  <a:pt x="3493787" y="2992368"/>
                </a:moveTo>
                <a:cubicBezTo>
                  <a:pt x="3490263" y="2992004"/>
                  <a:pt x="3486971" y="2992732"/>
                  <a:pt x="3484149" y="2995641"/>
                </a:cubicBezTo>
                <a:cubicBezTo>
                  <a:pt x="3491672" y="3004367"/>
                  <a:pt x="3499194" y="3004367"/>
                  <a:pt x="3504836" y="2995641"/>
                </a:cubicBezTo>
                <a:cubicBezTo>
                  <a:pt x="3501076" y="2994186"/>
                  <a:pt x="3497316" y="2992732"/>
                  <a:pt x="3493787" y="2992368"/>
                </a:cubicBezTo>
                <a:close/>
                <a:moveTo>
                  <a:pt x="1354789" y="2796787"/>
                </a:moveTo>
                <a:cubicBezTo>
                  <a:pt x="1353319" y="2795741"/>
                  <a:pt x="1351322" y="2795832"/>
                  <a:pt x="1349206" y="2796740"/>
                </a:cubicBezTo>
                <a:cubicBezTo>
                  <a:pt x="1344973" y="2798559"/>
                  <a:pt x="1340272" y="2803650"/>
                  <a:pt x="1338391" y="2809467"/>
                </a:cubicBezTo>
                <a:cubicBezTo>
                  <a:pt x="1349676" y="2815285"/>
                  <a:pt x="1347795" y="2800740"/>
                  <a:pt x="1357198" y="2803650"/>
                </a:cubicBezTo>
                <a:cubicBezTo>
                  <a:pt x="1357198" y="2800014"/>
                  <a:pt x="1356257" y="2797832"/>
                  <a:pt x="1354789" y="2796787"/>
                </a:cubicBezTo>
                <a:close/>
                <a:moveTo>
                  <a:pt x="721556" y="2736744"/>
                </a:moveTo>
                <a:cubicBezTo>
                  <a:pt x="708393" y="2733834"/>
                  <a:pt x="693348" y="2745470"/>
                  <a:pt x="680185" y="2748379"/>
                </a:cubicBezTo>
                <a:cubicBezTo>
                  <a:pt x="687706" y="2754197"/>
                  <a:pt x="710273" y="2751287"/>
                  <a:pt x="721556" y="2736744"/>
                </a:cubicBezTo>
                <a:close/>
                <a:moveTo>
                  <a:pt x="6018249" y="3207268"/>
                </a:moveTo>
                <a:cubicBezTo>
                  <a:pt x="6015428" y="3208722"/>
                  <a:pt x="6013547" y="3212359"/>
                  <a:pt x="6013547" y="3216722"/>
                </a:cubicBezTo>
                <a:cubicBezTo>
                  <a:pt x="6019189" y="3222539"/>
                  <a:pt x="6024831" y="3216721"/>
                  <a:pt x="6028592" y="3210903"/>
                </a:cubicBezTo>
                <a:cubicBezTo>
                  <a:pt x="6024831" y="3206540"/>
                  <a:pt x="6021069" y="3205813"/>
                  <a:pt x="6018249" y="3207268"/>
                </a:cubicBezTo>
                <a:close/>
                <a:moveTo>
                  <a:pt x="3531354" y="2978084"/>
                </a:moveTo>
                <a:cubicBezTo>
                  <a:pt x="3526546" y="2976755"/>
                  <a:pt x="3522511" y="2976869"/>
                  <a:pt x="3519265" y="2977914"/>
                </a:cubicBezTo>
                <a:cubicBezTo>
                  <a:pt x="3499785" y="2984186"/>
                  <a:pt x="3508598" y="3024003"/>
                  <a:pt x="3548088" y="2986913"/>
                </a:cubicBezTo>
                <a:cubicBezTo>
                  <a:pt x="3541742" y="2982186"/>
                  <a:pt x="3536159" y="2979414"/>
                  <a:pt x="3531354" y="2978084"/>
                </a:cubicBezTo>
                <a:close/>
                <a:moveTo>
                  <a:pt x="5844206" y="3181800"/>
                </a:moveTo>
                <a:lnTo>
                  <a:pt x="5844294" y="3181815"/>
                </a:lnTo>
                <a:lnTo>
                  <a:pt x="5841666" y="3182662"/>
                </a:lnTo>
                <a:close/>
                <a:moveTo>
                  <a:pt x="3423090" y="2964143"/>
                </a:moveTo>
                <a:cubicBezTo>
                  <a:pt x="3421386" y="2963370"/>
                  <a:pt x="3419034" y="2963461"/>
                  <a:pt x="3416450" y="2964006"/>
                </a:cubicBezTo>
                <a:cubicBezTo>
                  <a:pt x="3411277" y="2965096"/>
                  <a:pt x="3405166" y="2968006"/>
                  <a:pt x="3401404" y="2969460"/>
                </a:cubicBezTo>
                <a:cubicBezTo>
                  <a:pt x="3403286" y="2978186"/>
                  <a:pt x="3420211" y="2969460"/>
                  <a:pt x="3425852" y="2969460"/>
                </a:cubicBezTo>
                <a:cubicBezTo>
                  <a:pt x="3425853" y="2966551"/>
                  <a:pt x="3424794" y="2964915"/>
                  <a:pt x="3423090" y="2964143"/>
                </a:cubicBezTo>
                <a:close/>
                <a:moveTo>
                  <a:pt x="1432422" y="2786196"/>
                </a:moveTo>
                <a:cubicBezTo>
                  <a:pt x="1421138" y="2786196"/>
                  <a:pt x="1411735" y="2786195"/>
                  <a:pt x="1402333" y="2789105"/>
                </a:cubicBezTo>
                <a:cubicBezTo>
                  <a:pt x="1400451" y="2809467"/>
                  <a:pt x="1424898" y="2800741"/>
                  <a:pt x="1432422" y="2786196"/>
                </a:cubicBezTo>
                <a:close/>
                <a:moveTo>
                  <a:pt x="3573889" y="2971324"/>
                </a:moveTo>
                <a:cubicBezTo>
                  <a:pt x="3572421" y="2970278"/>
                  <a:pt x="3570423" y="2970369"/>
                  <a:pt x="3568308" y="2971278"/>
                </a:cubicBezTo>
                <a:cubicBezTo>
                  <a:pt x="3564076" y="2973095"/>
                  <a:pt x="3559374" y="2978186"/>
                  <a:pt x="3557492" y="2984005"/>
                </a:cubicBezTo>
                <a:cubicBezTo>
                  <a:pt x="3568776" y="2989822"/>
                  <a:pt x="3566896" y="2975277"/>
                  <a:pt x="3576301" y="2978187"/>
                </a:cubicBezTo>
                <a:cubicBezTo>
                  <a:pt x="3576300" y="2974551"/>
                  <a:pt x="3575358" y="2972369"/>
                  <a:pt x="3573889" y="2971324"/>
                </a:cubicBezTo>
                <a:close/>
                <a:moveTo>
                  <a:pt x="2940660" y="2911280"/>
                </a:moveTo>
                <a:cubicBezTo>
                  <a:pt x="2927495" y="2908371"/>
                  <a:pt x="2912451" y="2920008"/>
                  <a:pt x="2899285" y="2922916"/>
                </a:cubicBezTo>
                <a:cubicBezTo>
                  <a:pt x="2906808" y="2928735"/>
                  <a:pt x="2929375" y="2925825"/>
                  <a:pt x="2940660" y="2911280"/>
                </a:cubicBezTo>
                <a:close/>
                <a:moveTo>
                  <a:pt x="1465391" y="2779696"/>
                </a:moveTo>
                <a:cubicBezTo>
                  <a:pt x="1460983" y="2777104"/>
                  <a:pt x="1476145" y="2791286"/>
                  <a:pt x="1477554" y="2789105"/>
                </a:cubicBezTo>
                <a:cubicBezTo>
                  <a:pt x="1470503" y="2783286"/>
                  <a:pt x="1466860" y="2780560"/>
                  <a:pt x="1465391" y="2779696"/>
                </a:cubicBezTo>
                <a:close/>
                <a:moveTo>
                  <a:pt x="1453108" y="2777469"/>
                </a:moveTo>
                <a:cubicBezTo>
                  <a:pt x="1445585" y="2780377"/>
                  <a:pt x="1439943" y="2783286"/>
                  <a:pt x="1434302" y="2789105"/>
                </a:cubicBezTo>
                <a:cubicBezTo>
                  <a:pt x="1443704" y="2792013"/>
                  <a:pt x="1451228" y="2789105"/>
                  <a:pt x="1453108" y="2777469"/>
                </a:cubicBezTo>
                <a:close/>
                <a:moveTo>
                  <a:pt x="721792" y="2711654"/>
                </a:moveTo>
                <a:cubicBezTo>
                  <a:pt x="718266" y="2712018"/>
                  <a:pt x="714974" y="2714927"/>
                  <a:pt x="712154" y="2722199"/>
                </a:cubicBezTo>
                <a:cubicBezTo>
                  <a:pt x="719677" y="2728016"/>
                  <a:pt x="725318" y="2719289"/>
                  <a:pt x="732841" y="2716380"/>
                </a:cubicBezTo>
                <a:cubicBezTo>
                  <a:pt x="729080" y="2713472"/>
                  <a:pt x="725317" y="2711290"/>
                  <a:pt x="721792" y="2711654"/>
                </a:cubicBezTo>
                <a:close/>
                <a:moveTo>
                  <a:pt x="5328453" y="3118408"/>
                </a:moveTo>
                <a:cubicBezTo>
                  <a:pt x="5326956" y="3117726"/>
                  <a:pt x="5324897" y="3117999"/>
                  <a:pt x="5322664" y="3118907"/>
                </a:cubicBezTo>
                <a:cubicBezTo>
                  <a:pt x="5318198" y="3120725"/>
                  <a:pt x="5313027" y="3125089"/>
                  <a:pt x="5310207" y="3129452"/>
                </a:cubicBezTo>
                <a:cubicBezTo>
                  <a:pt x="5317727" y="3135271"/>
                  <a:pt x="5325250" y="3126544"/>
                  <a:pt x="5330892" y="3123635"/>
                </a:cubicBezTo>
                <a:cubicBezTo>
                  <a:pt x="5330892" y="3120726"/>
                  <a:pt x="5329951" y="3119090"/>
                  <a:pt x="5328453" y="3118408"/>
                </a:cubicBezTo>
                <a:close/>
                <a:moveTo>
                  <a:pt x="674072" y="2699291"/>
                </a:moveTo>
                <a:cubicBezTo>
                  <a:pt x="670781" y="2699653"/>
                  <a:pt x="666081" y="2701835"/>
                  <a:pt x="663259" y="2701835"/>
                </a:cubicBezTo>
                <a:cubicBezTo>
                  <a:pt x="661378" y="2716380"/>
                  <a:pt x="672661" y="2701835"/>
                  <a:pt x="676422" y="2707654"/>
                </a:cubicBezTo>
                <a:cubicBezTo>
                  <a:pt x="679244" y="2700382"/>
                  <a:pt x="677362" y="2698927"/>
                  <a:pt x="674072" y="2699291"/>
                </a:cubicBezTo>
                <a:close/>
                <a:moveTo>
                  <a:pt x="691466" y="2696018"/>
                </a:moveTo>
                <a:cubicBezTo>
                  <a:pt x="687706" y="2698927"/>
                  <a:pt x="708392" y="2739652"/>
                  <a:pt x="691466" y="2696018"/>
                </a:cubicBezTo>
                <a:close/>
                <a:moveTo>
                  <a:pt x="1483551" y="2763469"/>
                </a:moveTo>
                <a:cubicBezTo>
                  <a:pt x="1480612" y="2763652"/>
                  <a:pt x="1476615" y="2765833"/>
                  <a:pt x="1471914" y="2771651"/>
                </a:cubicBezTo>
                <a:cubicBezTo>
                  <a:pt x="1491661" y="2780377"/>
                  <a:pt x="1492365" y="2762924"/>
                  <a:pt x="1483551" y="2763469"/>
                </a:cubicBezTo>
                <a:close/>
                <a:moveTo>
                  <a:pt x="6143307" y="3177406"/>
                </a:moveTo>
                <a:cubicBezTo>
                  <a:pt x="6132024" y="3178360"/>
                  <a:pt x="6137666" y="3205086"/>
                  <a:pt x="6160233" y="3187632"/>
                </a:cubicBezTo>
                <a:cubicBezTo>
                  <a:pt x="6152711" y="3179632"/>
                  <a:pt x="6147069" y="3177087"/>
                  <a:pt x="6143307" y="3177406"/>
                </a:cubicBezTo>
                <a:close/>
                <a:moveTo>
                  <a:pt x="6112682" y="3174531"/>
                </a:moveTo>
                <a:cubicBezTo>
                  <a:pt x="6112866" y="3171632"/>
                  <a:pt x="6104051" y="3193450"/>
                  <a:pt x="6098174" y="3178905"/>
                </a:cubicBezTo>
                <a:cubicBezTo>
                  <a:pt x="6053039" y="3199267"/>
                  <a:pt x="6053039" y="3213812"/>
                  <a:pt x="6100054" y="3219631"/>
                </a:cubicBezTo>
                <a:cubicBezTo>
                  <a:pt x="6109222" y="3186904"/>
                  <a:pt x="6112572" y="3176269"/>
                  <a:pt x="6112682" y="3174531"/>
                </a:cubicBezTo>
                <a:close/>
                <a:moveTo>
                  <a:pt x="5140394" y="3081683"/>
                </a:moveTo>
                <a:cubicBezTo>
                  <a:pt x="5147887" y="3082910"/>
                  <a:pt x="5167281" y="3089455"/>
                  <a:pt x="5139071" y="3082909"/>
                </a:cubicBezTo>
                <a:cubicBezTo>
                  <a:pt x="5136721" y="3081455"/>
                  <a:pt x="5137896" y="3081273"/>
                  <a:pt x="5140394" y="3081683"/>
                </a:cubicBezTo>
                <a:close/>
                <a:moveTo>
                  <a:pt x="789964" y="2689836"/>
                </a:moveTo>
                <a:cubicBezTo>
                  <a:pt x="786437" y="2691654"/>
                  <a:pt x="782676" y="2697472"/>
                  <a:pt x="789259" y="2701835"/>
                </a:cubicBezTo>
                <a:cubicBezTo>
                  <a:pt x="796781" y="2690199"/>
                  <a:pt x="793490" y="2688017"/>
                  <a:pt x="789964" y="2689836"/>
                </a:cubicBezTo>
                <a:close/>
                <a:moveTo>
                  <a:pt x="1643048" y="2754197"/>
                </a:moveTo>
                <a:cubicBezTo>
                  <a:pt x="1635527" y="2757106"/>
                  <a:pt x="1641168" y="2757106"/>
                  <a:pt x="1635526" y="2765832"/>
                </a:cubicBezTo>
                <a:cubicBezTo>
                  <a:pt x="1643048" y="2774560"/>
                  <a:pt x="1654331" y="2757106"/>
                  <a:pt x="1643048" y="2754197"/>
                </a:cubicBezTo>
                <a:close/>
                <a:moveTo>
                  <a:pt x="862925" y="2683336"/>
                </a:moveTo>
                <a:cubicBezTo>
                  <a:pt x="857901" y="2685109"/>
                  <a:pt x="853668" y="2693836"/>
                  <a:pt x="849437" y="2696018"/>
                </a:cubicBezTo>
                <a:cubicBezTo>
                  <a:pt x="856959" y="2704745"/>
                  <a:pt x="860721" y="2693109"/>
                  <a:pt x="868244" y="2684382"/>
                </a:cubicBezTo>
                <a:cubicBezTo>
                  <a:pt x="866363" y="2682928"/>
                  <a:pt x="864599" y="2682746"/>
                  <a:pt x="862925" y="2683336"/>
                </a:cubicBezTo>
                <a:close/>
                <a:moveTo>
                  <a:pt x="688661" y="2666976"/>
                </a:moveTo>
                <a:lnTo>
                  <a:pt x="688736" y="2667020"/>
                </a:lnTo>
                <a:cubicBezTo>
                  <a:pt x="689587" y="2668565"/>
                  <a:pt x="689117" y="2670565"/>
                  <a:pt x="685825" y="2672747"/>
                </a:cubicBezTo>
                <a:lnTo>
                  <a:pt x="682633" y="2668881"/>
                </a:lnTo>
                <a:close/>
                <a:moveTo>
                  <a:pt x="694733" y="2665176"/>
                </a:moveTo>
                <a:lnTo>
                  <a:pt x="691467" y="2669837"/>
                </a:lnTo>
                <a:lnTo>
                  <a:pt x="693562" y="2665518"/>
                </a:lnTo>
                <a:close/>
                <a:moveTo>
                  <a:pt x="5188909" y="3065456"/>
                </a:moveTo>
                <a:cubicBezTo>
                  <a:pt x="5192198" y="3066909"/>
                  <a:pt x="5198310" y="3071273"/>
                  <a:pt x="5197369" y="3074183"/>
                </a:cubicBezTo>
                <a:cubicBezTo>
                  <a:pt x="5185145" y="3065456"/>
                  <a:pt x="5185616" y="3064002"/>
                  <a:pt x="5188909" y="3065456"/>
                </a:cubicBezTo>
                <a:close/>
                <a:moveTo>
                  <a:pt x="6232637" y="3156361"/>
                </a:moveTo>
                <a:cubicBezTo>
                  <a:pt x="6229816" y="3157089"/>
                  <a:pt x="6226994" y="3159998"/>
                  <a:pt x="6224174" y="3164360"/>
                </a:cubicBezTo>
                <a:cubicBezTo>
                  <a:pt x="6229816" y="3164360"/>
                  <a:pt x="6235457" y="3170177"/>
                  <a:pt x="6241099" y="3161451"/>
                </a:cubicBezTo>
                <a:cubicBezTo>
                  <a:pt x="6238279" y="3157088"/>
                  <a:pt x="6235458" y="3155634"/>
                  <a:pt x="6232637" y="3156361"/>
                </a:cubicBezTo>
                <a:close/>
                <a:moveTo>
                  <a:pt x="1040789" y="2685837"/>
                </a:moveTo>
                <a:cubicBezTo>
                  <a:pt x="1036086" y="2686564"/>
                  <a:pt x="1031854" y="2688746"/>
                  <a:pt x="1028093" y="2693109"/>
                </a:cubicBezTo>
                <a:cubicBezTo>
                  <a:pt x="1039378" y="2701835"/>
                  <a:pt x="1046900" y="2701835"/>
                  <a:pt x="1056304" y="2687290"/>
                </a:cubicBezTo>
                <a:cubicBezTo>
                  <a:pt x="1050662" y="2685837"/>
                  <a:pt x="1045490" y="2685110"/>
                  <a:pt x="1040789" y="2685837"/>
                </a:cubicBezTo>
                <a:close/>
                <a:moveTo>
                  <a:pt x="1469475" y="2714063"/>
                </a:moveTo>
                <a:cubicBezTo>
                  <a:pt x="1467976" y="2713381"/>
                  <a:pt x="1465920" y="2713653"/>
                  <a:pt x="1463686" y="2714562"/>
                </a:cubicBezTo>
                <a:cubicBezTo>
                  <a:pt x="1459220" y="2716380"/>
                  <a:pt x="1454048" y="2720744"/>
                  <a:pt x="1451227" y="2725107"/>
                </a:cubicBezTo>
                <a:cubicBezTo>
                  <a:pt x="1458749" y="2730925"/>
                  <a:pt x="1464391" y="2713472"/>
                  <a:pt x="1471914" y="2719289"/>
                </a:cubicBezTo>
                <a:cubicBezTo>
                  <a:pt x="1471914" y="2716381"/>
                  <a:pt x="1470973" y="2714745"/>
                  <a:pt x="1469475" y="2714063"/>
                </a:cubicBezTo>
                <a:close/>
                <a:moveTo>
                  <a:pt x="886813" y="2661110"/>
                </a:moveTo>
                <a:cubicBezTo>
                  <a:pt x="879056" y="2664746"/>
                  <a:pt x="870124" y="2677109"/>
                  <a:pt x="883287" y="2687290"/>
                </a:cubicBezTo>
                <a:cubicBezTo>
                  <a:pt x="901153" y="2662564"/>
                  <a:pt x="894572" y="2657474"/>
                  <a:pt x="886813" y="2661110"/>
                </a:cubicBezTo>
                <a:close/>
                <a:moveTo>
                  <a:pt x="767838" y="2650162"/>
                </a:moveTo>
                <a:cubicBezTo>
                  <a:pt x="767837" y="2649611"/>
                  <a:pt x="768102" y="2650201"/>
                  <a:pt x="768572" y="2652383"/>
                </a:cubicBezTo>
                <a:lnTo>
                  <a:pt x="768256" y="2652440"/>
                </a:lnTo>
                <a:close/>
                <a:moveTo>
                  <a:pt x="6342563" y="3142907"/>
                </a:moveTo>
                <a:cubicBezTo>
                  <a:pt x="6340594" y="3141816"/>
                  <a:pt x="6338067" y="3141816"/>
                  <a:pt x="6335363" y="3142543"/>
                </a:cubicBezTo>
                <a:cubicBezTo>
                  <a:pt x="6329958" y="3143997"/>
                  <a:pt x="6323845" y="3148361"/>
                  <a:pt x="6320084" y="3152724"/>
                </a:cubicBezTo>
                <a:cubicBezTo>
                  <a:pt x="6331367" y="3158542"/>
                  <a:pt x="6338890" y="3152725"/>
                  <a:pt x="6346412" y="3149815"/>
                </a:cubicBezTo>
                <a:cubicBezTo>
                  <a:pt x="6345942" y="3146179"/>
                  <a:pt x="6344531" y="3143998"/>
                  <a:pt x="6342563" y="3142907"/>
                </a:cubicBezTo>
                <a:close/>
                <a:moveTo>
                  <a:pt x="840505" y="2647657"/>
                </a:moveTo>
                <a:cubicBezTo>
                  <a:pt x="837214" y="2645839"/>
                  <a:pt x="834393" y="2652384"/>
                  <a:pt x="841915" y="2672747"/>
                </a:cubicBezTo>
                <a:cubicBezTo>
                  <a:pt x="847558" y="2659656"/>
                  <a:pt x="843797" y="2649475"/>
                  <a:pt x="840505" y="2647657"/>
                </a:cubicBezTo>
                <a:close/>
                <a:moveTo>
                  <a:pt x="3259890" y="2860374"/>
                </a:moveTo>
                <a:cubicBezTo>
                  <a:pt x="3255188" y="2861101"/>
                  <a:pt x="3250955" y="2863283"/>
                  <a:pt x="3247197" y="2867647"/>
                </a:cubicBezTo>
                <a:cubicBezTo>
                  <a:pt x="3258481" y="2876373"/>
                  <a:pt x="3266002" y="2876373"/>
                  <a:pt x="3275405" y="2861828"/>
                </a:cubicBezTo>
                <a:cubicBezTo>
                  <a:pt x="3269761" y="2860374"/>
                  <a:pt x="3264592" y="2859646"/>
                  <a:pt x="3259890" y="2860374"/>
                </a:cubicBezTo>
                <a:close/>
                <a:moveTo>
                  <a:pt x="1009287" y="2655292"/>
                </a:moveTo>
                <a:cubicBezTo>
                  <a:pt x="1003647" y="2652383"/>
                  <a:pt x="999768" y="2652747"/>
                  <a:pt x="997388" y="2654475"/>
                </a:cubicBezTo>
                <a:cubicBezTo>
                  <a:pt x="990248" y="2659656"/>
                  <a:pt x="996595" y="2677110"/>
                  <a:pt x="1009287" y="2655292"/>
                </a:cubicBezTo>
                <a:close/>
                <a:moveTo>
                  <a:pt x="2792092" y="2809467"/>
                </a:moveTo>
                <a:cubicBezTo>
                  <a:pt x="2792092" y="2803650"/>
                  <a:pt x="2756360" y="2835648"/>
                  <a:pt x="2792092" y="2809467"/>
                </a:cubicBezTo>
                <a:close/>
                <a:moveTo>
                  <a:pt x="3688577" y="2888600"/>
                </a:moveTo>
                <a:cubicBezTo>
                  <a:pt x="3687079" y="2887918"/>
                  <a:pt x="3685022" y="2888191"/>
                  <a:pt x="3682789" y="2889100"/>
                </a:cubicBezTo>
                <a:cubicBezTo>
                  <a:pt x="3678322" y="2890918"/>
                  <a:pt x="3673149" y="2895282"/>
                  <a:pt x="3670329" y="2899645"/>
                </a:cubicBezTo>
                <a:cubicBezTo>
                  <a:pt x="3677851" y="2905463"/>
                  <a:pt x="3683492" y="2888009"/>
                  <a:pt x="3691016" y="2893827"/>
                </a:cubicBezTo>
                <a:cubicBezTo>
                  <a:pt x="3691015" y="2890918"/>
                  <a:pt x="3690075" y="2889282"/>
                  <a:pt x="3688577" y="2888600"/>
                </a:cubicBezTo>
                <a:close/>
                <a:moveTo>
                  <a:pt x="540567" y="2606598"/>
                </a:moveTo>
                <a:lnTo>
                  <a:pt x="544781" y="2611657"/>
                </a:lnTo>
                <a:cubicBezTo>
                  <a:pt x="537258" y="2626203"/>
                  <a:pt x="537259" y="2614567"/>
                  <a:pt x="525975" y="2614567"/>
                </a:cubicBezTo>
                <a:cubicBezTo>
                  <a:pt x="528795" y="2609477"/>
                  <a:pt x="532793" y="2607113"/>
                  <a:pt x="537494" y="2606341"/>
                </a:cubicBezTo>
                <a:close/>
                <a:moveTo>
                  <a:pt x="1153037" y="2659747"/>
                </a:moveTo>
                <a:cubicBezTo>
                  <a:pt x="1148805" y="2659838"/>
                  <a:pt x="1143280" y="2664746"/>
                  <a:pt x="1137167" y="2678564"/>
                </a:cubicBezTo>
                <a:cubicBezTo>
                  <a:pt x="1166788" y="2702564"/>
                  <a:pt x="1165730" y="2659474"/>
                  <a:pt x="1153037" y="2659747"/>
                </a:cubicBezTo>
                <a:close/>
                <a:moveTo>
                  <a:pt x="3206997" y="2838557"/>
                </a:moveTo>
                <a:cubicBezTo>
                  <a:pt x="3203943" y="2839284"/>
                  <a:pt x="3201121" y="2842921"/>
                  <a:pt x="3207702" y="2847283"/>
                </a:cubicBezTo>
                <a:cubicBezTo>
                  <a:pt x="3213346" y="2840012"/>
                  <a:pt x="3210055" y="2837829"/>
                  <a:pt x="3206997" y="2838557"/>
                </a:cubicBezTo>
                <a:close/>
                <a:moveTo>
                  <a:pt x="931861" y="2633112"/>
                </a:moveTo>
                <a:cubicBezTo>
                  <a:pt x="923838" y="2627112"/>
                  <a:pt x="891751" y="2647293"/>
                  <a:pt x="928422" y="2649474"/>
                </a:cubicBezTo>
                <a:cubicBezTo>
                  <a:pt x="934534" y="2640020"/>
                  <a:pt x="934534" y="2635111"/>
                  <a:pt x="931861" y="2633112"/>
                </a:cubicBezTo>
                <a:close/>
                <a:moveTo>
                  <a:pt x="3220515" y="2834058"/>
                </a:moveTo>
                <a:cubicBezTo>
                  <a:pt x="3218985" y="2833831"/>
                  <a:pt x="3217104" y="2834921"/>
                  <a:pt x="3215227" y="2838557"/>
                </a:cubicBezTo>
                <a:cubicBezTo>
                  <a:pt x="3226509" y="2847285"/>
                  <a:pt x="3225098" y="2834739"/>
                  <a:pt x="3220515" y="2834058"/>
                </a:cubicBezTo>
                <a:close/>
                <a:moveTo>
                  <a:pt x="1609197" y="2690199"/>
                </a:moveTo>
                <a:cubicBezTo>
                  <a:pt x="1601676" y="2688745"/>
                  <a:pt x="1594152" y="2688017"/>
                  <a:pt x="1586865" y="2689108"/>
                </a:cubicBezTo>
                <a:cubicBezTo>
                  <a:pt x="1579577" y="2690200"/>
                  <a:pt x="1572526" y="2693109"/>
                  <a:pt x="1565944" y="2698927"/>
                </a:cubicBezTo>
                <a:cubicBezTo>
                  <a:pt x="1582869" y="2696018"/>
                  <a:pt x="1590391" y="2696018"/>
                  <a:pt x="1609197" y="2690199"/>
                </a:cubicBezTo>
                <a:close/>
                <a:moveTo>
                  <a:pt x="966710" y="2624067"/>
                </a:moveTo>
                <a:cubicBezTo>
                  <a:pt x="962743" y="2620930"/>
                  <a:pt x="971206" y="2664020"/>
                  <a:pt x="975438" y="2646566"/>
                </a:cubicBezTo>
                <a:cubicBezTo>
                  <a:pt x="970736" y="2631294"/>
                  <a:pt x="968033" y="2625113"/>
                  <a:pt x="966710" y="2624067"/>
                </a:cubicBezTo>
                <a:close/>
                <a:moveTo>
                  <a:pt x="3372138" y="2834285"/>
                </a:moveTo>
                <a:cubicBezTo>
                  <a:pt x="3367906" y="2834376"/>
                  <a:pt x="3362381" y="2839284"/>
                  <a:pt x="3356271" y="2853102"/>
                </a:cubicBezTo>
                <a:cubicBezTo>
                  <a:pt x="3385890" y="2877100"/>
                  <a:pt x="3384831" y="2834012"/>
                  <a:pt x="3372138" y="2834285"/>
                </a:cubicBezTo>
                <a:close/>
                <a:moveTo>
                  <a:pt x="992363" y="2617476"/>
                </a:moveTo>
                <a:cubicBezTo>
                  <a:pt x="986721" y="2637838"/>
                  <a:pt x="1007408" y="2614567"/>
                  <a:pt x="992363" y="2617476"/>
                </a:cubicBezTo>
                <a:close/>
                <a:moveTo>
                  <a:pt x="3828301" y="2864738"/>
                </a:moveTo>
                <a:cubicBezTo>
                  <a:pt x="3820775" y="2863283"/>
                  <a:pt x="3813255" y="2862556"/>
                  <a:pt x="3805968" y="2863647"/>
                </a:cubicBezTo>
                <a:cubicBezTo>
                  <a:pt x="3798679" y="2864738"/>
                  <a:pt x="3791627" y="2867647"/>
                  <a:pt x="3785044" y="2873464"/>
                </a:cubicBezTo>
                <a:cubicBezTo>
                  <a:pt x="3801971" y="2870555"/>
                  <a:pt x="3809492" y="2870555"/>
                  <a:pt x="3828301" y="2864738"/>
                </a:cubicBezTo>
                <a:close/>
                <a:moveTo>
                  <a:pt x="1918602" y="2689309"/>
                </a:moveTo>
                <a:cubicBezTo>
                  <a:pt x="1918334" y="2692268"/>
                  <a:pt x="1919260" y="2703108"/>
                  <a:pt x="1921376" y="2704745"/>
                </a:cubicBezTo>
                <a:cubicBezTo>
                  <a:pt x="1920437" y="2696018"/>
                  <a:pt x="1919731" y="2691473"/>
                  <a:pt x="1919263" y="2689609"/>
                </a:cubicBezTo>
                <a:cubicBezTo>
                  <a:pt x="1918909" y="2688211"/>
                  <a:pt x="1918690" y="2688322"/>
                  <a:pt x="1918602" y="2689309"/>
                </a:cubicBezTo>
                <a:close/>
                <a:moveTo>
                  <a:pt x="1706696" y="2665883"/>
                </a:moveTo>
                <a:cubicBezTo>
                  <a:pt x="1694530" y="2661110"/>
                  <a:pt x="1654331" y="2676382"/>
                  <a:pt x="1705108" y="2678564"/>
                </a:cubicBezTo>
                <a:cubicBezTo>
                  <a:pt x="1711691" y="2671292"/>
                  <a:pt x="1710749" y="2667473"/>
                  <a:pt x="1706696" y="2665883"/>
                </a:cubicBezTo>
                <a:close/>
                <a:moveTo>
                  <a:pt x="6524599" y="3094182"/>
                </a:moveTo>
                <a:cubicBezTo>
                  <a:pt x="6522719" y="3094545"/>
                  <a:pt x="6520367" y="3095999"/>
                  <a:pt x="6517546" y="3094545"/>
                </a:cubicBezTo>
                <a:cubicBezTo>
                  <a:pt x="6511904" y="3103271"/>
                  <a:pt x="6523188" y="3109090"/>
                  <a:pt x="6528830" y="3100363"/>
                </a:cubicBezTo>
                <a:cubicBezTo>
                  <a:pt x="6527890" y="3094546"/>
                  <a:pt x="6526479" y="3093819"/>
                  <a:pt x="6524599" y="3094182"/>
                </a:cubicBezTo>
                <a:close/>
                <a:moveTo>
                  <a:pt x="1310182" y="2629112"/>
                </a:moveTo>
                <a:cubicBezTo>
                  <a:pt x="1306422" y="2637838"/>
                  <a:pt x="1300781" y="2634929"/>
                  <a:pt x="1297019" y="2643657"/>
                </a:cubicBezTo>
                <a:cubicBezTo>
                  <a:pt x="1302661" y="2649474"/>
                  <a:pt x="1321466" y="2637838"/>
                  <a:pt x="1310182" y="2629112"/>
                </a:cubicBezTo>
                <a:close/>
                <a:moveTo>
                  <a:pt x="5476755" y="2999550"/>
                </a:moveTo>
                <a:cubicBezTo>
                  <a:pt x="5473229" y="2996549"/>
                  <a:pt x="5460183" y="3012366"/>
                  <a:pt x="5475696" y="3010186"/>
                </a:cubicBezTo>
                <a:cubicBezTo>
                  <a:pt x="5478048" y="3003641"/>
                  <a:pt x="5477931" y="3000549"/>
                  <a:pt x="5476755" y="2999550"/>
                </a:cubicBezTo>
                <a:close/>
                <a:moveTo>
                  <a:pt x="5144712" y="2966551"/>
                </a:moveTo>
                <a:cubicBezTo>
                  <a:pt x="5184205" y="2992731"/>
                  <a:pt x="5077013" y="2975277"/>
                  <a:pt x="5144712" y="2966551"/>
                </a:cubicBezTo>
                <a:close/>
                <a:moveTo>
                  <a:pt x="5454250" y="2992368"/>
                </a:moveTo>
                <a:cubicBezTo>
                  <a:pt x="5448899" y="2994550"/>
                  <a:pt x="5439027" y="3002914"/>
                  <a:pt x="5423042" y="3021821"/>
                </a:cubicBezTo>
                <a:cubicBezTo>
                  <a:pt x="5445608" y="3034912"/>
                  <a:pt x="5470290" y="2985823"/>
                  <a:pt x="5454250" y="2992368"/>
                </a:cubicBezTo>
                <a:close/>
                <a:moveTo>
                  <a:pt x="3529283" y="2803650"/>
                </a:moveTo>
                <a:cubicBezTo>
                  <a:pt x="3525523" y="2812376"/>
                  <a:pt x="3519883" y="2809467"/>
                  <a:pt x="3516120" y="2818193"/>
                </a:cubicBezTo>
                <a:cubicBezTo>
                  <a:pt x="3521761" y="2824012"/>
                  <a:pt x="3540568" y="2812376"/>
                  <a:pt x="3529283" y="2803650"/>
                </a:cubicBezTo>
                <a:close/>
                <a:moveTo>
                  <a:pt x="1431716" y="2597477"/>
                </a:moveTo>
                <a:cubicBezTo>
                  <a:pt x="1429130" y="2597114"/>
                  <a:pt x="1426779" y="2598569"/>
                  <a:pt x="1424898" y="2602931"/>
                </a:cubicBezTo>
                <a:cubicBezTo>
                  <a:pt x="1430541" y="2608748"/>
                  <a:pt x="1436182" y="2608748"/>
                  <a:pt x="1439943" y="2602931"/>
                </a:cubicBezTo>
                <a:cubicBezTo>
                  <a:pt x="1437123" y="2600022"/>
                  <a:pt x="1434302" y="2597840"/>
                  <a:pt x="1431716" y="2597477"/>
                </a:cubicBezTo>
                <a:close/>
                <a:moveTo>
                  <a:pt x="1503179" y="2602931"/>
                </a:moveTo>
                <a:cubicBezTo>
                  <a:pt x="1496363" y="2604386"/>
                  <a:pt x="1482258" y="2608750"/>
                  <a:pt x="1481317" y="2611658"/>
                </a:cubicBezTo>
                <a:cubicBezTo>
                  <a:pt x="1509525" y="2602931"/>
                  <a:pt x="1509996" y="2601478"/>
                  <a:pt x="1503179" y="2602931"/>
                </a:cubicBezTo>
                <a:close/>
                <a:moveTo>
                  <a:pt x="5277677" y="2935507"/>
                </a:moveTo>
                <a:cubicBezTo>
                  <a:pt x="5279177" y="2936007"/>
                  <a:pt x="5280116" y="2937462"/>
                  <a:pt x="5280116" y="2940370"/>
                </a:cubicBezTo>
                <a:cubicBezTo>
                  <a:pt x="5272595" y="2937461"/>
                  <a:pt x="5266951" y="2952006"/>
                  <a:pt x="5259430" y="2943280"/>
                </a:cubicBezTo>
                <a:cubicBezTo>
                  <a:pt x="5262251" y="2941825"/>
                  <a:pt x="5267423" y="2938188"/>
                  <a:pt x="5271889" y="2936371"/>
                </a:cubicBezTo>
                <a:cubicBezTo>
                  <a:pt x="5274123" y="2935462"/>
                  <a:pt x="5276179" y="2935008"/>
                  <a:pt x="5277677" y="2935507"/>
                </a:cubicBezTo>
                <a:close/>
                <a:moveTo>
                  <a:pt x="639047" y="2516025"/>
                </a:moveTo>
                <a:cubicBezTo>
                  <a:pt x="635990" y="2517843"/>
                  <a:pt x="630349" y="2524389"/>
                  <a:pt x="631289" y="2530206"/>
                </a:cubicBezTo>
                <a:cubicBezTo>
                  <a:pt x="642573" y="2517116"/>
                  <a:pt x="642102" y="2514207"/>
                  <a:pt x="639047" y="2516025"/>
                </a:cubicBezTo>
                <a:close/>
                <a:moveTo>
                  <a:pt x="1869660" y="2616021"/>
                </a:moveTo>
                <a:cubicBezTo>
                  <a:pt x="1865428" y="2616749"/>
                  <a:pt x="1861197" y="2618931"/>
                  <a:pt x="1857434" y="2623293"/>
                </a:cubicBezTo>
                <a:cubicBezTo>
                  <a:pt x="1864958" y="2629112"/>
                  <a:pt x="1874360" y="2626202"/>
                  <a:pt x="1881884" y="2617476"/>
                </a:cubicBezTo>
                <a:cubicBezTo>
                  <a:pt x="1878122" y="2616021"/>
                  <a:pt x="1873890" y="2615294"/>
                  <a:pt x="1869660" y="2616021"/>
                </a:cubicBezTo>
                <a:close/>
                <a:moveTo>
                  <a:pt x="3650817" y="2772014"/>
                </a:moveTo>
                <a:cubicBezTo>
                  <a:pt x="3648232" y="2771651"/>
                  <a:pt x="3645882" y="2773105"/>
                  <a:pt x="3644002" y="2777469"/>
                </a:cubicBezTo>
                <a:cubicBezTo>
                  <a:pt x="3649642" y="2783286"/>
                  <a:pt x="3655285" y="2783286"/>
                  <a:pt x="3659045" y="2777469"/>
                </a:cubicBezTo>
                <a:cubicBezTo>
                  <a:pt x="3656226" y="2774560"/>
                  <a:pt x="3653404" y="2772378"/>
                  <a:pt x="3650817" y="2772014"/>
                </a:cubicBezTo>
                <a:close/>
                <a:moveTo>
                  <a:pt x="3722279" y="2777469"/>
                </a:moveTo>
                <a:cubicBezTo>
                  <a:pt x="3715464" y="2778923"/>
                  <a:pt x="3701358" y="2783286"/>
                  <a:pt x="3700417" y="2786195"/>
                </a:cubicBezTo>
                <a:cubicBezTo>
                  <a:pt x="3728628" y="2777469"/>
                  <a:pt x="3729098" y="2776015"/>
                  <a:pt x="3722279" y="2777469"/>
                </a:cubicBezTo>
                <a:close/>
                <a:moveTo>
                  <a:pt x="1756047" y="2584753"/>
                </a:moveTo>
                <a:lnTo>
                  <a:pt x="1754002" y="2597113"/>
                </a:lnTo>
                <a:cubicBezTo>
                  <a:pt x="1747891" y="2592750"/>
                  <a:pt x="1746597" y="2589660"/>
                  <a:pt x="1748126" y="2587523"/>
                </a:cubicBezTo>
                <a:close/>
                <a:moveTo>
                  <a:pt x="1716392" y="2553479"/>
                </a:moveTo>
                <a:cubicBezTo>
                  <a:pt x="1706988" y="2553479"/>
                  <a:pt x="1695705" y="2556388"/>
                  <a:pt x="1686302" y="2568024"/>
                </a:cubicBezTo>
                <a:cubicBezTo>
                  <a:pt x="1695704" y="2568024"/>
                  <a:pt x="1706988" y="2565115"/>
                  <a:pt x="1716392" y="2553479"/>
                </a:cubicBezTo>
                <a:close/>
                <a:moveTo>
                  <a:pt x="3978910" y="2753473"/>
                </a:moveTo>
                <a:lnTo>
                  <a:pt x="3976864" y="2765832"/>
                </a:lnTo>
                <a:cubicBezTo>
                  <a:pt x="3970756" y="2761469"/>
                  <a:pt x="3969461" y="2758379"/>
                  <a:pt x="3970989" y="2756242"/>
                </a:cubicBezTo>
                <a:close/>
                <a:moveTo>
                  <a:pt x="1826847" y="2552190"/>
                </a:moveTo>
                <a:lnTo>
                  <a:pt x="1817943" y="2562206"/>
                </a:lnTo>
                <a:lnTo>
                  <a:pt x="1819934" y="2552971"/>
                </a:lnTo>
                <a:close/>
                <a:moveTo>
                  <a:pt x="3935493" y="2728016"/>
                </a:moveTo>
                <a:cubicBezTo>
                  <a:pt x="3926090" y="2728016"/>
                  <a:pt x="3914808" y="2730925"/>
                  <a:pt x="3905403" y="2742561"/>
                </a:cubicBezTo>
                <a:cubicBezTo>
                  <a:pt x="3914806" y="2742561"/>
                  <a:pt x="3926092" y="2739652"/>
                  <a:pt x="3935493" y="2728016"/>
                </a:cubicBezTo>
                <a:close/>
                <a:moveTo>
                  <a:pt x="1904215" y="2546571"/>
                </a:moveTo>
                <a:cubicBezTo>
                  <a:pt x="1895518" y="2547661"/>
                  <a:pt x="1887524" y="2552024"/>
                  <a:pt x="1906333" y="2556388"/>
                </a:cubicBezTo>
                <a:cubicBezTo>
                  <a:pt x="1922317" y="2547662"/>
                  <a:pt x="1912914" y="2545480"/>
                  <a:pt x="1904215" y="2546571"/>
                </a:cubicBezTo>
                <a:close/>
                <a:moveTo>
                  <a:pt x="4136344" y="2740897"/>
                </a:moveTo>
                <a:cubicBezTo>
                  <a:pt x="4144678" y="2740153"/>
                  <a:pt x="4150114" y="2741471"/>
                  <a:pt x="4151759" y="2745470"/>
                </a:cubicBezTo>
                <a:lnTo>
                  <a:pt x="4148046" y="2745790"/>
                </a:lnTo>
                <a:lnTo>
                  <a:pt x="4147998" y="2745470"/>
                </a:lnTo>
                <a:cubicBezTo>
                  <a:pt x="4143767" y="2741107"/>
                  <a:pt x="4136715" y="2741107"/>
                  <a:pt x="4127311" y="2745470"/>
                </a:cubicBezTo>
                <a:lnTo>
                  <a:pt x="4130686" y="2742243"/>
                </a:lnTo>
                <a:close/>
                <a:moveTo>
                  <a:pt x="4051136" y="2720749"/>
                </a:moveTo>
                <a:lnTo>
                  <a:pt x="4050620" y="2721471"/>
                </a:lnTo>
                <a:cubicBezTo>
                  <a:pt x="4047563" y="2725199"/>
                  <a:pt x="4043155" y="2730199"/>
                  <a:pt x="4037043" y="2736744"/>
                </a:cubicBezTo>
                <a:cubicBezTo>
                  <a:pt x="4034222" y="2735289"/>
                  <a:pt x="4035867" y="2731290"/>
                  <a:pt x="4039158" y="2726926"/>
                </a:cubicBezTo>
                <a:lnTo>
                  <a:pt x="4044592" y="2721487"/>
                </a:lnTo>
                <a:close/>
                <a:moveTo>
                  <a:pt x="4123315" y="2721107"/>
                </a:moveTo>
                <a:cubicBezTo>
                  <a:pt x="4114617" y="2722198"/>
                  <a:pt x="4106624" y="2726562"/>
                  <a:pt x="4125430" y="2730925"/>
                </a:cubicBezTo>
                <a:cubicBezTo>
                  <a:pt x="4141416" y="2722199"/>
                  <a:pt x="4132014" y="2720017"/>
                  <a:pt x="4123315" y="2721107"/>
                </a:cubicBezTo>
                <a:close/>
                <a:moveTo>
                  <a:pt x="2047375" y="2521480"/>
                </a:moveTo>
                <a:cubicBezTo>
                  <a:pt x="2090629" y="2530206"/>
                  <a:pt x="2041733" y="2524389"/>
                  <a:pt x="2047375" y="2521480"/>
                </a:cubicBezTo>
                <a:close/>
                <a:moveTo>
                  <a:pt x="735014" y="2393259"/>
                </a:moveTo>
                <a:cubicBezTo>
                  <a:pt x="729902" y="2391487"/>
                  <a:pt x="721087" y="2400758"/>
                  <a:pt x="719677" y="2405122"/>
                </a:cubicBezTo>
                <a:cubicBezTo>
                  <a:pt x="729079" y="2402212"/>
                  <a:pt x="729078" y="2399303"/>
                  <a:pt x="738482" y="2399303"/>
                </a:cubicBezTo>
                <a:cubicBezTo>
                  <a:pt x="738013" y="2395668"/>
                  <a:pt x="736719" y="2393850"/>
                  <a:pt x="735014" y="2393259"/>
                </a:cubicBezTo>
                <a:close/>
                <a:moveTo>
                  <a:pt x="4266475" y="2696018"/>
                </a:moveTo>
                <a:cubicBezTo>
                  <a:pt x="4309729" y="2704744"/>
                  <a:pt x="4260833" y="2698927"/>
                  <a:pt x="4266475" y="2696018"/>
                </a:cubicBezTo>
                <a:close/>
                <a:moveTo>
                  <a:pt x="2202161" y="2511357"/>
                </a:moveTo>
                <a:lnTo>
                  <a:pt x="2196031" y="2514236"/>
                </a:lnTo>
                <a:lnTo>
                  <a:pt x="2119308" y="2506571"/>
                </a:lnTo>
                <a:cubicBezTo>
                  <a:pt x="2038914" y="2501118"/>
                  <a:pt x="1950524" y="2506935"/>
                  <a:pt x="1908212" y="2570932"/>
                </a:cubicBezTo>
                <a:cubicBezTo>
                  <a:pt x="1927020" y="2562206"/>
                  <a:pt x="1936420" y="2570932"/>
                  <a:pt x="1932661" y="2597113"/>
                </a:cubicBezTo>
                <a:cubicBezTo>
                  <a:pt x="1975914" y="2562206"/>
                  <a:pt x="2088751" y="2582569"/>
                  <a:pt x="2098154" y="2573841"/>
                </a:cubicBezTo>
                <a:cubicBezTo>
                  <a:pt x="2091571" y="2569479"/>
                  <a:pt x="2123540" y="2549843"/>
                  <a:pt x="2157391" y="2532388"/>
                </a:cubicBezTo>
                <a:lnTo>
                  <a:pt x="2196031" y="2514236"/>
                </a:lnTo>
                <a:lnTo>
                  <a:pt x="2202574" y="2514890"/>
                </a:lnTo>
                <a:close/>
                <a:moveTo>
                  <a:pt x="7208900" y="2942552"/>
                </a:moveTo>
                <a:cubicBezTo>
                  <a:pt x="7204433" y="2942552"/>
                  <a:pt x="7200202" y="2947643"/>
                  <a:pt x="7209605" y="2957824"/>
                </a:cubicBezTo>
                <a:cubicBezTo>
                  <a:pt x="7218068" y="2947643"/>
                  <a:pt x="7213366" y="2942552"/>
                  <a:pt x="7208900" y="2942552"/>
                </a:cubicBezTo>
                <a:close/>
                <a:moveTo>
                  <a:pt x="4456415" y="2684382"/>
                </a:moveTo>
                <a:lnTo>
                  <a:pt x="4458313" y="2692123"/>
                </a:lnTo>
                <a:lnTo>
                  <a:pt x="4451810" y="2691993"/>
                </a:lnTo>
                <a:lnTo>
                  <a:pt x="4451949" y="2691654"/>
                </a:lnTo>
                <a:cubicBezTo>
                  <a:pt x="4452184" y="2689472"/>
                  <a:pt x="4452657" y="2687292"/>
                  <a:pt x="4456415" y="2684382"/>
                </a:cubicBezTo>
                <a:close/>
                <a:moveTo>
                  <a:pt x="4447013" y="2678564"/>
                </a:moveTo>
                <a:lnTo>
                  <a:pt x="4432698" y="2690529"/>
                </a:lnTo>
                <a:lnTo>
                  <a:pt x="4424217" y="2689682"/>
                </a:lnTo>
                <a:lnTo>
                  <a:pt x="4424582" y="2684435"/>
                </a:lnTo>
                <a:close/>
                <a:moveTo>
                  <a:pt x="7346330" y="2908918"/>
                </a:moveTo>
                <a:cubicBezTo>
                  <a:pt x="7344832" y="2908191"/>
                  <a:pt x="7342775" y="2908372"/>
                  <a:pt x="7340541" y="2909100"/>
                </a:cubicBezTo>
                <a:cubicBezTo>
                  <a:pt x="7336075" y="2910553"/>
                  <a:pt x="7330904" y="2914190"/>
                  <a:pt x="7328083" y="2917099"/>
                </a:cubicBezTo>
                <a:cubicBezTo>
                  <a:pt x="7335604" y="2925825"/>
                  <a:pt x="7341247" y="2908371"/>
                  <a:pt x="7348769" y="2914189"/>
                </a:cubicBezTo>
                <a:cubicBezTo>
                  <a:pt x="7348769" y="2911281"/>
                  <a:pt x="7347829" y="2909645"/>
                  <a:pt x="7346330" y="2908918"/>
                </a:cubicBezTo>
                <a:close/>
                <a:moveTo>
                  <a:pt x="6047398" y="2748379"/>
                </a:moveTo>
                <a:cubicBezTo>
                  <a:pt x="6046928" y="2746924"/>
                  <a:pt x="6041051" y="2747107"/>
                  <a:pt x="6032676" y="2748152"/>
                </a:cubicBezTo>
                <a:cubicBezTo>
                  <a:pt x="6007553" y="2751289"/>
                  <a:pt x="5959951" y="2762197"/>
                  <a:pt x="5968413" y="2760015"/>
                </a:cubicBezTo>
                <a:cubicBezTo>
                  <a:pt x="5974055" y="2780377"/>
                  <a:pt x="6045517" y="2757106"/>
                  <a:pt x="6047398" y="2751287"/>
                </a:cubicBezTo>
                <a:cubicBezTo>
                  <a:pt x="6045517" y="2751287"/>
                  <a:pt x="6045517" y="2751287"/>
                  <a:pt x="6047398" y="2748379"/>
                </a:cubicBezTo>
                <a:close/>
                <a:moveTo>
                  <a:pt x="7891732" y="2791377"/>
                </a:moveTo>
                <a:cubicBezTo>
                  <a:pt x="7891674" y="2792741"/>
                  <a:pt x="7891791" y="2796378"/>
                  <a:pt x="7892261" y="2803650"/>
                </a:cubicBezTo>
                <a:cubicBezTo>
                  <a:pt x="7893672" y="2803650"/>
                  <a:pt x="7891908" y="2787287"/>
                  <a:pt x="7891732" y="2791377"/>
                </a:cubicBezTo>
                <a:close/>
                <a:moveTo>
                  <a:pt x="7936455" y="2774196"/>
                </a:moveTo>
                <a:cubicBezTo>
                  <a:pt x="7927053" y="2772378"/>
                  <a:pt x="7920470" y="2780378"/>
                  <a:pt x="7944917" y="2803650"/>
                </a:cubicBezTo>
                <a:cubicBezTo>
                  <a:pt x="7958082" y="2787650"/>
                  <a:pt x="7945858" y="2776014"/>
                  <a:pt x="7936455" y="2774196"/>
                </a:cubicBezTo>
                <a:close/>
                <a:moveTo>
                  <a:pt x="7978063" y="2763288"/>
                </a:moveTo>
                <a:cubicBezTo>
                  <a:pt x="7972656" y="2763651"/>
                  <a:pt x="7966545" y="2767288"/>
                  <a:pt x="7967484" y="2774560"/>
                </a:cubicBezTo>
                <a:cubicBezTo>
                  <a:pt x="7973126" y="2777469"/>
                  <a:pt x="7978768" y="2771650"/>
                  <a:pt x="7984410" y="2771650"/>
                </a:cubicBezTo>
                <a:cubicBezTo>
                  <a:pt x="7988171" y="2765833"/>
                  <a:pt x="7983470" y="2762924"/>
                  <a:pt x="7978063" y="2763288"/>
                </a:cubicBezTo>
                <a:close/>
                <a:moveTo>
                  <a:pt x="1094359" y="2143162"/>
                </a:moveTo>
                <a:lnTo>
                  <a:pt x="1041933" y="2157759"/>
                </a:lnTo>
                <a:cubicBezTo>
                  <a:pt x="911908" y="2194404"/>
                  <a:pt x="797485" y="2227675"/>
                  <a:pt x="762930" y="2236402"/>
                </a:cubicBezTo>
                <a:cubicBezTo>
                  <a:pt x="859310" y="2199313"/>
                  <a:pt x="958159" y="2173132"/>
                  <a:pt x="1057919" y="2150769"/>
                </a:cubicBezTo>
                <a:close/>
                <a:moveTo>
                  <a:pt x="8148403" y="2715654"/>
                </a:moveTo>
                <a:cubicBezTo>
                  <a:pt x="8141087" y="2714562"/>
                  <a:pt x="8128746" y="2726561"/>
                  <a:pt x="8121693" y="2722198"/>
                </a:cubicBezTo>
                <a:cubicBezTo>
                  <a:pt x="8125454" y="2739652"/>
                  <a:pt x="8142380" y="2719289"/>
                  <a:pt x="8153663" y="2722199"/>
                </a:cubicBezTo>
                <a:cubicBezTo>
                  <a:pt x="8152723" y="2717835"/>
                  <a:pt x="8150843" y="2716018"/>
                  <a:pt x="8148403" y="2715654"/>
                </a:cubicBezTo>
                <a:close/>
                <a:moveTo>
                  <a:pt x="8261180" y="2708699"/>
                </a:moveTo>
                <a:cubicBezTo>
                  <a:pt x="8259212" y="2709108"/>
                  <a:pt x="8257096" y="2710563"/>
                  <a:pt x="8255216" y="2713472"/>
                </a:cubicBezTo>
                <a:cubicBezTo>
                  <a:pt x="8258976" y="2716380"/>
                  <a:pt x="8260858" y="2719289"/>
                  <a:pt x="8264617" y="2722198"/>
                </a:cubicBezTo>
                <a:cubicBezTo>
                  <a:pt x="8269319" y="2717836"/>
                  <a:pt x="8268849" y="2712745"/>
                  <a:pt x="8266264" y="2710199"/>
                </a:cubicBezTo>
                <a:cubicBezTo>
                  <a:pt x="8264971" y="2708926"/>
                  <a:pt x="8263149" y="2708290"/>
                  <a:pt x="8261180" y="2708699"/>
                </a:cubicBezTo>
                <a:close/>
                <a:moveTo>
                  <a:pt x="8214278" y="2704122"/>
                </a:moveTo>
                <a:cubicBezTo>
                  <a:pt x="8213402" y="2703395"/>
                  <a:pt x="8212873" y="2703506"/>
                  <a:pt x="8213137" y="2704971"/>
                </a:cubicBezTo>
                <a:cubicBezTo>
                  <a:pt x="8213490" y="2706926"/>
                  <a:pt x="8215254" y="2711290"/>
                  <a:pt x="8219484" y="2719289"/>
                </a:cubicBezTo>
                <a:cubicBezTo>
                  <a:pt x="8222658" y="2716017"/>
                  <a:pt x="8216906" y="2706301"/>
                  <a:pt x="8214278" y="2704122"/>
                </a:cubicBezTo>
                <a:close/>
                <a:moveTo>
                  <a:pt x="26828" y="1956391"/>
                </a:moveTo>
                <a:lnTo>
                  <a:pt x="29059" y="1962551"/>
                </a:lnTo>
                <a:cubicBezTo>
                  <a:pt x="29146" y="1968960"/>
                  <a:pt x="25267" y="1971688"/>
                  <a:pt x="14453" y="1965869"/>
                </a:cubicBezTo>
                <a:close/>
                <a:moveTo>
                  <a:pt x="8353712" y="2691063"/>
                </a:moveTo>
                <a:cubicBezTo>
                  <a:pt x="8348775" y="2692564"/>
                  <a:pt x="8358649" y="2701835"/>
                  <a:pt x="8364291" y="2693109"/>
                </a:cubicBezTo>
                <a:cubicBezTo>
                  <a:pt x="8358649" y="2690927"/>
                  <a:pt x="8355358" y="2690564"/>
                  <a:pt x="8353712" y="2691063"/>
                </a:cubicBezTo>
                <a:close/>
                <a:moveTo>
                  <a:pt x="8409424" y="2681473"/>
                </a:moveTo>
                <a:cubicBezTo>
                  <a:pt x="8407074" y="2682200"/>
                  <a:pt x="8404723" y="2684382"/>
                  <a:pt x="8401902" y="2687290"/>
                </a:cubicBezTo>
                <a:cubicBezTo>
                  <a:pt x="8407544" y="2693109"/>
                  <a:pt x="8411305" y="2690200"/>
                  <a:pt x="8416946" y="2684382"/>
                </a:cubicBezTo>
                <a:cubicBezTo>
                  <a:pt x="8414126" y="2681473"/>
                  <a:pt x="8411774" y="2680746"/>
                  <a:pt x="8409424" y="2681473"/>
                </a:cubicBezTo>
                <a:close/>
                <a:moveTo>
                  <a:pt x="1483940" y="2057723"/>
                </a:moveTo>
                <a:lnTo>
                  <a:pt x="1480143" y="2063319"/>
                </a:lnTo>
                <a:cubicBezTo>
                  <a:pt x="1477555" y="2064046"/>
                  <a:pt x="1474735" y="2063319"/>
                  <a:pt x="1473795" y="2061864"/>
                </a:cubicBezTo>
                <a:lnTo>
                  <a:pt x="1474939" y="2059896"/>
                </a:lnTo>
                <a:close/>
                <a:moveTo>
                  <a:pt x="8392499" y="2672201"/>
                </a:moveTo>
                <a:cubicBezTo>
                  <a:pt x="8388268" y="2674928"/>
                  <a:pt x="8388268" y="2685837"/>
                  <a:pt x="8392499" y="2690200"/>
                </a:cubicBezTo>
                <a:cubicBezTo>
                  <a:pt x="8398140" y="2684382"/>
                  <a:pt x="8394379" y="2678564"/>
                  <a:pt x="8398140" y="2672746"/>
                </a:cubicBezTo>
                <a:cubicBezTo>
                  <a:pt x="8395789" y="2671292"/>
                  <a:pt x="8393909" y="2671292"/>
                  <a:pt x="8392499" y="2672201"/>
                </a:cubicBezTo>
                <a:close/>
                <a:moveTo>
                  <a:pt x="4669" y="1918826"/>
                </a:moveTo>
                <a:cubicBezTo>
                  <a:pt x="6711" y="1919666"/>
                  <a:pt x="9246" y="1922019"/>
                  <a:pt x="11902" y="1925274"/>
                </a:cubicBezTo>
                <a:lnTo>
                  <a:pt x="13474" y="1927620"/>
                </a:lnTo>
                <a:lnTo>
                  <a:pt x="1289" y="1936779"/>
                </a:lnTo>
                <a:cubicBezTo>
                  <a:pt x="-1531" y="1921507"/>
                  <a:pt x="584" y="1917144"/>
                  <a:pt x="4669" y="1918826"/>
                </a:cubicBezTo>
                <a:close/>
                <a:moveTo>
                  <a:pt x="8444216" y="2669110"/>
                </a:moveTo>
                <a:cubicBezTo>
                  <a:pt x="8440455" y="2666201"/>
                  <a:pt x="8441394" y="2668383"/>
                  <a:pt x="8458320" y="2684382"/>
                </a:cubicBezTo>
                <a:cubicBezTo>
                  <a:pt x="8456439" y="2680018"/>
                  <a:pt x="8447976" y="2672019"/>
                  <a:pt x="8444216" y="2669110"/>
                </a:cubicBezTo>
                <a:close/>
                <a:moveTo>
                  <a:pt x="1493046" y="2043345"/>
                </a:moveTo>
                <a:lnTo>
                  <a:pt x="1492895" y="2043366"/>
                </a:lnTo>
                <a:cubicBezTo>
                  <a:pt x="1491307" y="2045048"/>
                  <a:pt x="1497067" y="2048229"/>
                  <a:pt x="1505294" y="2051320"/>
                </a:cubicBezTo>
                <a:lnTo>
                  <a:pt x="1507721" y="2051981"/>
                </a:lnTo>
                <a:lnTo>
                  <a:pt x="1483940" y="2057723"/>
                </a:lnTo>
                <a:lnTo>
                  <a:pt x="1485079" y="2056047"/>
                </a:lnTo>
                <a:cubicBezTo>
                  <a:pt x="1484139" y="2056047"/>
                  <a:pt x="1480847" y="2054592"/>
                  <a:pt x="1478026" y="2054592"/>
                </a:cubicBezTo>
                <a:lnTo>
                  <a:pt x="1474939" y="2059896"/>
                </a:lnTo>
                <a:lnTo>
                  <a:pt x="1358374" y="2088045"/>
                </a:lnTo>
                <a:lnTo>
                  <a:pt x="1271002" y="2106285"/>
                </a:lnTo>
                <a:lnTo>
                  <a:pt x="1237310" y="2110953"/>
                </a:lnTo>
                <a:cubicBezTo>
                  <a:pt x="1210276" y="2115226"/>
                  <a:pt x="1183508" y="2120112"/>
                  <a:pt x="1157457" y="2126128"/>
                </a:cubicBezTo>
                <a:lnTo>
                  <a:pt x="1110355" y="2139822"/>
                </a:lnTo>
                <a:lnTo>
                  <a:pt x="1094359" y="2143162"/>
                </a:lnTo>
                <a:lnTo>
                  <a:pt x="1174780" y="2120771"/>
                </a:lnTo>
                <a:cubicBezTo>
                  <a:pt x="1308068" y="2084228"/>
                  <a:pt x="1435537" y="2051365"/>
                  <a:pt x="1492923" y="2043354"/>
                </a:cubicBezTo>
                <a:close/>
                <a:moveTo>
                  <a:pt x="1501393" y="2042167"/>
                </a:moveTo>
                <a:lnTo>
                  <a:pt x="1504187" y="2042437"/>
                </a:lnTo>
                <a:lnTo>
                  <a:pt x="1493046" y="2043345"/>
                </a:lnTo>
                <a:close/>
                <a:moveTo>
                  <a:pt x="1515480" y="2041518"/>
                </a:moveTo>
                <a:cubicBezTo>
                  <a:pt x="1520853" y="2041662"/>
                  <a:pt x="1523983" y="2042593"/>
                  <a:pt x="1524571" y="2044411"/>
                </a:cubicBezTo>
                <a:lnTo>
                  <a:pt x="1504187" y="2042437"/>
                </a:lnTo>
                <a:close/>
                <a:moveTo>
                  <a:pt x="56003" y="1897918"/>
                </a:moveTo>
                <a:cubicBezTo>
                  <a:pt x="51244" y="1894782"/>
                  <a:pt x="62879" y="1914963"/>
                  <a:pt x="67111" y="1910599"/>
                </a:cubicBezTo>
                <a:cubicBezTo>
                  <a:pt x="60998" y="1902600"/>
                  <a:pt x="57590" y="1898963"/>
                  <a:pt x="56003" y="1897918"/>
                </a:cubicBezTo>
                <a:close/>
                <a:moveTo>
                  <a:pt x="1614839" y="2026957"/>
                </a:moveTo>
                <a:cubicBezTo>
                  <a:pt x="1594152" y="2035684"/>
                  <a:pt x="1565943" y="2024048"/>
                  <a:pt x="1554660" y="2050228"/>
                </a:cubicBezTo>
                <a:cubicBezTo>
                  <a:pt x="1571585" y="2044411"/>
                  <a:pt x="1603555" y="2047320"/>
                  <a:pt x="1614839" y="2026957"/>
                </a:cubicBezTo>
                <a:close/>
                <a:moveTo>
                  <a:pt x="985075" y="1918963"/>
                </a:moveTo>
                <a:cubicBezTo>
                  <a:pt x="981079" y="1920053"/>
                  <a:pt x="977318" y="1923689"/>
                  <a:pt x="973556" y="1930961"/>
                </a:cubicBezTo>
                <a:cubicBezTo>
                  <a:pt x="982960" y="1936779"/>
                  <a:pt x="998003" y="1930961"/>
                  <a:pt x="998005" y="1922234"/>
                </a:cubicBezTo>
                <a:cubicBezTo>
                  <a:pt x="993303" y="1919326"/>
                  <a:pt x="989071" y="1917872"/>
                  <a:pt x="985075" y="1918963"/>
                </a:cubicBezTo>
                <a:close/>
                <a:moveTo>
                  <a:pt x="388692" y="1861147"/>
                </a:moveTo>
                <a:lnTo>
                  <a:pt x="388547" y="1861480"/>
                </a:lnTo>
                <a:lnTo>
                  <a:pt x="388348" y="1861472"/>
                </a:lnTo>
                <a:close/>
                <a:moveTo>
                  <a:pt x="1908212" y="1974596"/>
                </a:moveTo>
                <a:cubicBezTo>
                  <a:pt x="1910091" y="1983322"/>
                  <a:pt x="1904451" y="1994958"/>
                  <a:pt x="1911973" y="1994958"/>
                </a:cubicBezTo>
                <a:cubicBezTo>
                  <a:pt x="1913854" y="1989140"/>
                  <a:pt x="1913853" y="1974596"/>
                  <a:pt x="1908212" y="1974596"/>
                </a:cubicBezTo>
                <a:close/>
                <a:moveTo>
                  <a:pt x="1258792" y="1915898"/>
                </a:moveTo>
                <a:lnTo>
                  <a:pt x="1252946" y="1920502"/>
                </a:lnTo>
                <a:cubicBezTo>
                  <a:pt x="1248182" y="1923371"/>
                  <a:pt x="1243422" y="1925144"/>
                  <a:pt x="1238720" y="1925143"/>
                </a:cubicBezTo>
                <a:close/>
                <a:moveTo>
                  <a:pt x="1885507" y="1971549"/>
                </a:moveTo>
                <a:lnTo>
                  <a:pt x="1883764" y="1977505"/>
                </a:lnTo>
                <a:lnTo>
                  <a:pt x="1880664" y="1973509"/>
                </a:lnTo>
                <a:close/>
                <a:moveTo>
                  <a:pt x="1922228" y="1971915"/>
                </a:moveTo>
                <a:lnTo>
                  <a:pt x="1922407" y="1972796"/>
                </a:lnTo>
                <a:lnTo>
                  <a:pt x="1921556" y="1972236"/>
                </a:lnTo>
                <a:close/>
                <a:moveTo>
                  <a:pt x="1875301" y="1966596"/>
                </a:moveTo>
                <a:lnTo>
                  <a:pt x="1880664" y="1973509"/>
                </a:lnTo>
                <a:lnTo>
                  <a:pt x="1870762" y="1977518"/>
                </a:lnTo>
                <a:lnTo>
                  <a:pt x="1866838" y="1977505"/>
                </a:lnTo>
                <a:cubicBezTo>
                  <a:pt x="1869660" y="1970233"/>
                  <a:pt x="1872482" y="1966597"/>
                  <a:pt x="1875301" y="1966596"/>
                </a:cubicBezTo>
                <a:close/>
                <a:moveTo>
                  <a:pt x="1896362" y="1967772"/>
                </a:moveTo>
                <a:lnTo>
                  <a:pt x="1896929" y="1968777"/>
                </a:lnTo>
                <a:lnTo>
                  <a:pt x="1895519" y="1967718"/>
                </a:lnTo>
                <a:close/>
                <a:moveTo>
                  <a:pt x="1888229" y="1962232"/>
                </a:moveTo>
                <a:lnTo>
                  <a:pt x="1895519" y="1967718"/>
                </a:lnTo>
                <a:lnTo>
                  <a:pt x="1895048" y="1967687"/>
                </a:lnTo>
                <a:lnTo>
                  <a:pt x="1885507" y="1971549"/>
                </a:lnTo>
                <a:close/>
                <a:moveTo>
                  <a:pt x="1276915" y="1900017"/>
                </a:moveTo>
                <a:lnTo>
                  <a:pt x="1278801" y="1904508"/>
                </a:lnTo>
                <a:cubicBezTo>
                  <a:pt x="1276567" y="1906554"/>
                  <a:pt x="1272541" y="1909168"/>
                  <a:pt x="1266077" y="1912542"/>
                </a:cubicBezTo>
                <a:lnTo>
                  <a:pt x="1258792" y="1915898"/>
                </a:lnTo>
                <a:lnTo>
                  <a:pt x="1267193" y="1909281"/>
                </a:lnTo>
                <a:close/>
                <a:moveTo>
                  <a:pt x="708393" y="1835330"/>
                </a:moveTo>
                <a:cubicBezTo>
                  <a:pt x="704632" y="1835693"/>
                  <a:pt x="700870" y="1837875"/>
                  <a:pt x="697109" y="1843692"/>
                </a:cubicBezTo>
                <a:cubicBezTo>
                  <a:pt x="704631" y="1849511"/>
                  <a:pt x="719677" y="1846602"/>
                  <a:pt x="719676" y="1837875"/>
                </a:cubicBezTo>
                <a:cubicBezTo>
                  <a:pt x="715915" y="1836421"/>
                  <a:pt x="712153" y="1834966"/>
                  <a:pt x="708393" y="1835330"/>
                </a:cubicBezTo>
                <a:close/>
                <a:moveTo>
                  <a:pt x="1889405" y="1930961"/>
                </a:moveTo>
                <a:cubicBezTo>
                  <a:pt x="1872481" y="1933870"/>
                  <a:pt x="1893167" y="1954233"/>
                  <a:pt x="1889405" y="1930961"/>
                </a:cubicBezTo>
                <a:close/>
                <a:moveTo>
                  <a:pt x="778445" y="1815467"/>
                </a:moveTo>
                <a:cubicBezTo>
                  <a:pt x="776094" y="1814876"/>
                  <a:pt x="773744" y="1815149"/>
                  <a:pt x="771394" y="1815693"/>
                </a:cubicBezTo>
                <a:cubicBezTo>
                  <a:pt x="766691" y="1816784"/>
                  <a:pt x="761989" y="1818967"/>
                  <a:pt x="757288" y="1817512"/>
                </a:cubicBezTo>
                <a:cubicBezTo>
                  <a:pt x="759168" y="1829148"/>
                  <a:pt x="777975" y="1829147"/>
                  <a:pt x="785498" y="1820421"/>
                </a:cubicBezTo>
                <a:cubicBezTo>
                  <a:pt x="783147" y="1817512"/>
                  <a:pt x="780796" y="1816058"/>
                  <a:pt x="778445" y="1815467"/>
                </a:cubicBezTo>
                <a:close/>
                <a:moveTo>
                  <a:pt x="887989" y="1804421"/>
                </a:moveTo>
                <a:cubicBezTo>
                  <a:pt x="883759" y="1804421"/>
                  <a:pt x="879527" y="1805876"/>
                  <a:pt x="875765" y="1811694"/>
                </a:cubicBezTo>
                <a:cubicBezTo>
                  <a:pt x="885168" y="1814603"/>
                  <a:pt x="892691" y="1817512"/>
                  <a:pt x="900213" y="1805876"/>
                </a:cubicBezTo>
                <a:cubicBezTo>
                  <a:pt x="896451" y="1805876"/>
                  <a:pt x="892220" y="1804421"/>
                  <a:pt x="887989" y="1804421"/>
                </a:cubicBezTo>
                <a:close/>
                <a:moveTo>
                  <a:pt x="9885337" y="2601022"/>
                </a:moveTo>
                <a:cubicBezTo>
                  <a:pt x="9880754" y="2598022"/>
                  <a:pt x="9894153" y="2613839"/>
                  <a:pt x="9896973" y="2611657"/>
                </a:cubicBezTo>
                <a:cubicBezTo>
                  <a:pt x="9890391" y="2605113"/>
                  <a:pt x="9886865" y="2602022"/>
                  <a:pt x="9885337" y="2601022"/>
                </a:cubicBezTo>
                <a:close/>
                <a:moveTo>
                  <a:pt x="1788416" y="1878999"/>
                </a:moveTo>
                <a:lnTo>
                  <a:pt x="1776571" y="1887327"/>
                </a:lnTo>
                <a:cubicBezTo>
                  <a:pt x="1773045" y="1885873"/>
                  <a:pt x="1773454" y="1884237"/>
                  <a:pt x="1776808" y="1882503"/>
                </a:cubicBezTo>
                <a:close/>
                <a:moveTo>
                  <a:pt x="9944224" y="2594205"/>
                </a:moveTo>
                <a:cubicBezTo>
                  <a:pt x="9942108" y="2594204"/>
                  <a:pt x="9943048" y="2600022"/>
                  <a:pt x="9953392" y="2611657"/>
                </a:cubicBezTo>
                <a:cubicBezTo>
                  <a:pt x="9951511" y="2600022"/>
                  <a:pt x="9946339" y="2594205"/>
                  <a:pt x="9944224" y="2594205"/>
                </a:cubicBezTo>
                <a:close/>
                <a:moveTo>
                  <a:pt x="9913428" y="2589477"/>
                </a:moveTo>
                <a:cubicBezTo>
                  <a:pt x="9907317" y="2585477"/>
                  <a:pt x="9902615" y="2589841"/>
                  <a:pt x="9917660" y="2614567"/>
                </a:cubicBezTo>
                <a:cubicBezTo>
                  <a:pt x="9927063" y="2605840"/>
                  <a:pt x="9919541" y="2593477"/>
                  <a:pt x="9913428" y="2589477"/>
                </a:cubicBezTo>
                <a:close/>
                <a:moveTo>
                  <a:pt x="966034" y="1779696"/>
                </a:moveTo>
                <a:cubicBezTo>
                  <a:pt x="958511" y="1776786"/>
                  <a:pt x="945348" y="1782605"/>
                  <a:pt x="945348" y="1791331"/>
                </a:cubicBezTo>
                <a:cubicBezTo>
                  <a:pt x="952869" y="1791331"/>
                  <a:pt x="966034" y="1788422"/>
                  <a:pt x="966034" y="1779696"/>
                </a:cubicBezTo>
                <a:close/>
                <a:moveTo>
                  <a:pt x="1979675" y="1855692"/>
                </a:moveTo>
                <a:cubicBezTo>
                  <a:pt x="1976855" y="1856055"/>
                  <a:pt x="1974973" y="1858237"/>
                  <a:pt x="1975915" y="1864055"/>
                </a:cubicBezTo>
                <a:cubicBezTo>
                  <a:pt x="1981554" y="1861147"/>
                  <a:pt x="1989079" y="1869873"/>
                  <a:pt x="1989077" y="1858237"/>
                </a:cubicBezTo>
                <a:cubicBezTo>
                  <a:pt x="1986259" y="1856783"/>
                  <a:pt x="1982497" y="1855328"/>
                  <a:pt x="1979675" y="1855692"/>
                </a:cubicBezTo>
                <a:close/>
                <a:moveTo>
                  <a:pt x="1805230" y="1827656"/>
                </a:moveTo>
                <a:lnTo>
                  <a:pt x="1812735" y="1833540"/>
                </a:lnTo>
                <a:lnTo>
                  <a:pt x="1819772" y="1841392"/>
                </a:lnTo>
                <a:lnTo>
                  <a:pt x="1797257" y="1858237"/>
                </a:lnTo>
                <a:cubicBezTo>
                  <a:pt x="1797256" y="1860419"/>
                  <a:pt x="1795141" y="1856055"/>
                  <a:pt x="1793084" y="1849647"/>
                </a:cubicBezTo>
                <a:lnTo>
                  <a:pt x="1790373" y="1834839"/>
                </a:lnTo>
                <a:close/>
                <a:moveTo>
                  <a:pt x="1804018" y="1826704"/>
                </a:moveTo>
                <a:lnTo>
                  <a:pt x="1804031" y="1826716"/>
                </a:lnTo>
                <a:lnTo>
                  <a:pt x="1802887" y="1827097"/>
                </a:lnTo>
                <a:cubicBezTo>
                  <a:pt x="1801437" y="1827546"/>
                  <a:pt x="1802032" y="1827307"/>
                  <a:pt x="1803869" y="1826740"/>
                </a:cubicBezTo>
                <a:close/>
                <a:moveTo>
                  <a:pt x="1790995" y="1823819"/>
                </a:moveTo>
                <a:lnTo>
                  <a:pt x="1789263" y="1828784"/>
                </a:lnTo>
                <a:lnTo>
                  <a:pt x="1790373" y="1834839"/>
                </a:lnTo>
                <a:lnTo>
                  <a:pt x="1784094" y="1837875"/>
                </a:lnTo>
                <a:cubicBezTo>
                  <a:pt x="1774220" y="1840057"/>
                  <a:pt x="1764346" y="1839330"/>
                  <a:pt x="1754002" y="1834966"/>
                </a:cubicBezTo>
                <a:cubicBezTo>
                  <a:pt x="1753533" y="1832057"/>
                  <a:pt x="1758587" y="1829694"/>
                  <a:pt x="1766520" y="1827739"/>
                </a:cubicBezTo>
                <a:close/>
                <a:moveTo>
                  <a:pt x="1810116" y="1825296"/>
                </a:moveTo>
                <a:lnTo>
                  <a:pt x="1805230" y="1827656"/>
                </a:lnTo>
                <a:lnTo>
                  <a:pt x="1804031" y="1826716"/>
                </a:lnTo>
                <a:lnTo>
                  <a:pt x="1804171" y="1826669"/>
                </a:lnTo>
                <a:close/>
                <a:moveTo>
                  <a:pt x="1798844" y="1822649"/>
                </a:moveTo>
                <a:lnTo>
                  <a:pt x="1798916" y="1822705"/>
                </a:lnTo>
                <a:lnTo>
                  <a:pt x="1796315" y="1822967"/>
                </a:lnTo>
                <a:lnTo>
                  <a:pt x="1790995" y="1823819"/>
                </a:lnTo>
                <a:lnTo>
                  <a:pt x="1791563" y="1822189"/>
                </a:lnTo>
                <a:cubicBezTo>
                  <a:pt x="1793069" y="1820978"/>
                  <a:pt x="1795406" y="1820943"/>
                  <a:pt x="1798844" y="1822649"/>
                </a:cubicBezTo>
                <a:close/>
                <a:moveTo>
                  <a:pt x="1108959" y="1753515"/>
                </a:moveTo>
                <a:cubicBezTo>
                  <a:pt x="1105199" y="1750606"/>
                  <a:pt x="1101907" y="1751333"/>
                  <a:pt x="1098616" y="1752787"/>
                </a:cubicBezTo>
                <a:cubicBezTo>
                  <a:pt x="1095325" y="1754242"/>
                  <a:pt x="1092034" y="1756424"/>
                  <a:pt x="1088272" y="1756424"/>
                </a:cubicBezTo>
                <a:cubicBezTo>
                  <a:pt x="1076990" y="1756424"/>
                  <a:pt x="1103317" y="1770969"/>
                  <a:pt x="1108959" y="1753515"/>
                </a:cubicBezTo>
                <a:close/>
                <a:moveTo>
                  <a:pt x="654090" y="1693518"/>
                </a:moveTo>
                <a:lnTo>
                  <a:pt x="661245" y="1697205"/>
                </a:lnTo>
                <a:lnTo>
                  <a:pt x="651645" y="1702297"/>
                </a:lnTo>
                <a:lnTo>
                  <a:pt x="640691" y="1704063"/>
                </a:lnTo>
                <a:cubicBezTo>
                  <a:pt x="643513" y="1699699"/>
                  <a:pt x="649154" y="1695335"/>
                  <a:pt x="654090" y="1693518"/>
                </a:cubicBezTo>
                <a:close/>
                <a:moveTo>
                  <a:pt x="1201109" y="1735697"/>
                </a:moveTo>
                <a:cubicBezTo>
                  <a:pt x="1194056" y="1736061"/>
                  <a:pt x="1187944" y="1738970"/>
                  <a:pt x="1186063" y="1747696"/>
                </a:cubicBezTo>
                <a:cubicBezTo>
                  <a:pt x="1199228" y="1741879"/>
                  <a:pt x="1212392" y="1750605"/>
                  <a:pt x="1221795" y="1738970"/>
                </a:cubicBezTo>
                <a:cubicBezTo>
                  <a:pt x="1216154" y="1737515"/>
                  <a:pt x="1208162" y="1735333"/>
                  <a:pt x="1201109" y="1735697"/>
                </a:cubicBezTo>
                <a:close/>
                <a:moveTo>
                  <a:pt x="2303137" y="1829147"/>
                </a:moveTo>
                <a:cubicBezTo>
                  <a:pt x="2293734" y="1832057"/>
                  <a:pt x="2282449" y="1832057"/>
                  <a:pt x="2282450" y="1846602"/>
                </a:cubicBezTo>
                <a:cubicBezTo>
                  <a:pt x="2289972" y="1843692"/>
                  <a:pt x="2303139" y="1843693"/>
                  <a:pt x="2303137" y="1829147"/>
                </a:cubicBezTo>
                <a:close/>
                <a:moveTo>
                  <a:pt x="2253844" y="1817626"/>
                </a:moveTo>
                <a:cubicBezTo>
                  <a:pt x="2188097" y="1819103"/>
                  <a:pt x="2027220" y="1914326"/>
                  <a:pt x="1934658" y="1958415"/>
                </a:cubicBezTo>
                <a:lnTo>
                  <a:pt x="1910045" y="1968658"/>
                </a:lnTo>
                <a:lnTo>
                  <a:pt x="1896362" y="1967772"/>
                </a:lnTo>
                <a:lnTo>
                  <a:pt x="1886534" y="1950336"/>
                </a:lnTo>
                <a:cubicBezTo>
                  <a:pt x="1847709" y="1926235"/>
                  <a:pt x="1717097" y="2022957"/>
                  <a:pt x="1708868" y="1994958"/>
                </a:cubicBezTo>
                <a:cubicBezTo>
                  <a:pt x="1676898" y="2012412"/>
                  <a:pt x="1646809" y="2024048"/>
                  <a:pt x="1614838" y="2035683"/>
                </a:cubicBezTo>
                <a:cubicBezTo>
                  <a:pt x="1727674" y="1997867"/>
                  <a:pt x="1806660" y="1997867"/>
                  <a:pt x="1831107" y="2015321"/>
                </a:cubicBezTo>
                <a:cubicBezTo>
                  <a:pt x="1842391" y="1998594"/>
                  <a:pt x="1853910" y="1987322"/>
                  <a:pt x="1864840" y="1979914"/>
                </a:cubicBezTo>
                <a:lnTo>
                  <a:pt x="1870762" y="1977518"/>
                </a:lnTo>
                <a:lnTo>
                  <a:pt x="1888627" y="1977573"/>
                </a:lnTo>
                <a:lnTo>
                  <a:pt x="1910045" y="1968658"/>
                </a:lnTo>
                <a:lnTo>
                  <a:pt x="1916791" y="1969096"/>
                </a:lnTo>
                <a:lnTo>
                  <a:pt x="1921556" y="1972236"/>
                </a:lnTo>
                <a:lnTo>
                  <a:pt x="1917380" y="1974232"/>
                </a:lnTo>
                <a:cubicBezTo>
                  <a:pt x="1914793" y="1978959"/>
                  <a:pt x="1914794" y="1987686"/>
                  <a:pt x="1925137" y="1986231"/>
                </a:cubicBezTo>
                <a:lnTo>
                  <a:pt x="1922407" y="1972796"/>
                </a:lnTo>
                <a:lnTo>
                  <a:pt x="1925136" y="1974596"/>
                </a:lnTo>
                <a:cubicBezTo>
                  <a:pt x="1930779" y="1977505"/>
                  <a:pt x="1985317" y="1945506"/>
                  <a:pt x="1953347" y="1965869"/>
                </a:cubicBezTo>
                <a:cubicBezTo>
                  <a:pt x="1958989" y="1980414"/>
                  <a:pt x="2158331" y="1893144"/>
                  <a:pt x="2163974" y="1904780"/>
                </a:cubicBezTo>
                <a:cubicBezTo>
                  <a:pt x="2192180" y="1896054"/>
                  <a:pt x="2259884" y="1855328"/>
                  <a:pt x="2280571" y="1849511"/>
                </a:cubicBezTo>
                <a:cubicBezTo>
                  <a:pt x="2271167" y="1846602"/>
                  <a:pt x="2271169" y="1837875"/>
                  <a:pt x="2280570" y="1829148"/>
                </a:cubicBezTo>
                <a:cubicBezTo>
                  <a:pt x="2276338" y="1820785"/>
                  <a:pt x="2266995" y="1817331"/>
                  <a:pt x="2253844" y="1817626"/>
                </a:cubicBezTo>
                <a:close/>
                <a:moveTo>
                  <a:pt x="2199704" y="1802967"/>
                </a:moveTo>
                <a:cubicBezTo>
                  <a:pt x="2092510" y="1858237"/>
                  <a:pt x="2197823" y="1829148"/>
                  <a:pt x="2199704" y="1802967"/>
                </a:cubicBezTo>
                <a:close/>
                <a:moveTo>
                  <a:pt x="2319123" y="1808058"/>
                </a:moveTo>
                <a:lnTo>
                  <a:pt x="2314421" y="1811694"/>
                </a:lnTo>
                <a:lnTo>
                  <a:pt x="2323297" y="1809331"/>
                </a:lnTo>
                <a:cubicBezTo>
                  <a:pt x="2323590" y="1808604"/>
                  <a:pt x="2321709" y="1808058"/>
                  <a:pt x="2319123" y="1808058"/>
                </a:cubicBezTo>
                <a:close/>
                <a:moveTo>
                  <a:pt x="653725" y="1592109"/>
                </a:moveTo>
                <a:lnTo>
                  <a:pt x="654674" y="1593378"/>
                </a:lnTo>
                <a:lnTo>
                  <a:pt x="651975" y="1593522"/>
                </a:lnTo>
                <a:close/>
                <a:moveTo>
                  <a:pt x="634020" y="1586432"/>
                </a:moveTo>
                <a:lnTo>
                  <a:pt x="634876" y="1586651"/>
                </a:lnTo>
                <a:lnTo>
                  <a:pt x="633682" y="1587214"/>
                </a:lnTo>
                <a:close/>
                <a:moveTo>
                  <a:pt x="565468" y="1561524"/>
                </a:moveTo>
                <a:lnTo>
                  <a:pt x="553091" y="1578340"/>
                </a:lnTo>
                <a:lnTo>
                  <a:pt x="553479" y="1576796"/>
                </a:lnTo>
                <a:cubicBezTo>
                  <a:pt x="558885" y="1568797"/>
                  <a:pt x="565468" y="1561524"/>
                  <a:pt x="565468" y="1561524"/>
                </a:cubicBezTo>
                <a:close/>
                <a:moveTo>
                  <a:pt x="614364" y="1555705"/>
                </a:moveTo>
                <a:cubicBezTo>
                  <a:pt x="610601" y="1549888"/>
                  <a:pt x="595557" y="1561524"/>
                  <a:pt x="601199" y="1567341"/>
                </a:cubicBezTo>
                <a:cubicBezTo>
                  <a:pt x="608721" y="1573159"/>
                  <a:pt x="614364" y="1555705"/>
                  <a:pt x="614364" y="1555705"/>
                </a:cubicBezTo>
                <a:close/>
                <a:moveTo>
                  <a:pt x="636931" y="1552796"/>
                </a:moveTo>
                <a:cubicBezTo>
                  <a:pt x="616243" y="1567341"/>
                  <a:pt x="665140" y="1573160"/>
                  <a:pt x="636931" y="1552796"/>
                </a:cubicBezTo>
                <a:close/>
                <a:moveTo>
                  <a:pt x="272020" y="1486039"/>
                </a:moveTo>
                <a:lnTo>
                  <a:pt x="270579" y="1488903"/>
                </a:lnTo>
                <a:lnTo>
                  <a:pt x="264572" y="1488799"/>
                </a:lnTo>
                <a:close/>
                <a:moveTo>
                  <a:pt x="836273" y="1535343"/>
                </a:moveTo>
                <a:cubicBezTo>
                  <a:pt x="824990" y="1526615"/>
                  <a:pt x="755407" y="1564432"/>
                  <a:pt x="755407" y="1576069"/>
                </a:cubicBezTo>
                <a:cubicBezTo>
                  <a:pt x="755407" y="1561524"/>
                  <a:pt x="753527" y="1564432"/>
                  <a:pt x="751647" y="1587704"/>
                </a:cubicBezTo>
                <a:cubicBezTo>
                  <a:pt x="749766" y="1590614"/>
                  <a:pt x="834393" y="1570250"/>
                  <a:pt x="834393" y="1570250"/>
                </a:cubicBezTo>
                <a:cubicBezTo>
                  <a:pt x="872004" y="1526615"/>
                  <a:pt x="821229" y="1561524"/>
                  <a:pt x="796781" y="1564432"/>
                </a:cubicBezTo>
                <a:cubicBezTo>
                  <a:pt x="808064" y="1549888"/>
                  <a:pt x="821229" y="1538252"/>
                  <a:pt x="836273" y="1535343"/>
                </a:cubicBezTo>
                <a:close/>
                <a:moveTo>
                  <a:pt x="840739" y="1500936"/>
                </a:moveTo>
                <a:cubicBezTo>
                  <a:pt x="838858" y="1500163"/>
                  <a:pt x="836272" y="1500254"/>
                  <a:pt x="833453" y="1500800"/>
                </a:cubicBezTo>
                <a:cubicBezTo>
                  <a:pt x="827810" y="1501890"/>
                  <a:pt x="821228" y="1504799"/>
                  <a:pt x="817467" y="1506253"/>
                </a:cubicBezTo>
                <a:cubicBezTo>
                  <a:pt x="817468" y="1514980"/>
                  <a:pt x="836273" y="1506253"/>
                  <a:pt x="843795" y="1506253"/>
                </a:cubicBezTo>
                <a:cubicBezTo>
                  <a:pt x="843795" y="1503345"/>
                  <a:pt x="842619" y="1501708"/>
                  <a:pt x="840739" y="1500936"/>
                </a:cubicBezTo>
                <a:close/>
                <a:moveTo>
                  <a:pt x="310882" y="1446256"/>
                </a:moveTo>
                <a:cubicBezTo>
                  <a:pt x="306885" y="1446620"/>
                  <a:pt x="303124" y="1449529"/>
                  <a:pt x="300304" y="1456801"/>
                </a:cubicBezTo>
                <a:cubicBezTo>
                  <a:pt x="307826" y="1465528"/>
                  <a:pt x="315349" y="1453892"/>
                  <a:pt x="322872" y="1450983"/>
                </a:cubicBezTo>
                <a:cubicBezTo>
                  <a:pt x="319110" y="1448075"/>
                  <a:pt x="314878" y="1445893"/>
                  <a:pt x="310882" y="1446256"/>
                </a:cubicBezTo>
                <a:close/>
                <a:moveTo>
                  <a:pt x="257520" y="1437894"/>
                </a:moveTo>
                <a:cubicBezTo>
                  <a:pt x="253760" y="1438620"/>
                  <a:pt x="248587" y="1440802"/>
                  <a:pt x="245767" y="1439347"/>
                </a:cubicBezTo>
                <a:cubicBezTo>
                  <a:pt x="243886" y="1453892"/>
                  <a:pt x="257050" y="1439347"/>
                  <a:pt x="260812" y="1445165"/>
                </a:cubicBezTo>
                <a:cubicBezTo>
                  <a:pt x="263632" y="1437894"/>
                  <a:pt x="261282" y="1437166"/>
                  <a:pt x="257520" y="1437894"/>
                </a:cubicBezTo>
                <a:close/>
                <a:moveTo>
                  <a:pt x="275856" y="1433530"/>
                </a:moveTo>
                <a:cubicBezTo>
                  <a:pt x="273976" y="1436438"/>
                  <a:pt x="296543" y="1480073"/>
                  <a:pt x="275856" y="1433530"/>
                </a:cubicBezTo>
                <a:close/>
                <a:moveTo>
                  <a:pt x="11000882" y="2367305"/>
                </a:moveTo>
                <a:cubicBezTo>
                  <a:pt x="10968912" y="2402212"/>
                  <a:pt x="11002764" y="2370214"/>
                  <a:pt x="11000882" y="2367305"/>
                </a:cubicBezTo>
                <a:close/>
                <a:moveTo>
                  <a:pt x="385636" y="1420440"/>
                </a:moveTo>
                <a:cubicBezTo>
                  <a:pt x="381639" y="1422621"/>
                  <a:pt x="377409" y="1429166"/>
                  <a:pt x="384930" y="1433530"/>
                </a:cubicBezTo>
                <a:cubicBezTo>
                  <a:pt x="393393" y="1420440"/>
                  <a:pt x="389632" y="1418258"/>
                  <a:pt x="385636" y="1420440"/>
                </a:cubicBezTo>
                <a:close/>
                <a:moveTo>
                  <a:pt x="342780" y="1401397"/>
                </a:moveTo>
                <a:lnTo>
                  <a:pt x="342394" y="1401798"/>
                </a:lnTo>
                <a:lnTo>
                  <a:pt x="342383" y="1401531"/>
                </a:lnTo>
                <a:close/>
                <a:moveTo>
                  <a:pt x="345438" y="1398622"/>
                </a:moveTo>
                <a:lnTo>
                  <a:pt x="346921" y="1399985"/>
                </a:lnTo>
                <a:lnTo>
                  <a:pt x="342780" y="1401397"/>
                </a:lnTo>
                <a:close/>
                <a:moveTo>
                  <a:pt x="10778973" y="2326580"/>
                </a:moveTo>
                <a:cubicBezTo>
                  <a:pt x="10696226" y="2361487"/>
                  <a:pt x="10788376" y="2344034"/>
                  <a:pt x="10778973" y="2326580"/>
                </a:cubicBezTo>
                <a:close/>
                <a:moveTo>
                  <a:pt x="466090" y="1406758"/>
                </a:moveTo>
                <a:cubicBezTo>
                  <a:pt x="460977" y="1409349"/>
                  <a:pt x="456393" y="1419712"/>
                  <a:pt x="450752" y="1421893"/>
                </a:cubicBezTo>
                <a:cubicBezTo>
                  <a:pt x="458275" y="1430621"/>
                  <a:pt x="463916" y="1418985"/>
                  <a:pt x="471437" y="1407349"/>
                </a:cubicBezTo>
                <a:cubicBezTo>
                  <a:pt x="469558" y="1405895"/>
                  <a:pt x="467794" y="1405895"/>
                  <a:pt x="466090" y="1406758"/>
                </a:cubicBezTo>
                <a:close/>
                <a:moveTo>
                  <a:pt x="368004" y="1392804"/>
                </a:moveTo>
                <a:cubicBezTo>
                  <a:pt x="363304" y="1401531"/>
                  <a:pt x="359073" y="1406622"/>
                  <a:pt x="355312" y="1407711"/>
                </a:cubicBezTo>
                <a:lnTo>
                  <a:pt x="346921" y="1399985"/>
                </a:lnTo>
                <a:close/>
                <a:moveTo>
                  <a:pt x="10830216" y="2314439"/>
                </a:moveTo>
                <a:cubicBezTo>
                  <a:pt x="10825510" y="2313388"/>
                  <a:pt x="10821037" y="2313286"/>
                  <a:pt x="10817026" y="2313808"/>
                </a:cubicBezTo>
                <a:cubicBezTo>
                  <a:pt x="10792960" y="2316945"/>
                  <a:pt x="10785554" y="2342579"/>
                  <a:pt x="10844793" y="2320763"/>
                </a:cubicBezTo>
                <a:cubicBezTo>
                  <a:pt x="10839857" y="2317490"/>
                  <a:pt x="10834921" y="2315490"/>
                  <a:pt x="10830216" y="2314439"/>
                </a:cubicBezTo>
                <a:close/>
                <a:moveTo>
                  <a:pt x="10705159" y="2301126"/>
                </a:moveTo>
                <a:cubicBezTo>
                  <a:pt x="10701868" y="2302581"/>
                  <a:pt x="10686823" y="2313489"/>
                  <a:pt x="10669898" y="2329489"/>
                </a:cubicBezTo>
                <a:cubicBezTo>
                  <a:pt x="10699988" y="2307672"/>
                  <a:pt x="10708450" y="2299672"/>
                  <a:pt x="10705159" y="2301126"/>
                </a:cubicBezTo>
                <a:close/>
                <a:moveTo>
                  <a:pt x="492594" y="1385895"/>
                </a:moveTo>
                <a:cubicBezTo>
                  <a:pt x="484132" y="1389895"/>
                  <a:pt x="474259" y="1402985"/>
                  <a:pt x="488362" y="1413167"/>
                </a:cubicBezTo>
                <a:cubicBezTo>
                  <a:pt x="508110" y="1386986"/>
                  <a:pt x="501057" y="1381896"/>
                  <a:pt x="492594" y="1385895"/>
                </a:cubicBezTo>
                <a:close/>
                <a:moveTo>
                  <a:pt x="330506" y="1366753"/>
                </a:moveTo>
                <a:lnTo>
                  <a:pt x="352417" y="1369772"/>
                </a:lnTo>
                <a:cubicBezTo>
                  <a:pt x="360278" y="1371850"/>
                  <a:pt x="365185" y="1374623"/>
                  <a:pt x="366124" y="1378259"/>
                </a:cubicBezTo>
                <a:cubicBezTo>
                  <a:pt x="332274" y="1395712"/>
                  <a:pt x="315349" y="1378259"/>
                  <a:pt x="285258" y="1410257"/>
                </a:cubicBezTo>
                <a:cubicBezTo>
                  <a:pt x="293721" y="1397894"/>
                  <a:pt x="303154" y="1387395"/>
                  <a:pt x="313281" y="1378521"/>
                </a:cubicBezTo>
                <a:close/>
                <a:moveTo>
                  <a:pt x="10942584" y="2309125"/>
                </a:moveTo>
                <a:lnTo>
                  <a:pt x="10919200" y="2320429"/>
                </a:lnTo>
                <a:lnTo>
                  <a:pt x="10918607" y="2313853"/>
                </a:lnTo>
                <a:cubicBezTo>
                  <a:pt x="10922368" y="2310580"/>
                  <a:pt x="10930361" y="2309126"/>
                  <a:pt x="10942584" y="2309125"/>
                </a:cubicBezTo>
                <a:close/>
                <a:moveTo>
                  <a:pt x="1132554" y="1416666"/>
                </a:moveTo>
                <a:cubicBezTo>
                  <a:pt x="1130880" y="1415985"/>
                  <a:pt x="1128588" y="1416257"/>
                  <a:pt x="1126120" y="1417166"/>
                </a:cubicBezTo>
                <a:cubicBezTo>
                  <a:pt x="1121183" y="1418985"/>
                  <a:pt x="1115541" y="1423349"/>
                  <a:pt x="1112720" y="1427711"/>
                </a:cubicBezTo>
                <a:cubicBezTo>
                  <a:pt x="1120243" y="1433530"/>
                  <a:pt x="1125884" y="1416076"/>
                  <a:pt x="1135288" y="1421893"/>
                </a:cubicBezTo>
                <a:cubicBezTo>
                  <a:pt x="1135287" y="1418984"/>
                  <a:pt x="1134230" y="1417348"/>
                  <a:pt x="1132554" y="1416666"/>
                </a:cubicBezTo>
                <a:close/>
                <a:moveTo>
                  <a:pt x="187850" y="1325717"/>
                </a:moveTo>
                <a:cubicBezTo>
                  <a:pt x="190113" y="1325171"/>
                  <a:pt x="191347" y="1328080"/>
                  <a:pt x="191464" y="1331715"/>
                </a:cubicBezTo>
                <a:lnTo>
                  <a:pt x="188768" y="1340770"/>
                </a:lnTo>
                <a:lnTo>
                  <a:pt x="184703" y="1341496"/>
                </a:lnTo>
                <a:lnTo>
                  <a:pt x="178065" y="1340443"/>
                </a:lnTo>
                <a:cubicBezTo>
                  <a:pt x="182297" y="1330262"/>
                  <a:pt x="185588" y="1326262"/>
                  <a:pt x="187850" y="1325717"/>
                </a:cubicBezTo>
                <a:close/>
                <a:moveTo>
                  <a:pt x="532737" y="1348994"/>
                </a:moveTo>
                <a:lnTo>
                  <a:pt x="533497" y="1349170"/>
                </a:lnTo>
                <a:lnTo>
                  <a:pt x="522508" y="1355860"/>
                </a:lnTo>
                <a:lnTo>
                  <a:pt x="528090" y="1349897"/>
                </a:lnTo>
                <a:close/>
                <a:moveTo>
                  <a:pt x="232368" y="1314990"/>
                </a:moveTo>
                <a:cubicBezTo>
                  <a:pt x="239184" y="1314262"/>
                  <a:pt x="244827" y="1317171"/>
                  <a:pt x="238245" y="1325898"/>
                </a:cubicBezTo>
                <a:cubicBezTo>
                  <a:pt x="232603" y="1311353"/>
                  <a:pt x="228842" y="1328807"/>
                  <a:pt x="219439" y="1325898"/>
                </a:cubicBezTo>
                <a:cubicBezTo>
                  <a:pt x="217558" y="1320081"/>
                  <a:pt x="225549" y="1315717"/>
                  <a:pt x="232368" y="1314990"/>
                </a:cubicBezTo>
                <a:close/>
                <a:moveTo>
                  <a:pt x="305329" y="1311218"/>
                </a:moveTo>
                <a:lnTo>
                  <a:pt x="301175" y="1325759"/>
                </a:lnTo>
                <a:lnTo>
                  <a:pt x="299536" y="1325928"/>
                </a:lnTo>
                <a:lnTo>
                  <a:pt x="298453" y="1321853"/>
                </a:lnTo>
                <a:cubicBezTo>
                  <a:pt x="299922" y="1315217"/>
                  <a:pt x="305269" y="1306944"/>
                  <a:pt x="305329" y="1311218"/>
                </a:cubicBezTo>
                <a:close/>
                <a:moveTo>
                  <a:pt x="446050" y="1320443"/>
                </a:moveTo>
                <a:cubicBezTo>
                  <a:pt x="442288" y="1322261"/>
                  <a:pt x="437588" y="1328807"/>
                  <a:pt x="443230" y="1334625"/>
                </a:cubicBezTo>
                <a:cubicBezTo>
                  <a:pt x="452633" y="1321534"/>
                  <a:pt x="449811" y="1318625"/>
                  <a:pt x="446050" y="1320443"/>
                </a:cubicBezTo>
                <a:close/>
                <a:moveTo>
                  <a:pt x="1287615" y="1389895"/>
                </a:moveTo>
                <a:cubicBezTo>
                  <a:pt x="1279154" y="1386986"/>
                  <a:pt x="1270691" y="1386258"/>
                  <a:pt x="1262464" y="1387713"/>
                </a:cubicBezTo>
                <a:cubicBezTo>
                  <a:pt x="1254236" y="1389168"/>
                  <a:pt x="1246242" y="1392804"/>
                  <a:pt x="1238719" y="1398621"/>
                </a:cubicBezTo>
                <a:cubicBezTo>
                  <a:pt x="1257526" y="1398622"/>
                  <a:pt x="1266929" y="1395712"/>
                  <a:pt x="1287615" y="1389895"/>
                </a:cubicBezTo>
                <a:close/>
                <a:moveTo>
                  <a:pt x="452867" y="1299490"/>
                </a:moveTo>
                <a:cubicBezTo>
                  <a:pt x="442289" y="1296081"/>
                  <a:pt x="484602" y="1313535"/>
                  <a:pt x="484601" y="1311353"/>
                </a:cubicBezTo>
                <a:cubicBezTo>
                  <a:pt x="465796" y="1304081"/>
                  <a:pt x="456394" y="1300626"/>
                  <a:pt x="452867" y="1299490"/>
                </a:cubicBezTo>
                <a:close/>
                <a:moveTo>
                  <a:pt x="535377" y="1297899"/>
                </a:moveTo>
                <a:cubicBezTo>
                  <a:pt x="530677" y="1298263"/>
                  <a:pt x="525035" y="1301172"/>
                  <a:pt x="522214" y="1305535"/>
                </a:cubicBezTo>
                <a:cubicBezTo>
                  <a:pt x="525975" y="1306990"/>
                  <a:pt x="529266" y="1306262"/>
                  <a:pt x="532557" y="1305535"/>
                </a:cubicBezTo>
                <a:lnTo>
                  <a:pt x="538858" y="1305535"/>
                </a:lnTo>
                <a:lnTo>
                  <a:pt x="537693" y="1300250"/>
                </a:lnTo>
                <a:close/>
                <a:moveTo>
                  <a:pt x="1641343" y="1387850"/>
                </a:moveTo>
                <a:cubicBezTo>
                  <a:pt x="1640933" y="1387349"/>
                  <a:pt x="1639288" y="1387713"/>
                  <a:pt x="1635527" y="1389895"/>
                </a:cubicBezTo>
                <a:cubicBezTo>
                  <a:pt x="1632705" y="1398622"/>
                  <a:pt x="1642578" y="1389350"/>
                  <a:pt x="1641343" y="1387850"/>
                </a:cubicBezTo>
                <a:close/>
                <a:moveTo>
                  <a:pt x="1393722" y="1365533"/>
                </a:moveTo>
                <a:cubicBezTo>
                  <a:pt x="1398219" y="1366623"/>
                  <a:pt x="1399511" y="1369533"/>
                  <a:pt x="1392928" y="1375350"/>
                </a:cubicBezTo>
                <a:cubicBezTo>
                  <a:pt x="1337921" y="1375350"/>
                  <a:pt x="1380236" y="1362260"/>
                  <a:pt x="1393722" y="1365533"/>
                </a:cubicBezTo>
                <a:close/>
                <a:moveTo>
                  <a:pt x="517218" y="1286263"/>
                </a:moveTo>
                <a:cubicBezTo>
                  <a:pt x="512459" y="1287173"/>
                  <a:pt x="503878" y="1291718"/>
                  <a:pt x="490244" y="1302627"/>
                </a:cubicBezTo>
                <a:cubicBezTo>
                  <a:pt x="511400" y="1313535"/>
                  <a:pt x="531500" y="1283536"/>
                  <a:pt x="517218" y="1286263"/>
                </a:cubicBezTo>
                <a:close/>
                <a:moveTo>
                  <a:pt x="368631" y="1272163"/>
                </a:moveTo>
                <a:lnTo>
                  <a:pt x="368005" y="1273537"/>
                </a:lnTo>
                <a:cubicBezTo>
                  <a:pt x="414551" y="1280081"/>
                  <a:pt x="336271" y="1275173"/>
                  <a:pt x="365626" y="1272309"/>
                </a:cubicBezTo>
                <a:close/>
                <a:moveTo>
                  <a:pt x="529972" y="1273901"/>
                </a:moveTo>
                <a:cubicBezTo>
                  <a:pt x="527386" y="1274264"/>
                  <a:pt x="525034" y="1274991"/>
                  <a:pt x="522213" y="1273537"/>
                </a:cubicBezTo>
                <a:cubicBezTo>
                  <a:pt x="519392" y="1280810"/>
                  <a:pt x="522214" y="1283718"/>
                  <a:pt x="526445" y="1283718"/>
                </a:cubicBezTo>
                <a:lnTo>
                  <a:pt x="533195" y="1279851"/>
                </a:lnTo>
                <a:lnTo>
                  <a:pt x="532008" y="1274467"/>
                </a:lnTo>
                <a:close/>
                <a:moveTo>
                  <a:pt x="10967033" y="2176042"/>
                </a:moveTo>
                <a:cubicBezTo>
                  <a:pt x="10965152" y="2177495"/>
                  <a:pt x="10963271" y="2181131"/>
                  <a:pt x="10959510" y="2184041"/>
                </a:cubicBezTo>
                <a:cubicBezTo>
                  <a:pt x="10963271" y="2192767"/>
                  <a:pt x="10974554" y="2186950"/>
                  <a:pt x="10974554" y="2181131"/>
                </a:cubicBezTo>
                <a:cubicBezTo>
                  <a:pt x="10970793" y="2175314"/>
                  <a:pt x="10968913" y="2174587"/>
                  <a:pt x="10967033" y="2176042"/>
                </a:cubicBezTo>
                <a:close/>
                <a:moveTo>
                  <a:pt x="576750" y="1241538"/>
                </a:moveTo>
                <a:cubicBezTo>
                  <a:pt x="522213" y="1232811"/>
                  <a:pt x="505288" y="1270627"/>
                  <a:pt x="467676" y="1261901"/>
                </a:cubicBezTo>
                <a:cubicBezTo>
                  <a:pt x="475198" y="1276446"/>
                  <a:pt x="572990" y="1253173"/>
                  <a:pt x="576750" y="1241538"/>
                </a:cubicBezTo>
                <a:close/>
                <a:moveTo>
                  <a:pt x="592501" y="1238266"/>
                </a:moveTo>
                <a:cubicBezTo>
                  <a:pt x="590032" y="1238448"/>
                  <a:pt x="587505" y="1240356"/>
                  <a:pt x="586770" y="1243856"/>
                </a:cubicBezTo>
                <a:lnTo>
                  <a:pt x="589844" y="1253116"/>
                </a:lnTo>
                <a:lnTo>
                  <a:pt x="594420" y="1252107"/>
                </a:lnTo>
                <a:lnTo>
                  <a:pt x="597878" y="1243038"/>
                </a:lnTo>
                <a:cubicBezTo>
                  <a:pt x="597378" y="1239629"/>
                  <a:pt x="594969" y="1238084"/>
                  <a:pt x="592501" y="1238266"/>
                </a:cubicBezTo>
                <a:close/>
                <a:moveTo>
                  <a:pt x="10947579" y="2157496"/>
                </a:moveTo>
                <a:cubicBezTo>
                  <a:pt x="10944465" y="2156042"/>
                  <a:pt x="10941644" y="2156406"/>
                  <a:pt x="10940704" y="2160769"/>
                </a:cubicBezTo>
                <a:cubicBezTo>
                  <a:pt x="10968912" y="2182587"/>
                  <a:pt x="10956924" y="2161860"/>
                  <a:pt x="10947579" y="2157496"/>
                </a:cubicBezTo>
                <a:close/>
                <a:moveTo>
                  <a:pt x="687089" y="1203040"/>
                </a:moveTo>
                <a:cubicBezTo>
                  <a:pt x="678949" y="1202721"/>
                  <a:pt x="666432" y="1202449"/>
                  <a:pt x="654560" y="1202630"/>
                </a:cubicBezTo>
                <a:cubicBezTo>
                  <a:pt x="630819" y="1202994"/>
                  <a:pt x="609662" y="1205176"/>
                  <a:pt x="631288" y="1212448"/>
                </a:cubicBezTo>
                <a:cubicBezTo>
                  <a:pt x="629409" y="1215357"/>
                  <a:pt x="695229" y="1200812"/>
                  <a:pt x="693347" y="1203721"/>
                </a:cubicBezTo>
                <a:cubicBezTo>
                  <a:pt x="698990" y="1203721"/>
                  <a:pt x="695229" y="1203358"/>
                  <a:pt x="687089" y="1203040"/>
                </a:cubicBezTo>
                <a:close/>
                <a:moveTo>
                  <a:pt x="1618571" y="1276900"/>
                </a:moveTo>
                <a:cubicBezTo>
                  <a:pt x="1619540" y="1275536"/>
                  <a:pt x="1623771" y="1275718"/>
                  <a:pt x="1633644" y="1279354"/>
                </a:cubicBezTo>
                <a:cubicBezTo>
                  <a:pt x="1642109" y="1298990"/>
                  <a:pt x="1615663" y="1280990"/>
                  <a:pt x="1618571" y="1276900"/>
                </a:cubicBezTo>
                <a:close/>
                <a:moveTo>
                  <a:pt x="1802899" y="1285173"/>
                </a:moveTo>
                <a:cubicBezTo>
                  <a:pt x="1812301" y="1290991"/>
                  <a:pt x="1770927" y="1290991"/>
                  <a:pt x="1802899" y="1285173"/>
                </a:cubicBezTo>
                <a:close/>
                <a:moveTo>
                  <a:pt x="700870" y="1180450"/>
                </a:moveTo>
                <a:cubicBezTo>
                  <a:pt x="695228" y="1186267"/>
                  <a:pt x="702751" y="1189177"/>
                  <a:pt x="708392" y="1194995"/>
                </a:cubicBezTo>
                <a:cubicBezTo>
                  <a:pt x="715915" y="1186267"/>
                  <a:pt x="704631" y="1177541"/>
                  <a:pt x="700870" y="1180450"/>
                </a:cubicBezTo>
                <a:close/>
                <a:moveTo>
                  <a:pt x="1811509" y="1271992"/>
                </a:moveTo>
                <a:cubicBezTo>
                  <a:pt x="1811597" y="1272810"/>
                  <a:pt x="1811832" y="1274992"/>
                  <a:pt x="1812301" y="1279354"/>
                </a:cubicBezTo>
                <a:cubicBezTo>
                  <a:pt x="1812301" y="1279354"/>
                  <a:pt x="1811244" y="1269537"/>
                  <a:pt x="1811509" y="1271992"/>
                </a:cubicBezTo>
                <a:close/>
                <a:moveTo>
                  <a:pt x="11351848" y="2112045"/>
                </a:moveTo>
                <a:cubicBezTo>
                  <a:pt x="11347852" y="2114225"/>
                  <a:pt x="11344091" y="2118589"/>
                  <a:pt x="11343151" y="2122953"/>
                </a:cubicBezTo>
                <a:cubicBezTo>
                  <a:pt x="11348792" y="2122953"/>
                  <a:pt x="11360077" y="2122953"/>
                  <a:pt x="11361957" y="2114226"/>
                </a:cubicBezTo>
                <a:cubicBezTo>
                  <a:pt x="11360077" y="2109863"/>
                  <a:pt x="11355845" y="2109863"/>
                  <a:pt x="11351848" y="2112045"/>
                </a:cubicBezTo>
                <a:close/>
                <a:moveTo>
                  <a:pt x="623765" y="1154269"/>
                </a:moveTo>
                <a:lnTo>
                  <a:pt x="623917" y="1154934"/>
                </a:lnTo>
                <a:lnTo>
                  <a:pt x="620474" y="1160088"/>
                </a:lnTo>
                <a:lnTo>
                  <a:pt x="617117" y="1165391"/>
                </a:lnTo>
                <a:lnTo>
                  <a:pt x="616243" y="1163723"/>
                </a:lnTo>
                <a:cubicBezTo>
                  <a:pt x="615774" y="1159360"/>
                  <a:pt x="618124" y="1154269"/>
                  <a:pt x="623765" y="1154269"/>
                </a:cubicBezTo>
                <a:close/>
                <a:moveTo>
                  <a:pt x="1789647" y="1237629"/>
                </a:moveTo>
                <a:cubicBezTo>
                  <a:pt x="1793613" y="1232993"/>
                  <a:pt x="1792556" y="1255355"/>
                  <a:pt x="1784091" y="1253174"/>
                </a:cubicBezTo>
                <a:cubicBezTo>
                  <a:pt x="1786444" y="1243720"/>
                  <a:pt x="1788324" y="1239175"/>
                  <a:pt x="1789647" y="1237629"/>
                </a:cubicBezTo>
                <a:close/>
                <a:moveTo>
                  <a:pt x="1983082" y="1222948"/>
                </a:moveTo>
                <a:cubicBezTo>
                  <a:pt x="1976383" y="1226084"/>
                  <a:pt x="1983436" y="1251720"/>
                  <a:pt x="1994720" y="1229902"/>
                </a:cubicBezTo>
                <a:cubicBezTo>
                  <a:pt x="1989078" y="1223358"/>
                  <a:pt x="1985317" y="1221903"/>
                  <a:pt x="1983082" y="1222948"/>
                </a:cubicBezTo>
                <a:close/>
                <a:moveTo>
                  <a:pt x="614480" y="1063410"/>
                </a:moveTo>
                <a:cubicBezTo>
                  <a:pt x="618946" y="1064273"/>
                  <a:pt x="622355" y="1067001"/>
                  <a:pt x="621885" y="1072818"/>
                </a:cubicBezTo>
                <a:cubicBezTo>
                  <a:pt x="607312" y="1073546"/>
                  <a:pt x="600141" y="1072455"/>
                  <a:pt x="597555" y="1070773"/>
                </a:cubicBezTo>
                <a:lnTo>
                  <a:pt x="600456" y="1065664"/>
                </a:lnTo>
                <a:lnTo>
                  <a:pt x="601658" y="1065063"/>
                </a:lnTo>
                <a:close/>
                <a:moveTo>
                  <a:pt x="2004936" y="1185256"/>
                </a:moveTo>
                <a:lnTo>
                  <a:pt x="2003939" y="1185899"/>
                </a:lnTo>
                <a:lnTo>
                  <a:pt x="2000361" y="1186267"/>
                </a:lnTo>
                <a:close/>
                <a:moveTo>
                  <a:pt x="619876" y="1055949"/>
                </a:moveTo>
                <a:lnTo>
                  <a:pt x="601658" y="1065063"/>
                </a:lnTo>
                <a:lnTo>
                  <a:pt x="600730" y="1065183"/>
                </a:lnTo>
                <a:lnTo>
                  <a:pt x="600456" y="1065664"/>
                </a:lnTo>
                <a:lnTo>
                  <a:pt x="586155" y="1072818"/>
                </a:lnTo>
                <a:cubicBezTo>
                  <a:pt x="589914" y="1093182"/>
                  <a:pt x="578633" y="1101908"/>
                  <a:pt x="556064" y="1093182"/>
                </a:cubicBezTo>
                <a:cubicBezTo>
                  <a:pt x="574871" y="1075000"/>
                  <a:pt x="591208" y="1064455"/>
                  <a:pt x="606311" y="1058410"/>
                </a:cubicBezTo>
                <a:close/>
                <a:moveTo>
                  <a:pt x="719889" y="1052848"/>
                </a:moveTo>
                <a:lnTo>
                  <a:pt x="745194" y="1057172"/>
                </a:lnTo>
                <a:lnTo>
                  <a:pt x="770715" y="1063343"/>
                </a:lnTo>
                <a:lnTo>
                  <a:pt x="752881" y="1067365"/>
                </a:lnTo>
                <a:cubicBezTo>
                  <a:pt x="730725" y="1069910"/>
                  <a:pt x="711684" y="1069183"/>
                  <a:pt x="698990" y="1064092"/>
                </a:cubicBezTo>
                <a:close/>
                <a:moveTo>
                  <a:pt x="686207" y="1047093"/>
                </a:moveTo>
                <a:lnTo>
                  <a:pt x="699916" y="1049435"/>
                </a:lnTo>
                <a:lnTo>
                  <a:pt x="691996" y="1051047"/>
                </a:lnTo>
                <a:cubicBezTo>
                  <a:pt x="676894" y="1051638"/>
                  <a:pt x="663024" y="1050456"/>
                  <a:pt x="649154" y="1050638"/>
                </a:cubicBezTo>
                <a:lnTo>
                  <a:pt x="619876" y="1055949"/>
                </a:lnTo>
                <a:lnTo>
                  <a:pt x="632380" y="1049695"/>
                </a:lnTo>
                <a:cubicBezTo>
                  <a:pt x="649190" y="1045843"/>
                  <a:pt x="667270" y="1045411"/>
                  <a:pt x="686207" y="1047093"/>
                </a:cubicBezTo>
                <a:close/>
                <a:moveTo>
                  <a:pt x="742243" y="1040820"/>
                </a:moveTo>
                <a:lnTo>
                  <a:pt x="719889" y="1052848"/>
                </a:lnTo>
                <a:lnTo>
                  <a:pt x="699916" y="1049435"/>
                </a:lnTo>
                <a:close/>
                <a:moveTo>
                  <a:pt x="10978785" y="1948052"/>
                </a:moveTo>
                <a:cubicBezTo>
                  <a:pt x="10975965" y="1946961"/>
                  <a:pt x="10972674" y="1946961"/>
                  <a:pt x="10968912" y="1948415"/>
                </a:cubicBezTo>
                <a:cubicBezTo>
                  <a:pt x="10972674" y="1960051"/>
                  <a:pt x="10980197" y="1957142"/>
                  <a:pt x="10985838" y="1954234"/>
                </a:cubicBezTo>
                <a:cubicBezTo>
                  <a:pt x="10983957" y="1951324"/>
                  <a:pt x="10981607" y="1949143"/>
                  <a:pt x="10978785" y="1948052"/>
                </a:cubicBezTo>
                <a:close/>
                <a:moveTo>
                  <a:pt x="781326" y="1035503"/>
                </a:moveTo>
                <a:cubicBezTo>
                  <a:pt x="783499" y="1036276"/>
                  <a:pt x="785028" y="1037912"/>
                  <a:pt x="785497" y="1040820"/>
                </a:cubicBezTo>
                <a:cubicBezTo>
                  <a:pt x="776093" y="1043728"/>
                  <a:pt x="764809" y="1046638"/>
                  <a:pt x="755407" y="1040820"/>
                </a:cubicBezTo>
                <a:cubicBezTo>
                  <a:pt x="760109" y="1039366"/>
                  <a:pt x="767161" y="1036457"/>
                  <a:pt x="773273" y="1035367"/>
                </a:cubicBezTo>
                <a:cubicBezTo>
                  <a:pt x="776329" y="1034821"/>
                  <a:pt x="779150" y="1034730"/>
                  <a:pt x="781326" y="1035503"/>
                </a:cubicBezTo>
                <a:close/>
                <a:moveTo>
                  <a:pt x="814881" y="1033911"/>
                </a:moveTo>
                <a:cubicBezTo>
                  <a:pt x="819817" y="1035729"/>
                  <a:pt x="824049" y="1039366"/>
                  <a:pt x="823109" y="1043728"/>
                </a:cubicBezTo>
                <a:cubicBezTo>
                  <a:pt x="815587" y="1040820"/>
                  <a:pt x="800543" y="1043728"/>
                  <a:pt x="802422" y="1035002"/>
                </a:cubicBezTo>
                <a:cubicBezTo>
                  <a:pt x="804303" y="1032094"/>
                  <a:pt x="809944" y="1032094"/>
                  <a:pt x="814881" y="1033911"/>
                </a:cubicBezTo>
                <a:close/>
                <a:moveTo>
                  <a:pt x="1489633" y="1088954"/>
                </a:moveTo>
                <a:cubicBezTo>
                  <a:pt x="1486253" y="1089545"/>
                  <a:pt x="1482728" y="1091727"/>
                  <a:pt x="1479436" y="1096090"/>
                </a:cubicBezTo>
                <a:lnTo>
                  <a:pt x="1490465" y="1099318"/>
                </a:lnTo>
                <a:lnTo>
                  <a:pt x="1502848" y="1096449"/>
                </a:lnTo>
                <a:lnTo>
                  <a:pt x="1502558" y="1095039"/>
                </a:lnTo>
                <a:cubicBezTo>
                  <a:pt x="1499440" y="1090761"/>
                  <a:pt x="1494702" y="1088068"/>
                  <a:pt x="1489633" y="1088954"/>
                </a:cubicBezTo>
                <a:close/>
                <a:moveTo>
                  <a:pt x="1078561" y="1042241"/>
                </a:moveTo>
                <a:lnTo>
                  <a:pt x="1086391" y="1043728"/>
                </a:lnTo>
                <a:cubicBezTo>
                  <a:pt x="1060064" y="1061183"/>
                  <a:pt x="1065235" y="1055365"/>
                  <a:pt x="1078165" y="1042639"/>
                </a:cubicBezTo>
                <a:close/>
                <a:moveTo>
                  <a:pt x="1473089" y="1065183"/>
                </a:moveTo>
                <a:lnTo>
                  <a:pt x="1472679" y="1065638"/>
                </a:lnTo>
                <a:lnTo>
                  <a:pt x="1473964" y="1071466"/>
                </a:lnTo>
                <a:lnTo>
                  <a:pt x="1476879" y="1066410"/>
                </a:lnTo>
                <a:cubicBezTo>
                  <a:pt x="1477144" y="1064001"/>
                  <a:pt x="1475322" y="1063910"/>
                  <a:pt x="1473089" y="1065183"/>
                </a:cubicBezTo>
                <a:close/>
                <a:moveTo>
                  <a:pt x="11019928" y="1915127"/>
                </a:moveTo>
                <a:cubicBezTo>
                  <a:pt x="11016347" y="1915792"/>
                  <a:pt x="11013591" y="1924894"/>
                  <a:pt x="11011961" y="1932462"/>
                </a:cubicBezTo>
                <a:lnTo>
                  <a:pt x="11011194" y="1937096"/>
                </a:lnTo>
                <a:lnTo>
                  <a:pt x="11008874" y="1936779"/>
                </a:lnTo>
                <a:cubicBezTo>
                  <a:pt x="10991009" y="1936052"/>
                  <a:pt x="10977375" y="1938234"/>
                  <a:pt x="11010286" y="1942598"/>
                </a:cubicBezTo>
                <a:lnTo>
                  <a:pt x="11011194" y="1937096"/>
                </a:lnTo>
                <a:lnTo>
                  <a:pt x="11030841" y="1939773"/>
                </a:lnTo>
                <a:lnTo>
                  <a:pt x="11032852" y="1948415"/>
                </a:lnTo>
                <a:cubicBezTo>
                  <a:pt x="11040845" y="1944779"/>
                  <a:pt x="11039317" y="1942052"/>
                  <a:pt x="11033558" y="1940143"/>
                </a:cubicBezTo>
                <a:lnTo>
                  <a:pt x="11030841" y="1939773"/>
                </a:lnTo>
                <a:lnTo>
                  <a:pt x="11028103" y="1928001"/>
                </a:lnTo>
                <a:cubicBezTo>
                  <a:pt x="11026587" y="1922996"/>
                  <a:pt x="11025139" y="1919666"/>
                  <a:pt x="11023773" y="1917644"/>
                </a:cubicBezTo>
                <a:cubicBezTo>
                  <a:pt x="11022407" y="1915621"/>
                  <a:pt x="11021121" y="1914905"/>
                  <a:pt x="11019928" y="1915127"/>
                </a:cubicBezTo>
                <a:close/>
                <a:moveTo>
                  <a:pt x="983752" y="1015367"/>
                </a:moveTo>
                <a:cubicBezTo>
                  <a:pt x="977317" y="1017003"/>
                  <a:pt x="971676" y="1028457"/>
                  <a:pt x="966034" y="1035002"/>
                </a:cubicBezTo>
                <a:cubicBezTo>
                  <a:pt x="975438" y="1035002"/>
                  <a:pt x="982959" y="1026275"/>
                  <a:pt x="990483" y="1017548"/>
                </a:cubicBezTo>
                <a:cubicBezTo>
                  <a:pt x="988131" y="1015366"/>
                  <a:pt x="985899" y="1014821"/>
                  <a:pt x="983752" y="1015367"/>
                </a:cubicBezTo>
                <a:close/>
                <a:moveTo>
                  <a:pt x="11208924" y="1925871"/>
                </a:moveTo>
                <a:lnTo>
                  <a:pt x="11226453" y="1928320"/>
                </a:lnTo>
                <a:lnTo>
                  <a:pt x="11218092" y="1928325"/>
                </a:lnTo>
                <a:lnTo>
                  <a:pt x="11208091" y="1928982"/>
                </a:lnTo>
                <a:close/>
                <a:moveTo>
                  <a:pt x="11236795" y="1928314"/>
                </a:moveTo>
                <a:cubicBezTo>
                  <a:pt x="11241569" y="1928688"/>
                  <a:pt x="11244655" y="1929506"/>
                  <a:pt x="11245360" y="1930961"/>
                </a:cubicBezTo>
                <a:lnTo>
                  <a:pt x="11226453" y="1928320"/>
                </a:lnTo>
                <a:close/>
                <a:moveTo>
                  <a:pt x="1041258" y="1011731"/>
                </a:moveTo>
                <a:lnTo>
                  <a:pt x="1042423" y="1015979"/>
                </a:lnTo>
                <a:lnTo>
                  <a:pt x="1038622" y="1017937"/>
                </a:lnTo>
                <a:close/>
                <a:moveTo>
                  <a:pt x="1421568" y="1044939"/>
                </a:moveTo>
                <a:lnTo>
                  <a:pt x="1421958" y="1045130"/>
                </a:lnTo>
                <a:lnTo>
                  <a:pt x="1420893" y="1045232"/>
                </a:lnTo>
                <a:close/>
                <a:moveTo>
                  <a:pt x="1477086" y="1039002"/>
                </a:moveTo>
                <a:lnTo>
                  <a:pt x="1479068" y="1041618"/>
                </a:lnTo>
                <a:lnTo>
                  <a:pt x="1471993" y="1041228"/>
                </a:lnTo>
                <a:close/>
                <a:moveTo>
                  <a:pt x="1152212" y="988459"/>
                </a:moveTo>
                <a:cubicBezTo>
                  <a:pt x="1101436" y="988459"/>
                  <a:pt x="1139048" y="1003004"/>
                  <a:pt x="1152212" y="988459"/>
                </a:cubicBezTo>
                <a:close/>
                <a:moveTo>
                  <a:pt x="1007643" y="973914"/>
                </a:moveTo>
                <a:cubicBezTo>
                  <a:pt x="1003646" y="974641"/>
                  <a:pt x="998945" y="984095"/>
                  <a:pt x="1005527" y="1000095"/>
                </a:cubicBezTo>
                <a:cubicBezTo>
                  <a:pt x="1014930" y="981187"/>
                  <a:pt x="1011639" y="973187"/>
                  <a:pt x="1007643" y="973914"/>
                </a:cubicBezTo>
                <a:close/>
                <a:moveTo>
                  <a:pt x="1050102" y="976141"/>
                </a:moveTo>
                <a:cubicBezTo>
                  <a:pt x="1047840" y="977005"/>
                  <a:pt x="1045959" y="979004"/>
                  <a:pt x="1045019" y="982641"/>
                </a:cubicBezTo>
                <a:cubicBezTo>
                  <a:pt x="1052541" y="988459"/>
                  <a:pt x="1060064" y="988459"/>
                  <a:pt x="1065705" y="985550"/>
                </a:cubicBezTo>
                <a:cubicBezTo>
                  <a:pt x="1067116" y="981186"/>
                  <a:pt x="1056890" y="973550"/>
                  <a:pt x="1050102" y="976141"/>
                </a:cubicBezTo>
                <a:close/>
                <a:moveTo>
                  <a:pt x="1229121" y="991527"/>
                </a:moveTo>
                <a:lnTo>
                  <a:pt x="1219914" y="999004"/>
                </a:lnTo>
                <a:lnTo>
                  <a:pt x="1210522" y="991374"/>
                </a:lnTo>
                <a:lnTo>
                  <a:pt x="1210747" y="991368"/>
                </a:lnTo>
                <a:close/>
                <a:moveTo>
                  <a:pt x="1028094" y="968096"/>
                </a:moveTo>
                <a:cubicBezTo>
                  <a:pt x="1003645" y="1008821"/>
                  <a:pt x="1073228" y="982641"/>
                  <a:pt x="1028094" y="968096"/>
                </a:cubicBezTo>
                <a:close/>
                <a:moveTo>
                  <a:pt x="1187181" y="972005"/>
                </a:moveTo>
                <a:cubicBezTo>
                  <a:pt x="1180657" y="969005"/>
                  <a:pt x="1167259" y="984823"/>
                  <a:pt x="1189824" y="982641"/>
                </a:cubicBezTo>
                <a:cubicBezTo>
                  <a:pt x="1190765" y="976096"/>
                  <a:pt x="1189354" y="973004"/>
                  <a:pt x="1187181" y="972005"/>
                </a:cubicBezTo>
                <a:close/>
                <a:moveTo>
                  <a:pt x="1291376" y="973914"/>
                </a:moveTo>
                <a:cubicBezTo>
                  <a:pt x="1283855" y="971005"/>
                  <a:pt x="1280094" y="985550"/>
                  <a:pt x="1280093" y="988459"/>
                </a:cubicBezTo>
                <a:cubicBezTo>
                  <a:pt x="1291376" y="994276"/>
                  <a:pt x="1291376" y="979731"/>
                  <a:pt x="1291376" y="973914"/>
                </a:cubicBezTo>
                <a:close/>
                <a:moveTo>
                  <a:pt x="1724619" y="1012185"/>
                </a:moveTo>
                <a:cubicBezTo>
                  <a:pt x="1718977" y="1013003"/>
                  <a:pt x="1706988" y="1021184"/>
                  <a:pt x="1701346" y="1014640"/>
                </a:cubicBezTo>
                <a:cubicBezTo>
                  <a:pt x="1697585" y="1032093"/>
                  <a:pt x="1720151" y="1017548"/>
                  <a:pt x="1727675" y="1014640"/>
                </a:cubicBezTo>
                <a:cubicBezTo>
                  <a:pt x="1727674" y="1012458"/>
                  <a:pt x="1726499" y="1011913"/>
                  <a:pt x="1724619" y="1012185"/>
                </a:cubicBezTo>
                <a:close/>
                <a:moveTo>
                  <a:pt x="1798492" y="1001594"/>
                </a:moveTo>
                <a:cubicBezTo>
                  <a:pt x="1796082" y="1002277"/>
                  <a:pt x="1793495" y="1006639"/>
                  <a:pt x="1791615" y="1017548"/>
                </a:cubicBezTo>
                <a:cubicBezTo>
                  <a:pt x="1811362" y="1030638"/>
                  <a:pt x="1805719" y="999550"/>
                  <a:pt x="1798492" y="1001594"/>
                </a:cubicBezTo>
                <a:close/>
                <a:moveTo>
                  <a:pt x="1775776" y="994822"/>
                </a:moveTo>
                <a:cubicBezTo>
                  <a:pt x="1773984" y="995004"/>
                  <a:pt x="1771867" y="996458"/>
                  <a:pt x="1769047" y="1000095"/>
                </a:cubicBezTo>
                <a:cubicBezTo>
                  <a:pt x="1770929" y="1008821"/>
                  <a:pt x="1785972" y="1011731"/>
                  <a:pt x="1793496" y="1003004"/>
                </a:cubicBezTo>
                <a:cubicBezTo>
                  <a:pt x="1783622" y="1005185"/>
                  <a:pt x="1781156" y="994276"/>
                  <a:pt x="1775776" y="994822"/>
                </a:cubicBezTo>
                <a:close/>
                <a:moveTo>
                  <a:pt x="1725794" y="982641"/>
                </a:moveTo>
                <a:cubicBezTo>
                  <a:pt x="1716390" y="988459"/>
                  <a:pt x="1720151" y="994276"/>
                  <a:pt x="1720151" y="1000095"/>
                </a:cubicBezTo>
                <a:cubicBezTo>
                  <a:pt x="1729555" y="1005912"/>
                  <a:pt x="1738958" y="985550"/>
                  <a:pt x="1725794" y="982641"/>
                </a:cubicBezTo>
                <a:close/>
                <a:moveTo>
                  <a:pt x="1282914" y="934280"/>
                </a:moveTo>
                <a:cubicBezTo>
                  <a:pt x="1274452" y="931007"/>
                  <a:pt x="1255647" y="933189"/>
                  <a:pt x="1251884" y="950643"/>
                </a:cubicBezTo>
                <a:cubicBezTo>
                  <a:pt x="1289496" y="946279"/>
                  <a:pt x="1291377" y="937552"/>
                  <a:pt x="1282914" y="934280"/>
                </a:cubicBezTo>
                <a:close/>
                <a:moveTo>
                  <a:pt x="1332750" y="933188"/>
                </a:moveTo>
                <a:cubicBezTo>
                  <a:pt x="1325227" y="936098"/>
                  <a:pt x="1321467" y="953551"/>
                  <a:pt x="1332751" y="959369"/>
                </a:cubicBezTo>
                <a:cubicBezTo>
                  <a:pt x="1340272" y="950643"/>
                  <a:pt x="1340272" y="941915"/>
                  <a:pt x="1332750" y="933188"/>
                </a:cubicBezTo>
                <a:close/>
                <a:moveTo>
                  <a:pt x="1714012" y="966231"/>
                </a:moveTo>
                <a:lnTo>
                  <a:pt x="1712277" y="966414"/>
                </a:lnTo>
                <a:cubicBezTo>
                  <a:pt x="1707811" y="968869"/>
                  <a:pt x="1709456" y="973323"/>
                  <a:pt x="1714393" y="972141"/>
                </a:cubicBezTo>
                <a:lnTo>
                  <a:pt x="1715891" y="971047"/>
                </a:lnTo>
                <a:close/>
                <a:moveTo>
                  <a:pt x="1216153" y="921553"/>
                </a:moveTo>
                <a:cubicBezTo>
                  <a:pt x="1210512" y="918644"/>
                  <a:pt x="1204400" y="918644"/>
                  <a:pt x="1198286" y="920098"/>
                </a:cubicBezTo>
                <a:cubicBezTo>
                  <a:pt x="1192175" y="921553"/>
                  <a:pt x="1186064" y="924462"/>
                  <a:pt x="1180423" y="927370"/>
                </a:cubicBezTo>
                <a:cubicBezTo>
                  <a:pt x="1193586" y="924462"/>
                  <a:pt x="1204870" y="927370"/>
                  <a:pt x="1216153" y="921553"/>
                </a:cubicBezTo>
                <a:close/>
                <a:moveTo>
                  <a:pt x="1767166" y="968096"/>
                </a:moveTo>
                <a:cubicBezTo>
                  <a:pt x="1823585" y="1020457"/>
                  <a:pt x="1769047" y="968096"/>
                  <a:pt x="1767166" y="968096"/>
                </a:cubicBezTo>
                <a:close/>
                <a:moveTo>
                  <a:pt x="1823585" y="953551"/>
                </a:moveTo>
                <a:cubicBezTo>
                  <a:pt x="1816062" y="950643"/>
                  <a:pt x="1808540" y="956460"/>
                  <a:pt x="1802898" y="956460"/>
                </a:cubicBezTo>
                <a:cubicBezTo>
                  <a:pt x="1801018" y="968096"/>
                  <a:pt x="1817943" y="962278"/>
                  <a:pt x="1823585" y="953551"/>
                </a:cubicBezTo>
                <a:close/>
                <a:moveTo>
                  <a:pt x="2028246" y="966960"/>
                </a:moveTo>
                <a:cubicBezTo>
                  <a:pt x="2022694" y="965188"/>
                  <a:pt x="2037502" y="976096"/>
                  <a:pt x="2041733" y="973914"/>
                </a:cubicBezTo>
                <a:cubicBezTo>
                  <a:pt x="2034211" y="969550"/>
                  <a:pt x="2030098" y="967551"/>
                  <a:pt x="2028246" y="966960"/>
                </a:cubicBezTo>
                <a:close/>
                <a:moveTo>
                  <a:pt x="1885644" y="941915"/>
                </a:moveTo>
                <a:cubicBezTo>
                  <a:pt x="1881883" y="939007"/>
                  <a:pt x="1878592" y="939734"/>
                  <a:pt x="1875301" y="941189"/>
                </a:cubicBezTo>
                <a:cubicBezTo>
                  <a:pt x="1872010" y="942642"/>
                  <a:pt x="1868719" y="944824"/>
                  <a:pt x="1864958" y="944824"/>
                </a:cubicBezTo>
                <a:cubicBezTo>
                  <a:pt x="1863078" y="956460"/>
                  <a:pt x="1880003" y="944824"/>
                  <a:pt x="1885644" y="941915"/>
                </a:cubicBezTo>
                <a:close/>
                <a:moveTo>
                  <a:pt x="1994543" y="951234"/>
                </a:moveTo>
                <a:cubicBezTo>
                  <a:pt x="1992251" y="952461"/>
                  <a:pt x="1988608" y="955734"/>
                  <a:pt x="1983435" y="962278"/>
                </a:cubicBezTo>
                <a:cubicBezTo>
                  <a:pt x="1996130" y="962278"/>
                  <a:pt x="2001417" y="947552"/>
                  <a:pt x="1994543" y="951234"/>
                </a:cubicBezTo>
                <a:close/>
                <a:moveTo>
                  <a:pt x="1939521" y="943536"/>
                </a:moveTo>
                <a:lnTo>
                  <a:pt x="1939241" y="944006"/>
                </a:lnTo>
                <a:lnTo>
                  <a:pt x="1939224" y="944750"/>
                </a:lnTo>
                <a:lnTo>
                  <a:pt x="1938301" y="944824"/>
                </a:lnTo>
                <a:close/>
                <a:moveTo>
                  <a:pt x="1972057" y="935160"/>
                </a:moveTo>
                <a:cubicBezTo>
                  <a:pt x="1967335" y="932859"/>
                  <a:pt x="1957115" y="931553"/>
                  <a:pt x="1949144" y="933371"/>
                </a:cubicBezTo>
                <a:lnTo>
                  <a:pt x="1939521" y="943536"/>
                </a:lnTo>
                <a:lnTo>
                  <a:pt x="1943942" y="936098"/>
                </a:lnTo>
                <a:cubicBezTo>
                  <a:pt x="1942061" y="924462"/>
                  <a:pt x="1838629" y="968096"/>
                  <a:pt x="1810421" y="1000095"/>
                </a:cubicBezTo>
                <a:cubicBezTo>
                  <a:pt x="1810421" y="1000095"/>
                  <a:pt x="1958987" y="950643"/>
                  <a:pt x="1930779" y="971005"/>
                </a:cubicBezTo>
                <a:cubicBezTo>
                  <a:pt x="1938302" y="988459"/>
                  <a:pt x="1938772" y="978277"/>
                  <a:pt x="1938771" y="964460"/>
                </a:cubicBezTo>
                <a:lnTo>
                  <a:pt x="1939224" y="944750"/>
                </a:lnTo>
                <a:lnTo>
                  <a:pt x="1961981" y="942915"/>
                </a:lnTo>
                <a:cubicBezTo>
                  <a:pt x="1976003" y="940756"/>
                  <a:pt x="1976779" y="937461"/>
                  <a:pt x="1972057" y="935160"/>
                </a:cubicBezTo>
                <a:close/>
                <a:moveTo>
                  <a:pt x="2002654" y="923007"/>
                </a:moveTo>
                <a:cubicBezTo>
                  <a:pt x="1998011" y="922644"/>
                  <a:pt x="1990017" y="925917"/>
                  <a:pt x="1977794" y="936098"/>
                </a:cubicBezTo>
                <a:cubicBezTo>
                  <a:pt x="2000361" y="957915"/>
                  <a:pt x="2016581" y="924098"/>
                  <a:pt x="2002654" y="923007"/>
                </a:cubicBezTo>
                <a:close/>
                <a:moveTo>
                  <a:pt x="2106497" y="924734"/>
                </a:moveTo>
                <a:cubicBezTo>
                  <a:pt x="2080758" y="928825"/>
                  <a:pt x="2041265" y="948461"/>
                  <a:pt x="2022927" y="941915"/>
                </a:cubicBezTo>
                <a:cubicBezTo>
                  <a:pt x="2017286" y="933189"/>
                  <a:pt x="2130122" y="976823"/>
                  <a:pt x="2126362" y="927370"/>
                </a:cubicBezTo>
                <a:cubicBezTo>
                  <a:pt x="2122130" y="923734"/>
                  <a:pt x="2115079" y="923370"/>
                  <a:pt x="2106497" y="924734"/>
                </a:cubicBezTo>
                <a:close/>
                <a:moveTo>
                  <a:pt x="2111315" y="915734"/>
                </a:moveTo>
                <a:cubicBezTo>
                  <a:pt x="2051137" y="912825"/>
                  <a:pt x="2094391" y="933189"/>
                  <a:pt x="2111315" y="915734"/>
                </a:cubicBezTo>
                <a:close/>
                <a:moveTo>
                  <a:pt x="9707034" y="1546979"/>
                </a:moveTo>
                <a:cubicBezTo>
                  <a:pt x="9703272" y="1549888"/>
                  <a:pt x="9699511" y="1549888"/>
                  <a:pt x="9697631" y="1552796"/>
                </a:cubicBezTo>
                <a:cubicBezTo>
                  <a:pt x="9669422" y="1552796"/>
                  <a:pt x="9708914" y="1564432"/>
                  <a:pt x="9707034" y="1546979"/>
                </a:cubicBezTo>
                <a:close/>
                <a:moveTo>
                  <a:pt x="9891332" y="1543706"/>
                </a:moveTo>
                <a:cubicBezTo>
                  <a:pt x="9874877" y="1546252"/>
                  <a:pt x="9841496" y="1558615"/>
                  <a:pt x="9840555" y="1573160"/>
                </a:cubicBezTo>
                <a:cubicBezTo>
                  <a:pt x="9907317" y="1548434"/>
                  <a:pt x="9907787" y="1541162"/>
                  <a:pt x="9891332" y="1543706"/>
                </a:cubicBezTo>
                <a:close/>
                <a:moveTo>
                  <a:pt x="2079788" y="847375"/>
                </a:moveTo>
                <a:cubicBezTo>
                  <a:pt x="2071590" y="846829"/>
                  <a:pt x="2056778" y="856101"/>
                  <a:pt x="2056778" y="860464"/>
                </a:cubicBezTo>
                <a:cubicBezTo>
                  <a:pt x="2066181" y="857556"/>
                  <a:pt x="2075584" y="857556"/>
                  <a:pt x="2084989" y="851737"/>
                </a:cubicBezTo>
                <a:cubicBezTo>
                  <a:pt x="2084518" y="848828"/>
                  <a:pt x="2082521" y="847556"/>
                  <a:pt x="2079788" y="847375"/>
                </a:cubicBezTo>
                <a:close/>
                <a:moveTo>
                  <a:pt x="10310705" y="1578977"/>
                </a:moveTo>
                <a:lnTo>
                  <a:pt x="10311747" y="1582447"/>
                </a:lnTo>
                <a:lnTo>
                  <a:pt x="10309499" y="1582386"/>
                </a:lnTo>
                <a:lnTo>
                  <a:pt x="10308314" y="1581373"/>
                </a:lnTo>
                <a:close/>
                <a:moveTo>
                  <a:pt x="10352460" y="1580841"/>
                </a:moveTo>
                <a:cubicBezTo>
                  <a:pt x="10359012" y="1580977"/>
                  <a:pt x="10364772" y="1582614"/>
                  <a:pt x="10369004" y="1587704"/>
                </a:cubicBezTo>
                <a:cubicBezTo>
                  <a:pt x="10339384" y="1600795"/>
                  <a:pt x="10324574" y="1610612"/>
                  <a:pt x="10316641" y="1598748"/>
                </a:cubicBezTo>
                <a:lnTo>
                  <a:pt x="10311747" y="1582447"/>
                </a:lnTo>
                <a:lnTo>
                  <a:pt x="10331155" y="1582977"/>
                </a:lnTo>
                <a:cubicBezTo>
                  <a:pt x="10338561" y="1582069"/>
                  <a:pt x="10345907" y="1580705"/>
                  <a:pt x="10352460" y="1580841"/>
                </a:cubicBezTo>
                <a:close/>
                <a:moveTo>
                  <a:pt x="9739004" y="1517889"/>
                </a:moveTo>
                <a:cubicBezTo>
                  <a:pt x="9729601" y="1517889"/>
                  <a:pt x="9714557" y="1517889"/>
                  <a:pt x="9712676" y="1535343"/>
                </a:cubicBezTo>
                <a:cubicBezTo>
                  <a:pt x="9723959" y="1532434"/>
                  <a:pt x="9739004" y="1532434"/>
                  <a:pt x="9739004" y="1517889"/>
                </a:cubicBezTo>
                <a:close/>
                <a:moveTo>
                  <a:pt x="10364950" y="1566712"/>
                </a:moveTo>
                <a:lnTo>
                  <a:pt x="10365007" y="1566979"/>
                </a:lnTo>
                <a:cubicBezTo>
                  <a:pt x="10364889" y="1574069"/>
                  <a:pt x="10361892" y="1577797"/>
                  <a:pt x="10353163" y="1572478"/>
                </a:cubicBezTo>
                <a:lnTo>
                  <a:pt x="10347212" y="1567290"/>
                </a:lnTo>
                <a:lnTo>
                  <a:pt x="10350902" y="1567341"/>
                </a:lnTo>
                <a:close/>
                <a:moveTo>
                  <a:pt x="10344059" y="1561263"/>
                </a:moveTo>
                <a:lnTo>
                  <a:pt x="10341053" y="1561917"/>
                </a:lnTo>
                <a:lnTo>
                  <a:pt x="10340744" y="1561650"/>
                </a:lnTo>
                <a:lnTo>
                  <a:pt x="10342587" y="1561433"/>
                </a:lnTo>
                <a:cubicBezTo>
                  <a:pt x="10345040" y="1561024"/>
                  <a:pt x="10345885" y="1560865"/>
                  <a:pt x="10344059" y="1561263"/>
                </a:cubicBezTo>
                <a:close/>
                <a:moveTo>
                  <a:pt x="10339830" y="1560851"/>
                </a:moveTo>
                <a:lnTo>
                  <a:pt x="10340744" y="1561650"/>
                </a:lnTo>
                <a:lnTo>
                  <a:pt x="10335884" y="1562221"/>
                </a:lnTo>
                <a:close/>
                <a:moveTo>
                  <a:pt x="1830789" y="800135"/>
                </a:moveTo>
                <a:lnTo>
                  <a:pt x="1829197" y="800695"/>
                </a:lnTo>
                <a:cubicBezTo>
                  <a:pt x="1822056" y="803376"/>
                  <a:pt x="1817943" y="805195"/>
                  <a:pt x="1819823" y="805194"/>
                </a:cubicBezTo>
                <a:cubicBezTo>
                  <a:pt x="1818883" y="803013"/>
                  <a:pt x="1821469" y="801558"/>
                  <a:pt x="1825847" y="800604"/>
                </a:cubicBezTo>
                <a:close/>
                <a:moveTo>
                  <a:pt x="10366182" y="1551706"/>
                </a:moveTo>
                <a:cubicBezTo>
                  <a:pt x="10378406" y="1550615"/>
                  <a:pt x="10390630" y="1552798"/>
                  <a:pt x="10402854" y="1558615"/>
                </a:cubicBezTo>
                <a:cubicBezTo>
                  <a:pt x="10403324" y="1562251"/>
                  <a:pt x="10397095" y="1564433"/>
                  <a:pt x="10387369" y="1565705"/>
                </a:cubicBezTo>
                <a:lnTo>
                  <a:pt x="10364950" y="1566712"/>
                </a:lnTo>
                <a:lnTo>
                  <a:pt x="10362076" y="1553132"/>
                </a:lnTo>
                <a:close/>
                <a:moveTo>
                  <a:pt x="10120765" y="1529525"/>
                </a:moveTo>
                <a:cubicBezTo>
                  <a:pt x="10117003" y="1530979"/>
                  <a:pt x="10113242" y="1529525"/>
                  <a:pt x="10110186" y="1529162"/>
                </a:cubicBezTo>
                <a:cubicBezTo>
                  <a:pt x="10107130" y="1528799"/>
                  <a:pt x="10104780" y="1529526"/>
                  <a:pt x="10103836" y="1535343"/>
                </a:cubicBezTo>
                <a:cubicBezTo>
                  <a:pt x="10109482" y="1535343"/>
                  <a:pt x="10120765" y="1541161"/>
                  <a:pt x="10120765" y="1529525"/>
                </a:cubicBezTo>
                <a:close/>
                <a:moveTo>
                  <a:pt x="1911239" y="787423"/>
                </a:moveTo>
                <a:lnTo>
                  <a:pt x="1916126" y="790680"/>
                </a:lnTo>
                <a:lnTo>
                  <a:pt x="1908346" y="795422"/>
                </a:lnTo>
                <a:lnTo>
                  <a:pt x="1907143" y="796441"/>
                </a:lnTo>
                <a:lnTo>
                  <a:pt x="1898807" y="793559"/>
                </a:lnTo>
                <a:cubicBezTo>
                  <a:pt x="1902099" y="787740"/>
                  <a:pt x="1906801" y="786468"/>
                  <a:pt x="1911239" y="787423"/>
                </a:cubicBezTo>
                <a:close/>
                <a:moveTo>
                  <a:pt x="10353959" y="1529525"/>
                </a:moveTo>
                <a:cubicBezTo>
                  <a:pt x="10353959" y="1527343"/>
                  <a:pt x="10356777" y="1533161"/>
                  <a:pt x="10359571" y="1541297"/>
                </a:cubicBezTo>
                <a:lnTo>
                  <a:pt x="10362076" y="1553132"/>
                </a:lnTo>
                <a:lnTo>
                  <a:pt x="10339830" y="1560851"/>
                </a:lnTo>
                <a:lnTo>
                  <a:pt x="10335420" y="1557007"/>
                </a:lnTo>
                <a:lnTo>
                  <a:pt x="10324689" y="1544459"/>
                </a:lnTo>
                <a:close/>
                <a:moveTo>
                  <a:pt x="2004122" y="779014"/>
                </a:moveTo>
                <a:lnTo>
                  <a:pt x="2011200" y="782454"/>
                </a:lnTo>
                <a:lnTo>
                  <a:pt x="2012860" y="781806"/>
                </a:lnTo>
                <a:close/>
                <a:moveTo>
                  <a:pt x="1975120" y="773741"/>
                </a:moveTo>
                <a:cubicBezTo>
                  <a:pt x="1964629" y="776468"/>
                  <a:pt x="1974503" y="803740"/>
                  <a:pt x="1992838" y="781922"/>
                </a:cubicBezTo>
                <a:cubicBezTo>
                  <a:pt x="1984376" y="774650"/>
                  <a:pt x="1978617" y="772832"/>
                  <a:pt x="1975120" y="773741"/>
                </a:cubicBezTo>
                <a:close/>
                <a:moveTo>
                  <a:pt x="1961258" y="770534"/>
                </a:moveTo>
                <a:lnTo>
                  <a:pt x="1943286" y="775954"/>
                </a:lnTo>
                <a:lnTo>
                  <a:pt x="1944854" y="771105"/>
                </a:lnTo>
                <a:close/>
                <a:moveTo>
                  <a:pt x="2077465" y="741198"/>
                </a:moveTo>
                <a:cubicBezTo>
                  <a:pt x="2076995" y="747743"/>
                  <a:pt x="2081344" y="751197"/>
                  <a:pt x="2086986" y="752652"/>
                </a:cubicBezTo>
                <a:lnTo>
                  <a:pt x="2087655" y="752632"/>
                </a:lnTo>
                <a:lnTo>
                  <a:pt x="2105475" y="745680"/>
                </a:lnTo>
                <a:close/>
                <a:moveTo>
                  <a:pt x="10231955" y="1454483"/>
                </a:moveTo>
                <a:cubicBezTo>
                  <a:pt x="10230427" y="1455710"/>
                  <a:pt x="10229369" y="1458983"/>
                  <a:pt x="10229839" y="1465528"/>
                </a:cubicBezTo>
                <a:cubicBezTo>
                  <a:pt x="10245354" y="1465528"/>
                  <a:pt x="10236539" y="1450802"/>
                  <a:pt x="10231955" y="1454483"/>
                </a:cubicBezTo>
                <a:close/>
                <a:moveTo>
                  <a:pt x="10222317" y="1427712"/>
                </a:moveTo>
                <a:lnTo>
                  <a:pt x="10222870" y="1428200"/>
                </a:lnTo>
                <a:lnTo>
                  <a:pt x="10222719" y="1428244"/>
                </a:lnTo>
                <a:close/>
                <a:moveTo>
                  <a:pt x="10237191" y="1424063"/>
                </a:moveTo>
                <a:lnTo>
                  <a:pt x="10232189" y="1436439"/>
                </a:lnTo>
                <a:lnTo>
                  <a:pt x="10222870" y="1428200"/>
                </a:lnTo>
                <a:lnTo>
                  <a:pt x="10237032" y="1424098"/>
                </a:lnTo>
                <a:close/>
                <a:moveTo>
                  <a:pt x="10141065" y="1415258"/>
                </a:moveTo>
                <a:lnTo>
                  <a:pt x="10145786" y="1416556"/>
                </a:lnTo>
                <a:lnTo>
                  <a:pt x="10146079" y="1417951"/>
                </a:lnTo>
                <a:lnTo>
                  <a:pt x="10143432" y="1423104"/>
                </a:lnTo>
                <a:lnTo>
                  <a:pt x="10135765" y="1425927"/>
                </a:lnTo>
                <a:cubicBezTo>
                  <a:pt x="10122939" y="1429303"/>
                  <a:pt x="10126642" y="1423167"/>
                  <a:pt x="10132988" y="1418258"/>
                </a:cubicBezTo>
                <a:lnTo>
                  <a:pt x="10139793" y="1415447"/>
                </a:lnTo>
                <a:close/>
                <a:moveTo>
                  <a:pt x="10239242" y="1418985"/>
                </a:moveTo>
                <a:lnTo>
                  <a:pt x="10242857" y="1422798"/>
                </a:lnTo>
                <a:lnTo>
                  <a:pt x="10237191" y="1424063"/>
                </a:lnTo>
                <a:close/>
                <a:moveTo>
                  <a:pt x="10259929" y="1418985"/>
                </a:moveTo>
                <a:cubicBezTo>
                  <a:pt x="10256169" y="1426258"/>
                  <a:pt x="10252877" y="1429893"/>
                  <a:pt x="10249586" y="1429894"/>
                </a:cubicBezTo>
                <a:lnTo>
                  <a:pt x="10242857" y="1422798"/>
                </a:lnTo>
                <a:close/>
                <a:moveTo>
                  <a:pt x="10188936" y="1403759"/>
                </a:moveTo>
                <a:cubicBezTo>
                  <a:pt x="10184705" y="1402803"/>
                  <a:pt x="10201630" y="1421893"/>
                  <a:pt x="10201630" y="1413167"/>
                </a:cubicBezTo>
                <a:cubicBezTo>
                  <a:pt x="10194107" y="1406622"/>
                  <a:pt x="10190347" y="1404076"/>
                  <a:pt x="10188936" y="1403759"/>
                </a:cubicBezTo>
                <a:close/>
                <a:moveTo>
                  <a:pt x="10205391" y="1392804"/>
                </a:moveTo>
                <a:cubicBezTo>
                  <a:pt x="10201630" y="1398622"/>
                  <a:pt x="10201628" y="1416076"/>
                  <a:pt x="10209152" y="1416076"/>
                </a:cubicBezTo>
                <a:cubicBezTo>
                  <a:pt x="10207272" y="1404440"/>
                  <a:pt x="10214795" y="1395712"/>
                  <a:pt x="10205391" y="1392804"/>
                </a:cubicBezTo>
                <a:close/>
                <a:moveTo>
                  <a:pt x="10577749" y="1389895"/>
                </a:moveTo>
                <a:cubicBezTo>
                  <a:pt x="10549540" y="1395712"/>
                  <a:pt x="10525093" y="1401531"/>
                  <a:pt x="10500644" y="1407349"/>
                </a:cubicBezTo>
                <a:cubicBezTo>
                  <a:pt x="10497823" y="1407349"/>
                  <a:pt x="10430122" y="1429166"/>
                  <a:pt x="10362186" y="1442620"/>
                </a:cubicBezTo>
                <a:lnTo>
                  <a:pt x="10331135" y="1445968"/>
                </a:lnTo>
                <a:lnTo>
                  <a:pt x="10357745" y="1434910"/>
                </a:lnTo>
                <a:lnTo>
                  <a:pt x="10479508" y="1402943"/>
                </a:lnTo>
                <a:lnTo>
                  <a:pt x="10497324" y="1401167"/>
                </a:lnTo>
                <a:cubicBezTo>
                  <a:pt x="10522271" y="1398440"/>
                  <a:pt x="10549070" y="1394986"/>
                  <a:pt x="10577749" y="1389895"/>
                </a:cubicBezTo>
                <a:close/>
                <a:moveTo>
                  <a:pt x="10651092" y="1381169"/>
                </a:moveTo>
                <a:cubicBezTo>
                  <a:pt x="10636048" y="1407349"/>
                  <a:pt x="10600316" y="1389895"/>
                  <a:pt x="10575869" y="1398621"/>
                </a:cubicBezTo>
                <a:cubicBezTo>
                  <a:pt x="10590914" y="1378260"/>
                  <a:pt x="10632286" y="1384077"/>
                  <a:pt x="10651092" y="1381169"/>
                </a:cubicBezTo>
                <a:close/>
                <a:moveTo>
                  <a:pt x="10745592" y="1379714"/>
                </a:moveTo>
                <a:cubicBezTo>
                  <a:pt x="10748883" y="1378987"/>
                  <a:pt x="10752644" y="1379714"/>
                  <a:pt x="10754525" y="1381169"/>
                </a:cubicBezTo>
                <a:cubicBezTo>
                  <a:pt x="10756405" y="1395712"/>
                  <a:pt x="10743241" y="1384077"/>
                  <a:pt x="10739481" y="1386986"/>
                </a:cubicBezTo>
                <a:cubicBezTo>
                  <a:pt x="10739481" y="1382623"/>
                  <a:pt x="10742302" y="1380441"/>
                  <a:pt x="10745592" y="1379714"/>
                </a:cubicBezTo>
                <a:close/>
                <a:moveTo>
                  <a:pt x="10743828" y="1357771"/>
                </a:moveTo>
                <a:lnTo>
                  <a:pt x="10743714" y="1357820"/>
                </a:lnTo>
                <a:cubicBezTo>
                  <a:pt x="10736498" y="1362306"/>
                  <a:pt x="10731841" y="1367169"/>
                  <a:pt x="10730078" y="1372441"/>
                </a:cubicBezTo>
                <a:cubicBezTo>
                  <a:pt x="10730547" y="1378259"/>
                  <a:pt x="10726198" y="1376259"/>
                  <a:pt x="10720674" y="1371032"/>
                </a:cubicBezTo>
                <a:lnTo>
                  <a:pt x="10712794" y="1361085"/>
                </a:lnTo>
                <a:lnTo>
                  <a:pt x="10726129" y="1359085"/>
                </a:lnTo>
                <a:lnTo>
                  <a:pt x="10729456" y="1358838"/>
                </a:lnTo>
                <a:lnTo>
                  <a:pt x="10737599" y="1360805"/>
                </a:lnTo>
                <a:lnTo>
                  <a:pt x="10734503" y="1358463"/>
                </a:lnTo>
                <a:close/>
                <a:moveTo>
                  <a:pt x="10713377" y="1342698"/>
                </a:moveTo>
                <a:lnTo>
                  <a:pt x="10714136" y="1343051"/>
                </a:lnTo>
                <a:lnTo>
                  <a:pt x="10734503" y="1358463"/>
                </a:lnTo>
                <a:lnTo>
                  <a:pt x="10729456" y="1358838"/>
                </a:lnTo>
                <a:lnTo>
                  <a:pt x="10706647" y="1353324"/>
                </a:lnTo>
                <a:lnTo>
                  <a:pt x="10704219" y="1350260"/>
                </a:lnTo>
                <a:lnTo>
                  <a:pt x="10701370" y="1343888"/>
                </a:lnTo>
                <a:close/>
                <a:moveTo>
                  <a:pt x="2881537" y="641928"/>
                </a:moveTo>
                <a:cubicBezTo>
                  <a:pt x="2872018" y="644655"/>
                  <a:pt x="2880480" y="660474"/>
                  <a:pt x="2897403" y="645202"/>
                </a:cubicBezTo>
                <a:cubicBezTo>
                  <a:pt x="2889883" y="641565"/>
                  <a:pt x="2884713" y="641020"/>
                  <a:pt x="2881537" y="641928"/>
                </a:cubicBezTo>
                <a:close/>
                <a:moveTo>
                  <a:pt x="2801330" y="631458"/>
                </a:moveTo>
                <a:lnTo>
                  <a:pt x="2803376" y="633566"/>
                </a:lnTo>
                <a:lnTo>
                  <a:pt x="2801366" y="634561"/>
                </a:lnTo>
                <a:lnTo>
                  <a:pt x="2801127" y="631572"/>
                </a:lnTo>
                <a:close/>
                <a:moveTo>
                  <a:pt x="11039633" y="1341595"/>
                </a:moveTo>
                <a:lnTo>
                  <a:pt x="10913670" y="1345171"/>
                </a:lnTo>
                <a:lnTo>
                  <a:pt x="10743828" y="1357771"/>
                </a:lnTo>
                <a:lnTo>
                  <a:pt x="10772700" y="1345465"/>
                </a:lnTo>
                <a:lnTo>
                  <a:pt x="10816609" y="1336928"/>
                </a:lnTo>
                <a:lnTo>
                  <a:pt x="10862571" y="1336489"/>
                </a:lnTo>
                <a:close/>
                <a:moveTo>
                  <a:pt x="2951679" y="603931"/>
                </a:moveTo>
                <a:lnTo>
                  <a:pt x="2945439" y="609465"/>
                </a:lnTo>
                <a:lnTo>
                  <a:pt x="2934076" y="610294"/>
                </a:lnTo>
                <a:cubicBezTo>
                  <a:pt x="2930785" y="613931"/>
                  <a:pt x="2936896" y="621930"/>
                  <a:pt x="2938778" y="624839"/>
                </a:cubicBezTo>
                <a:cubicBezTo>
                  <a:pt x="2940894" y="617931"/>
                  <a:pt x="2943039" y="613021"/>
                  <a:pt x="2945195" y="609681"/>
                </a:cubicBezTo>
                <a:lnTo>
                  <a:pt x="2945439" y="609465"/>
                </a:lnTo>
                <a:lnTo>
                  <a:pt x="2947769" y="609294"/>
                </a:lnTo>
                <a:lnTo>
                  <a:pt x="2970247" y="616765"/>
                </a:lnTo>
                <a:lnTo>
                  <a:pt x="2976068" y="623202"/>
                </a:lnTo>
                <a:cubicBezTo>
                  <a:pt x="2979682" y="626294"/>
                  <a:pt x="2982972" y="627021"/>
                  <a:pt x="2985791" y="621930"/>
                </a:cubicBezTo>
                <a:lnTo>
                  <a:pt x="2970247" y="616765"/>
                </a:lnTo>
                <a:lnTo>
                  <a:pt x="2964403" y="610294"/>
                </a:lnTo>
                <a:cubicBezTo>
                  <a:pt x="2960289" y="605931"/>
                  <a:pt x="2955998" y="602659"/>
                  <a:pt x="2951679" y="603931"/>
                </a:cubicBezTo>
                <a:close/>
                <a:moveTo>
                  <a:pt x="11198517" y="1337087"/>
                </a:moveTo>
                <a:lnTo>
                  <a:pt x="11161839" y="1340835"/>
                </a:lnTo>
                <a:cubicBezTo>
                  <a:pt x="11129336" y="1342465"/>
                  <a:pt x="11096147" y="1342716"/>
                  <a:pt x="11062707" y="1342261"/>
                </a:cubicBezTo>
                <a:lnTo>
                  <a:pt x="11039633" y="1341595"/>
                </a:lnTo>
                <a:close/>
                <a:moveTo>
                  <a:pt x="2951944" y="598659"/>
                </a:moveTo>
                <a:cubicBezTo>
                  <a:pt x="2940658" y="592840"/>
                  <a:pt x="2929375" y="604476"/>
                  <a:pt x="2916211" y="610294"/>
                </a:cubicBezTo>
                <a:cubicBezTo>
                  <a:pt x="2929374" y="610294"/>
                  <a:pt x="2940659" y="607385"/>
                  <a:pt x="2951944" y="598659"/>
                </a:cubicBezTo>
                <a:close/>
                <a:moveTo>
                  <a:pt x="3040330" y="604476"/>
                </a:moveTo>
                <a:cubicBezTo>
                  <a:pt x="3032807" y="613202"/>
                  <a:pt x="3049730" y="613202"/>
                  <a:pt x="3057254" y="610294"/>
                </a:cubicBezTo>
                <a:cubicBezTo>
                  <a:pt x="3051612" y="598659"/>
                  <a:pt x="3045973" y="613202"/>
                  <a:pt x="3040330" y="604476"/>
                </a:cubicBezTo>
                <a:close/>
                <a:moveTo>
                  <a:pt x="2993316" y="584114"/>
                </a:moveTo>
                <a:cubicBezTo>
                  <a:pt x="2951943" y="613202"/>
                  <a:pt x="3017763" y="610294"/>
                  <a:pt x="2993316" y="584114"/>
                </a:cubicBezTo>
                <a:close/>
                <a:moveTo>
                  <a:pt x="3110618" y="585205"/>
                </a:moveTo>
                <a:lnTo>
                  <a:pt x="3112884" y="589680"/>
                </a:lnTo>
                <a:lnTo>
                  <a:pt x="3107341" y="593704"/>
                </a:lnTo>
                <a:lnTo>
                  <a:pt x="3098104" y="595488"/>
                </a:lnTo>
                <a:lnTo>
                  <a:pt x="3097196" y="595407"/>
                </a:lnTo>
                <a:close/>
                <a:moveTo>
                  <a:pt x="3190218" y="580886"/>
                </a:moveTo>
                <a:lnTo>
                  <a:pt x="3201037" y="585140"/>
                </a:lnTo>
                <a:lnTo>
                  <a:pt x="3188895" y="587022"/>
                </a:lnTo>
                <a:lnTo>
                  <a:pt x="3189721" y="581855"/>
                </a:lnTo>
                <a:close/>
                <a:moveTo>
                  <a:pt x="3019642" y="555024"/>
                </a:moveTo>
                <a:cubicBezTo>
                  <a:pt x="2991435" y="587022"/>
                  <a:pt x="3034688" y="563750"/>
                  <a:pt x="3019642" y="555024"/>
                </a:cubicBezTo>
                <a:close/>
                <a:moveTo>
                  <a:pt x="3305448" y="571637"/>
                </a:moveTo>
                <a:lnTo>
                  <a:pt x="3303496" y="575205"/>
                </a:lnTo>
                <a:lnTo>
                  <a:pt x="3304932" y="577426"/>
                </a:lnTo>
                <a:close/>
                <a:moveTo>
                  <a:pt x="11660972" y="1305535"/>
                </a:moveTo>
                <a:cubicBezTo>
                  <a:pt x="11539204" y="1323716"/>
                  <a:pt x="11415085" y="1330624"/>
                  <a:pt x="11290054" y="1334488"/>
                </a:cubicBezTo>
                <a:lnTo>
                  <a:pt x="11198517" y="1337087"/>
                </a:lnTo>
                <a:lnTo>
                  <a:pt x="11256849" y="1331125"/>
                </a:lnTo>
                <a:cubicBezTo>
                  <a:pt x="11287541" y="1326057"/>
                  <a:pt x="11317109" y="1318932"/>
                  <a:pt x="11345116" y="1309075"/>
                </a:cubicBezTo>
                <a:lnTo>
                  <a:pt x="11352159" y="1305643"/>
                </a:lnTo>
                <a:lnTo>
                  <a:pt x="11463157" y="1305353"/>
                </a:lnTo>
                <a:cubicBezTo>
                  <a:pt x="11554483" y="1305535"/>
                  <a:pt x="11627591" y="1306262"/>
                  <a:pt x="11660972" y="1305535"/>
                </a:cubicBezTo>
                <a:close/>
                <a:moveTo>
                  <a:pt x="3267440" y="555070"/>
                </a:moveTo>
                <a:cubicBezTo>
                  <a:pt x="3261889" y="561751"/>
                  <a:pt x="3298911" y="588478"/>
                  <a:pt x="3290447" y="557933"/>
                </a:cubicBezTo>
                <a:cubicBezTo>
                  <a:pt x="3275874" y="552842"/>
                  <a:pt x="3269291" y="552842"/>
                  <a:pt x="3267440" y="555070"/>
                </a:cubicBezTo>
                <a:close/>
                <a:moveTo>
                  <a:pt x="3307981" y="543212"/>
                </a:moveTo>
                <a:lnTo>
                  <a:pt x="3300498" y="544922"/>
                </a:lnTo>
                <a:cubicBezTo>
                  <a:pt x="3299439" y="545587"/>
                  <a:pt x="3300101" y="546021"/>
                  <a:pt x="3303673" y="545881"/>
                </a:cubicBezTo>
                <a:lnTo>
                  <a:pt x="3307787" y="545383"/>
                </a:lnTo>
                <a:close/>
                <a:moveTo>
                  <a:pt x="3460497" y="525571"/>
                </a:moveTo>
                <a:lnTo>
                  <a:pt x="3460269" y="531400"/>
                </a:lnTo>
                <a:lnTo>
                  <a:pt x="3473663" y="532593"/>
                </a:lnTo>
                <a:lnTo>
                  <a:pt x="3476626" y="528843"/>
                </a:lnTo>
                <a:cubicBezTo>
                  <a:pt x="3468636" y="523752"/>
                  <a:pt x="3463462" y="523571"/>
                  <a:pt x="3460497" y="525571"/>
                </a:cubicBezTo>
                <a:close/>
                <a:moveTo>
                  <a:pt x="3621955" y="537735"/>
                </a:moveTo>
                <a:cubicBezTo>
                  <a:pt x="3620605" y="538103"/>
                  <a:pt x="3620133" y="541481"/>
                  <a:pt x="3620183" y="545586"/>
                </a:cubicBezTo>
                <a:lnTo>
                  <a:pt x="3620190" y="545651"/>
                </a:lnTo>
                <a:lnTo>
                  <a:pt x="3625049" y="546083"/>
                </a:lnTo>
                <a:lnTo>
                  <a:pt x="3625196" y="540479"/>
                </a:lnTo>
                <a:cubicBezTo>
                  <a:pt x="3623784" y="538297"/>
                  <a:pt x="3622727" y="537524"/>
                  <a:pt x="3621955" y="537735"/>
                </a:cubicBezTo>
                <a:close/>
                <a:moveTo>
                  <a:pt x="3566898" y="517207"/>
                </a:moveTo>
                <a:cubicBezTo>
                  <a:pt x="3555612" y="511389"/>
                  <a:pt x="3546209" y="520117"/>
                  <a:pt x="3536808" y="531752"/>
                </a:cubicBezTo>
                <a:cubicBezTo>
                  <a:pt x="3548088" y="534660"/>
                  <a:pt x="3563134" y="534661"/>
                  <a:pt x="3566898" y="517207"/>
                </a:cubicBezTo>
                <a:close/>
                <a:moveTo>
                  <a:pt x="3763449" y="488618"/>
                </a:moveTo>
                <a:cubicBezTo>
                  <a:pt x="3761185" y="488300"/>
                  <a:pt x="3758716" y="489572"/>
                  <a:pt x="3756837" y="493936"/>
                </a:cubicBezTo>
                <a:cubicBezTo>
                  <a:pt x="3775172" y="504844"/>
                  <a:pt x="3770235" y="489572"/>
                  <a:pt x="3763449" y="488618"/>
                </a:cubicBezTo>
                <a:close/>
                <a:moveTo>
                  <a:pt x="11721150" y="1157179"/>
                </a:moveTo>
                <a:cubicBezTo>
                  <a:pt x="11709867" y="1160088"/>
                  <a:pt x="11709867" y="1162996"/>
                  <a:pt x="11698584" y="1160088"/>
                </a:cubicBezTo>
                <a:cubicBezTo>
                  <a:pt x="11696702" y="1174632"/>
                  <a:pt x="11719270" y="1165905"/>
                  <a:pt x="11721150" y="1157179"/>
                </a:cubicBezTo>
                <a:close/>
                <a:moveTo>
                  <a:pt x="4079230" y="458366"/>
                </a:moveTo>
                <a:lnTo>
                  <a:pt x="4080172" y="458950"/>
                </a:lnTo>
                <a:lnTo>
                  <a:pt x="4077429" y="459091"/>
                </a:lnTo>
                <a:close/>
                <a:moveTo>
                  <a:pt x="11847637" y="1046194"/>
                </a:moveTo>
                <a:cubicBezTo>
                  <a:pt x="11845322" y="1045235"/>
                  <a:pt x="11842441" y="1044979"/>
                  <a:pt x="11839774" y="1046002"/>
                </a:cubicBezTo>
                <a:cubicBezTo>
                  <a:pt x="11836219" y="1047365"/>
                  <a:pt x="11833046" y="1051001"/>
                  <a:pt x="11832105" y="1058273"/>
                </a:cubicBezTo>
                <a:cubicBezTo>
                  <a:pt x="11856435" y="1058273"/>
                  <a:pt x="11854584" y="1049070"/>
                  <a:pt x="11847637" y="1046194"/>
                </a:cubicBezTo>
                <a:close/>
                <a:moveTo>
                  <a:pt x="4604983" y="386304"/>
                </a:moveTo>
                <a:cubicBezTo>
                  <a:pt x="4601223" y="397940"/>
                  <a:pt x="4618146" y="395031"/>
                  <a:pt x="4621910" y="400849"/>
                </a:cubicBezTo>
                <a:cubicBezTo>
                  <a:pt x="4629430" y="386304"/>
                  <a:pt x="4612505" y="395031"/>
                  <a:pt x="4604983" y="386304"/>
                </a:cubicBezTo>
                <a:close/>
                <a:moveTo>
                  <a:pt x="6636025" y="563750"/>
                </a:moveTo>
                <a:cubicBezTo>
                  <a:pt x="6611576" y="578295"/>
                  <a:pt x="6630382" y="572478"/>
                  <a:pt x="6636025" y="563750"/>
                </a:cubicBezTo>
                <a:close/>
                <a:moveTo>
                  <a:pt x="6602172" y="552115"/>
                </a:moveTo>
                <a:cubicBezTo>
                  <a:pt x="6483696" y="601567"/>
                  <a:pt x="6617218" y="566660"/>
                  <a:pt x="6602172" y="552115"/>
                </a:cubicBezTo>
                <a:close/>
                <a:moveTo>
                  <a:pt x="6660472" y="552115"/>
                </a:moveTo>
                <a:cubicBezTo>
                  <a:pt x="6594651" y="589931"/>
                  <a:pt x="6696203" y="543388"/>
                  <a:pt x="6660472" y="552115"/>
                </a:cubicBezTo>
                <a:close/>
                <a:moveTo>
                  <a:pt x="6690561" y="546297"/>
                </a:moveTo>
                <a:cubicBezTo>
                  <a:pt x="6664233" y="569569"/>
                  <a:pt x="6709368" y="555024"/>
                  <a:pt x="6690561" y="546297"/>
                </a:cubicBezTo>
                <a:close/>
                <a:moveTo>
                  <a:pt x="4734743" y="368850"/>
                </a:moveTo>
                <a:cubicBezTo>
                  <a:pt x="4714058" y="424121"/>
                  <a:pt x="4762952" y="383395"/>
                  <a:pt x="4734743" y="368850"/>
                </a:cubicBezTo>
                <a:close/>
                <a:moveTo>
                  <a:pt x="4791161" y="365941"/>
                </a:moveTo>
                <a:cubicBezTo>
                  <a:pt x="4789280" y="386304"/>
                  <a:pt x="4802445" y="365941"/>
                  <a:pt x="4811849" y="374669"/>
                </a:cubicBezTo>
                <a:cubicBezTo>
                  <a:pt x="4813729" y="363033"/>
                  <a:pt x="4796803" y="371759"/>
                  <a:pt x="4791161" y="365941"/>
                </a:cubicBezTo>
                <a:close/>
                <a:moveTo>
                  <a:pt x="6737576" y="523025"/>
                </a:moveTo>
                <a:cubicBezTo>
                  <a:pt x="6707486" y="514298"/>
                  <a:pt x="6677397" y="560841"/>
                  <a:pt x="6737576" y="523025"/>
                </a:cubicBezTo>
                <a:close/>
                <a:moveTo>
                  <a:pt x="6912470" y="525934"/>
                </a:moveTo>
                <a:lnTo>
                  <a:pt x="6905674" y="536447"/>
                </a:lnTo>
                <a:lnTo>
                  <a:pt x="6901187" y="543388"/>
                </a:lnTo>
                <a:cubicBezTo>
                  <a:pt x="6899307" y="546297"/>
                  <a:pt x="6898367" y="547752"/>
                  <a:pt x="6899777" y="545570"/>
                </a:cubicBezTo>
                <a:lnTo>
                  <a:pt x="6905674" y="536447"/>
                </a:lnTo>
                <a:lnTo>
                  <a:pt x="6908240" y="532480"/>
                </a:lnTo>
                <a:cubicBezTo>
                  <a:pt x="6910590" y="528843"/>
                  <a:pt x="6912470" y="525934"/>
                  <a:pt x="6912470" y="525934"/>
                </a:cubicBezTo>
                <a:close/>
                <a:moveTo>
                  <a:pt x="5045652" y="336798"/>
                </a:moveTo>
                <a:lnTo>
                  <a:pt x="5043340" y="339066"/>
                </a:lnTo>
                <a:lnTo>
                  <a:pt x="5042722" y="337216"/>
                </a:lnTo>
                <a:close/>
                <a:moveTo>
                  <a:pt x="11932719" y="947156"/>
                </a:moveTo>
                <a:lnTo>
                  <a:pt x="11935242" y="951838"/>
                </a:lnTo>
                <a:lnTo>
                  <a:pt x="11933655" y="951324"/>
                </a:lnTo>
                <a:lnTo>
                  <a:pt x="11931993" y="947159"/>
                </a:lnTo>
                <a:close/>
                <a:moveTo>
                  <a:pt x="5092321" y="335398"/>
                </a:moveTo>
                <a:cubicBezTo>
                  <a:pt x="5087120" y="333216"/>
                  <a:pt x="5073723" y="344124"/>
                  <a:pt x="5075131" y="348488"/>
                </a:cubicBezTo>
                <a:cubicBezTo>
                  <a:pt x="5084535" y="354305"/>
                  <a:pt x="5082654" y="339760"/>
                  <a:pt x="5093937" y="342669"/>
                </a:cubicBezTo>
                <a:cubicBezTo>
                  <a:pt x="5094877" y="338307"/>
                  <a:pt x="5094054" y="336125"/>
                  <a:pt x="5092321" y="335398"/>
                </a:cubicBezTo>
                <a:close/>
                <a:moveTo>
                  <a:pt x="11945589" y="933371"/>
                </a:moveTo>
                <a:cubicBezTo>
                  <a:pt x="11938359" y="930643"/>
                  <a:pt x="11932718" y="949188"/>
                  <a:pt x="11952464" y="944824"/>
                </a:cubicBezTo>
                <a:cubicBezTo>
                  <a:pt x="11950584" y="937552"/>
                  <a:pt x="11947998" y="934280"/>
                  <a:pt x="11945589" y="933371"/>
                </a:cubicBezTo>
                <a:close/>
                <a:moveTo>
                  <a:pt x="7284830" y="508480"/>
                </a:moveTo>
                <a:cubicBezTo>
                  <a:pt x="7230291" y="505572"/>
                  <a:pt x="7284829" y="540479"/>
                  <a:pt x="7284830" y="508480"/>
                </a:cubicBezTo>
                <a:close/>
                <a:moveTo>
                  <a:pt x="7311422" y="509936"/>
                </a:moveTo>
                <a:cubicBezTo>
                  <a:pt x="7306221" y="507754"/>
                  <a:pt x="7292821" y="518662"/>
                  <a:pt x="7294232" y="523025"/>
                </a:cubicBezTo>
                <a:cubicBezTo>
                  <a:pt x="7303635" y="528843"/>
                  <a:pt x="7301754" y="514298"/>
                  <a:pt x="7313038" y="517207"/>
                </a:cubicBezTo>
                <a:cubicBezTo>
                  <a:pt x="7313978" y="512844"/>
                  <a:pt x="7313156" y="510662"/>
                  <a:pt x="7311422" y="509936"/>
                </a:cubicBezTo>
                <a:close/>
                <a:moveTo>
                  <a:pt x="11345031" y="854647"/>
                </a:moveTo>
                <a:cubicBezTo>
                  <a:pt x="11340800" y="865555"/>
                  <a:pt x="11329163" y="856829"/>
                  <a:pt x="11333923" y="854237"/>
                </a:cubicBezTo>
                <a:cubicBezTo>
                  <a:pt x="11335510" y="853374"/>
                  <a:pt x="11338918" y="853192"/>
                  <a:pt x="11345031" y="854647"/>
                </a:cubicBezTo>
                <a:close/>
                <a:moveTo>
                  <a:pt x="11416494" y="854647"/>
                </a:moveTo>
                <a:cubicBezTo>
                  <a:pt x="11425898" y="860464"/>
                  <a:pt x="11395807" y="872101"/>
                  <a:pt x="11397688" y="857556"/>
                </a:cubicBezTo>
                <a:cubicBezTo>
                  <a:pt x="11401449" y="857556"/>
                  <a:pt x="11412733" y="860464"/>
                  <a:pt x="11416494" y="854647"/>
                </a:cubicBezTo>
                <a:close/>
                <a:moveTo>
                  <a:pt x="5350404" y="295036"/>
                </a:moveTo>
                <a:cubicBezTo>
                  <a:pt x="5354871" y="294672"/>
                  <a:pt x="5359102" y="296127"/>
                  <a:pt x="5362861" y="299036"/>
                </a:cubicBezTo>
                <a:cubicBezTo>
                  <a:pt x="5353458" y="307762"/>
                  <a:pt x="5345938" y="299036"/>
                  <a:pt x="5336534" y="301944"/>
                </a:cubicBezTo>
                <a:cubicBezTo>
                  <a:pt x="5341236" y="297581"/>
                  <a:pt x="5345936" y="295399"/>
                  <a:pt x="5350404" y="295036"/>
                </a:cubicBezTo>
                <a:close/>
                <a:moveTo>
                  <a:pt x="11815180" y="863009"/>
                </a:moveTo>
                <a:cubicBezTo>
                  <a:pt x="11823643" y="861192"/>
                  <a:pt x="11833046" y="863374"/>
                  <a:pt x="11843388" y="869191"/>
                </a:cubicBezTo>
                <a:lnTo>
                  <a:pt x="11801884" y="873508"/>
                </a:lnTo>
                <a:close/>
                <a:moveTo>
                  <a:pt x="7569504" y="469574"/>
                </a:moveTo>
                <a:cubicBezTo>
                  <a:pt x="7573970" y="469210"/>
                  <a:pt x="7578202" y="470665"/>
                  <a:pt x="7581963" y="473573"/>
                </a:cubicBezTo>
                <a:cubicBezTo>
                  <a:pt x="7572560" y="482299"/>
                  <a:pt x="7565037" y="473573"/>
                  <a:pt x="7555634" y="476482"/>
                </a:cubicBezTo>
                <a:cubicBezTo>
                  <a:pt x="7560336" y="472119"/>
                  <a:pt x="7565038" y="469937"/>
                  <a:pt x="7569504" y="469574"/>
                </a:cubicBezTo>
                <a:close/>
                <a:moveTo>
                  <a:pt x="6849472" y="348851"/>
                </a:moveTo>
                <a:cubicBezTo>
                  <a:pt x="6847591" y="350670"/>
                  <a:pt x="6845710" y="354306"/>
                  <a:pt x="6841008" y="357214"/>
                </a:cubicBezTo>
                <a:cubicBezTo>
                  <a:pt x="6848531" y="365941"/>
                  <a:pt x="6857933" y="357214"/>
                  <a:pt x="6857934" y="351397"/>
                </a:cubicBezTo>
                <a:cubicBezTo>
                  <a:pt x="6853233" y="347033"/>
                  <a:pt x="6851353" y="347033"/>
                  <a:pt x="6849472" y="348851"/>
                </a:cubicBezTo>
                <a:close/>
                <a:moveTo>
                  <a:pt x="10895161" y="705801"/>
                </a:moveTo>
                <a:cubicBezTo>
                  <a:pt x="10895518" y="703495"/>
                  <a:pt x="10892998" y="703608"/>
                  <a:pt x="10888782" y="705290"/>
                </a:cubicBezTo>
                <a:cubicBezTo>
                  <a:pt x="10863482" y="715380"/>
                  <a:pt x="10777092" y="781923"/>
                  <a:pt x="10884285" y="720834"/>
                </a:cubicBezTo>
                <a:cubicBezTo>
                  <a:pt x="10891573" y="712834"/>
                  <a:pt x="10894805" y="708107"/>
                  <a:pt x="10895161" y="705801"/>
                </a:cubicBezTo>
                <a:close/>
                <a:moveTo>
                  <a:pt x="10942291" y="704653"/>
                </a:moveTo>
                <a:cubicBezTo>
                  <a:pt x="10913552" y="708471"/>
                  <a:pt x="10863129" y="723743"/>
                  <a:pt x="10957629" y="706289"/>
                </a:cubicBezTo>
                <a:cubicBezTo>
                  <a:pt x="10959040" y="703380"/>
                  <a:pt x="10951869" y="703380"/>
                  <a:pt x="10942291" y="704653"/>
                </a:cubicBezTo>
                <a:close/>
                <a:moveTo>
                  <a:pt x="6833487" y="322307"/>
                </a:moveTo>
                <a:cubicBezTo>
                  <a:pt x="6793994" y="377578"/>
                  <a:pt x="6865457" y="333943"/>
                  <a:pt x="6833487" y="322307"/>
                </a:cubicBezTo>
                <a:close/>
                <a:moveTo>
                  <a:pt x="5777065" y="227766"/>
                </a:moveTo>
                <a:cubicBezTo>
                  <a:pt x="5771425" y="228493"/>
                  <a:pt x="5764370" y="232130"/>
                  <a:pt x="5759667" y="237947"/>
                </a:cubicBezTo>
                <a:cubicBezTo>
                  <a:pt x="5769071" y="243765"/>
                  <a:pt x="5776593" y="229220"/>
                  <a:pt x="5785995" y="235038"/>
                </a:cubicBezTo>
                <a:cubicBezTo>
                  <a:pt x="5786937" y="229220"/>
                  <a:pt x="5782704" y="227038"/>
                  <a:pt x="5777065" y="227766"/>
                </a:cubicBezTo>
                <a:close/>
                <a:moveTo>
                  <a:pt x="5806917" y="220494"/>
                </a:moveTo>
                <a:cubicBezTo>
                  <a:pt x="5801042" y="220494"/>
                  <a:pt x="5795400" y="223403"/>
                  <a:pt x="5789759" y="229220"/>
                </a:cubicBezTo>
                <a:cubicBezTo>
                  <a:pt x="5801040" y="235038"/>
                  <a:pt x="5814205" y="229220"/>
                  <a:pt x="5825490" y="229220"/>
                </a:cubicBezTo>
                <a:cubicBezTo>
                  <a:pt x="5818906" y="223403"/>
                  <a:pt x="5812795" y="220494"/>
                  <a:pt x="5806917" y="220494"/>
                </a:cubicBezTo>
                <a:close/>
                <a:moveTo>
                  <a:pt x="5771186" y="214675"/>
                </a:moveTo>
                <a:cubicBezTo>
                  <a:pt x="5779473" y="213040"/>
                  <a:pt x="5781545" y="215493"/>
                  <a:pt x="5759054" y="225413"/>
                </a:cubicBezTo>
                <a:lnTo>
                  <a:pt x="5749989" y="229037"/>
                </a:lnTo>
                <a:lnTo>
                  <a:pt x="5751763" y="222403"/>
                </a:lnTo>
                <a:cubicBezTo>
                  <a:pt x="5757376" y="218676"/>
                  <a:pt x="5765663" y="215766"/>
                  <a:pt x="5771186" y="214675"/>
                </a:cubicBezTo>
                <a:close/>
                <a:moveTo>
                  <a:pt x="9085262" y="506890"/>
                </a:moveTo>
                <a:cubicBezTo>
                  <a:pt x="9088083" y="508208"/>
                  <a:pt x="9091139" y="511571"/>
                  <a:pt x="9093020" y="514662"/>
                </a:cubicBezTo>
                <a:lnTo>
                  <a:pt x="9093390" y="517884"/>
                </a:lnTo>
                <a:lnTo>
                  <a:pt x="9091106" y="517571"/>
                </a:lnTo>
                <a:lnTo>
                  <a:pt x="9083601" y="508068"/>
                </a:lnTo>
                <a:close/>
                <a:moveTo>
                  <a:pt x="5840533" y="217585"/>
                </a:moveTo>
                <a:cubicBezTo>
                  <a:pt x="5834892" y="216130"/>
                  <a:pt x="5831130" y="216494"/>
                  <a:pt x="5828897" y="217585"/>
                </a:cubicBezTo>
                <a:cubicBezTo>
                  <a:pt x="5822197" y="220856"/>
                  <a:pt x="5829250" y="230675"/>
                  <a:pt x="5840533" y="217585"/>
                </a:cubicBezTo>
                <a:close/>
                <a:moveTo>
                  <a:pt x="9046828" y="503117"/>
                </a:moveTo>
                <a:cubicBezTo>
                  <a:pt x="9042596" y="505572"/>
                  <a:pt x="9052117" y="518662"/>
                  <a:pt x="9056349" y="505572"/>
                </a:cubicBezTo>
                <a:cubicBezTo>
                  <a:pt x="9051176" y="502662"/>
                  <a:pt x="9048239" y="502299"/>
                  <a:pt x="9046828" y="503117"/>
                </a:cubicBezTo>
                <a:close/>
                <a:moveTo>
                  <a:pt x="7996164" y="402304"/>
                </a:moveTo>
                <a:cubicBezTo>
                  <a:pt x="7990522" y="403031"/>
                  <a:pt x="7983470" y="406668"/>
                  <a:pt x="7978768" y="412485"/>
                </a:cubicBezTo>
                <a:cubicBezTo>
                  <a:pt x="7988172" y="418302"/>
                  <a:pt x="7995693" y="403757"/>
                  <a:pt x="8005096" y="409576"/>
                </a:cubicBezTo>
                <a:cubicBezTo>
                  <a:pt x="8006037" y="403758"/>
                  <a:pt x="8001806" y="401576"/>
                  <a:pt x="7996164" y="402304"/>
                </a:cubicBezTo>
                <a:close/>
                <a:moveTo>
                  <a:pt x="8026019" y="395031"/>
                </a:moveTo>
                <a:cubicBezTo>
                  <a:pt x="8020142" y="395031"/>
                  <a:pt x="8014499" y="397940"/>
                  <a:pt x="8008858" y="403757"/>
                </a:cubicBezTo>
                <a:cubicBezTo>
                  <a:pt x="8020141" y="409576"/>
                  <a:pt x="8033305" y="403757"/>
                  <a:pt x="8044589" y="403757"/>
                </a:cubicBezTo>
                <a:cubicBezTo>
                  <a:pt x="8038007" y="397940"/>
                  <a:pt x="8031895" y="395031"/>
                  <a:pt x="8026019" y="395031"/>
                </a:cubicBezTo>
                <a:close/>
                <a:moveTo>
                  <a:pt x="7986526" y="389213"/>
                </a:moveTo>
                <a:cubicBezTo>
                  <a:pt x="7994812" y="387576"/>
                  <a:pt x="7996883" y="390031"/>
                  <a:pt x="7974394" y="399951"/>
                </a:cubicBezTo>
                <a:lnTo>
                  <a:pt x="7965329" y="403575"/>
                </a:lnTo>
                <a:lnTo>
                  <a:pt x="7967103" y="396940"/>
                </a:lnTo>
                <a:cubicBezTo>
                  <a:pt x="7972715" y="393212"/>
                  <a:pt x="7981002" y="390303"/>
                  <a:pt x="7986526" y="389213"/>
                </a:cubicBezTo>
                <a:close/>
                <a:moveTo>
                  <a:pt x="8059634" y="392121"/>
                </a:moveTo>
                <a:cubicBezTo>
                  <a:pt x="8037067" y="386304"/>
                  <a:pt x="8044589" y="409576"/>
                  <a:pt x="8059634" y="392121"/>
                </a:cubicBezTo>
                <a:close/>
                <a:moveTo>
                  <a:pt x="11200227" y="671382"/>
                </a:moveTo>
                <a:cubicBezTo>
                  <a:pt x="11170136" y="717925"/>
                  <a:pt x="11203987" y="674291"/>
                  <a:pt x="11200227" y="671382"/>
                </a:cubicBezTo>
                <a:close/>
                <a:moveTo>
                  <a:pt x="11009972" y="649672"/>
                </a:moveTo>
                <a:cubicBezTo>
                  <a:pt x="11006054" y="652394"/>
                  <a:pt x="10996005" y="667836"/>
                  <a:pt x="10976435" y="706289"/>
                </a:cubicBezTo>
                <a:cubicBezTo>
                  <a:pt x="10988189" y="717199"/>
                  <a:pt x="11012431" y="661064"/>
                  <a:pt x="11011971" y="650809"/>
                </a:cubicBezTo>
                <a:cubicBezTo>
                  <a:pt x="11011902" y="649271"/>
                  <a:pt x="11011278" y="648765"/>
                  <a:pt x="11009972" y="649672"/>
                </a:cubicBezTo>
                <a:close/>
                <a:moveTo>
                  <a:pt x="9353482" y="479391"/>
                </a:moveTo>
                <a:cubicBezTo>
                  <a:pt x="9298945" y="476482"/>
                  <a:pt x="9353482" y="511389"/>
                  <a:pt x="9353482" y="479391"/>
                </a:cubicBezTo>
                <a:close/>
                <a:moveTo>
                  <a:pt x="9380075" y="480846"/>
                </a:moveTo>
                <a:cubicBezTo>
                  <a:pt x="9374874" y="478664"/>
                  <a:pt x="9361475" y="489572"/>
                  <a:pt x="9362886" y="493936"/>
                </a:cubicBezTo>
                <a:cubicBezTo>
                  <a:pt x="9372288" y="499753"/>
                  <a:pt x="9370407" y="485208"/>
                  <a:pt x="9381691" y="488118"/>
                </a:cubicBezTo>
                <a:cubicBezTo>
                  <a:pt x="9382632" y="483754"/>
                  <a:pt x="9381809" y="481573"/>
                  <a:pt x="9380075" y="480846"/>
                </a:cubicBezTo>
                <a:close/>
                <a:moveTo>
                  <a:pt x="6273069" y="153588"/>
                </a:moveTo>
                <a:lnTo>
                  <a:pt x="6272672" y="154036"/>
                </a:lnTo>
                <a:lnTo>
                  <a:pt x="6271620" y="153887"/>
                </a:lnTo>
                <a:close/>
                <a:moveTo>
                  <a:pt x="9638156" y="440484"/>
                </a:moveTo>
                <a:cubicBezTo>
                  <a:pt x="9642624" y="440120"/>
                  <a:pt x="9646855" y="441575"/>
                  <a:pt x="9650616" y="444483"/>
                </a:cubicBezTo>
                <a:cubicBezTo>
                  <a:pt x="9641213" y="453210"/>
                  <a:pt x="9633690" y="444483"/>
                  <a:pt x="9624288" y="447392"/>
                </a:cubicBezTo>
                <a:cubicBezTo>
                  <a:pt x="9628988" y="443029"/>
                  <a:pt x="9633690" y="440847"/>
                  <a:pt x="9638156" y="440484"/>
                </a:cubicBezTo>
                <a:close/>
                <a:moveTo>
                  <a:pt x="8492170" y="328124"/>
                </a:moveTo>
                <a:lnTo>
                  <a:pt x="8492045" y="328266"/>
                </a:lnTo>
                <a:lnTo>
                  <a:pt x="8491664" y="328229"/>
                </a:lnTo>
                <a:close/>
                <a:moveTo>
                  <a:pt x="6720651" y="113589"/>
                </a:moveTo>
                <a:cubicBezTo>
                  <a:pt x="6716419" y="112862"/>
                  <a:pt x="6711248" y="114317"/>
                  <a:pt x="6709368" y="118679"/>
                </a:cubicBezTo>
                <a:cubicBezTo>
                  <a:pt x="6715009" y="130315"/>
                  <a:pt x="6720650" y="115771"/>
                  <a:pt x="6726293" y="121589"/>
                </a:cubicBezTo>
                <a:cubicBezTo>
                  <a:pt x="6728173" y="117226"/>
                  <a:pt x="6724882" y="114317"/>
                  <a:pt x="6720651" y="113589"/>
                </a:cubicBezTo>
                <a:close/>
                <a:moveTo>
                  <a:pt x="6783356" y="118862"/>
                </a:moveTo>
                <a:cubicBezTo>
                  <a:pt x="6774365" y="119407"/>
                  <a:pt x="6764844" y="128134"/>
                  <a:pt x="6756381" y="130315"/>
                </a:cubicBezTo>
                <a:cubicBezTo>
                  <a:pt x="6767666" y="136133"/>
                  <a:pt x="6780829" y="130315"/>
                  <a:pt x="6792112" y="121589"/>
                </a:cubicBezTo>
                <a:cubicBezTo>
                  <a:pt x="6789292" y="119407"/>
                  <a:pt x="6786353" y="118680"/>
                  <a:pt x="6783356" y="118862"/>
                </a:cubicBezTo>
                <a:close/>
                <a:moveTo>
                  <a:pt x="6829725" y="120134"/>
                </a:moveTo>
                <a:cubicBezTo>
                  <a:pt x="6826434" y="120134"/>
                  <a:pt x="6823142" y="121589"/>
                  <a:pt x="6820322" y="124498"/>
                </a:cubicBezTo>
                <a:cubicBezTo>
                  <a:pt x="6825963" y="133224"/>
                  <a:pt x="6833486" y="130315"/>
                  <a:pt x="6839127" y="124498"/>
                </a:cubicBezTo>
                <a:cubicBezTo>
                  <a:pt x="6836307" y="121588"/>
                  <a:pt x="6833016" y="120134"/>
                  <a:pt x="6829725" y="120134"/>
                </a:cubicBezTo>
                <a:close/>
                <a:moveTo>
                  <a:pt x="7252124" y="152587"/>
                </a:moveTo>
                <a:cubicBezTo>
                  <a:pt x="7245336" y="154496"/>
                  <a:pt x="7238284" y="163769"/>
                  <a:pt x="7239694" y="168133"/>
                </a:cubicBezTo>
                <a:cubicBezTo>
                  <a:pt x="7245337" y="168133"/>
                  <a:pt x="7258501" y="162314"/>
                  <a:pt x="7258501" y="153588"/>
                </a:cubicBezTo>
                <a:cubicBezTo>
                  <a:pt x="7256620" y="152133"/>
                  <a:pt x="7254387" y="151951"/>
                  <a:pt x="7252124" y="152587"/>
                </a:cubicBezTo>
                <a:close/>
                <a:moveTo>
                  <a:pt x="11137226" y="494300"/>
                </a:moveTo>
                <a:cubicBezTo>
                  <a:pt x="11135344" y="496117"/>
                  <a:pt x="11133464" y="499753"/>
                  <a:pt x="11128763" y="502662"/>
                </a:cubicBezTo>
                <a:cubicBezTo>
                  <a:pt x="11136285" y="511389"/>
                  <a:pt x="11145689" y="502662"/>
                  <a:pt x="11145689" y="496844"/>
                </a:cubicBezTo>
                <a:cubicBezTo>
                  <a:pt x="11140987" y="492481"/>
                  <a:pt x="11139106" y="492481"/>
                  <a:pt x="11137226" y="494300"/>
                </a:cubicBezTo>
                <a:close/>
                <a:moveTo>
                  <a:pt x="6447054" y="74636"/>
                </a:moveTo>
                <a:cubicBezTo>
                  <a:pt x="6444438" y="73227"/>
                  <a:pt x="6441852" y="72864"/>
                  <a:pt x="6440442" y="75046"/>
                </a:cubicBezTo>
                <a:cubicBezTo>
                  <a:pt x="6463010" y="92500"/>
                  <a:pt x="6454899" y="78863"/>
                  <a:pt x="6447054" y="74636"/>
                </a:cubicBezTo>
                <a:close/>
                <a:moveTo>
                  <a:pt x="8939752" y="288127"/>
                </a:moveTo>
                <a:cubicBezTo>
                  <a:pt x="8935520" y="287400"/>
                  <a:pt x="8930348" y="288855"/>
                  <a:pt x="8928468" y="293217"/>
                </a:cubicBezTo>
                <a:cubicBezTo>
                  <a:pt x="8934109" y="304853"/>
                  <a:pt x="8939752" y="290308"/>
                  <a:pt x="8945393" y="296127"/>
                </a:cubicBezTo>
                <a:cubicBezTo>
                  <a:pt x="8947273" y="291763"/>
                  <a:pt x="8943982" y="288853"/>
                  <a:pt x="8939752" y="288127"/>
                </a:cubicBezTo>
                <a:close/>
                <a:moveTo>
                  <a:pt x="9002457" y="293399"/>
                </a:moveTo>
                <a:cubicBezTo>
                  <a:pt x="8999460" y="293581"/>
                  <a:pt x="8996403" y="294672"/>
                  <a:pt x="8993348" y="296127"/>
                </a:cubicBezTo>
                <a:cubicBezTo>
                  <a:pt x="8987237" y="299035"/>
                  <a:pt x="8981122" y="303398"/>
                  <a:pt x="8975483" y="304853"/>
                </a:cubicBezTo>
                <a:cubicBezTo>
                  <a:pt x="8986767" y="310671"/>
                  <a:pt x="8999930" y="304853"/>
                  <a:pt x="9011214" y="296127"/>
                </a:cubicBezTo>
                <a:cubicBezTo>
                  <a:pt x="9008393" y="293945"/>
                  <a:pt x="9005454" y="293217"/>
                  <a:pt x="9002457" y="293399"/>
                </a:cubicBezTo>
                <a:close/>
                <a:moveTo>
                  <a:pt x="9048826" y="294672"/>
                </a:moveTo>
                <a:cubicBezTo>
                  <a:pt x="9045535" y="294672"/>
                  <a:pt x="9042243" y="296126"/>
                  <a:pt x="9039423" y="299036"/>
                </a:cubicBezTo>
                <a:cubicBezTo>
                  <a:pt x="9045065" y="307762"/>
                  <a:pt x="9052588" y="304853"/>
                  <a:pt x="9058229" y="299036"/>
                </a:cubicBezTo>
                <a:cubicBezTo>
                  <a:pt x="9055408" y="296127"/>
                  <a:pt x="9052117" y="294672"/>
                  <a:pt x="9048826" y="294672"/>
                </a:cubicBezTo>
                <a:close/>
                <a:moveTo>
                  <a:pt x="9471225" y="327125"/>
                </a:moveTo>
                <a:cubicBezTo>
                  <a:pt x="9464438" y="329034"/>
                  <a:pt x="9457385" y="338306"/>
                  <a:pt x="9458795" y="342669"/>
                </a:cubicBezTo>
                <a:cubicBezTo>
                  <a:pt x="9464437" y="342669"/>
                  <a:pt x="9477601" y="336852"/>
                  <a:pt x="9477601" y="328125"/>
                </a:cubicBezTo>
                <a:cubicBezTo>
                  <a:pt x="9475721" y="326670"/>
                  <a:pt x="9473487" y="326488"/>
                  <a:pt x="9471225" y="327125"/>
                </a:cubicBezTo>
                <a:close/>
                <a:moveTo>
                  <a:pt x="8666155" y="249174"/>
                </a:moveTo>
                <a:cubicBezTo>
                  <a:pt x="8663540" y="247764"/>
                  <a:pt x="8660954" y="247401"/>
                  <a:pt x="8659543" y="249582"/>
                </a:cubicBezTo>
                <a:cubicBezTo>
                  <a:pt x="8682110" y="267037"/>
                  <a:pt x="8674000" y="253401"/>
                  <a:pt x="8666155" y="249174"/>
                </a:cubicBezTo>
                <a:close/>
                <a:moveTo>
                  <a:pt x="11121241" y="467755"/>
                </a:moveTo>
                <a:cubicBezTo>
                  <a:pt x="11081748" y="523025"/>
                  <a:pt x="11153210" y="479391"/>
                  <a:pt x="11121241" y="467755"/>
                </a:cubicBezTo>
                <a:close/>
                <a:moveTo>
                  <a:pt x="10064817" y="373214"/>
                </a:moveTo>
                <a:cubicBezTo>
                  <a:pt x="10059174" y="373941"/>
                  <a:pt x="10052121" y="377578"/>
                  <a:pt x="10047421" y="383395"/>
                </a:cubicBezTo>
                <a:cubicBezTo>
                  <a:pt x="10056824" y="389213"/>
                  <a:pt x="10064347" y="374668"/>
                  <a:pt x="10073750" y="380486"/>
                </a:cubicBezTo>
                <a:cubicBezTo>
                  <a:pt x="10074689" y="374668"/>
                  <a:pt x="10070458" y="372487"/>
                  <a:pt x="10064817" y="373214"/>
                </a:cubicBezTo>
                <a:close/>
                <a:moveTo>
                  <a:pt x="6856053" y="86681"/>
                </a:moveTo>
                <a:cubicBezTo>
                  <a:pt x="6799635" y="153588"/>
                  <a:pt x="6865457" y="89591"/>
                  <a:pt x="6893665" y="118679"/>
                </a:cubicBezTo>
                <a:cubicBezTo>
                  <a:pt x="6919993" y="89591"/>
                  <a:pt x="6861696" y="98317"/>
                  <a:pt x="6856053" y="86681"/>
                </a:cubicBezTo>
                <a:close/>
                <a:moveTo>
                  <a:pt x="10094671" y="365942"/>
                </a:moveTo>
                <a:cubicBezTo>
                  <a:pt x="10088794" y="365942"/>
                  <a:pt x="10083153" y="368851"/>
                  <a:pt x="10077512" y="374668"/>
                </a:cubicBezTo>
                <a:cubicBezTo>
                  <a:pt x="10088794" y="380486"/>
                  <a:pt x="10101959" y="374669"/>
                  <a:pt x="10113242" y="374668"/>
                </a:cubicBezTo>
                <a:cubicBezTo>
                  <a:pt x="10106659" y="368851"/>
                  <a:pt x="10100548" y="365942"/>
                  <a:pt x="10094671" y="365942"/>
                </a:cubicBezTo>
                <a:close/>
                <a:moveTo>
                  <a:pt x="10051417" y="360124"/>
                </a:moveTo>
                <a:cubicBezTo>
                  <a:pt x="10059703" y="358488"/>
                  <a:pt x="10061776" y="360941"/>
                  <a:pt x="10039286" y="370861"/>
                </a:cubicBezTo>
                <a:lnTo>
                  <a:pt x="10030219" y="374485"/>
                </a:lnTo>
                <a:lnTo>
                  <a:pt x="10031994" y="367851"/>
                </a:lnTo>
                <a:cubicBezTo>
                  <a:pt x="10037607" y="364124"/>
                  <a:pt x="10045893" y="361215"/>
                  <a:pt x="10051417" y="360124"/>
                </a:cubicBezTo>
                <a:close/>
                <a:moveTo>
                  <a:pt x="10128288" y="363033"/>
                </a:moveTo>
                <a:cubicBezTo>
                  <a:pt x="10122645" y="361578"/>
                  <a:pt x="10118884" y="361942"/>
                  <a:pt x="10116651" y="363033"/>
                </a:cubicBezTo>
                <a:cubicBezTo>
                  <a:pt x="10109951" y="366304"/>
                  <a:pt x="10117003" y="376123"/>
                  <a:pt x="10128288" y="363033"/>
                </a:cubicBezTo>
                <a:close/>
                <a:moveTo>
                  <a:pt x="9075154" y="261218"/>
                </a:moveTo>
                <a:cubicBezTo>
                  <a:pt x="9018736" y="328124"/>
                  <a:pt x="9084557" y="264127"/>
                  <a:pt x="9112766" y="293217"/>
                </a:cubicBezTo>
                <a:cubicBezTo>
                  <a:pt x="9139094" y="264127"/>
                  <a:pt x="9080796" y="272855"/>
                  <a:pt x="9075154" y="261218"/>
                </a:cubicBezTo>
                <a:close/>
                <a:moveTo>
                  <a:pt x="10560824" y="299036"/>
                </a:moveTo>
                <a:lnTo>
                  <a:pt x="10560404" y="299510"/>
                </a:lnTo>
                <a:lnTo>
                  <a:pt x="10559124" y="299386"/>
                </a:lnTo>
                <a:close/>
                <a:moveTo>
                  <a:pt x="11008405" y="259038"/>
                </a:moveTo>
                <a:cubicBezTo>
                  <a:pt x="11004173" y="258310"/>
                  <a:pt x="10999002" y="259765"/>
                  <a:pt x="10997121" y="264127"/>
                </a:cubicBezTo>
                <a:cubicBezTo>
                  <a:pt x="11002762" y="275763"/>
                  <a:pt x="11008405" y="261218"/>
                  <a:pt x="11014047" y="267037"/>
                </a:cubicBezTo>
                <a:cubicBezTo>
                  <a:pt x="11015927" y="262674"/>
                  <a:pt x="11012636" y="259765"/>
                  <a:pt x="11008405" y="259038"/>
                </a:cubicBezTo>
                <a:close/>
                <a:moveTo>
                  <a:pt x="11071112" y="264310"/>
                </a:moveTo>
                <a:cubicBezTo>
                  <a:pt x="11062121" y="264855"/>
                  <a:pt x="11052599" y="273582"/>
                  <a:pt x="11044136" y="275763"/>
                </a:cubicBezTo>
                <a:cubicBezTo>
                  <a:pt x="11055420" y="281582"/>
                  <a:pt x="11068585" y="275763"/>
                  <a:pt x="11079868" y="267037"/>
                </a:cubicBezTo>
                <a:cubicBezTo>
                  <a:pt x="11077048" y="264855"/>
                  <a:pt x="11074109" y="264128"/>
                  <a:pt x="11071112" y="264310"/>
                </a:cubicBezTo>
                <a:close/>
                <a:moveTo>
                  <a:pt x="11117480" y="265582"/>
                </a:moveTo>
                <a:cubicBezTo>
                  <a:pt x="11114188" y="265582"/>
                  <a:pt x="11110897" y="267037"/>
                  <a:pt x="11108076" y="269946"/>
                </a:cubicBezTo>
                <a:cubicBezTo>
                  <a:pt x="11113718" y="278672"/>
                  <a:pt x="11121241" y="275763"/>
                  <a:pt x="11126883" y="269946"/>
                </a:cubicBezTo>
                <a:cubicBezTo>
                  <a:pt x="11124062" y="267037"/>
                  <a:pt x="11120771" y="265582"/>
                  <a:pt x="11117480" y="265582"/>
                </a:cubicBezTo>
                <a:close/>
                <a:moveTo>
                  <a:pt x="11539878" y="298036"/>
                </a:moveTo>
                <a:cubicBezTo>
                  <a:pt x="11533090" y="299944"/>
                  <a:pt x="11526038" y="309217"/>
                  <a:pt x="11527449" y="313580"/>
                </a:cubicBezTo>
                <a:cubicBezTo>
                  <a:pt x="11533090" y="313579"/>
                  <a:pt x="11546255" y="307762"/>
                  <a:pt x="11546255" y="299036"/>
                </a:cubicBezTo>
                <a:cubicBezTo>
                  <a:pt x="11544375" y="297581"/>
                  <a:pt x="11542141" y="297399"/>
                  <a:pt x="11539878" y="298036"/>
                </a:cubicBezTo>
                <a:close/>
                <a:moveTo>
                  <a:pt x="11143808" y="232130"/>
                </a:moveTo>
                <a:cubicBezTo>
                  <a:pt x="11087391" y="299036"/>
                  <a:pt x="11153211" y="235038"/>
                  <a:pt x="11181421" y="264128"/>
                </a:cubicBezTo>
                <a:cubicBezTo>
                  <a:pt x="11207747" y="235038"/>
                  <a:pt x="11149449" y="243765"/>
                  <a:pt x="11143808" y="232130"/>
                </a:cubicBezTo>
                <a:close/>
                <a:moveTo>
                  <a:pt x="11465295" y="170990"/>
                </a:moveTo>
                <a:cubicBezTo>
                  <a:pt x="11478995" y="170677"/>
                  <a:pt x="11425662" y="208858"/>
                  <a:pt x="11412733" y="237947"/>
                </a:cubicBezTo>
                <a:cubicBezTo>
                  <a:pt x="11487957" y="313580"/>
                  <a:pt x="11619599" y="188495"/>
                  <a:pt x="11704225" y="252492"/>
                </a:cubicBezTo>
                <a:cubicBezTo>
                  <a:pt x="11696702" y="345579"/>
                  <a:pt x="11472913" y="342669"/>
                  <a:pt x="11416494" y="377578"/>
                </a:cubicBezTo>
                <a:cubicBezTo>
                  <a:pt x="11378883" y="365941"/>
                  <a:pt x="11247241" y="450301"/>
                  <a:pt x="11141928" y="470663"/>
                </a:cubicBezTo>
                <a:cubicBezTo>
                  <a:pt x="11140047" y="464846"/>
                  <a:pt x="11232196" y="520117"/>
                  <a:pt x="11220912" y="496844"/>
                </a:cubicBezTo>
                <a:cubicBezTo>
                  <a:pt x="11271689" y="485208"/>
                  <a:pt x="11358195" y="485208"/>
                  <a:pt x="11416494" y="534660"/>
                </a:cubicBezTo>
                <a:cubicBezTo>
                  <a:pt x="11339389" y="572478"/>
                  <a:pt x="11119360" y="575386"/>
                  <a:pt x="11183300" y="607385"/>
                </a:cubicBezTo>
                <a:cubicBezTo>
                  <a:pt x="11062942" y="671382"/>
                  <a:pt x="11117479" y="639383"/>
                  <a:pt x="11113718" y="624839"/>
                </a:cubicBezTo>
                <a:cubicBezTo>
                  <a:pt x="11113718" y="624839"/>
                  <a:pt x="11023450" y="659746"/>
                  <a:pt x="11023450" y="677200"/>
                </a:cubicBezTo>
                <a:cubicBezTo>
                  <a:pt x="11038494" y="685927"/>
                  <a:pt x="11044136" y="642292"/>
                  <a:pt x="11059181" y="659746"/>
                </a:cubicBezTo>
                <a:cubicBezTo>
                  <a:pt x="11055420" y="665564"/>
                  <a:pt x="11032852" y="700472"/>
                  <a:pt x="11044136" y="712108"/>
                </a:cubicBezTo>
                <a:cubicBezTo>
                  <a:pt x="11109956" y="630656"/>
                  <a:pt x="11247241" y="630657"/>
                  <a:pt x="11329987" y="616112"/>
                </a:cubicBezTo>
                <a:cubicBezTo>
                  <a:pt x="11260404" y="691744"/>
                  <a:pt x="11367599" y="630657"/>
                  <a:pt x="11412733" y="645201"/>
                </a:cubicBezTo>
                <a:cubicBezTo>
                  <a:pt x="11388286" y="648111"/>
                  <a:pt x="11386404" y="656837"/>
                  <a:pt x="11407092" y="668473"/>
                </a:cubicBezTo>
                <a:cubicBezTo>
                  <a:pt x="11384524" y="691744"/>
                  <a:pt x="11068585" y="857556"/>
                  <a:pt x="11066703" y="845920"/>
                </a:cubicBezTo>
                <a:cubicBezTo>
                  <a:pt x="11181890" y="968097"/>
                  <a:pt x="11579284" y="900962"/>
                  <a:pt x="11773839" y="876425"/>
                </a:cubicBezTo>
                <a:lnTo>
                  <a:pt x="11801884" y="873508"/>
                </a:lnTo>
                <a:lnTo>
                  <a:pt x="11792613" y="880827"/>
                </a:lnTo>
                <a:cubicBezTo>
                  <a:pt x="11800135" y="907008"/>
                  <a:pt x="12059657" y="921553"/>
                  <a:pt x="11975030" y="939006"/>
                </a:cubicBezTo>
                <a:cubicBezTo>
                  <a:pt x="11989134" y="946279"/>
                  <a:pt x="11975501" y="947006"/>
                  <a:pt x="11956695" y="947006"/>
                </a:cubicBezTo>
                <a:lnTo>
                  <a:pt x="11932719" y="947156"/>
                </a:lnTo>
                <a:lnTo>
                  <a:pt x="11929896" y="941915"/>
                </a:lnTo>
                <a:lnTo>
                  <a:pt x="11931993" y="947159"/>
                </a:lnTo>
                <a:lnTo>
                  <a:pt x="11927429" y="947187"/>
                </a:lnTo>
                <a:cubicBezTo>
                  <a:pt x="11918261" y="947552"/>
                  <a:pt x="11910621" y="948461"/>
                  <a:pt x="11907330" y="950643"/>
                </a:cubicBezTo>
                <a:cubicBezTo>
                  <a:pt x="11923315" y="955006"/>
                  <a:pt x="11933188" y="956460"/>
                  <a:pt x="11936948" y="955005"/>
                </a:cubicBezTo>
                <a:lnTo>
                  <a:pt x="11935242" y="951838"/>
                </a:lnTo>
                <a:lnTo>
                  <a:pt x="11941649" y="953916"/>
                </a:lnTo>
                <a:cubicBezTo>
                  <a:pt x="11948231" y="955005"/>
                  <a:pt x="11957164" y="956460"/>
                  <a:pt x="11967507" y="968096"/>
                </a:cubicBezTo>
                <a:cubicBezTo>
                  <a:pt x="11939300" y="971005"/>
                  <a:pt x="11943061" y="973914"/>
                  <a:pt x="11975030" y="982641"/>
                </a:cubicBezTo>
                <a:cubicBezTo>
                  <a:pt x="11954344" y="1049547"/>
                  <a:pt x="11781329" y="1072818"/>
                  <a:pt x="11723028" y="1116453"/>
                </a:cubicBezTo>
                <a:cubicBezTo>
                  <a:pt x="11756882" y="1130998"/>
                  <a:pt x="11739955" y="1107725"/>
                  <a:pt x="11775688" y="1148451"/>
                </a:cubicBezTo>
                <a:cubicBezTo>
                  <a:pt x="11700463" y="1189176"/>
                  <a:pt x="11531211" y="1180450"/>
                  <a:pt x="11525568" y="1232811"/>
                </a:cubicBezTo>
                <a:cubicBezTo>
                  <a:pt x="11472913" y="1212448"/>
                  <a:pt x="11422136" y="1276446"/>
                  <a:pt x="11371360" y="1256083"/>
                </a:cubicBezTo>
                <a:cubicBezTo>
                  <a:pt x="11388286" y="1273537"/>
                  <a:pt x="11405210" y="1279354"/>
                  <a:pt x="11424016" y="1270627"/>
                </a:cubicBezTo>
                <a:lnTo>
                  <a:pt x="11352159" y="1305643"/>
                </a:lnTo>
                <a:lnTo>
                  <a:pt x="11315192" y="1305740"/>
                </a:lnTo>
                <a:cubicBezTo>
                  <a:pt x="11158941" y="1307035"/>
                  <a:pt x="10985897" y="1311808"/>
                  <a:pt x="10868654" y="1326807"/>
                </a:cubicBezTo>
                <a:lnTo>
                  <a:pt x="10816609" y="1336928"/>
                </a:lnTo>
                <a:lnTo>
                  <a:pt x="10766811" y="1337403"/>
                </a:lnTo>
                <a:lnTo>
                  <a:pt x="10713377" y="1342698"/>
                </a:lnTo>
                <a:lnTo>
                  <a:pt x="10702574" y="1337670"/>
                </a:lnTo>
                <a:cubicBezTo>
                  <a:pt x="10700398" y="1337556"/>
                  <a:pt x="10699752" y="1338931"/>
                  <a:pt x="10700179" y="1341221"/>
                </a:cubicBezTo>
                <a:lnTo>
                  <a:pt x="10701370" y="1343888"/>
                </a:lnTo>
                <a:lnTo>
                  <a:pt x="10677420" y="1346260"/>
                </a:lnTo>
                <a:lnTo>
                  <a:pt x="10706647" y="1353324"/>
                </a:lnTo>
                <a:lnTo>
                  <a:pt x="10712794" y="1361085"/>
                </a:lnTo>
                <a:lnTo>
                  <a:pt x="10540460" y="1386941"/>
                </a:lnTo>
                <a:lnTo>
                  <a:pt x="10479508" y="1402943"/>
                </a:lnTo>
                <a:lnTo>
                  <a:pt x="10428007" y="1408076"/>
                </a:lnTo>
                <a:cubicBezTo>
                  <a:pt x="10385458" y="1412439"/>
                  <a:pt x="10350197" y="1417530"/>
                  <a:pt x="10321988" y="1430621"/>
                </a:cubicBezTo>
                <a:cubicBezTo>
                  <a:pt x="10280615" y="1357896"/>
                  <a:pt x="10190347" y="1448074"/>
                  <a:pt x="10190347" y="1413167"/>
                </a:cubicBezTo>
                <a:cubicBezTo>
                  <a:pt x="10171541" y="1401531"/>
                  <a:pt x="10156497" y="1416076"/>
                  <a:pt x="10139570" y="1430621"/>
                </a:cubicBezTo>
                <a:lnTo>
                  <a:pt x="10143432" y="1423104"/>
                </a:lnTo>
                <a:lnTo>
                  <a:pt x="10154615" y="1418985"/>
                </a:lnTo>
                <a:lnTo>
                  <a:pt x="10145786" y="1416556"/>
                </a:lnTo>
                <a:lnTo>
                  <a:pt x="10145095" y="1413257"/>
                </a:lnTo>
                <a:lnTo>
                  <a:pt x="10139793" y="1415447"/>
                </a:lnTo>
                <a:lnTo>
                  <a:pt x="10111097" y="1419712"/>
                </a:lnTo>
                <a:cubicBezTo>
                  <a:pt x="10038371" y="1434983"/>
                  <a:pt x="9899795" y="1482982"/>
                  <a:pt x="9891332" y="1465528"/>
                </a:cubicBezTo>
                <a:cubicBezTo>
                  <a:pt x="9853720" y="1471346"/>
                  <a:pt x="9769093" y="1512072"/>
                  <a:pt x="9742765" y="1514980"/>
                </a:cubicBezTo>
                <a:cubicBezTo>
                  <a:pt x="9754049" y="1520798"/>
                  <a:pt x="9754049" y="1529525"/>
                  <a:pt x="9740885" y="1538252"/>
                </a:cubicBezTo>
                <a:cubicBezTo>
                  <a:pt x="9757810" y="1552796"/>
                  <a:pt x="9774735" y="1549888"/>
                  <a:pt x="9791661" y="1532434"/>
                </a:cubicBezTo>
                <a:cubicBezTo>
                  <a:pt x="9760630" y="1567341"/>
                  <a:pt x="10037430" y="1482800"/>
                  <a:pt x="10179357" y="1440802"/>
                </a:cubicBezTo>
                <a:lnTo>
                  <a:pt x="10222719" y="1428244"/>
                </a:lnTo>
                <a:lnTo>
                  <a:pt x="10236204" y="1446046"/>
                </a:lnTo>
                <a:cubicBezTo>
                  <a:pt x="10244186" y="1450063"/>
                  <a:pt x="10255183" y="1452142"/>
                  <a:pt x="10268186" y="1452757"/>
                </a:cubicBezTo>
                <a:lnTo>
                  <a:pt x="10331135" y="1445968"/>
                </a:lnTo>
                <a:lnTo>
                  <a:pt x="10179063" y="1509163"/>
                </a:lnTo>
                <a:cubicBezTo>
                  <a:pt x="10197868" y="1506253"/>
                  <a:pt x="10353959" y="1485890"/>
                  <a:pt x="10380286" y="1500435"/>
                </a:cubicBezTo>
                <a:cubicBezTo>
                  <a:pt x="10355839" y="1517889"/>
                  <a:pt x="10331392" y="1523708"/>
                  <a:pt x="10306944" y="1523708"/>
                </a:cubicBezTo>
                <a:lnTo>
                  <a:pt x="10324689" y="1544459"/>
                </a:lnTo>
                <a:lnTo>
                  <a:pt x="10317813" y="1547968"/>
                </a:lnTo>
                <a:cubicBezTo>
                  <a:pt x="10293824" y="1562251"/>
                  <a:pt x="10303123" y="1564978"/>
                  <a:pt x="10317051" y="1564433"/>
                </a:cubicBezTo>
                <a:lnTo>
                  <a:pt x="10335884" y="1562221"/>
                </a:lnTo>
                <a:lnTo>
                  <a:pt x="10329510" y="1564432"/>
                </a:lnTo>
                <a:lnTo>
                  <a:pt x="10341053" y="1561917"/>
                </a:lnTo>
                <a:lnTo>
                  <a:pt x="10347212" y="1567290"/>
                </a:lnTo>
                <a:lnTo>
                  <a:pt x="10312673" y="1566796"/>
                </a:lnTo>
                <a:cubicBezTo>
                  <a:pt x="10301772" y="1566614"/>
                  <a:pt x="10293779" y="1566614"/>
                  <a:pt x="10291899" y="1567341"/>
                </a:cubicBezTo>
                <a:lnTo>
                  <a:pt x="10308314" y="1581373"/>
                </a:lnTo>
                <a:lnTo>
                  <a:pt x="10303946" y="1585750"/>
                </a:lnTo>
                <a:cubicBezTo>
                  <a:pt x="10289666" y="1597886"/>
                  <a:pt x="10258988" y="1621884"/>
                  <a:pt x="10267450" y="1619702"/>
                </a:cubicBezTo>
                <a:cubicBezTo>
                  <a:pt x="10416019" y="1593522"/>
                  <a:pt x="10801540" y="1640066"/>
                  <a:pt x="10927540" y="1523708"/>
                </a:cubicBezTo>
                <a:cubicBezTo>
                  <a:pt x="10929420" y="1535343"/>
                  <a:pt x="10914376" y="1546979"/>
                  <a:pt x="10914376" y="1561524"/>
                </a:cubicBezTo>
                <a:cubicBezTo>
                  <a:pt x="11012167" y="1610976"/>
                  <a:pt x="10968912" y="1535343"/>
                  <a:pt x="11044136" y="1549888"/>
                </a:cubicBezTo>
                <a:cubicBezTo>
                  <a:pt x="10997121" y="1561524"/>
                  <a:pt x="11017808" y="1570250"/>
                  <a:pt x="11000881" y="1602249"/>
                </a:cubicBezTo>
                <a:cubicBezTo>
                  <a:pt x="11025331" y="1605158"/>
                  <a:pt x="11314942" y="1544070"/>
                  <a:pt x="11318703" y="1590614"/>
                </a:cubicBezTo>
                <a:cubicBezTo>
                  <a:pt x="11277330" y="1596431"/>
                  <a:pt x="11269807" y="1610976"/>
                  <a:pt x="11294256" y="1634248"/>
                </a:cubicBezTo>
                <a:cubicBezTo>
                  <a:pt x="11307419" y="1602249"/>
                  <a:pt x="11337509" y="1654611"/>
                  <a:pt x="11365718" y="1651702"/>
                </a:cubicBezTo>
                <a:cubicBezTo>
                  <a:pt x="11353964" y="1664064"/>
                  <a:pt x="11342093" y="1668428"/>
                  <a:pt x="11331779" y="1668929"/>
                </a:cubicBezTo>
                <a:lnTo>
                  <a:pt x="11307517" y="1663054"/>
                </a:lnTo>
                <a:lnTo>
                  <a:pt x="11301983" y="1658656"/>
                </a:lnTo>
                <a:cubicBezTo>
                  <a:pt x="11299368" y="1657065"/>
                  <a:pt x="11301660" y="1659883"/>
                  <a:pt x="11307185" y="1662974"/>
                </a:cubicBezTo>
                <a:lnTo>
                  <a:pt x="11307517" y="1663054"/>
                </a:lnTo>
                <a:lnTo>
                  <a:pt x="11309795" y="1664866"/>
                </a:lnTo>
                <a:cubicBezTo>
                  <a:pt x="11313766" y="1668382"/>
                  <a:pt x="11319173" y="1673520"/>
                  <a:pt x="11326225" y="1680792"/>
                </a:cubicBezTo>
                <a:cubicBezTo>
                  <a:pt x="11318703" y="1738970"/>
                  <a:pt x="10824108" y="1788422"/>
                  <a:pt x="10824108" y="1788422"/>
                </a:cubicBezTo>
                <a:cubicBezTo>
                  <a:pt x="10846674" y="1832057"/>
                  <a:pt x="11010286" y="1776786"/>
                  <a:pt x="11046017" y="1785514"/>
                </a:cubicBezTo>
                <a:cubicBezTo>
                  <a:pt x="11040375" y="1802967"/>
                  <a:pt x="10950106" y="1820421"/>
                  <a:pt x="10942583" y="1823330"/>
                </a:cubicBezTo>
                <a:cubicBezTo>
                  <a:pt x="10948226" y="1840783"/>
                  <a:pt x="11042256" y="1864055"/>
                  <a:pt x="11049779" y="1875692"/>
                </a:cubicBezTo>
                <a:lnTo>
                  <a:pt x="11043060" y="1883042"/>
                </a:lnTo>
                <a:lnTo>
                  <a:pt x="11040933" y="1882919"/>
                </a:lnTo>
                <a:cubicBezTo>
                  <a:pt x="11035321" y="1882600"/>
                  <a:pt x="11030972" y="1882236"/>
                  <a:pt x="11029091" y="1881509"/>
                </a:cubicBezTo>
                <a:cubicBezTo>
                  <a:pt x="11031913" y="1890237"/>
                  <a:pt x="11036144" y="1889509"/>
                  <a:pt x="11040140" y="1886237"/>
                </a:cubicBezTo>
                <a:lnTo>
                  <a:pt x="11043060" y="1883042"/>
                </a:lnTo>
                <a:lnTo>
                  <a:pt x="11060355" y="1884054"/>
                </a:lnTo>
                <a:cubicBezTo>
                  <a:pt x="11074226" y="1885146"/>
                  <a:pt x="11088331" y="1887327"/>
                  <a:pt x="11093032" y="1893145"/>
                </a:cubicBezTo>
                <a:cubicBezTo>
                  <a:pt x="11093032" y="1896054"/>
                  <a:pt x="11057301" y="1936779"/>
                  <a:pt x="11062942" y="1942598"/>
                </a:cubicBezTo>
                <a:cubicBezTo>
                  <a:pt x="11083630" y="1942598"/>
                  <a:pt x="11104315" y="1933870"/>
                  <a:pt x="11125002" y="1919325"/>
                </a:cubicBezTo>
                <a:cubicBezTo>
                  <a:pt x="11103375" y="1933870"/>
                  <a:pt x="11132054" y="1933870"/>
                  <a:pt x="11166845" y="1931688"/>
                </a:cubicBezTo>
                <a:lnTo>
                  <a:pt x="11208091" y="1928982"/>
                </a:lnTo>
                <a:lnTo>
                  <a:pt x="11202106" y="1951324"/>
                </a:lnTo>
                <a:cubicBezTo>
                  <a:pt x="11412732" y="1922234"/>
                  <a:pt x="11286733" y="1951324"/>
                  <a:pt x="11262286" y="1989141"/>
                </a:cubicBezTo>
                <a:cubicBezTo>
                  <a:pt x="11316823" y="2082228"/>
                  <a:pt x="11455986" y="2003686"/>
                  <a:pt x="11523688" y="2096772"/>
                </a:cubicBezTo>
                <a:cubicBezTo>
                  <a:pt x="11499240" y="2198586"/>
                  <a:pt x="11074226" y="2140406"/>
                  <a:pt x="10985838" y="2134589"/>
                </a:cubicBezTo>
                <a:cubicBezTo>
                  <a:pt x="10983958" y="2131680"/>
                  <a:pt x="11057301" y="2195676"/>
                  <a:pt x="11053539" y="2181132"/>
                </a:cubicBezTo>
                <a:cubicBezTo>
                  <a:pt x="11096794" y="2184041"/>
                  <a:pt x="11181421" y="2216039"/>
                  <a:pt x="11222792" y="2280037"/>
                </a:cubicBezTo>
                <a:cubicBezTo>
                  <a:pt x="11149449" y="2291673"/>
                  <a:pt x="10953868" y="2233493"/>
                  <a:pt x="11006524" y="2280037"/>
                </a:cubicBezTo>
                <a:cubicBezTo>
                  <a:pt x="10891808" y="2312035"/>
                  <a:pt x="10944465" y="2294582"/>
                  <a:pt x="10942584" y="2280037"/>
                </a:cubicBezTo>
                <a:cubicBezTo>
                  <a:pt x="10941643" y="2280037"/>
                  <a:pt x="10920487" y="2282946"/>
                  <a:pt x="10899330" y="2288036"/>
                </a:cubicBezTo>
                <a:lnTo>
                  <a:pt x="10881528" y="2293632"/>
                </a:lnTo>
                <a:lnTo>
                  <a:pt x="10881465" y="2293582"/>
                </a:lnTo>
                <a:lnTo>
                  <a:pt x="10881321" y="2293698"/>
                </a:lnTo>
                <a:lnTo>
                  <a:pt x="10870123" y="2297218"/>
                </a:lnTo>
                <a:cubicBezTo>
                  <a:pt x="10862071" y="2300763"/>
                  <a:pt x="10856547" y="2304763"/>
                  <a:pt x="10856077" y="2309126"/>
                </a:cubicBezTo>
                <a:cubicBezTo>
                  <a:pt x="10861718" y="2314944"/>
                  <a:pt x="10867361" y="2306945"/>
                  <a:pt x="10873002" y="2300399"/>
                </a:cubicBezTo>
                <a:lnTo>
                  <a:pt x="10881321" y="2293698"/>
                </a:lnTo>
                <a:lnTo>
                  <a:pt x="10881528" y="2293632"/>
                </a:lnTo>
                <a:lnTo>
                  <a:pt x="10889928" y="2300399"/>
                </a:lnTo>
                <a:cubicBezTo>
                  <a:pt x="10888047" y="2306217"/>
                  <a:pt x="10861719" y="2332398"/>
                  <a:pt x="10871122" y="2346942"/>
                </a:cubicBezTo>
                <a:cubicBezTo>
                  <a:pt x="10884286" y="2335306"/>
                  <a:pt x="10899330" y="2328762"/>
                  <a:pt x="10912494" y="2323670"/>
                </a:cubicBezTo>
                <a:lnTo>
                  <a:pt x="10919200" y="2320429"/>
                </a:lnTo>
                <a:lnTo>
                  <a:pt x="10920017" y="2329489"/>
                </a:lnTo>
                <a:cubicBezTo>
                  <a:pt x="10978315" y="2320762"/>
                  <a:pt x="11064823" y="2317853"/>
                  <a:pt x="11138166" y="2329489"/>
                </a:cubicBezTo>
                <a:cubicBezTo>
                  <a:pt x="11066703" y="2381850"/>
                  <a:pt x="11166375" y="2352760"/>
                  <a:pt x="11205868" y="2384760"/>
                </a:cubicBezTo>
                <a:cubicBezTo>
                  <a:pt x="11185181" y="2378941"/>
                  <a:pt x="11181421" y="2387667"/>
                  <a:pt x="11198345" y="2405121"/>
                </a:cubicBezTo>
                <a:cubicBezTo>
                  <a:pt x="11010286" y="2533115"/>
                  <a:pt x="10683062" y="2492390"/>
                  <a:pt x="10532616" y="2512754"/>
                </a:cubicBezTo>
                <a:cubicBezTo>
                  <a:pt x="10355839" y="2538934"/>
                  <a:pt x="9942109" y="2701835"/>
                  <a:pt x="9793540" y="2620385"/>
                </a:cubicBezTo>
                <a:cubicBezTo>
                  <a:pt x="9825512" y="2608748"/>
                  <a:pt x="9833034" y="2614567"/>
                  <a:pt x="9868765" y="2600022"/>
                </a:cubicBezTo>
                <a:cubicBezTo>
                  <a:pt x="9849959" y="2588386"/>
                  <a:pt x="9855601" y="2582569"/>
                  <a:pt x="9883811" y="2579659"/>
                </a:cubicBezTo>
                <a:cubicBezTo>
                  <a:pt x="9699511" y="2626203"/>
                  <a:pt x="9588557" y="2629112"/>
                  <a:pt x="9464437" y="2637838"/>
                </a:cubicBezTo>
                <a:cubicBezTo>
                  <a:pt x="8926587" y="2681473"/>
                  <a:pt x="8377454" y="2771650"/>
                  <a:pt x="7830201" y="2888009"/>
                </a:cubicBezTo>
                <a:cubicBezTo>
                  <a:pt x="7298464" y="3001458"/>
                  <a:pt x="6706429" y="3124726"/>
                  <a:pt x="6152475" y="3246766"/>
                </a:cubicBezTo>
                <a:lnTo>
                  <a:pt x="5636287" y="3363156"/>
                </a:lnTo>
                <a:lnTo>
                  <a:pt x="5639310" y="3359260"/>
                </a:lnTo>
                <a:cubicBezTo>
                  <a:pt x="5635548" y="3357806"/>
                  <a:pt x="5631316" y="3356351"/>
                  <a:pt x="5627320" y="3357078"/>
                </a:cubicBezTo>
                <a:lnTo>
                  <a:pt x="5617269" y="3367444"/>
                </a:lnTo>
                <a:lnTo>
                  <a:pt x="5614860" y="3367987"/>
                </a:lnTo>
                <a:cubicBezTo>
                  <a:pt x="5609219" y="3309808"/>
                  <a:pt x="5122145" y="3493073"/>
                  <a:pt x="5041280" y="3431984"/>
                </a:cubicBezTo>
                <a:cubicBezTo>
                  <a:pt x="5075131" y="3399986"/>
                  <a:pt x="5218056" y="3373806"/>
                  <a:pt x="5214296" y="3370896"/>
                </a:cubicBezTo>
                <a:cubicBezTo>
                  <a:pt x="5243444" y="3334535"/>
                  <a:pt x="5403296" y="3283628"/>
                  <a:pt x="5562440" y="3245084"/>
                </a:cubicBezTo>
                <a:lnTo>
                  <a:pt x="5639651" y="3227840"/>
                </a:lnTo>
                <a:lnTo>
                  <a:pt x="5659585" y="3229448"/>
                </a:lnTo>
                <a:cubicBezTo>
                  <a:pt x="5692201" y="3227813"/>
                  <a:pt x="5730285" y="3218903"/>
                  <a:pt x="5769070" y="3207268"/>
                </a:cubicBezTo>
                <a:lnTo>
                  <a:pt x="5794271" y="3198726"/>
                </a:lnTo>
                <a:lnTo>
                  <a:pt x="5863890" y="3190575"/>
                </a:lnTo>
                <a:cubicBezTo>
                  <a:pt x="5884932" y="3189359"/>
                  <a:pt x="5899772" y="3190177"/>
                  <a:pt x="5906354" y="3193450"/>
                </a:cubicBezTo>
                <a:cubicBezTo>
                  <a:pt x="5898831" y="3207995"/>
                  <a:pt x="5889428" y="3216721"/>
                  <a:pt x="5878145" y="3219631"/>
                </a:cubicBezTo>
                <a:cubicBezTo>
                  <a:pt x="5883787" y="3219631"/>
                  <a:pt x="5994741" y="3167269"/>
                  <a:pt x="5994742" y="3170177"/>
                </a:cubicBezTo>
                <a:cubicBezTo>
                  <a:pt x="6100054" y="3205086"/>
                  <a:pt x="6500621" y="2972368"/>
                  <a:pt x="6555157" y="3068364"/>
                </a:cubicBezTo>
                <a:cubicBezTo>
                  <a:pt x="6763904" y="3088728"/>
                  <a:pt x="7119336" y="2928734"/>
                  <a:pt x="7339366" y="2879282"/>
                </a:cubicBezTo>
                <a:cubicBezTo>
                  <a:pt x="7378389" y="2870556"/>
                  <a:pt x="7439155" y="2848738"/>
                  <a:pt x="7510325" y="2822421"/>
                </a:cubicBezTo>
                <a:lnTo>
                  <a:pt x="7559547" y="2804245"/>
                </a:lnTo>
                <a:lnTo>
                  <a:pt x="7587752" y="2798287"/>
                </a:lnTo>
                <a:cubicBezTo>
                  <a:pt x="7767084" y="2761833"/>
                  <a:pt x="7946327" y="2727290"/>
                  <a:pt x="8125454" y="2696018"/>
                </a:cubicBezTo>
                <a:cubicBezTo>
                  <a:pt x="8046705" y="2636021"/>
                  <a:pt x="7820299" y="2708972"/>
                  <a:pt x="7623461" y="2780644"/>
                </a:cubicBezTo>
                <a:lnTo>
                  <a:pt x="7559547" y="2804245"/>
                </a:lnTo>
                <a:lnTo>
                  <a:pt x="7049520" y="2912009"/>
                </a:lnTo>
                <a:cubicBezTo>
                  <a:pt x="6690562" y="2989823"/>
                  <a:pt x="6331368" y="3069820"/>
                  <a:pt x="5972174" y="3141089"/>
                </a:cubicBezTo>
                <a:cubicBezTo>
                  <a:pt x="5949607" y="3145453"/>
                  <a:pt x="5918225" y="3156179"/>
                  <a:pt x="5882787" y="3168724"/>
                </a:cubicBezTo>
                <a:lnTo>
                  <a:pt x="5844206" y="3181800"/>
                </a:lnTo>
                <a:lnTo>
                  <a:pt x="5823842" y="3178541"/>
                </a:lnTo>
                <a:cubicBezTo>
                  <a:pt x="5817026" y="3178905"/>
                  <a:pt x="5811385" y="3181814"/>
                  <a:pt x="5810443" y="3190541"/>
                </a:cubicBezTo>
                <a:cubicBezTo>
                  <a:pt x="5816085" y="3187632"/>
                  <a:pt x="5821727" y="3187632"/>
                  <a:pt x="5827370" y="3187268"/>
                </a:cubicBezTo>
                <a:lnTo>
                  <a:pt x="5841666" y="3182662"/>
                </a:lnTo>
                <a:lnTo>
                  <a:pt x="5794271" y="3198726"/>
                </a:lnTo>
                <a:lnTo>
                  <a:pt x="5784204" y="3199904"/>
                </a:lnTo>
                <a:cubicBezTo>
                  <a:pt x="5752809" y="3204768"/>
                  <a:pt x="5717259" y="3211246"/>
                  <a:pt x="5679615" y="3218915"/>
                </a:cubicBezTo>
                <a:lnTo>
                  <a:pt x="5639651" y="3227840"/>
                </a:lnTo>
                <a:lnTo>
                  <a:pt x="5615353" y="3225881"/>
                </a:lnTo>
                <a:lnTo>
                  <a:pt x="5604759" y="3220044"/>
                </a:lnTo>
                <a:lnTo>
                  <a:pt x="5609220" y="3213812"/>
                </a:lnTo>
                <a:cubicBezTo>
                  <a:pt x="5605458" y="3212358"/>
                  <a:pt x="5600757" y="3213085"/>
                  <a:pt x="5596997" y="3215267"/>
                </a:cubicBezTo>
                <a:lnTo>
                  <a:pt x="5596759" y="3215635"/>
                </a:lnTo>
                <a:lnTo>
                  <a:pt x="5582893" y="3207995"/>
                </a:lnTo>
                <a:cubicBezTo>
                  <a:pt x="5550921" y="3245811"/>
                  <a:pt x="5274474" y="3315626"/>
                  <a:pt x="5250026" y="3283628"/>
                </a:cubicBezTo>
                <a:cubicBezTo>
                  <a:pt x="5274473" y="3257447"/>
                  <a:pt x="5336534" y="3242902"/>
                  <a:pt x="5285758" y="3234175"/>
                </a:cubicBezTo>
                <a:cubicBezTo>
                  <a:pt x="5289520" y="3266174"/>
                  <a:pt x="5180443" y="3309809"/>
                  <a:pt x="5161639" y="3286536"/>
                </a:cubicBezTo>
                <a:cubicBezTo>
                  <a:pt x="5219466" y="3295263"/>
                  <a:pt x="5123909" y="3276174"/>
                  <a:pt x="5087589" y="3284491"/>
                </a:cubicBezTo>
                <a:lnTo>
                  <a:pt x="5076085" y="3290789"/>
                </a:lnTo>
                <a:lnTo>
                  <a:pt x="5074660" y="3276356"/>
                </a:lnTo>
                <a:lnTo>
                  <a:pt x="5074661" y="3275031"/>
                </a:lnTo>
                <a:lnTo>
                  <a:pt x="5080538" y="3275265"/>
                </a:lnTo>
                <a:cubicBezTo>
                  <a:pt x="5083125" y="3273447"/>
                  <a:pt x="5085476" y="3270538"/>
                  <a:pt x="5088295" y="3269083"/>
                </a:cubicBezTo>
                <a:cubicBezTo>
                  <a:pt x="5087354" y="3269083"/>
                  <a:pt x="5085004" y="3266901"/>
                  <a:pt x="5081948" y="3266537"/>
                </a:cubicBezTo>
                <a:lnTo>
                  <a:pt x="5074661" y="3272298"/>
                </a:lnTo>
                <a:lnTo>
                  <a:pt x="5074661" y="3254901"/>
                </a:lnTo>
                <a:cubicBezTo>
                  <a:pt x="5075250" y="3249447"/>
                  <a:pt x="5076542" y="3246538"/>
                  <a:pt x="5078894" y="3248719"/>
                </a:cubicBezTo>
                <a:cubicBezTo>
                  <a:pt x="5065728" y="3269083"/>
                  <a:pt x="5060087" y="3269083"/>
                  <a:pt x="5056325" y="3245812"/>
                </a:cubicBezTo>
                <a:cubicBezTo>
                  <a:pt x="5011192" y="3245812"/>
                  <a:pt x="5071369" y="3271992"/>
                  <a:pt x="5061968" y="3266173"/>
                </a:cubicBezTo>
                <a:cubicBezTo>
                  <a:pt x="5050684" y="3280719"/>
                  <a:pt x="5043161" y="3254538"/>
                  <a:pt x="5033758" y="3274900"/>
                </a:cubicBezTo>
                <a:cubicBezTo>
                  <a:pt x="5056324" y="3289445"/>
                  <a:pt x="5045042" y="3292354"/>
                  <a:pt x="4998027" y="3286536"/>
                </a:cubicBezTo>
                <a:cubicBezTo>
                  <a:pt x="5125906" y="3207995"/>
                  <a:pt x="4909641" y="3301081"/>
                  <a:pt x="4909641" y="3301081"/>
                </a:cubicBezTo>
                <a:cubicBezTo>
                  <a:pt x="4964178" y="3274900"/>
                  <a:pt x="4856981" y="3283628"/>
                  <a:pt x="4811848" y="3309808"/>
                </a:cubicBezTo>
                <a:cubicBezTo>
                  <a:pt x="4812788" y="3263265"/>
                  <a:pt x="4802444" y="3264720"/>
                  <a:pt x="4787167" y="3279264"/>
                </a:cubicBezTo>
                <a:lnTo>
                  <a:pt x="4776555" y="3290467"/>
                </a:lnTo>
                <a:lnTo>
                  <a:pt x="4775177" y="3288400"/>
                </a:lnTo>
                <a:cubicBezTo>
                  <a:pt x="4774001" y="3287355"/>
                  <a:pt x="4774236" y="3288900"/>
                  <a:pt x="4775177" y="3291263"/>
                </a:cubicBezTo>
                <a:lnTo>
                  <a:pt x="4775405" y="3291682"/>
                </a:lnTo>
                <a:lnTo>
                  <a:pt x="4761337" y="3306536"/>
                </a:lnTo>
                <a:lnTo>
                  <a:pt x="4744337" y="3318910"/>
                </a:lnTo>
                <a:lnTo>
                  <a:pt x="4739211" y="3301808"/>
                </a:lnTo>
                <a:lnTo>
                  <a:pt x="4732601" y="3290090"/>
                </a:lnTo>
                <a:lnTo>
                  <a:pt x="4749407" y="3277764"/>
                </a:lnTo>
                <a:cubicBezTo>
                  <a:pt x="4759896" y="3269446"/>
                  <a:pt x="4726751" y="3290172"/>
                  <a:pt x="4725341" y="3274900"/>
                </a:cubicBezTo>
                <a:cubicBezTo>
                  <a:pt x="4794923" y="3228357"/>
                  <a:pt x="4789281" y="3286536"/>
                  <a:pt x="4830654" y="3266174"/>
                </a:cubicBezTo>
                <a:cubicBezTo>
                  <a:pt x="4821250" y="3205086"/>
                  <a:pt x="5084534" y="3181815"/>
                  <a:pt x="5077013" y="3152725"/>
                </a:cubicBezTo>
                <a:cubicBezTo>
                  <a:pt x="5065728" y="3161451"/>
                  <a:pt x="5061966" y="3158542"/>
                  <a:pt x="5065728" y="3143997"/>
                </a:cubicBezTo>
                <a:cubicBezTo>
                  <a:pt x="5093937" y="3143997"/>
                  <a:pt x="5095818" y="3155634"/>
                  <a:pt x="5071371" y="3173087"/>
                </a:cubicBezTo>
                <a:cubicBezTo>
                  <a:pt x="5187968" y="3196358"/>
                  <a:pt x="5353460" y="3097454"/>
                  <a:pt x="5385429" y="3065455"/>
                </a:cubicBezTo>
                <a:cubicBezTo>
                  <a:pt x="5193608" y="2966551"/>
                  <a:pt x="4994266" y="3100363"/>
                  <a:pt x="4789280" y="3141089"/>
                </a:cubicBezTo>
                <a:cubicBezTo>
                  <a:pt x="4577714" y="3181814"/>
                  <a:pt x="4364738" y="3223994"/>
                  <a:pt x="4155520" y="3267264"/>
                </a:cubicBezTo>
                <a:lnTo>
                  <a:pt x="3779068" y="3349012"/>
                </a:lnTo>
                <a:lnTo>
                  <a:pt x="3777376" y="3347851"/>
                </a:lnTo>
                <a:lnTo>
                  <a:pt x="3775142" y="3349865"/>
                </a:lnTo>
                <a:lnTo>
                  <a:pt x="3565138" y="3395468"/>
                </a:lnTo>
                <a:lnTo>
                  <a:pt x="3570656" y="3388350"/>
                </a:lnTo>
                <a:cubicBezTo>
                  <a:pt x="3563133" y="3385441"/>
                  <a:pt x="3553732" y="3382532"/>
                  <a:pt x="3548088" y="3397077"/>
                </a:cubicBezTo>
                <a:lnTo>
                  <a:pt x="3553719" y="3397948"/>
                </a:lnTo>
                <a:lnTo>
                  <a:pt x="3544328" y="3399986"/>
                </a:lnTo>
                <a:cubicBezTo>
                  <a:pt x="3538688" y="3341806"/>
                  <a:pt x="3051614" y="3525071"/>
                  <a:pt x="2970749" y="3463983"/>
                </a:cubicBezTo>
                <a:cubicBezTo>
                  <a:pt x="3004600" y="3431984"/>
                  <a:pt x="3147523" y="3405803"/>
                  <a:pt x="3143762" y="3402895"/>
                </a:cubicBezTo>
                <a:cubicBezTo>
                  <a:pt x="3172911" y="3366534"/>
                  <a:pt x="3332764" y="3315627"/>
                  <a:pt x="3491908" y="3277082"/>
                </a:cubicBezTo>
                <a:lnTo>
                  <a:pt x="3569118" y="3259839"/>
                </a:lnTo>
                <a:lnTo>
                  <a:pt x="3589052" y="3261447"/>
                </a:lnTo>
                <a:cubicBezTo>
                  <a:pt x="3621670" y="3259810"/>
                  <a:pt x="3659751" y="3250903"/>
                  <a:pt x="3698539" y="3239267"/>
                </a:cubicBezTo>
                <a:lnTo>
                  <a:pt x="3723742" y="3230724"/>
                </a:lnTo>
                <a:lnTo>
                  <a:pt x="3793358" y="3222573"/>
                </a:lnTo>
                <a:cubicBezTo>
                  <a:pt x="3814401" y="3221357"/>
                  <a:pt x="3829238" y="3222175"/>
                  <a:pt x="3835821" y="3225448"/>
                </a:cubicBezTo>
                <a:cubicBezTo>
                  <a:pt x="3828299" y="3239993"/>
                  <a:pt x="3818896" y="3248720"/>
                  <a:pt x="3807613" y="3251629"/>
                </a:cubicBezTo>
                <a:cubicBezTo>
                  <a:pt x="3813256" y="3251629"/>
                  <a:pt x="3924208" y="3199267"/>
                  <a:pt x="3924209" y="3202177"/>
                </a:cubicBezTo>
                <a:cubicBezTo>
                  <a:pt x="4029522" y="3237084"/>
                  <a:pt x="4430086" y="3004367"/>
                  <a:pt x="4484624" y="3100363"/>
                </a:cubicBezTo>
                <a:cubicBezTo>
                  <a:pt x="4922805" y="3143997"/>
                  <a:pt x="5590413" y="2853102"/>
                  <a:pt x="5985338" y="2751287"/>
                </a:cubicBezTo>
                <a:cubicBezTo>
                  <a:pt x="5979696" y="2745470"/>
                  <a:pt x="5947726" y="2757106"/>
                  <a:pt x="5966532" y="2745470"/>
                </a:cubicBezTo>
                <a:cubicBezTo>
                  <a:pt x="5281997" y="2870555"/>
                  <a:pt x="4589937" y="3036366"/>
                  <a:pt x="3901643" y="3173087"/>
                </a:cubicBezTo>
                <a:cubicBezTo>
                  <a:pt x="3879075" y="3177451"/>
                  <a:pt x="3847692" y="3188178"/>
                  <a:pt x="3812256" y="3200722"/>
                </a:cubicBezTo>
                <a:lnTo>
                  <a:pt x="3723742" y="3230724"/>
                </a:lnTo>
                <a:lnTo>
                  <a:pt x="3713671" y="3231902"/>
                </a:lnTo>
                <a:cubicBezTo>
                  <a:pt x="3682273" y="3236766"/>
                  <a:pt x="3646728" y="3243244"/>
                  <a:pt x="3609083" y="3250913"/>
                </a:cubicBezTo>
                <a:lnTo>
                  <a:pt x="3569118" y="3259839"/>
                </a:lnTo>
                <a:lnTo>
                  <a:pt x="3544821" y="3257879"/>
                </a:lnTo>
                <a:lnTo>
                  <a:pt x="3534085" y="3251963"/>
                </a:lnTo>
                <a:lnTo>
                  <a:pt x="3540567" y="3242902"/>
                </a:lnTo>
                <a:cubicBezTo>
                  <a:pt x="3536807" y="3241448"/>
                  <a:pt x="3532106" y="3242175"/>
                  <a:pt x="3528344" y="3244357"/>
                </a:cubicBezTo>
                <a:lnTo>
                  <a:pt x="3526226" y="3247633"/>
                </a:lnTo>
                <a:lnTo>
                  <a:pt x="3512359" y="3239993"/>
                </a:lnTo>
                <a:cubicBezTo>
                  <a:pt x="3480390" y="3277809"/>
                  <a:pt x="3203941" y="3347625"/>
                  <a:pt x="3179494" y="3315626"/>
                </a:cubicBezTo>
                <a:cubicBezTo>
                  <a:pt x="3203940" y="3289445"/>
                  <a:pt x="3266000" y="3274900"/>
                  <a:pt x="3215227" y="3266174"/>
                </a:cubicBezTo>
                <a:cubicBezTo>
                  <a:pt x="3218986" y="3298173"/>
                  <a:pt x="3109912" y="3341806"/>
                  <a:pt x="3091107" y="3318535"/>
                </a:cubicBezTo>
                <a:cubicBezTo>
                  <a:pt x="3148935" y="3327263"/>
                  <a:pt x="3053378" y="3308172"/>
                  <a:pt x="3017058" y="3316490"/>
                </a:cubicBezTo>
                <a:lnTo>
                  <a:pt x="3005554" y="3322787"/>
                </a:lnTo>
                <a:lnTo>
                  <a:pt x="3004129" y="3308354"/>
                </a:lnTo>
                <a:lnTo>
                  <a:pt x="3004129" y="3304046"/>
                </a:lnTo>
                <a:lnTo>
                  <a:pt x="3011887" y="3304354"/>
                </a:lnTo>
                <a:cubicBezTo>
                  <a:pt x="3014473" y="3302535"/>
                  <a:pt x="3016822" y="3299627"/>
                  <a:pt x="3019643" y="3298173"/>
                </a:cubicBezTo>
                <a:cubicBezTo>
                  <a:pt x="3018702" y="3298173"/>
                  <a:pt x="3016354" y="3295991"/>
                  <a:pt x="3013296" y="3295627"/>
                </a:cubicBezTo>
                <a:lnTo>
                  <a:pt x="3004129" y="3302876"/>
                </a:lnTo>
                <a:lnTo>
                  <a:pt x="3004129" y="3286901"/>
                </a:lnTo>
                <a:cubicBezTo>
                  <a:pt x="3004715" y="3281446"/>
                  <a:pt x="3006010" y="3278538"/>
                  <a:pt x="3008360" y="3280719"/>
                </a:cubicBezTo>
                <a:cubicBezTo>
                  <a:pt x="2995196" y="3301081"/>
                  <a:pt x="2989554" y="3301081"/>
                  <a:pt x="2985794" y="3277809"/>
                </a:cubicBezTo>
                <a:cubicBezTo>
                  <a:pt x="2940659" y="3277809"/>
                  <a:pt x="3000838" y="3303990"/>
                  <a:pt x="2991435" y="3298173"/>
                </a:cubicBezTo>
                <a:cubicBezTo>
                  <a:pt x="2980151" y="3312718"/>
                  <a:pt x="2972628" y="3286536"/>
                  <a:pt x="2963223" y="3306899"/>
                </a:cubicBezTo>
                <a:cubicBezTo>
                  <a:pt x="2985793" y="3321444"/>
                  <a:pt x="2974510" y="3324353"/>
                  <a:pt x="2927494" y="3318535"/>
                </a:cubicBezTo>
                <a:cubicBezTo>
                  <a:pt x="3055374" y="3239993"/>
                  <a:pt x="2839107" y="3333080"/>
                  <a:pt x="2839107" y="3333080"/>
                </a:cubicBezTo>
                <a:cubicBezTo>
                  <a:pt x="2893645" y="3306899"/>
                  <a:pt x="2786449" y="3315626"/>
                  <a:pt x="2741316" y="3341806"/>
                </a:cubicBezTo>
                <a:cubicBezTo>
                  <a:pt x="2742258" y="3295264"/>
                  <a:pt x="2731911" y="3296718"/>
                  <a:pt x="2716635" y="3311263"/>
                </a:cubicBezTo>
                <a:lnTo>
                  <a:pt x="2708266" y="3320098"/>
                </a:lnTo>
                <a:lnTo>
                  <a:pt x="2706525" y="3317490"/>
                </a:lnTo>
                <a:cubicBezTo>
                  <a:pt x="2705351" y="3316445"/>
                  <a:pt x="2705584" y="3317990"/>
                  <a:pt x="2706526" y="3320353"/>
                </a:cubicBezTo>
                <a:lnTo>
                  <a:pt x="2707073" y="3321358"/>
                </a:lnTo>
                <a:lnTo>
                  <a:pt x="2690804" y="3338535"/>
                </a:lnTo>
                <a:lnTo>
                  <a:pt x="2673803" y="3350910"/>
                </a:lnTo>
                <a:lnTo>
                  <a:pt x="2668679" y="3333807"/>
                </a:lnTo>
                <a:lnTo>
                  <a:pt x="2662068" y="3322088"/>
                </a:lnTo>
                <a:lnTo>
                  <a:pt x="2678875" y="3309762"/>
                </a:lnTo>
                <a:cubicBezTo>
                  <a:pt x="2689363" y="3301445"/>
                  <a:pt x="2656218" y="3322172"/>
                  <a:pt x="2654808" y="3306899"/>
                </a:cubicBezTo>
                <a:cubicBezTo>
                  <a:pt x="2724389" y="3260355"/>
                  <a:pt x="2718747" y="3318535"/>
                  <a:pt x="2760122" y="3298173"/>
                </a:cubicBezTo>
                <a:cubicBezTo>
                  <a:pt x="2750718" y="3237084"/>
                  <a:pt x="3014000" y="3213812"/>
                  <a:pt x="3006480" y="3184723"/>
                </a:cubicBezTo>
                <a:cubicBezTo>
                  <a:pt x="2995195" y="3193450"/>
                  <a:pt x="2991435" y="3190541"/>
                  <a:pt x="2995195" y="3175996"/>
                </a:cubicBezTo>
                <a:cubicBezTo>
                  <a:pt x="3023406" y="3175996"/>
                  <a:pt x="3025284" y="3187632"/>
                  <a:pt x="3000837" y="3205086"/>
                </a:cubicBezTo>
                <a:cubicBezTo>
                  <a:pt x="3117434" y="3228357"/>
                  <a:pt x="3282928" y="3129452"/>
                  <a:pt x="3314898" y="3097454"/>
                </a:cubicBezTo>
                <a:cubicBezTo>
                  <a:pt x="3217106" y="3048002"/>
                  <a:pt x="3012119" y="3109090"/>
                  <a:pt x="2965106" y="3129452"/>
                </a:cubicBezTo>
                <a:cubicBezTo>
                  <a:pt x="2966986" y="3126544"/>
                  <a:pt x="3028107" y="3096000"/>
                  <a:pt x="3092282" y="3068728"/>
                </a:cubicBezTo>
                <a:lnTo>
                  <a:pt x="3161370" y="3042620"/>
                </a:lnTo>
                <a:lnTo>
                  <a:pt x="3172911" y="3042547"/>
                </a:lnTo>
                <a:cubicBezTo>
                  <a:pt x="3200649" y="3041456"/>
                  <a:pt x="3231209" y="3037821"/>
                  <a:pt x="3237790" y="3027639"/>
                </a:cubicBezTo>
                <a:cubicBezTo>
                  <a:pt x="3230739" y="3022549"/>
                  <a:pt x="3210408" y="3026003"/>
                  <a:pt x="3183814" y="3034139"/>
                </a:cubicBezTo>
                <a:lnTo>
                  <a:pt x="3161370" y="3042620"/>
                </a:lnTo>
                <a:lnTo>
                  <a:pt x="3136770" y="3042774"/>
                </a:lnTo>
                <a:cubicBezTo>
                  <a:pt x="3127661" y="3042547"/>
                  <a:pt x="3122608" y="3042184"/>
                  <a:pt x="3124955" y="3042183"/>
                </a:cubicBezTo>
                <a:cubicBezTo>
                  <a:pt x="3143763" y="3042184"/>
                  <a:pt x="3147524" y="3033457"/>
                  <a:pt x="3140003" y="3016003"/>
                </a:cubicBezTo>
                <a:cubicBezTo>
                  <a:pt x="3143763" y="3024731"/>
                  <a:pt x="3147995" y="3028366"/>
                  <a:pt x="3152698" y="3026549"/>
                </a:cubicBezTo>
                <a:lnTo>
                  <a:pt x="3155489" y="3022556"/>
                </a:lnTo>
                <a:lnTo>
                  <a:pt x="3151285" y="3039274"/>
                </a:lnTo>
                <a:cubicBezTo>
                  <a:pt x="3147523" y="2989822"/>
                  <a:pt x="3281048" y="2984005"/>
                  <a:pt x="3292330" y="2984005"/>
                </a:cubicBezTo>
                <a:cubicBezTo>
                  <a:pt x="3286689" y="2984005"/>
                  <a:pt x="3262241" y="2995641"/>
                  <a:pt x="3262239" y="3007277"/>
                </a:cubicBezTo>
                <a:cubicBezTo>
                  <a:pt x="3354391" y="2914190"/>
                  <a:pt x="3713584" y="2835648"/>
                  <a:pt x="3820775" y="2835647"/>
                </a:cubicBezTo>
                <a:cubicBezTo>
                  <a:pt x="3807612" y="2824012"/>
                  <a:pt x="3805732" y="2818194"/>
                  <a:pt x="3788808" y="2826921"/>
                </a:cubicBezTo>
                <a:cubicBezTo>
                  <a:pt x="3788807" y="2824012"/>
                  <a:pt x="3786926" y="2824012"/>
                  <a:pt x="3783164" y="2824012"/>
                </a:cubicBezTo>
                <a:cubicBezTo>
                  <a:pt x="3815133" y="2789105"/>
                  <a:pt x="3839584" y="2809467"/>
                  <a:pt x="3841464" y="2847283"/>
                </a:cubicBezTo>
                <a:cubicBezTo>
                  <a:pt x="3862150" y="2850193"/>
                  <a:pt x="3936434" y="2816740"/>
                  <a:pt x="4007190" y="2786559"/>
                </a:cubicBezTo>
                <a:lnTo>
                  <a:pt x="4075323" y="2759786"/>
                </a:lnTo>
                <a:lnTo>
                  <a:pt x="4118496" y="2748334"/>
                </a:lnTo>
                <a:lnTo>
                  <a:pt x="4148046" y="2745790"/>
                </a:lnTo>
                <a:lnTo>
                  <a:pt x="4151759" y="2771650"/>
                </a:lnTo>
                <a:cubicBezTo>
                  <a:pt x="4195014" y="2736743"/>
                  <a:pt x="4307848" y="2757106"/>
                  <a:pt x="4317252" y="2748379"/>
                </a:cubicBezTo>
                <a:cubicBezTo>
                  <a:pt x="4310670" y="2744015"/>
                  <a:pt x="4342640" y="2724381"/>
                  <a:pt x="4376490" y="2706926"/>
                </a:cubicBezTo>
                <a:lnTo>
                  <a:pt x="4415131" y="2688774"/>
                </a:lnTo>
                <a:lnTo>
                  <a:pt x="4424217" y="2689682"/>
                </a:lnTo>
                <a:lnTo>
                  <a:pt x="4423976" y="2693155"/>
                </a:lnTo>
                <a:cubicBezTo>
                  <a:pt x="4425679" y="2693768"/>
                  <a:pt x="4428383" y="2693211"/>
                  <a:pt x="4432188" y="2690955"/>
                </a:cubicBezTo>
                <a:lnTo>
                  <a:pt x="4432698" y="2690529"/>
                </a:lnTo>
                <a:lnTo>
                  <a:pt x="4446248" y="2691883"/>
                </a:lnTo>
                <a:lnTo>
                  <a:pt x="4451810" y="2691993"/>
                </a:lnTo>
                <a:lnTo>
                  <a:pt x="4448893" y="2698927"/>
                </a:lnTo>
                <a:cubicBezTo>
                  <a:pt x="4452654" y="2701836"/>
                  <a:pt x="4456885" y="2698927"/>
                  <a:pt x="4459004" y="2694927"/>
                </a:cubicBezTo>
                <a:lnTo>
                  <a:pt x="4458313" y="2692123"/>
                </a:lnTo>
                <a:lnTo>
                  <a:pt x="4467123" y="2692298"/>
                </a:lnTo>
                <a:lnTo>
                  <a:pt x="4461793" y="2702564"/>
                </a:lnTo>
                <a:cubicBezTo>
                  <a:pt x="4458296" y="2706745"/>
                  <a:pt x="4453597" y="2709835"/>
                  <a:pt x="4447013" y="2710563"/>
                </a:cubicBezTo>
                <a:cubicBezTo>
                  <a:pt x="4478982" y="2736743"/>
                  <a:pt x="4490266" y="2687290"/>
                  <a:pt x="4501550" y="2684382"/>
                </a:cubicBezTo>
                <a:cubicBezTo>
                  <a:pt x="4498965" y="2689110"/>
                  <a:pt x="4492499" y="2691609"/>
                  <a:pt x="4483000" y="2692615"/>
                </a:cubicBezTo>
                <a:lnTo>
                  <a:pt x="4467123" y="2692298"/>
                </a:lnTo>
                <a:lnTo>
                  <a:pt x="4469348" y="2688019"/>
                </a:lnTo>
                <a:cubicBezTo>
                  <a:pt x="4472872" y="2677837"/>
                  <a:pt x="4474281" y="2668383"/>
                  <a:pt x="4478982" y="2669837"/>
                </a:cubicBezTo>
                <a:cubicBezTo>
                  <a:pt x="4452656" y="2652383"/>
                  <a:pt x="4432438" y="2666928"/>
                  <a:pt x="4424915" y="2679655"/>
                </a:cubicBezTo>
                <a:lnTo>
                  <a:pt x="4424582" y="2684435"/>
                </a:lnTo>
                <a:lnTo>
                  <a:pt x="4424094" y="2684564"/>
                </a:lnTo>
                <a:lnTo>
                  <a:pt x="4415131" y="2688774"/>
                </a:lnTo>
                <a:lnTo>
                  <a:pt x="4338410" y="2681109"/>
                </a:lnTo>
                <a:cubicBezTo>
                  <a:pt x="4278113" y="2677018"/>
                  <a:pt x="4213320" y="2679269"/>
                  <a:pt x="4166840" y="2707648"/>
                </a:cubicBezTo>
                <a:lnTo>
                  <a:pt x="4130686" y="2742243"/>
                </a:lnTo>
                <a:lnTo>
                  <a:pt x="4103539" y="2748698"/>
                </a:lnTo>
                <a:lnTo>
                  <a:pt x="4075323" y="2759786"/>
                </a:lnTo>
                <a:lnTo>
                  <a:pt x="4067602" y="2761833"/>
                </a:lnTo>
                <a:cubicBezTo>
                  <a:pt x="4031871" y="2771651"/>
                  <a:pt x="3996610" y="2780378"/>
                  <a:pt x="3986270" y="2771651"/>
                </a:cubicBezTo>
                <a:cubicBezTo>
                  <a:pt x="3986270" y="2771651"/>
                  <a:pt x="4006955" y="2754197"/>
                  <a:pt x="4006955" y="2754197"/>
                </a:cubicBezTo>
                <a:cubicBezTo>
                  <a:pt x="4006013" y="2752742"/>
                  <a:pt x="3992378" y="2751288"/>
                  <a:pt x="3982038" y="2752378"/>
                </a:cubicBezTo>
                <a:lnTo>
                  <a:pt x="3978910" y="2753473"/>
                </a:lnTo>
                <a:lnTo>
                  <a:pt x="3979684" y="2748794"/>
                </a:lnTo>
                <a:cubicBezTo>
                  <a:pt x="3991177" y="2721471"/>
                  <a:pt x="4037044" y="2772378"/>
                  <a:pt x="4116028" y="2716380"/>
                </a:cubicBezTo>
                <a:cubicBezTo>
                  <a:pt x="4122610" y="2714198"/>
                  <a:pt x="4115323" y="2714017"/>
                  <a:pt x="4100719" y="2715154"/>
                </a:cubicBezTo>
                <a:lnTo>
                  <a:pt x="4051136" y="2720749"/>
                </a:lnTo>
                <a:lnTo>
                  <a:pt x="4056084" y="2713836"/>
                </a:lnTo>
                <a:cubicBezTo>
                  <a:pt x="4057494" y="2710927"/>
                  <a:pt x="4054909" y="2712018"/>
                  <a:pt x="4051149" y="2714927"/>
                </a:cubicBezTo>
                <a:lnTo>
                  <a:pt x="4044592" y="2721487"/>
                </a:lnTo>
                <a:lnTo>
                  <a:pt x="4041509" y="2721835"/>
                </a:lnTo>
                <a:cubicBezTo>
                  <a:pt x="3996140" y="2728016"/>
                  <a:pt x="3947717" y="2736744"/>
                  <a:pt x="3948656" y="2742561"/>
                </a:cubicBezTo>
                <a:cubicBezTo>
                  <a:pt x="3997550" y="2713472"/>
                  <a:pt x="3820774" y="2783286"/>
                  <a:pt x="3826418" y="2789105"/>
                </a:cubicBezTo>
                <a:cubicBezTo>
                  <a:pt x="3839583" y="2742561"/>
                  <a:pt x="3589463" y="2812376"/>
                  <a:pt x="3542449" y="2832739"/>
                </a:cubicBezTo>
                <a:cubicBezTo>
                  <a:pt x="3531166" y="2858919"/>
                  <a:pt x="3059137" y="2905463"/>
                  <a:pt x="2965106" y="2917099"/>
                </a:cubicBezTo>
                <a:cubicBezTo>
                  <a:pt x="2978270" y="2920008"/>
                  <a:pt x="2985793" y="2911280"/>
                  <a:pt x="2985793" y="2893827"/>
                </a:cubicBezTo>
                <a:cubicBezTo>
                  <a:pt x="2968869" y="2920008"/>
                  <a:pt x="2972629" y="2890918"/>
                  <a:pt x="2951943" y="2899645"/>
                </a:cubicBezTo>
                <a:cubicBezTo>
                  <a:pt x="2948182" y="2914190"/>
                  <a:pt x="2951943" y="2925825"/>
                  <a:pt x="2966988" y="2931644"/>
                </a:cubicBezTo>
                <a:cubicBezTo>
                  <a:pt x="2940659" y="2917099"/>
                  <a:pt x="2865434" y="2954915"/>
                  <a:pt x="2903047" y="2908371"/>
                </a:cubicBezTo>
                <a:cubicBezTo>
                  <a:pt x="2769525" y="2789105"/>
                  <a:pt x="2122599" y="3065455"/>
                  <a:pt x="1990958" y="3091637"/>
                </a:cubicBezTo>
                <a:cubicBezTo>
                  <a:pt x="1880943" y="3114908"/>
                  <a:pt x="1764817" y="3138180"/>
                  <a:pt x="1650335" y="3161451"/>
                </a:cubicBezTo>
                <a:lnTo>
                  <a:pt x="1561147" y="3179817"/>
                </a:lnTo>
                <a:lnTo>
                  <a:pt x="1562183" y="3175996"/>
                </a:lnTo>
                <a:cubicBezTo>
                  <a:pt x="1559362" y="3171633"/>
                  <a:pt x="1557010" y="3173088"/>
                  <a:pt x="1554896" y="3176360"/>
                </a:cubicBezTo>
                <a:lnTo>
                  <a:pt x="1552125" y="3181676"/>
                </a:lnTo>
                <a:lnTo>
                  <a:pt x="1480818" y="3196359"/>
                </a:lnTo>
                <a:cubicBezTo>
                  <a:pt x="1425369" y="3207995"/>
                  <a:pt x="1371303" y="3219631"/>
                  <a:pt x="1319585" y="3231267"/>
                </a:cubicBezTo>
                <a:cubicBezTo>
                  <a:pt x="1313944" y="3173087"/>
                  <a:pt x="826870" y="3356351"/>
                  <a:pt x="746005" y="3295264"/>
                </a:cubicBezTo>
                <a:cubicBezTo>
                  <a:pt x="779855" y="3263265"/>
                  <a:pt x="922781" y="3237084"/>
                  <a:pt x="919019" y="3234174"/>
                </a:cubicBezTo>
                <a:cubicBezTo>
                  <a:pt x="948169" y="3197813"/>
                  <a:pt x="1108020" y="3146906"/>
                  <a:pt x="1267165" y="3108363"/>
                </a:cubicBezTo>
                <a:lnTo>
                  <a:pt x="1337955" y="3092553"/>
                </a:lnTo>
                <a:lnTo>
                  <a:pt x="1356210" y="3096586"/>
                </a:lnTo>
                <a:cubicBezTo>
                  <a:pt x="1386487" y="3100034"/>
                  <a:pt x="1424003" y="3098886"/>
                  <a:pt x="1466360" y="3094318"/>
                </a:cubicBezTo>
                <a:lnTo>
                  <a:pt x="1592898" y="3073602"/>
                </a:lnTo>
                <a:lnTo>
                  <a:pt x="1582868" y="3082909"/>
                </a:lnTo>
                <a:cubicBezTo>
                  <a:pt x="1584280" y="3082909"/>
                  <a:pt x="1592271" y="3079636"/>
                  <a:pt x="1603467" y="3074774"/>
                </a:cubicBezTo>
                <a:lnTo>
                  <a:pt x="1616668" y="3068912"/>
                </a:lnTo>
                <a:lnTo>
                  <a:pt x="1759409" y="3035275"/>
                </a:lnTo>
                <a:lnTo>
                  <a:pt x="1797302" y="3024786"/>
                </a:lnTo>
                <a:lnTo>
                  <a:pt x="1823792" y="3018776"/>
                </a:lnTo>
                <a:lnTo>
                  <a:pt x="1851838" y="3009689"/>
                </a:lnTo>
                <a:lnTo>
                  <a:pt x="1913527" y="2992613"/>
                </a:lnTo>
                <a:cubicBezTo>
                  <a:pt x="2013162" y="2963601"/>
                  <a:pt x="2103379" y="2935024"/>
                  <a:pt x="2164991" y="2916285"/>
                </a:cubicBezTo>
                <a:lnTo>
                  <a:pt x="2181536" y="2911364"/>
                </a:lnTo>
                <a:lnTo>
                  <a:pt x="2224466" y="2909889"/>
                </a:lnTo>
                <a:cubicBezTo>
                  <a:pt x="2240844" y="2912781"/>
                  <a:pt x="2253066" y="2919644"/>
                  <a:pt x="2259882" y="2931644"/>
                </a:cubicBezTo>
                <a:cubicBezTo>
                  <a:pt x="2281745" y="2933825"/>
                  <a:pt x="2358350" y="2904099"/>
                  <a:pt x="2447749" y="2869311"/>
                </a:cubicBezTo>
                <a:lnTo>
                  <a:pt x="2516397" y="2842866"/>
                </a:lnTo>
                <a:lnTo>
                  <a:pt x="2541503" y="2838193"/>
                </a:lnTo>
                <a:cubicBezTo>
                  <a:pt x="2650576" y="2817467"/>
                  <a:pt x="2752598" y="2796378"/>
                  <a:pt x="2807136" y="2777469"/>
                </a:cubicBezTo>
                <a:cubicBezTo>
                  <a:pt x="2786450" y="2746925"/>
                  <a:pt x="2664213" y="2786923"/>
                  <a:pt x="2539856" y="2833829"/>
                </a:cubicBezTo>
                <a:lnTo>
                  <a:pt x="2516397" y="2842866"/>
                </a:lnTo>
                <a:lnTo>
                  <a:pt x="2377658" y="2868692"/>
                </a:lnTo>
                <a:cubicBezTo>
                  <a:pt x="2324647" y="2878555"/>
                  <a:pt x="2274930" y="2888009"/>
                  <a:pt x="2233555" y="2896736"/>
                </a:cubicBezTo>
                <a:cubicBezTo>
                  <a:pt x="2226504" y="2898373"/>
                  <a:pt x="2217064" y="2900917"/>
                  <a:pt x="2205536" y="2904225"/>
                </a:cubicBezTo>
                <a:lnTo>
                  <a:pt x="2181536" y="2911364"/>
                </a:lnTo>
                <a:lnTo>
                  <a:pt x="2164121" y="2911963"/>
                </a:lnTo>
                <a:cubicBezTo>
                  <a:pt x="2093818" y="2923621"/>
                  <a:pt x="1997402" y="2960539"/>
                  <a:pt x="1908685" y="2991271"/>
                </a:cubicBezTo>
                <a:lnTo>
                  <a:pt x="1851838" y="3009689"/>
                </a:lnTo>
                <a:lnTo>
                  <a:pt x="1797302" y="3024786"/>
                </a:lnTo>
                <a:lnTo>
                  <a:pt x="1751545" y="3035167"/>
                </a:lnTo>
                <a:cubicBezTo>
                  <a:pt x="1730408" y="3038002"/>
                  <a:pt x="1712629" y="3037821"/>
                  <a:pt x="1699465" y="3033457"/>
                </a:cubicBezTo>
                <a:cubicBezTo>
                  <a:pt x="1699465" y="3032003"/>
                  <a:pt x="1671727" y="3044366"/>
                  <a:pt x="1643284" y="3057092"/>
                </a:cubicBezTo>
                <a:lnTo>
                  <a:pt x="1616668" y="3068912"/>
                </a:lnTo>
                <a:lnTo>
                  <a:pt x="1605558" y="3071530"/>
                </a:lnTo>
                <a:lnTo>
                  <a:pt x="1592898" y="3073602"/>
                </a:lnTo>
                <a:lnTo>
                  <a:pt x="1611078" y="3056729"/>
                </a:lnTo>
                <a:cubicBezTo>
                  <a:pt x="1591333" y="3046911"/>
                  <a:pt x="1497273" y="3059183"/>
                  <a:pt x="1384338" y="3082194"/>
                </a:cubicBezTo>
                <a:lnTo>
                  <a:pt x="1337955" y="3092553"/>
                </a:lnTo>
                <a:lnTo>
                  <a:pt x="1316524" y="3087818"/>
                </a:lnTo>
                <a:lnTo>
                  <a:pt x="1303566" y="3079886"/>
                </a:lnTo>
                <a:lnTo>
                  <a:pt x="1314178" y="3078545"/>
                </a:lnTo>
                <a:cubicBezTo>
                  <a:pt x="1318176" y="3077091"/>
                  <a:pt x="1321467" y="3074183"/>
                  <a:pt x="1321466" y="3068364"/>
                </a:cubicBezTo>
                <a:cubicBezTo>
                  <a:pt x="1317705" y="3066910"/>
                  <a:pt x="1313005" y="3067637"/>
                  <a:pt x="1309242" y="3069819"/>
                </a:cubicBezTo>
                <a:lnTo>
                  <a:pt x="1302970" y="3079521"/>
                </a:lnTo>
                <a:lnTo>
                  <a:pt x="1289496" y="3071274"/>
                </a:lnTo>
                <a:cubicBezTo>
                  <a:pt x="1285499" y="3076001"/>
                  <a:pt x="1277685" y="3081227"/>
                  <a:pt x="1267018" y="3086694"/>
                </a:cubicBezTo>
                <a:lnTo>
                  <a:pt x="1248404" y="3094618"/>
                </a:lnTo>
                <a:lnTo>
                  <a:pt x="1248124" y="3094546"/>
                </a:lnTo>
                <a:lnTo>
                  <a:pt x="1245989" y="3095647"/>
                </a:lnTo>
                <a:lnTo>
                  <a:pt x="1227437" y="3103544"/>
                </a:lnTo>
                <a:cubicBezTo>
                  <a:pt x="1135052" y="3137635"/>
                  <a:pt x="974968" y="3170906"/>
                  <a:pt x="956631" y="3146906"/>
                </a:cubicBezTo>
                <a:cubicBezTo>
                  <a:pt x="981078" y="3120726"/>
                  <a:pt x="1043138" y="3106180"/>
                  <a:pt x="992362" y="3097454"/>
                </a:cubicBezTo>
                <a:cubicBezTo>
                  <a:pt x="996123" y="3129452"/>
                  <a:pt x="887049" y="3173087"/>
                  <a:pt x="868243" y="3149815"/>
                </a:cubicBezTo>
                <a:cubicBezTo>
                  <a:pt x="926071" y="3158542"/>
                  <a:pt x="830514" y="3139452"/>
                  <a:pt x="794196" y="3147770"/>
                </a:cubicBezTo>
                <a:lnTo>
                  <a:pt x="782690" y="3154069"/>
                </a:lnTo>
                <a:lnTo>
                  <a:pt x="781266" y="3139634"/>
                </a:lnTo>
                <a:cubicBezTo>
                  <a:pt x="780326" y="3123635"/>
                  <a:pt x="780796" y="3107635"/>
                  <a:pt x="785497" y="3111999"/>
                </a:cubicBezTo>
                <a:cubicBezTo>
                  <a:pt x="772332" y="3132361"/>
                  <a:pt x="766692" y="3132361"/>
                  <a:pt x="762930" y="3109090"/>
                </a:cubicBezTo>
                <a:cubicBezTo>
                  <a:pt x="717796" y="3109090"/>
                  <a:pt x="777974" y="3135271"/>
                  <a:pt x="768572" y="3129452"/>
                </a:cubicBezTo>
                <a:cubicBezTo>
                  <a:pt x="757287" y="3143997"/>
                  <a:pt x="749766" y="3117816"/>
                  <a:pt x="740362" y="3138180"/>
                </a:cubicBezTo>
                <a:cubicBezTo>
                  <a:pt x="762929" y="3152725"/>
                  <a:pt x="751646" y="3155634"/>
                  <a:pt x="704631" y="3149815"/>
                </a:cubicBezTo>
                <a:cubicBezTo>
                  <a:pt x="832512" y="3071274"/>
                  <a:pt x="616243" y="3164360"/>
                  <a:pt x="616243" y="3164360"/>
                </a:cubicBezTo>
                <a:cubicBezTo>
                  <a:pt x="670780" y="3138180"/>
                  <a:pt x="563588" y="3146906"/>
                  <a:pt x="518453" y="3173087"/>
                </a:cubicBezTo>
                <a:cubicBezTo>
                  <a:pt x="519394" y="3126544"/>
                  <a:pt x="509051" y="3127998"/>
                  <a:pt x="493770" y="3142544"/>
                </a:cubicBezTo>
                <a:lnTo>
                  <a:pt x="489886" y="3146644"/>
                </a:lnTo>
                <a:lnTo>
                  <a:pt x="487424" y="3142953"/>
                </a:lnTo>
                <a:cubicBezTo>
                  <a:pt x="486247" y="3141907"/>
                  <a:pt x="486483" y="3143452"/>
                  <a:pt x="487424" y="3145816"/>
                </a:cubicBezTo>
                <a:lnTo>
                  <a:pt x="488609" y="3147993"/>
                </a:lnTo>
                <a:lnTo>
                  <a:pt x="467940" y="3169815"/>
                </a:lnTo>
                <a:lnTo>
                  <a:pt x="450941" y="3182190"/>
                </a:lnTo>
                <a:lnTo>
                  <a:pt x="445816" y="3165088"/>
                </a:lnTo>
                <a:lnTo>
                  <a:pt x="439205" y="3153368"/>
                </a:lnTo>
                <a:lnTo>
                  <a:pt x="456012" y="3141043"/>
                </a:lnTo>
                <a:cubicBezTo>
                  <a:pt x="466502" y="3132726"/>
                  <a:pt x="433355" y="3153452"/>
                  <a:pt x="431946" y="3138180"/>
                </a:cubicBezTo>
                <a:cubicBezTo>
                  <a:pt x="501527" y="3091637"/>
                  <a:pt x="495886" y="3149815"/>
                  <a:pt x="537258" y="3129452"/>
                </a:cubicBezTo>
                <a:cubicBezTo>
                  <a:pt x="527855" y="3068364"/>
                  <a:pt x="791138" y="3045093"/>
                  <a:pt x="783616" y="3016003"/>
                </a:cubicBezTo>
                <a:cubicBezTo>
                  <a:pt x="772333" y="3024731"/>
                  <a:pt x="768571" y="3021821"/>
                  <a:pt x="772332" y="3007277"/>
                </a:cubicBezTo>
                <a:cubicBezTo>
                  <a:pt x="800542" y="3007276"/>
                  <a:pt x="802422" y="3018912"/>
                  <a:pt x="777974" y="3036366"/>
                </a:cubicBezTo>
                <a:cubicBezTo>
                  <a:pt x="894571" y="3059638"/>
                  <a:pt x="1060063" y="2960733"/>
                  <a:pt x="1092035" y="2928735"/>
                </a:cubicBezTo>
                <a:cubicBezTo>
                  <a:pt x="994244" y="2879283"/>
                  <a:pt x="789259" y="2940370"/>
                  <a:pt x="742243" y="2960733"/>
                </a:cubicBezTo>
                <a:cubicBezTo>
                  <a:pt x="744123" y="2957824"/>
                  <a:pt x="805243" y="2927280"/>
                  <a:pt x="869418" y="2900008"/>
                </a:cubicBezTo>
                <a:lnTo>
                  <a:pt x="938507" y="2873900"/>
                </a:lnTo>
                <a:lnTo>
                  <a:pt x="950050" y="2873828"/>
                </a:lnTo>
                <a:cubicBezTo>
                  <a:pt x="977787" y="2872737"/>
                  <a:pt x="1008348" y="2869101"/>
                  <a:pt x="1014930" y="2858919"/>
                </a:cubicBezTo>
                <a:cubicBezTo>
                  <a:pt x="1007877" y="2853829"/>
                  <a:pt x="987543" y="2857283"/>
                  <a:pt x="960952" y="2865419"/>
                </a:cubicBezTo>
                <a:lnTo>
                  <a:pt x="938507" y="2873900"/>
                </a:lnTo>
                <a:lnTo>
                  <a:pt x="913906" y="2874055"/>
                </a:lnTo>
                <a:cubicBezTo>
                  <a:pt x="904797" y="2873828"/>
                  <a:pt x="899745" y="2873464"/>
                  <a:pt x="902095" y="2873464"/>
                </a:cubicBezTo>
                <a:cubicBezTo>
                  <a:pt x="920901" y="2873464"/>
                  <a:pt x="924662" y="2864738"/>
                  <a:pt x="917138" y="2847283"/>
                </a:cubicBezTo>
                <a:cubicBezTo>
                  <a:pt x="920901" y="2856011"/>
                  <a:pt x="925132" y="2859646"/>
                  <a:pt x="929833" y="2857829"/>
                </a:cubicBezTo>
                <a:lnTo>
                  <a:pt x="932626" y="2853835"/>
                </a:lnTo>
                <a:lnTo>
                  <a:pt x="928423" y="2870555"/>
                </a:lnTo>
                <a:cubicBezTo>
                  <a:pt x="924662" y="2821103"/>
                  <a:pt x="1058184" y="2815285"/>
                  <a:pt x="1069466" y="2815286"/>
                </a:cubicBezTo>
                <a:cubicBezTo>
                  <a:pt x="1063825" y="2815285"/>
                  <a:pt x="1039378" y="2826921"/>
                  <a:pt x="1039377" y="2838557"/>
                </a:cubicBezTo>
                <a:cubicBezTo>
                  <a:pt x="1131526" y="2745470"/>
                  <a:pt x="1490719" y="2666928"/>
                  <a:pt x="1597913" y="2666928"/>
                </a:cubicBezTo>
                <a:cubicBezTo>
                  <a:pt x="1584749" y="2655292"/>
                  <a:pt x="1582868" y="2649474"/>
                  <a:pt x="1565943" y="2658201"/>
                </a:cubicBezTo>
                <a:cubicBezTo>
                  <a:pt x="1565944" y="2655292"/>
                  <a:pt x="1564062" y="2655292"/>
                  <a:pt x="1560301" y="2655292"/>
                </a:cubicBezTo>
                <a:cubicBezTo>
                  <a:pt x="1592271" y="2620385"/>
                  <a:pt x="1616719" y="2640748"/>
                  <a:pt x="1618601" y="2678564"/>
                </a:cubicBezTo>
                <a:cubicBezTo>
                  <a:pt x="1639287" y="2681473"/>
                  <a:pt x="1713570" y="2648021"/>
                  <a:pt x="1784328" y="2617840"/>
                </a:cubicBezTo>
                <a:lnTo>
                  <a:pt x="1852459" y="2591067"/>
                </a:lnTo>
                <a:lnTo>
                  <a:pt x="1895637" y="2579615"/>
                </a:lnTo>
                <a:cubicBezTo>
                  <a:pt x="1910683" y="2576206"/>
                  <a:pt x="1922788" y="2574569"/>
                  <a:pt x="1928899" y="2576751"/>
                </a:cubicBezTo>
                <a:cubicBezTo>
                  <a:pt x="1925609" y="2568751"/>
                  <a:pt x="1907154" y="2571478"/>
                  <a:pt x="1880679" y="2579977"/>
                </a:cubicBezTo>
                <a:lnTo>
                  <a:pt x="1852459" y="2591067"/>
                </a:lnTo>
                <a:lnTo>
                  <a:pt x="1844740" y="2593113"/>
                </a:lnTo>
                <a:cubicBezTo>
                  <a:pt x="1809011" y="2602931"/>
                  <a:pt x="1773750" y="2611659"/>
                  <a:pt x="1763406" y="2602931"/>
                </a:cubicBezTo>
                <a:cubicBezTo>
                  <a:pt x="1763406" y="2602931"/>
                  <a:pt x="1784092" y="2585477"/>
                  <a:pt x="1784092" y="2585477"/>
                </a:cubicBezTo>
                <a:cubicBezTo>
                  <a:pt x="1783152" y="2584023"/>
                  <a:pt x="1769518" y="2582569"/>
                  <a:pt x="1759176" y="2583660"/>
                </a:cubicBezTo>
                <a:lnTo>
                  <a:pt x="1756047" y="2584753"/>
                </a:lnTo>
                <a:lnTo>
                  <a:pt x="1756820" y="2580074"/>
                </a:lnTo>
                <a:cubicBezTo>
                  <a:pt x="1768313" y="2552752"/>
                  <a:pt x="1814183" y="2603658"/>
                  <a:pt x="1893167" y="2547661"/>
                </a:cubicBezTo>
                <a:cubicBezTo>
                  <a:pt x="1899749" y="2545480"/>
                  <a:pt x="1892462" y="2545297"/>
                  <a:pt x="1877859" y="2546434"/>
                </a:cubicBezTo>
                <a:lnTo>
                  <a:pt x="1826847" y="2552190"/>
                </a:lnTo>
                <a:lnTo>
                  <a:pt x="1831519" y="2546933"/>
                </a:lnTo>
                <a:cubicBezTo>
                  <a:pt x="1846799" y="2528299"/>
                  <a:pt x="1828288" y="2541480"/>
                  <a:pt x="1820059" y="2552388"/>
                </a:cubicBezTo>
                <a:lnTo>
                  <a:pt x="1819934" y="2552971"/>
                </a:lnTo>
                <a:lnTo>
                  <a:pt x="1818649" y="2553115"/>
                </a:lnTo>
                <a:cubicBezTo>
                  <a:pt x="1773279" y="2559296"/>
                  <a:pt x="1724854" y="2568024"/>
                  <a:pt x="1725794" y="2573841"/>
                </a:cubicBezTo>
                <a:cubicBezTo>
                  <a:pt x="1774691" y="2544751"/>
                  <a:pt x="1597914" y="2614567"/>
                  <a:pt x="1603556" y="2620385"/>
                </a:cubicBezTo>
                <a:cubicBezTo>
                  <a:pt x="1616719" y="2573841"/>
                  <a:pt x="1366600" y="2643657"/>
                  <a:pt x="1319585" y="2664019"/>
                </a:cubicBezTo>
                <a:cubicBezTo>
                  <a:pt x="1308302" y="2690200"/>
                  <a:pt x="836273" y="2736743"/>
                  <a:pt x="742243" y="2748379"/>
                </a:cubicBezTo>
                <a:cubicBezTo>
                  <a:pt x="755407" y="2751287"/>
                  <a:pt x="762929" y="2742561"/>
                  <a:pt x="762930" y="2725107"/>
                </a:cubicBezTo>
                <a:cubicBezTo>
                  <a:pt x="746005" y="2751287"/>
                  <a:pt x="749767" y="2722199"/>
                  <a:pt x="729078" y="2730925"/>
                </a:cubicBezTo>
                <a:cubicBezTo>
                  <a:pt x="725318" y="2745470"/>
                  <a:pt x="729078" y="2757106"/>
                  <a:pt x="744123" y="2762924"/>
                </a:cubicBezTo>
                <a:cubicBezTo>
                  <a:pt x="717795" y="2748379"/>
                  <a:pt x="642572" y="2786196"/>
                  <a:pt x="680184" y="2739652"/>
                </a:cubicBezTo>
                <a:cubicBezTo>
                  <a:pt x="625647" y="2693109"/>
                  <a:pt x="614364" y="2760015"/>
                  <a:pt x="574870" y="2733834"/>
                </a:cubicBezTo>
                <a:cubicBezTo>
                  <a:pt x="596028" y="2703290"/>
                  <a:pt x="677480" y="2672747"/>
                  <a:pt x="729579" y="2659383"/>
                </a:cubicBezTo>
                <a:lnTo>
                  <a:pt x="768256" y="2652440"/>
                </a:lnTo>
                <a:lnTo>
                  <a:pt x="768689" y="2654792"/>
                </a:lnTo>
                <a:cubicBezTo>
                  <a:pt x="772215" y="2669110"/>
                  <a:pt x="787377" y="2708381"/>
                  <a:pt x="826870" y="2675654"/>
                </a:cubicBezTo>
                <a:cubicBezTo>
                  <a:pt x="808065" y="2643656"/>
                  <a:pt x="800543" y="2655292"/>
                  <a:pt x="813705" y="2649474"/>
                </a:cubicBezTo>
                <a:cubicBezTo>
                  <a:pt x="812766" y="2636384"/>
                  <a:pt x="779855" y="2641475"/>
                  <a:pt x="743419" y="2650929"/>
                </a:cubicBezTo>
                <a:lnTo>
                  <a:pt x="694733" y="2665176"/>
                </a:lnTo>
                <a:lnTo>
                  <a:pt x="698343" y="2660020"/>
                </a:lnTo>
                <a:cubicBezTo>
                  <a:pt x="698638" y="2658929"/>
                  <a:pt x="697344" y="2659656"/>
                  <a:pt x="695699" y="2661111"/>
                </a:cubicBezTo>
                <a:lnTo>
                  <a:pt x="693562" y="2665518"/>
                </a:lnTo>
                <a:lnTo>
                  <a:pt x="689675" y="2666656"/>
                </a:lnTo>
                <a:lnTo>
                  <a:pt x="688661" y="2666976"/>
                </a:lnTo>
                <a:lnTo>
                  <a:pt x="683710" y="2664020"/>
                </a:lnTo>
                <a:cubicBezTo>
                  <a:pt x="681711" y="2663656"/>
                  <a:pt x="679891" y="2664020"/>
                  <a:pt x="679744" y="2665383"/>
                </a:cubicBezTo>
                <a:lnTo>
                  <a:pt x="682633" y="2668881"/>
                </a:lnTo>
                <a:lnTo>
                  <a:pt x="651975" y="2678564"/>
                </a:lnTo>
                <a:cubicBezTo>
                  <a:pt x="695227" y="2623293"/>
                  <a:pt x="588035" y="2652383"/>
                  <a:pt x="533498" y="2655292"/>
                </a:cubicBezTo>
                <a:cubicBezTo>
                  <a:pt x="572990" y="2632021"/>
                  <a:pt x="552304" y="2646566"/>
                  <a:pt x="537258" y="2649474"/>
                </a:cubicBezTo>
                <a:cubicBezTo>
                  <a:pt x="542899" y="2643657"/>
                  <a:pt x="580512" y="2602931"/>
                  <a:pt x="586154" y="2611658"/>
                </a:cubicBezTo>
                <a:cubicBezTo>
                  <a:pt x="576752" y="2614567"/>
                  <a:pt x="564526" y="2610204"/>
                  <a:pt x="553245" y="2607659"/>
                </a:cubicBezTo>
                <a:lnTo>
                  <a:pt x="540567" y="2606598"/>
                </a:lnTo>
                <a:lnTo>
                  <a:pt x="526915" y="2590204"/>
                </a:lnTo>
                <a:cubicBezTo>
                  <a:pt x="519864" y="2587659"/>
                  <a:pt x="511870" y="2589841"/>
                  <a:pt x="503408" y="2597113"/>
                </a:cubicBezTo>
                <a:cubicBezTo>
                  <a:pt x="535378" y="2515662"/>
                  <a:pt x="674542" y="2483663"/>
                  <a:pt x="730960" y="2416757"/>
                </a:cubicBezTo>
                <a:cubicBezTo>
                  <a:pt x="706513" y="2410940"/>
                  <a:pt x="712154" y="2422576"/>
                  <a:pt x="685826" y="2396395"/>
                </a:cubicBezTo>
                <a:cubicBezTo>
                  <a:pt x="742244" y="2346942"/>
                  <a:pt x="875765" y="2326580"/>
                  <a:pt x="875765" y="2277127"/>
                </a:cubicBezTo>
                <a:cubicBezTo>
                  <a:pt x="920900" y="2285854"/>
                  <a:pt x="956632" y="2221857"/>
                  <a:pt x="998004" y="2230584"/>
                </a:cubicBezTo>
                <a:cubicBezTo>
                  <a:pt x="982959" y="2216039"/>
                  <a:pt x="969796" y="2216039"/>
                  <a:pt x="954751" y="2224766"/>
                </a:cubicBezTo>
                <a:cubicBezTo>
                  <a:pt x="990013" y="2189859"/>
                  <a:pt x="1033619" y="2165678"/>
                  <a:pt x="1081927" y="2148087"/>
                </a:cubicBezTo>
                <a:lnTo>
                  <a:pt x="1110355" y="2139822"/>
                </a:lnTo>
                <a:lnTo>
                  <a:pt x="1271002" y="2106285"/>
                </a:lnTo>
                <a:lnTo>
                  <a:pt x="1399042" y="2088545"/>
                </a:lnTo>
                <a:cubicBezTo>
                  <a:pt x="1451581" y="2080773"/>
                  <a:pt x="1501534" y="2071319"/>
                  <a:pt x="1545256" y="2056047"/>
                </a:cubicBezTo>
                <a:cubicBezTo>
                  <a:pt x="1546667" y="2059683"/>
                  <a:pt x="1540790" y="2060047"/>
                  <a:pt x="1532504" y="2058729"/>
                </a:cubicBezTo>
                <a:lnTo>
                  <a:pt x="1507721" y="2051981"/>
                </a:lnTo>
                <a:lnTo>
                  <a:pt x="1507730" y="2051978"/>
                </a:lnTo>
                <a:cubicBezTo>
                  <a:pt x="1656212" y="2011685"/>
                  <a:pt x="1801489" y="1956052"/>
                  <a:pt x="1938300" y="1861146"/>
                </a:cubicBezTo>
                <a:cubicBezTo>
                  <a:pt x="1963689" y="1854601"/>
                  <a:pt x="1844153" y="1866055"/>
                  <a:pt x="1794701" y="1877100"/>
                </a:cubicBezTo>
                <a:lnTo>
                  <a:pt x="1788416" y="1878999"/>
                </a:lnTo>
                <a:lnTo>
                  <a:pt x="1805015" y="1867329"/>
                </a:lnTo>
                <a:cubicBezTo>
                  <a:pt x="1814650" y="1862601"/>
                  <a:pt x="1824526" y="1859692"/>
                  <a:pt x="1834868" y="1858237"/>
                </a:cubicBezTo>
                <a:lnTo>
                  <a:pt x="1819772" y="1841392"/>
                </a:lnTo>
                <a:lnTo>
                  <a:pt x="1823979" y="1838245"/>
                </a:lnTo>
                <a:cubicBezTo>
                  <a:pt x="1841554" y="1822989"/>
                  <a:pt x="1834105" y="1820875"/>
                  <a:pt x="1823351" y="1822239"/>
                </a:cubicBezTo>
                <a:lnTo>
                  <a:pt x="1810116" y="1825296"/>
                </a:lnTo>
                <a:lnTo>
                  <a:pt x="1814183" y="1823330"/>
                </a:lnTo>
                <a:lnTo>
                  <a:pt x="1804171" y="1826669"/>
                </a:lnTo>
                <a:lnTo>
                  <a:pt x="1804018" y="1826704"/>
                </a:lnTo>
                <a:lnTo>
                  <a:pt x="1798916" y="1822705"/>
                </a:lnTo>
                <a:lnTo>
                  <a:pt x="1827522" y="1819830"/>
                </a:lnTo>
                <a:cubicBezTo>
                  <a:pt x="1836398" y="1818966"/>
                  <a:pt x="1842861" y="1818239"/>
                  <a:pt x="1844272" y="1817512"/>
                </a:cubicBezTo>
                <a:cubicBezTo>
                  <a:pt x="1829227" y="1788422"/>
                  <a:pt x="1793495" y="1820421"/>
                  <a:pt x="1780331" y="1805876"/>
                </a:cubicBezTo>
                <a:cubicBezTo>
                  <a:pt x="1831108" y="1776786"/>
                  <a:pt x="1812302" y="1791331"/>
                  <a:pt x="1868719" y="1776786"/>
                </a:cubicBezTo>
                <a:cubicBezTo>
                  <a:pt x="1861197" y="1756424"/>
                  <a:pt x="1345915" y="1916417"/>
                  <a:pt x="1334630" y="1930961"/>
                </a:cubicBezTo>
                <a:cubicBezTo>
                  <a:pt x="1326169" y="1871328"/>
                  <a:pt x="1311593" y="1869873"/>
                  <a:pt x="1294433" y="1883327"/>
                </a:cubicBezTo>
                <a:lnTo>
                  <a:pt x="1276915" y="1900017"/>
                </a:lnTo>
                <a:lnTo>
                  <a:pt x="1275862" y="1897508"/>
                </a:lnTo>
                <a:cubicBezTo>
                  <a:pt x="1266459" y="1895326"/>
                  <a:pt x="1249065" y="1896054"/>
                  <a:pt x="1265048" y="1887327"/>
                </a:cubicBezTo>
                <a:cubicBezTo>
                  <a:pt x="1157856" y="1916417"/>
                  <a:pt x="1058183" y="1930961"/>
                  <a:pt x="958512" y="1954234"/>
                </a:cubicBezTo>
                <a:cubicBezTo>
                  <a:pt x="950989" y="1893144"/>
                  <a:pt x="422541" y="2102590"/>
                  <a:pt x="334155" y="2047320"/>
                </a:cubicBezTo>
                <a:cubicBezTo>
                  <a:pt x="369885" y="2012412"/>
                  <a:pt x="524094" y="1977505"/>
                  <a:pt x="522214" y="1974596"/>
                </a:cubicBezTo>
                <a:cubicBezTo>
                  <a:pt x="646333" y="1820421"/>
                  <a:pt x="894572" y="1962960"/>
                  <a:pt x="1020571" y="1855328"/>
                </a:cubicBezTo>
                <a:cubicBezTo>
                  <a:pt x="1022452" y="1802967"/>
                  <a:pt x="1093915" y="1811695"/>
                  <a:pt x="1231198" y="1750606"/>
                </a:cubicBezTo>
                <a:cubicBezTo>
                  <a:pt x="1197348" y="1744788"/>
                  <a:pt x="988601" y="1840783"/>
                  <a:pt x="937826" y="1794240"/>
                </a:cubicBezTo>
                <a:cubicBezTo>
                  <a:pt x="902095" y="1837875"/>
                  <a:pt x="603080" y="1919325"/>
                  <a:pt x="574871" y="1884418"/>
                </a:cubicBezTo>
                <a:cubicBezTo>
                  <a:pt x="603080" y="1855328"/>
                  <a:pt x="668900" y="1837875"/>
                  <a:pt x="614364" y="1832057"/>
                </a:cubicBezTo>
                <a:cubicBezTo>
                  <a:pt x="620005" y="1866964"/>
                  <a:pt x="499647" y="1913508"/>
                  <a:pt x="480840" y="1893145"/>
                </a:cubicBezTo>
                <a:cubicBezTo>
                  <a:pt x="512812" y="1896054"/>
                  <a:pt x="431945" y="1866964"/>
                  <a:pt x="415019" y="1916417"/>
                </a:cubicBezTo>
                <a:cubicBezTo>
                  <a:pt x="406558" y="1907689"/>
                  <a:pt x="390690" y="1876054"/>
                  <a:pt x="387252" y="1864464"/>
                </a:cubicBezTo>
                <a:lnTo>
                  <a:pt x="388547" y="1861480"/>
                </a:lnTo>
                <a:lnTo>
                  <a:pt x="389397" y="1861510"/>
                </a:lnTo>
                <a:cubicBezTo>
                  <a:pt x="392454" y="1859692"/>
                  <a:pt x="395275" y="1856783"/>
                  <a:pt x="398095" y="1855328"/>
                </a:cubicBezTo>
                <a:cubicBezTo>
                  <a:pt x="396215" y="1855328"/>
                  <a:pt x="388692" y="1846602"/>
                  <a:pt x="379288" y="1861147"/>
                </a:cubicBezTo>
                <a:lnTo>
                  <a:pt x="388348" y="1861472"/>
                </a:lnTo>
                <a:lnTo>
                  <a:pt x="372943" y="1876055"/>
                </a:lnTo>
                <a:cubicBezTo>
                  <a:pt x="368946" y="1875691"/>
                  <a:pt x="366125" y="1869873"/>
                  <a:pt x="364244" y="1858237"/>
                </a:cubicBezTo>
                <a:cubicBezTo>
                  <a:pt x="319110" y="1861147"/>
                  <a:pt x="381170" y="1884418"/>
                  <a:pt x="371766" y="1878600"/>
                </a:cubicBezTo>
                <a:cubicBezTo>
                  <a:pt x="358602" y="1893145"/>
                  <a:pt x="349200" y="1864055"/>
                  <a:pt x="339797" y="1887327"/>
                </a:cubicBezTo>
                <a:cubicBezTo>
                  <a:pt x="366125" y="1901872"/>
                  <a:pt x="352961" y="1904780"/>
                  <a:pt x="302184" y="1901872"/>
                </a:cubicBezTo>
                <a:cubicBezTo>
                  <a:pt x="441348" y="1814603"/>
                  <a:pt x="206275" y="1922234"/>
                  <a:pt x="206275" y="1922234"/>
                </a:cubicBezTo>
                <a:cubicBezTo>
                  <a:pt x="268333" y="1890236"/>
                  <a:pt x="146094" y="1910599"/>
                  <a:pt x="100961" y="1939689"/>
                </a:cubicBezTo>
                <a:cubicBezTo>
                  <a:pt x="100962" y="1867691"/>
                  <a:pt x="75574" y="1910235"/>
                  <a:pt x="45426" y="1942143"/>
                </a:cubicBezTo>
                <a:lnTo>
                  <a:pt x="26828" y="1956391"/>
                </a:lnTo>
                <a:lnTo>
                  <a:pt x="19860" y="1937143"/>
                </a:lnTo>
                <a:lnTo>
                  <a:pt x="13474" y="1927620"/>
                </a:lnTo>
                <a:lnTo>
                  <a:pt x="21505" y="1921581"/>
                </a:lnTo>
                <a:cubicBezTo>
                  <a:pt x="55857" y="1895690"/>
                  <a:pt x="6697" y="1931324"/>
                  <a:pt x="5051" y="1913508"/>
                </a:cubicBezTo>
                <a:cubicBezTo>
                  <a:pt x="78393" y="1858237"/>
                  <a:pt x="76512" y="1919325"/>
                  <a:pt x="119766" y="1893144"/>
                </a:cubicBezTo>
                <a:cubicBezTo>
                  <a:pt x="106603" y="1829147"/>
                  <a:pt x="392454" y="1782605"/>
                  <a:pt x="386811" y="1759333"/>
                </a:cubicBezTo>
                <a:cubicBezTo>
                  <a:pt x="373648" y="1768060"/>
                  <a:pt x="369885" y="1768060"/>
                  <a:pt x="373648" y="1750606"/>
                </a:cubicBezTo>
                <a:cubicBezTo>
                  <a:pt x="403735" y="1750605"/>
                  <a:pt x="405617" y="1759333"/>
                  <a:pt x="379288" y="1779695"/>
                </a:cubicBezTo>
                <a:cubicBezTo>
                  <a:pt x="445109" y="1788423"/>
                  <a:pt x="521744" y="1765878"/>
                  <a:pt x="586625" y="1736789"/>
                </a:cubicBezTo>
                <a:lnTo>
                  <a:pt x="651645" y="1702297"/>
                </a:lnTo>
                <a:lnTo>
                  <a:pt x="651976" y="1702245"/>
                </a:lnTo>
                <a:cubicBezTo>
                  <a:pt x="655736" y="1700426"/>
                  <a:pt x="659498" y="1698244"/>
                  <a:pt x="663258" y="1698244"/>
                </a:cubicBezTo>
                <a:lnTo>
                  <a:pt x="661245" y="1697205"/>
                </a:lnTo>
                <a:lnTo>
                  <a:pt x="672308" y="1691336"/>
                </a:lnTo>
                <a:cubicBezTo>
                  <a:pt x="696052" y="1676610"/>
                  <a:pt x="714035" y="1663337"/>
                  <a:pt x="723437" y="1654611"/>
                </a:cubicBezTo>
                <a:cubicBezTo>
                  <a:pt x="610602" y="1605157"/>
                  <a:pt x="398094" y="1677882"/>
                  <a:pt x="339796" y="1704063"/>
                </a:cubicBezTo>
                <a:cubicBezTo>
                  <a:pt x="343558" y="1699699"/>
                  <a:pt x="409848" y="1664064"/>
                  <a:pt x="479430" y="1632429"/>
                </a:cubicBezTo>
                <a:lnTo>
                  <a:pt x="549250" y="1604313"/>
                </a:lnTo>
                <a:lnTo>
                  <a:pt x="564997" y="1603703"/>
                </a:lnTo>
                <a:cubicBezTo>
                  <a:pt x="580748" y="1602613"/>
                  <a:pt x="597555" y="1600795"/>
                  <a:pt x="611249" y="1597795"/>
                </a:cubicBezTo>
                <a:lnTo>
                  <a:pt x="633682" y="1587214"/>
                </a:lnTo>
                <a:lnTo>
                  <a:pt x="630837" y="1593795"/>
                </a:lnTo>
                <a:cubicBezTo>
                  <a:pt x="631113" y="1597749"/>
                  <a:pt x="632933" y="1603340"/>
                  <a:pt x="636931" y="1610976"/>
                </a:cubicBezTo>
                <a:cubicBezTo>
                  <a:pt x="655736" y="1613158"/>
                  <a:pt x="663141" y="1610431"/>
                  <a:pt x="664169" y="1606067"/>
                </a:cubicBezTo>
                <a:lnTo>
                  <a:pt x="654674" y="1593378"/>
                </a:lnTo>
                <a:lnTo>
                  <a:pt x="666520" y="1592750"/>
                </a:lnTo>
                <a:cubicBezTo>
                  <a:pt x="682653" y="1586613"/>
                  <a:pt x="702751" y="1570250"/>
                  <a:pt x="719676" y="1596431"/>
                </a:cubicBezTo>
                <a:cubicBezTo>
                  <a:pt x="806889" y="1525161"/>
                  <a:pt x="695405" y="1565250"/>
                  <a:pt x="661132" y="1586130"/>
                </a:cubicBezTo>
                <a:lnTo>
                  <a:pt x="653725" y="1592109"/>
                </a:lnTo>
                <a:lnTo>
                  <a:pt x="653151" y="1591341"/>
                </a:lnTo>
                <a:lnTo>
                  <a:pt x="634876" y="1586651"/>
                </a:lnTo>
                <a:lnTo>
                  <a:pt x="638810" y="1584795"/>
                </a:lnTo>
                <a:cubicBezTo>
                  <a:pt x="630348" y="1578978"/>
                  <a:pt x="607899" y="1582977"/>
                  <a:pt x="578866" y="1592386"/>
                </a:cubicBezTo>
                <a:lnTo>
                  <a:pt x="549250" y="1604313"/>
                </a:lnTo>
                <a:lnTo>
                  <a:pt x="525094" y="1605248"/>
                </a:lnTo>
                <a:cubicBezTo>
                  <a:pt x="515632" y="1605340"/>
                  <a:pt x="511401" y="1605157"/>
                  <a:pt x="516573" y="1605157"/>
                </a:cubicBezTo>
                <a:cubicBezTo>
                  <a:pt x="537259" y="1605157"/>
                  <a:pt x="542900" y="1593522"/>
                  <a:pt x="533498" y="1576069"/>
                </a:cubicBezTo>
                <a:cubicBezTo>
                  <a:pt x="538199" y="1584795"/>
                  <a:pt x="542899" y="1587704"/>
                  <a:pt x="548072" y="1585159"/>
                </a:cubicBezTo>
                <a:lnTo>
                  <a:pt x="553091" y="1578340"/>
                </a:lnTo>
                <a:lnTo>
                  <a:pt x="548542" y="1596431"/>
                </a:lnTo>
                <a:cubicBezTo>
                  <a:pt x="544782" y="1544070"/>
                  <a:pt x="689587" y="1532434"/>
                  <a:pt x="702750" y="1532434"/>
                </a:cubicBezTo>
                <a:cubicBezTo>
                  <a:pt x="697109" y="1535343"/>
                  <a:pt x="668901" y="1546979"/>
                  <a:pt x="668900" y="1558615"/>
                </a:cubicBezTo>
                <a:cubicBezTo>
                  <a:pt x="776093" y="1456801"/>
                  <a:pt x="1161616" y="1369532"/>
                  <a:pt x="1283855" y="1369532"/>
                </a:cubicBezTo>
                <a:cubicBezTo>
                  <a:pt x="1272570" y="1352079"/>
                  <a:pt x="1259407" y="1349169"/>
                  <a:pt x="1242481" y="1357896"/>
                </a:cubicBezTo>
                <a:cubicBezTo>
                  <a:pt x="1285736" y="1314262"/>
                  <a:pt x="1304541" y="1346260"/>
                  <a:pt x="1304541" y="1381168"/>
                </a:cubicBezTo>
                <a:cubicBezTo>
                  <a:pt x="1444409" y="1396440"/>
                  <a:pt x="1736901" y="1340443"/>
                  <a:pt x="1931302" y="1232664"/>
                </a:cubicBezTo>
                <a:lnTo>
                  <a:pt x="2003939" y="1185899"/>
                </a:lnTo>
                <a:lnTo>
                  <a:pt x="2028129" y="1183404"/>
                </a:lnTo>
                <a:cubicBezTo>
                  <a:pt x="2034302" y="1182405"/>
                  <a:pt x="2019903" y="1183042"/>
                  <a:pt x="2009617" y="1184223"/>
                </a:cubicBezTo>
                <a:lnTo>
                  <a:pt x="2004936" y="1185256"/>
                </a:lnTo>
                <a:lnTo>
                  <a:pt x="2007882" y="1183359"/>
                </a:lnTo>
                <a:cubicBezTo>
                  <a:pt x="2006003" y="1186267"/>
                  <a:pt x="2006002" y="1180450"/>
                  <a:pt x="2011645" y="1174632"/>
                </a:cubicBezTo>
                <a:cubicBezTo>
                  <a:pt x="1881883" y="1212448"/>
                  <a:pt x="1426780" y="1296808"/>
                  <a:pt x="1423019" y="1276446"/>
                </a:cubicBezTo>
                <a:cubicBezTo>
                  <a:pt x="1475675" y="1250266"/>
                  <a:pt x="1283855" y="1322989"/>
                  <a:pt x="1287616" y="1325898"/>
                </a:cubicBezTo>
                <a:cubicBezTo>
                  <a:pt x="1298900" y="1290991"/>
                  <a:pt x="1035616" y="1349169"/>
                  <a:pt x="975437" y="1375350"/>
                </a:cubicBezTo>
                <a:cubicBezTo>
                  <a:pt x="958512" y="1413166"/>
                  <a:pt x="441349" y="1471346"/>
                  <a:pt x="339796" y="1488799"/>
                </a:cubicBezTo>
                <a:cubicBezTo>
                  <a:pt x="354841" y="1491708"/>
                  <a:pt x="362364" y="1485890"/>
                  <a:pt x="364244" y="1465528"/>
                </a:cubicBezTo>
                <a:cubicBezTo>
                  <a:pt x="347318" y="1488799"/>
                  <a:pt x="347318" y="1459711"/>
                  <a:pt x="326632" y="1471346"/>
                </a:cubicBezTo>
                <a:cubicBezTo>
                  <a:pt x="322872" y="1488799"/>
                  <a:pt x="328512" y="1500435"/>
                  <a:pt x="343558" y="1503344"/>
                </a:cubicBezTo>
                <a:cubicBezTo>
                  <a:pt x="322401" y="1494618"/>
                  <a:pt x="268452" y="1516980"/>
                  <a:pt x="261047" y="1507844"/>
                </a:cubicBezTo>
                <a:lnTo>
                  <a:pt x="270579" y="1488903"/>
                </a:lnTo>
                <a:lnTo>
                  <a:pt x="285729" y="1489163"/>
                </a:lnTo>
                <a:cubicBezTo>
                  <a:pt x="294662" y="1486617"/>
                  <a:pt x="304066" y="1481527"/>
                  <a:pt x="309706" y="1474254"/>
                </a:cubicBezTo>
                <a:cubicBezTo>
                  <a:pt x="302184" y="1474254"/>
                  <a:pt x="294663" y="1477163"/>
                  <a:pt x="287141" y="1480436"/>
                </a:cubicBezTo>
                <a:lnTo>
                  <a:pt x="272020" y="1486039"/>
                </a:lnTo>
                <a:lnTo>
                  <a:pt x="272095" y="1485890"/>
                </a:lnTo>
                <a:cubicBezTo>
                  <a:pt x="210036" y="1439347"/>
                  <a:pt x="202514" y="1512072"/>
                  <a:pt x="155499" y="1485890"/>
                </a:cubicBezTo>
                <a:cubicBezTo>
                  <a:pt x="209800" y="1409530"/>
                  <a:pt x="279941" y="1451210"/>
                  <a:pt x="326863" y="1418001"/>
                </a:cubicBezTo>
                <a:lnTo>
                  <a:pt x="342394" y="1401798"/>
                </a:lnTo>
                <a:lnTo>
                  <a:pt x="343557" y="1427711"/>
                </a:lnTo>
                <a:cubicBezTo>
                  <a:pt x="415960" y="1348806"/>
                  <a:pt x="448048" y="1392396"/>
                  <a:pt x="506592" y="1365550"/>
                </a:cubicBezTo>
                <a:lnTo>
                  <a:pt x="522508" y="1355860"/>
                </a:lnTo>
                <a:lnTo>
                  <a:pt x="515838" y="1362987"/>
                </a:lnTo>
                <a:cubicBezTo>
                  <a:pt x="515750" y="1367168"/>
                  <a:pt x="521273" y="1370259"/>
                  <a:pt x="537259" y="1369531"/>
                </a:cubicBezTo>
                <a:cubicBezTo>
                  <a:pt x="547132" y="1355714"/>
                  <a:pt x="548072" y="1348988"/>
                  <a:pt x="544927" y="1346624"/>
                </a:cubicBezTo>
                <a:lnTo>
                  <a:pt x="532737" y="1348994"/>
                </a:lnTo>
                <a:lnTo>
                  <a:pt x="482810" y="1337443"/>
                </a:lnTo>
                <a:cubicBezTo>
                  <a:pt x="442083" y="1331807"/>
                  <a:pt x="390426" y="1333079"/>
                  <a:pt x="345468" y="1356533"/>
                </a:cubicBezTo>
                <a:lnTo>
                  <a:pt x="330506" y="1366753"/>
                </a:lnTo>
                <a:lnTo>
                  <a:pt x="320990" y="1365442"/>
                </a:lnTo>
                <a:cubicBezTo>
                  <a:pt x="244475" y="1360260"/>
                  <a:pt x="98140" y="1373896"/>
                  <a:pt x="100962" y="1369532"/>
                </a:cubicBezTo>
                <a:cubicBezTo>
                  <a:pt x="146095" y="1369531"/>
                  <a:pt x="93439" y="1331715"/>
                  <a:pt x="74633" y="1354988"/>
                </a:cubicBezTo>
                <a:cubicBezTo>
                  <a:pt x="82156" y="1337534"/>
                  <a:pt x="189349" y="1293899"/>
                  <a:pt x="196871" y="1314262"/>
                </a:cubicBezTo>
                <a:cubicBezTo>
                  <a:pt x="181825" y="1308444"/>
                  <a:pt x="174305" y="1320080"/>
                  <a:pt x="174305" y="1343351"/>
                </a:cubicBezTo>
                <a:lnTo>
                  <a:pt x="184703" y="1341496"/>
                </a:lnTo>
                <a:lnTo>
                  <a:pt x="188380" y="1342079"/>
                </a:lnTo>
                <a:lnTo>
                  <a:pt x="188768" y="1340770"/>
                </a:lnTo>
                <a:lnTo>
                  <a:pt x="234160" y="1332670"/>
                </a:lnTo>
                <a:lnTo>
                  <a:pt x="299536" y="1325928"/>
                </a:lnTo>
                <a:lnTo>
                  <a:pt x="300304" y="1328807"/>
                </a:lnTo>
                <a:lnTo>
                  <a:pt x="301175" y="1325759"/>
                </a:lnTo>
                <a:lnTo>
                  <a:pt x="303361" y="1325534"/>
                </a:lnTo>
                <a:cubicBezTo>
                  <a:pt x="349669" y="1320080"/>
                  <a:pt x="393392" y="1311353"/>
                  <a:pt x="416901" y="1288082"/>
                </a:cubicBezTo>
                <a:cubicBezTo>
                  <a:pt x="373648" y="1285172"/>
                  <a:pt x="381170" y="1279354"/>
                  <a:pt x="439468" y="1270628"/>
                </a:cubicBezTo>
                <a:cubicBezTo>
                  <a:pt x="418311" y="1270627"/>
                  <a:pt x="402296" y="1270810"/>
                  <a:pt x="390349" y="1271110"/>
                </a:cubicBezTo>
                <a:lnTo>
                  <a:pt x="368631" y="1272163"/>
                </a:lnTo>
                <a:lnTo>
                  <a:pt x="378454" y="1250617"/>
                </a:lnTo>
                <a:cubicBezTo>
                  <a:pt x="423629" y="1208858"/>
                  <a:pt x="600730" y="1242266"/>
                  <a:pt x="623765" y="1206631"/>
                </a:cubicBezTo>
                <a:cubicBezTo>
                  <a:pt x="608720" y="1197904"/>
                  <a:pt x="593676" y="1189177"/>
                  <a:pt x="578632" y="1186267"/>
                </a:cubicBezTo>
                <a:cubicBezTo>
                  <a:pt x="594617" y="1185540"/>
                  <a:pt x="603551" y="1182450"/>
                  <a:pt x="609250" y="1177814"/>
                </a:cubicBezTo>
                <a:lnTo>
                  <a:pt x="617117" y="1165391"/>
                </a:lnTo>
                <a:lnTo>
                  <a:pt x="619005" y="1168996"/>
                </a:lnTo>
                <a:cubicBezTo>
                  <a:pt x="620593" y="1170087"/>
                  <a:pt x="622827" y="1170269"/>
                  <a:pt x="625646" y="1168814"/>
                </a:cubicBezTo>
                <a:cubicBezTo>
                  <a:pt x="628468" y="1165905"/>
                  <a:pt x="627057" y="1163723"/>
                  <a:pt x="625411" y="1161542"/>
                </a:cubicBezTo>
                <a:lnTo>
                  <a:pt x="623917" y="1154934"/>
                </a:lnTo>
                <a:lnTo>
                  <a:pt x="635226" y="1137998"/>
                </a:lnTo>
                <a:cubicBezTo>
                  <a:pt x="643276" y="1130453"/>
                  <a:pt x="655735" y="1122999"/>
                  <a:pt x="676422" y="1116453"/>
                </a:cubicBezTo>
                <a:cubicBezTo>
                  <a:pt x="679244" y="1113544"/>
                  <a:pt x="785967" y="1099726"/>
                  <a:pt x="896922" y="1088090"/>
                </a:cubicBezTo>
                <a:lnTo>
                  <a:pt x="927594" y="1085072"/>
                </a:lnTo>
                <a:lnTo>
                  <a:pt x="928628" y="1085091"/>
                </a:lnTo>
                <a:lnTo>
                  <a:pt x="929172" y="1084916"/>
                </a:lnTo>
                <a:lnTo>
                  <a:pt x="979374" y="1079977"/>
                </a:lnTo>
                <a:cubicBezTo>
                  <a:pt x="1059506" y="1072682"/>
                  <a:pt x="1128001" y="1068454"/>
                  <a:pt x="1142811" y="1072818"/>
                </a:cubicBezTo>
                <a:cubicBezTo>
                  <a:pt x="1136228" y="1085909"/>
                  <a:pt x="1224145" y="1068456"/>
                  <a:pt x="1322171" y="1054638"/>
                </a:cubicBezTo>
                <a:lnTo>
                  <a:pt x="1420893" y="1045232"/>
                </a:lnTo>
                <a:lnTo>
                  <a:pt x="1404213" y="1052456"/>
                </a:lnTo>
                <a:cubicBezTo>
                  <a:pt x="1401921" y="1060092"/>
                  <a:pt x="1400620" y="1065964"/>
                  <a:pt x="1400093" y="1070367"/>
                </a:cubicBezTo>
                <a:lnTo>
                  <a:pt x="1400326" y="1074432"/>
                </a:lnTo>
                <a:lnTo>
                  <a:pt x="1416423" y="1070883"/>
                </a:lnTo>
                <a:lnTo>
                  <a:pt x="1422869" y="1063061"/>
                </a:lnTo>
                <a:cubicBezTo>
                  <a:pt x="1426356" y="1057221"/>
                  <a:pt x="1428566" y="1051400"/>
                  <a:pt x="1427751" y="1047957"/>
                </a:cubicBezTo>
                <a:lnTo>
                  <a:pt x="1421958" y="1045130"/>
                </a:lnTo>
                <a:lnTo>
                  <a:pt x="1466242" y="1040911"/>
                </a:lnTo>
                <a:lnTo>
                  <a:pt x="1471993" y="1041228"/>
                </a:lnTo>
                <a:lnTo>
                  <a:pt x="1466273" y="1043728"/>
                </a:lnTo>
                <a:cubicBezTo>
                  <a:pt x="1475674" y="1049547"/>
                  <a:pt x="1473794" y="1064092"/>
                  <a:pt x="1485078" y="1049547"/>
                </a:cubicBezTo>
                <a:lnTo>
                  <a:pt x="1479068" y="1041618"/>
                </a:lnTo>
                <a:lnTo>
                  <a:pt x="1524184" y="1044104"/>
                </a:lnTo>
                <a:cubicBezTo>
                  <a:pt x="1540615" y="1046820"/>
                  <a:pt x="1553719" y="1051365"/>
                  <a:pt x="1562182" y="1058273"/>
                </a:cubicBezTo>
                <a:cubicBezTo>
                  <a:pt x="1347795" y="1101908"/>
                  <a:pt x="1637407" y="1064092"/>
                  <a:pt x="1629883" y="1037911"/>
                </a:cubicBezTo>
                <a:cubicBezTo>
                  <a:pt x="1629883" y="1037911"/>
                  <a:pt x="1567823" y="1072818"/>
                  <a:pt x="1596032" y="1023366"/>
                </a:cubicBezTo>
                <a:cubicBezTo>
                  <a:pt x="1632704" y="1014640"/>
                  <a:pt x="1657152" y="1005185"/>
                  <a:pt x="1673843" y="997549"/>
                </a:cubicBezTo>
                <a:lnTo>
                  <a:pt x="1704769" y="982802"/>
                </a:lnTo>
                <a:lnTo>
                  <a:pt x="1705144" y="983018"/>
                </a:lnTo>
                <a:lnTo>
                  <a:pt x="1706283" y="995367"/>
                </a:lnTo>
                <a:cubicBezTo>
                  <a:pt x="1707929" y="996458"/>
                  <a:pt x="1710749" y="994278"/>
                  <a:pt x="1714510" y="988459"/>
                </a:cubicBezTo>
                <a:cubicBezTo>
                  <a:pt x="1712629" y="985550"/>
                  <a:pt x="1703226" y="1029185"/>
                  <a:pt x="1714510" y="988459"/>
                </a:cubicBezTo>
                <a:lnTo>
                  <a:pt x="1705144" y="983018"/>
                </a:lnTo>
                <a:lnTo>
                  <a:pt x="1705108" y="982641"/>
                </a:lnTo>
                <a:lnTo>
                  <a:pt x="1704769" y="982802"/>
                </a:lnTo>
                <a:lnTo>
                  <a:pt x="1701196" y="980727"/>
                </a:lnTo>
                <a:cubicBezTo>
                  <a:pt x="1662301" y="970674"/>
                  <a:pt x="1549604" y="978004"/>
                  <a:pt x="1490132" y="988741"/>
                </a:cubicBezTo>
                <a:lnTo>
                  <a:pt x="1472261" y="994221"/>
                </a:lnTo>
                <a:lnTo>
                  <a:pt x="1471679" y="993913"/>
                </a:lnTo>
                <a:cubicBezTo>
                  <a:pt x="1465802" y="993549"/>
                  <a:pt x="1459690" y="995731"/>
                  <a:pt x="1453109" y="1000095"/>
                </a:cubicBezTo>
                <a:lnTo>
                  <a:pt x="1472261" y="994221"/>
                </a:lnTo>
                <a:lnTo>
                  <a:pt x="1488839" y="1003004"/>
                </a:lnTo>
                <a:cubicBezTo>
                  <a:pt x="1458749" y="1040820"/>
                  <a:pt x="1310182" y="1014640"/>
                  <a:pt x="1306422" y="1011731"/>
                </a:cubicBezTo>
                <a:cubicBezTo>
                  <a:pt x="1310183" y="1008821"/>
                  <a:pt x="1312064" y="1003004"/>
                  <a:pt x="1312064" y="997186"/>
                </a:cubicBezTo>
                <a:cubicBezTo>
                  <a:pt x="1321467" y="1005912"/>
                  <a:pt x="1327108" y="1005912"/>
                  <a:pt x="1328989" y="991367"/>
                </a:cubicBezTo>
                <a:cubicBezTo>
                  <a:pt x="1313474" y="992094"/>
                  <a:pt x="1294316" y="992094"/>
                  <a:pt x="1273834" y="991913"/>
                </a:cubicBezTo>
                <a:lnTo>
                  <a:pt x="1229121" y="991527"/>
                </a:lnTo>
                <a:lnTo>
                  <a:pt x="1229318" y="991367"/>
                </a:lnTo>
                <a:cubicBezTo>
                  <a:pt x="1223675" y="991367"/>
                  <a:pt x="1216153" y="982641"/>
                  <a:pt x="1210511" y="991367"/>
                </a:cubicBezTo>
                <a:lnTo>
                  <a:pt x="1210522" y="991374"/>
                </a:lnTo>
                <a:lnTo>
                  <a:pt x="1153654" y="993004"/>
                </a:lnTo>
                <a:cubicBezTo>
                  <a:pt x="1137168" y="994277"/>
                  <a:pt x="1124005" y="996458"/>
                  <a:pt x="1116482" y="1000095"/>
                </a:cubicBezTo>
                <a:cubicBezTo>
                  <a:pt x="1114131" y="1005186"/>
                  <a:pt x="1107783" y="1012640"/>
                  <a:pt x="1100409" y="1020412"/>
                </a:cubicBezTo>
                <a:lnTo>
                  <a:pt x="1078561" y="1042241"/>
                </a:lnTo>
                <a:lnTo>
                  <a:pt x="1057918" y="1038321"/>
                </a:lnTo>
                <a:cubicBezTo>
                  <a:pt x="1041876" y="1037320"/>
                  <a:pt x="1032296" y="1039412"/>
                  <a:pt x="1032707" y="1031867"/>
                </a:cubicBezTo>
                <a:lnTo>
                  <a:pt x="1034167" y="1028427"/>
                </a:lnTo>
                <a:lnTo>
                  <a:pt x="1040054" y="1030730"/>
                </a:lnTo>
                <a:cubicBezTo>
                  <a:pt x="1042888" y="1030593"/>
                  <a:pt x="1044835" y="1029298"/>
                  <a:pt x="1045250" y="1026310"/>
                </a:cubicBezTo>
                <a:lnTo>
                  <a:pt x="1042423" y="1015979"/>
                </a:lnTo>
                <a:lnTo>
                  <a:pt x="1045637" y="1014321"/>
                </a:lnTo>
                <a:cubicBezTo>
                  <a:pt x="1053834" y="1004095"/>
                  <a:pt x="1050661" y="987732"/>
                  <a:pt x="1033735" y="1020457"/>
                </a:cubicBezTo>
                <a:lnTo>
                  <a:pt x="1038622" y="1017937"/>
                </a:lnTo>
                <a:lnTo>
                  <a:pt x="1034167" y="1028427"/>
                </a:lnTo>
                <a:lnTo>
                  <a:pt x="1028680" y="1026280"/>
                </a:lnTo>
                <a:lnTo>
                  <a:pt x="1031855" y="1023366"/>
                </a:lnTo>
                <a:cubicBezTo>
                  <a:pt x="993303" y="1001549"/>
                  <a:pt x="1002236" y="1012458"/>
                  <a:pt x="1017516" y="1021912"/>
                </a:cubicBezTo>
                <a:lnTo>
                  <a:pt x="1028680" y="1026280"/>
                </a:lnTo>
                <a:lnTo>
                  <a:pt x="983778" y="1067489"/>
                </a:lnTo>
                <a:lnTo>
                  <a:pt x="929172" y="1084916"/>
                </a:lnTo>
                <a:lnTo>
                  <a:pt x="927594" y="1085072"/>
                </a:lnTo>
                <a:lnTo>
                  <a:pt x="868849" y="1084011"/>
                </a:lnTo>
                <a:cubicBezTo>
                  <a:pt x="848423" y="1081409"/>
                  <a:pt x="827635" y="1077001"/>
                  <a:pt x="806888" y="1072092"/>
                </a:cubicBezTo>
                <a:lnTo>
                  <a:pt x="770715" y="1063343"/>
                </a:lnTo>
                <a:lnTo>
                  <a:pt x="825460" y="1051001"/>
                </a:lnTo>
                <a:cubicBezTo>
                  <a:pt x="875765" y="1035002"/>
                  <a:pt x="925601" y="1010276"/>
                  <a:pt x="949108" y="985550"/>
                </a:cubicBezTo>
                <a:cubicBezTo>
                  <a:pt x="958511" y="1005912"/>
                  <a:pt x="952869" y="1017548"/>
                  <a:pt x="934063" y="1023366"/>
                </a:cubicBezTo>
                <a:cubicBezTo>
                  <a:pt x="937826" y="1023366"/>
                  <a:pt x="988602" y="994276"/>
                  <a:pt x="996123" y="985550"/>
                </a:cubicBezTo>
                <a:cubicBezTo>
                  <a:pt x="991892" y="982277"/>
                  <a:pt x="990364" y="979460"/>
                  <a:pt x="990584" y="977079"/>
                </a:cubicBezTo>
                <a:lnTo>
                  <a:pt x="992624" y="974671"/>
                </a:lnTo>
                <a:lnTo>
                  <a:pt x="1005644" y="972051"/>
                </a:lnTo>
                <a:cubicBezTo>
                  <a:pt x="1030326" y="965778"/>
                  <a:pt x="1006584" y="965142"/>
                  <a:pt x="995537" y="971232"/>
                </a:cubicBezTo>
                <a:lnTo>
                  <a:pt x="992624" y="974671"/>
                </a:lnTo>
                <a:lnTo>
                  <a:pt x="977097" y="977794"/>
                </a:lnTo>
                <a:cubicBezTo>
                  <a:pt x="963918" y="980050"/>
                  <a:pt x="946758" y="982641"/>
                  <a:pt x="924662" y="985550"/>
                </a:cubicBezTo>
                <a:cubicBezTo>
                  <a:pt x="1005527" y="898281"/>
                  <a:pt x="1293258" y="880827"/>
                  <a:pt x="1328989" y="930279"/>
                </a:cubicBezTo>
                <a:cubicBezTo>
                  <a:pt x="1460630" y="843011"/>
                  <a:pt x="1690063" y="915734"/>
                  <a:pt x="1866838" y="799376"/>
                </a:cubicBezTo>
                <a:cubicBezTo>
                  <a:pt x="1867779" y="799376"/>
                  <a:pt x="1855084" y="798649"/>
                  <a:pt x="1842625" y="799012"/>
                </a:cubicBezTo>
                <a:lnTo>
                  <a:pt x="1830789" y="800135"/>
                </a:lnTo>
                <a:lnTo>
                  <a:pt x="1856730" y="791013"/>
                </a:lnTo>
                <a:cubicBezTo>
                  <a:pt x="1877181" y="784105"/>
                  <a:pt x="1897869" y="777559"/>
                  <a:pt x="1895048" y="779014"/>
                </a:cubicBezTo>
                <a:cubicBezTo>
                  <a:pt x="1898809" y="784831"/>
                  <a:pt x="1853674" y="808102"/>
                  <a:pt x="1876242" y="822647"/>
                </a:cubicBezTo>
                <a:lnTo>
                  <a:pt x="1907143" y="796441"/>
                </a:lnTo>
                <a:lnTo>
                  <a:pt x="1921288" y="801331"/>
                </a:lnTo>
                <a:cubicBezTo>
                  <a:pt x="1924608" y="800740"/>
                  <a:pt x="1924315" y="797740"/>
                  <a:pt x="1922082" y="794650"/>
                </a:cubicBezTo>
                <a:lnTo>
                  <a:pt x="1916126" y="790680"/>
                </a:lnTo>
                <a:lnTo>
                  <a:pt x="1937361" y="777741"/>
                </a:lnTo>
                <a:lnTo>
                  <a:pt x="1943286" y="775954"/>
                </a:lnTo>
                <a:lnTo>
                  <a:pt x="1940886" y="783378"/>
                </a:lnTo>
                <a:cubicBezTo>
                  <a:pt x="1943473" y="791377"/>
                  <a:pt x="1955226" y="795013"/>
                  <a:pt x="1968391" y="770286"/>
                </a:cubicBezTo>
                <a:lnTo>
                  <a:pt x="1961258" y="770534"/>
                </a:lnTo>
                <a:lnTo>
                  <a:pt x="1988607" y="762287"/>
                </a:lnTo>
                <a:cubicBezTo>
                  <a:pt x="2004592" y="760105"/>
                  <a:pt x="2019753" y="759923"/>
                  <a:pt x="2034917" y="758833"/>
                </a:cubicBezTo>
                <a:lnTo>
                  <a:pt x="2072900" y="751526"/>
                </a:lnTo>
                <a:lnTo>
                  <a:pt x="2075333" y="752941"/>
                </a:lnTo>
                <a:cubicBezTo>
                  <a:pt x="2077144" y="753015"/>
                  <a:pt x="2079112" y="752106"/>
                  <a:pt x="2081228" y="749924"/>
                </a:cubicBezTo>
                <a:lnTo>
                  <a:pt x="2072900" y="751526"/>
                </a:lnTo>
                <a:lnTo>
                  <a:pt x="2070385" y="750061"/>
                </a:lnTo>
                <a:cubicBezTo>
                  <a:pt x="2061480" y="739561"/>
                  <a:pt x="2058659" y="704108"/>
                  <a:pt x="2064301" y="706289"/>
                </a:cubicBezTo>
                <a:cubicBezTo>
                  <a:pt x="2136703" y="698654"/>
                  <a:pt x="2463957" y="664292"/>
                  <a:pt x="2557237" y="681154"/>
                </a:cubicBezTo>
                <a:lnTo>
                  <a:pt x="2576693" y="689659"/>
                </a:lnTo>
                <a:lnTo>
                  <a:pt x="2583783" y="689465"/>
                </a:lnTo>
                <a:lnTo>
                  <a:pt x="2599998" y="673512"/>
                </a:lnTo>
                <a:cubicBezTo>
                  <a:pt x="2637589" y="645475"/>
                  <a:pt x="2638823" y="708471"/>
                  <a:pt x="2671734" y="642292"/>
                </a:cubicBezTo>
                <a:cubicBezTo>
                  <a:pt x="2679255" y="662656"/>
                  <a:pt x="2673613" y="677201"/>
                  <a:pt x="2656689" y="680109"/>
                </a:cubicBezTo>
                <a:cubicBezTo>
                  <a:pt x="2684898" y="653928"/>
                  <a:pt x="2737438" y="657201"/>
                  <a:pt x="2773846" y="648201"/>
                </a:cubicBezTo>
                <a:lnTo>
                  <a:pt x="2801366" y="634561"/>
                </a:lnTo>
                <a:lnTo>
                  <a:pt x="2803375" y="659746"/>
                </a:lnTo>
                <a:cubicBezTo>
                  <a:pt x="2809017" y="665564"/>
                  <a:pt x="2803375" y="627747"/>
                  <a:pt x="2848510" y="624839"/>
                </a:cubicBezTo>
                <a:cubicBezTo>
                  <a:pt x="2836755" y="621930"/>
                  <a:pt x="2827470" y="620658"/>
                  <a:pt x="2820300" y="620885"/>
                </a:cubicBezTo>
                <a:lnTo>
                  <a:pt x="2801330" y="631458"/>
                </a:lnTo>
                <a:lnTo>
                  <a:pt x="2797734" y="627748"/>
                </a:lnTo>
                <a:cubicBezTo>
                  <a:pt x="2793501" y="623384"/>
                  <a:pt x="2787389" y="617566"/>
                  <a:pt x="2780810" y="613202"/>
                </a:cubicBezTo>
                <a:cubicBezTo>
                  <a:pt x="2771404" y="616112"/>
                  <a:pt x="2818419" y="604476"/>
                  <a:pt x="2797735" y="601567"/>
                </a:cubicBezTo>
                <a:cubicBezTo>
                  <a:pt x="2812777" y="601567"/>
                  <a:pt x="2841926" y="593568"/>
                  <a:pt x="2868959" y="587385"/>
                </a:cubicBezTo>
                <a:lnTo>
                  <a:pt x="2871623" y="586904"/>
                </a:lnTo>
                <a:lnTo>
                  <a:pt x="2871146" y="587562"/>
                </a:lnTo>
                <a:cubicBezTo>
                  <a:pt x="2868549" y="591704"/>
                  <a:pt x="2865436" y="597204"/>
                  <a:pt x="2861673" y="604476"/>
                </a:cubicBezTo>
                <a:cubicBezTo>
                  <a:pt x="2884242" y="613202"/>
                  <a:pt x="2906807" y="607385"/>
                  <a:pt x="2927495" y="584114"/>
                </a:cubicBezTo>
                <a:cubicBezTo>
                  <a:pt x="2924202" y="580477"/>
                  <a:pt x="2916330" y="579750"/>
                  <a:pt x="2905897" y="580704"/>
                </a:cubicBezTo>
                <a:lnTo>
                  <a:pt x="2871623" y="586904"/>
                </a:lnTo>
                <a:lnTo>
                  <a:pt x="2877511" y="578795"/>
                </a:lnTo>
                <a:cubicBezTo>
                  <a:pt x="2887649" y="567751"/>
                  <a:pt x="2883768" y="590658"/>
                  <a:pt x="2893644" y="557933"/>
                </a:cubicBezTo>
                <a:cubicBezTo>
                  <a:pt x="2923731" y="569569"/>
                  <a:pt x="2972629" y="587022"/>
                  <a:pt x="2995197" y="546297"/>
                </a:cubicBezTo>
                <a:lnTo>
                  <a:pt x="2995195" y="556717"/>
                </a:lnTo>
                <a:lnTo>
                  <a:pt x="2981648" y="563523"/>
                </a:lnTo>
                <a:lnTo>
                  <a:pt x="2971227" y="575587"/>
                </a:lnTo>
                <a:lnTo>
                  <a:pt x="2959232" y="580658"/>
                </a:lnTo>
                <a:cubicBezTo>
                  <a:pt x="2955585" y="582840"/>
                  <a:pt x="2955234" y="584840"/>
                  <a:pt x="2961346" y="587022"/>
                </a:cubicBezTo>
                <a:lnTo>
                  <a:pt x="2971227" y="575587"/>
                </a:lnTo>
                <a:lnTo>
                  <a:pt x="2976859" y="573205"/>
                </a:lnTo>
                <a:cubicBezTo>
                  <a:pt x="2983913" y="570296"/>
                  <a:pt x="2991083" y="566842"/>
                  <a:pt x="2995194" y="562478"/>
                </a:cubicBezTo>
                <a:lnTo>
                  <a:pt x="2995195" y="556717"/>
                </a:lnTo>
                <a:lnTo>
                  <a:pt x="3013768" y="547388"/>
                </a:lnTo>
                <a:cubicBezTo>
                  <a:pt x="3037038" y="539752"/>
                  <a:pt x="3061956" y="539024"/>
                  <a:pt x="3076061" y="549205"/>
                </a:cubicBezTo>
                <a:cubicBezTo>
                  <a:pt x="3077941" y="546297"/>
                  <a:pt x="3057256" y="563750"/>
                  <a:pt x="3061016" y="566660"/>
                </a:cubicBezTo>
                <a:cubicBezTo>
                  <a:pt x="3079823" y="584114"/>
                  <a:pt x="3085462" y="508480"/>
                  <a:pt x="3121197" y="543388"/>
                </a:cubicBezTo>
                <a:cubicBezTo>
                  <a:pt x="3124488" y="554297"/>
                  <a:pt x="3113675" y="564114"/>
                  <a:pt x="3097189" y="572341"/>
                </a:cubicBezTo>
                <a:lnTo>
                  <a:pt x="3041334" y="591020"/>
                </a:lnTo>
                <a:lnTo>
                  <a:pt x="3039420" y="590885"/>
                </a:lnTo>
                <a:cubicBezTo>
                  <a:pt x="3030220" y="590295"/>
                  <a:pt x="3023875" y="589931"/>
                  <a:pt x="3023405" y="589931"/>
                </a:cubicBezTo>
                <a:cubicBezTo>
                  <a:pt x="2972630" y="601568"/>
                  <a:pt x="3000367" y="600839"/>
                  <a:pt x="3039156" y="591749"/>
                </a:cubicBezTo>
                <a:lnTo>
                  <a:pt x="3041334" y="591020"/>
                </a:lnTo>
                <a:lnTo>
                  <a:pt x="3072534" y="593204"/>
                </a:lnTo>
                <a:lnTo>
                  <a:pt x="3097196" y="595407"/>
                </a:lnTo>
                <a:lnTo>
                  <a:pt x="3096748" y="595749"/>
                </a:lnTo>
                <a:lnTo>
                  <a:pt x="3098104" y="595488"/>
                </a:lnTo>
                <a:lnTo>
                  <a:pt x="3104595" y="596068"/>
                </a:lnTo>
                <a:cubicBezTo>
                  <a:pt x="3113087" y="597023"/>
                  <a:pt x="3118376" y="597931"/>
                  <a:pt x="3117435" y="598658"/>
                </a:cubicBezTo>
                <a:lnTo>
                  <a:pt x="3112884" y="589680"/>
                </a:lnTo>
                <a:lnTo>
                  <a:pt x="3123309" y="582114"/>
                </a:lnTo>
                <a:cubicBezTo>
                  <a:pt x="3152990" y="557570"/>
                  <a:pt x="3194422" y="513707"/>
                  <a:pt x="3194348" y="552796"/>
                </a:cubicBezTo>
                <a:lnTo>
                  <a:pt x="3189721" y="581855"/>
                </a:lnTo>
                <a:lnTo>
                  <a:pt x="3185371" y="590295"/>
                </a:lnTo>
                <a:cubicBezTo>
                  <a:pt x="3185604" y="597931"/>
                  <a:pt x="3192659" y="604476"/>
                  <a:pt x="3205822" y="587022"/>
                </a:cubicBezTo>
                <a:lnTo>
                  <a:pt x="3201037" y="585140"/>
                </a:lnTo>
                <a:lnTo>
                  <a:pt x="3203267" y="584795"/>
                </a:lnTo>
                <a:cubicBezTo>
                  <a:pt x="3224512" y="580841"/>
                  <a:pt x="3260830" y="573205"/>
                  <a:pt x="3262240" y="575386"/>
                </a:cubicBezTo>
                <a:cubicBezTo>
                  <a:pt x="3258481" y="575386"/>
                  <a:pt x="3247194" y="552114"/>
                  <a:pt x="3245314" y="557933"/>
                </a:cubicBezTo>
                <a:cubicBezTo>
                  <a:pt x="3305493" y="467755"/>
                  <a:pt x="3527403" y="520117"/>
                  <a:pt x="3604508" y="496844"/>
                </a:cubicBezTo>
                <a:cubicBezTo>
                  <a:pt x="3589462" y="496844"/>
                  <a:pt x="3581942" y="508480"/>
                  <a:pt x="3583821" y="531752"/>
                </a:cubicBezTo>
                <a:cubicBezTo>
                  <a:pt x="3617673" y="552115"/>
                  <a:pt x="3704181" y="502663"/>
                  <a:pt x="3741791" y="511389"/>
                </a:cubicBezTo>
                <a:cubicBezTo>
                  <a:pt x="3715463" y="491027"/>
                  <a:pt x="3692894" y="496844"/>
                  <a:pt x="3659047" y="508480"/>
                </a:cubicBezTo>
                <a:cubicBezTo>
                  <a:pt x="3734270" y="444483"/>
                  <a:pt x="4025760" y="397940"/>
                  <a:pt x="4116030" y="438666"/>
                </a:cubicBezTo>
                <a:cubicBezTo>
                  <a:pt x="4115090" y="448847"/>
                  <a:pt x="4089234" y="455392"/>
                  <a:pt x="4080302" y="457938"/>
                </a:cubicBezTo>
                <a:lnTo>
                  <a:pt x="4079230" y="458366"/>
                </a:lnTo>
                <a:lnTo>
                  <a:pt x="4070896" y="453209"/>
                </a:lnTo>
                <a:cubicBezTo>
                  <a:pt x="4067606" y="453937"/>
                  <a:pt x="4064313" y="456118"/>
                  <a:pt x="4061493" y="456119"/>
                </a:cubicBezTo>
                <a:cubicBezTo>
                  <a:pt x="4057732" y="464846"/>
                  <a:pt x="4074657" y="464846"/>
                  <a:pt x="4080301" y="459028"/>
                </a:cubicBezTo>
                <a:lnTo>
                  <a:pt x="4080172" y="458950"/>
                </a:lnTo>
                <a:lnTo>
                  <a:pt x="4084824" y="458710"/>
                </a:lnTo>
                <a:cubicBezTo>
                  <a:pt x="4094053" y="457938"/>
                  <a:pt x="4112738" y="456120"/>
                  <a:pt x="4146120" y="453210"/>
                </a:cubicBezTo>
                <a:cubicBezTo>
                  <a:pt x="4132953" y="447392"/>
                  <a:pt x="4443251" y="351397"/>
                  <a:pt x="4490266" y="409576"/>
                </a:cubicBezTo>
                <a:cubicBezTo>
                  <a:pt x="4494028" y="392121"/>
                  <a:pt x="4531639" y="374668"/>
                  <a:pt x="4471461" y="365941"/>
                </a:cubicBezTo>
                <a:cubicBezTo>
                  <a:pt x="4507191" y="363033"/>
                  <a:pt x="4514714" y="365941"/>
                  <a:pt x="4497788" y="371759"/>
                </a:cubicBezTo>
                <a:cubicBezTo>
                  <a:pt x="4544803" y="429938"/>
                  <a:pt x="4606865" y="351397"/>
                  <a:pt x="4674563" y="377578"/>
                </a:cubicBezTo>
                <a:cubicBezTo>
                  <a:pt x="4717819" y="304853"/>
                  <a:pt x="5009311" y="400849"/>
                  <a:pt x="5011191" y="313580"/>
                </a:cubicBezTo>
                <a:cubicBezTo>
                  <a:pt x="5014717" y="356123"/>
                  <a:pt x="5026443" y="354078"/>
                  <a:pt x="5042893" y="339505"/>
                </a:cubicBezTo>
                <a:lnTo>
                  <a:pt x="5043340" y="339066"/>
                </a:lnTo>
                <a:lnTo>
                  <a:pt x="5045277" y="344851"/>
                </a:lnTo>
                <a:cubicBezTo>
                  <a:pt x="5052094" y="349215"/>
                  <a:pt x="5065728" y="349942"/>
                  <a:pt x="5065728" y="333943"/>
                </a:cubicBezTo>
                <a:lnTo>
                  <a:pt x="5045652" y="336798"/>
                </a:lnTo>
                <a:lnTo>
                  <a:pt x="5060792" y="321944"/>
                </a:lnTo>
                <a:cubicBezTo>
                  <a:pt x="5086415" y="296127"/>
                  <a:pt x="5118385" y="267037"/>
                  <a:pt x="5148474" y="310671"/>
                </a:cubicBezTo>
                <a:cubicBezTo>
                  <a:pt x="5154116" y="301944"/>
                  <a:pt x="5114622" y="328124"/>
                  <a:pt x="5118383" y="336852"/>
                </a:cubicBezTo>
                <a:cubicBezTo>
                  <a:pt x="5142832" y="345579"/>
                  <a:pt x="5161639" y="336852"/>
                  <a:pt x="5180445" y="304853"/>
                </a:cubicBezTo>
                <a:cubicBezTo>
                  <a:pt x="5182326" y="325216"/>
                  <a:pt x="5174804" y="336852"/>
                  <a:pt x="5161639" y="339760"/>
                </a:cubicBezTo>
                <a:cubicBezTo>
                  <a:pt x="5336534" y="278672"/>
                  <a:pt x="5549040" y="377578"/>
                  <a:pt x="5752145" y="246674"/>
                </a:cubicBezTo>
                <a:cubicBezTo>
                  <a:pt x="5748383" y="232130"/>
                  <a:pt x="5740862" y="229220"/>
                  <a:pt x="5727697" y="237947"/>
                </a:cubicBezTo>
                <a:lnTo>
                  <a:pt x="5749989" y="229037"/>
                </a:lnTo>
                <a:lnTo>
                  <a:pt x="5748383" y="235038"/>
                </a:lnTo>
                <a:cubicBezTo>
                  <a:pt x="5793518" y="226311"/>
                  <a:pt x="5838653" y="197221"/>
                  <a:pt x="5883787" y="191404"/>
                </a:cubicBezTo>
                <a:cubicBezTo>
                  <a:pt x="5883787" y="214675"/>
                  <a:pt x="5731457" y="296127"/>
                  <a:pt x="5930801" y="200130"/>
                </a:cubicBezTo>
                <a:cubicBezTo>
                  <a:pt x="5921400" y="208857"/>
                  <a:pt x="5913879" y="217585"/>
                  <a:pt x="5906353" y="229220"/>
                </a:cubicBezTo>
                <a:cubicBezTo>
                  <a:pt x="5938324" y="223402"/>
                  <a:pt x="6062443" y="156496"/>
                  <a:pt x="6043637" y="168133"/>
                </a:cubicBezTo>
                <a:cubicBezTo>
                  <a:pt x="6022950" y="171041"/>
                  <a:pt x="6083129" y="173950"/>
                  <a:pt x="6083129" y="173950"/>
                </a:cubicBezTo>
                <a:cubicBezTo>
                  <a:pt x="6101935" y="147769"/>
                  <a:pt x="6037994" y="156496"/>
                  <a:pt x="6045519" y="147769"/>
                </a:cubicBezTo>
                <a:cubicBezTo>
                  <a:pt x="6066674" y="143406"/>
                  <a:pt x="6195730" y="147224"/>
                  <a:pt x="6257348" y="151860"/>
                </a:cubicBezTo>
                <a:lnTo>
                  <a:pt x="6271620" y="153887"/>
                </a:lnTo>
                <a:lnTo>
                  <a:pt x="6258964" y="156496"/>
                </a:lnTo>
                <a:cubicBezTo>
                  <a:pt x="6254263" y="157951"/>
                  <a:pt x="6249561" y="160860"/>
                  <a:pt x="6244859" y="168132"/>
                </a:cubicBezTo>
                <a:cubicBezTo>
                  <a:pt x="6249561" y="171041"/>
                  <a:pt x="6256143" y="169587"/>
                  <a:pt x="6261786" y="166314"/>
                </a:cubicBezTo>
                <a:lnTo>
                  <a:pt x="6272672" y="154036"/>
                </a:lnTo>
                <a:lnTo>
                  <a:pt x="6289994" y="156496"/>
                </a:lnTo>
                <a:cubicBezTo>
                  <a:pt x="6340771" y="130315"/>
                  <a:pt x="6391547" y="107044"/>
                  <a:pt x="6444203" y="89591"/>
                </a:cubicBezTo>
                <a:cubicBezTo>
                  <a:pt x="6393427" y="45956"/>
                  <a:pt x="6340770" y="147769"/>
                  <a:pt x="6303159" y="141952"/>
                </a:cubicBezTo>
                <a:cubicBezTo>
                  <a:pt x="6324551" y="106317"/>
                  <a:pt x="6536000" y="10549"/>
                  <a:pt x="6596088" y="804"/>
                </a:cubicBezTo>
                <a:cubicBezTo>
                  <a:pt x="6604671" y="-588"/>
                  <a:pt x="6610165" y="-225"/>
                  <a:pt x="6611576" y="2321"/>
                </a:cubicBezTo>
                <a:cubicBezTo>
                  <a:pt x="6596531" y="101226"/>
                  <a:pt x="6607815" y="-76221"/>
                  <a:pt x="6581486" y="66318"/>
                </a:cubicBezTo>
                <a:cubicBezTo>
                  <a:pt x="6711248" y="104134"/>
                  <a:pt x="6797755" y="-26768"/>
                  <a:pt x="6893665" y="57592"/>
                </a:cubicBezTo>
                <a:lnTo>
                  <a:pt x="6889759" y="64496"/>
                </a:lnTo>
                <a:lnTo>
                  <a:pt x="6885966" y="65409"/>
                </a:lnTo>
                <a:cubicBezTo>
                  <a:pt x="6880032" y="67045"/>
                  <a:pt x="6875330" y="68500"/>
                  <a:pt x="6872979" y="69227"/>
                </a:cubicBezTo>
                <a:cubicBezTo>
                  <a:pt x="6877680" y="77955"/>
                  <a:pt x="6881912" y="76500"/>
                  <a:pt x="6885438" y="72136"/>
                </a:cubicBezTo>
                <a:lnTo>
                  <a:pt x="6889759" y="64496"/>
                </a:lnTo>
                <a:lnTo>
                  <a:pt x="6906359" y="60501"/>
                </a:lnTo>
                <a:cubicBezTo>
                  <a:pt x="6920933" y="57591"/>
                  <a:pt x="6935978" y="56137"/>
                  <a:pt x="6942560" y="60501"/>
                </a:cubicBezTo>
                <a:cubicBezTo>
                  <a:pt x="6942560" y="60501"/>
                  <a:pt x="6912471" y="112862"/>
                  <a:pt x="6918113" y="115771"/>
                </a:cubicBezTo>
                <a:cubicBezTo>
                  <a:pt x="6919993" y="112862"/>
                  <a:pt x="7089247" y="22684"/>
                  <a:pt x="7106172" y="43047"/>
                </a:cubicBezTo>
                <a:cubicBezTo>
                  <a:pt x="7068561" y="40137"/>
                  <a:pt x="7055396" y="51773"/>
                  <a:pt x="7064799" y="77954"/>
                </a:cubicBezTo>
                <a:cubicBezTo>
                  <a:pt x="7277306" y="-23860"/>
                  <a:pt x="7153188" y="45956"/>
                  <a:pt x="7132500" y="92499"/>
                </a:cubicBezTo>
                <a:cubicBezTo>
                  <a:pt x="7207725" y="168133"/>
                  <a:pt x="7339366" y="43047"/>
                  <a:pt x="7423993" y="107044"/>
                </a:cubicBezTo>
                <a:cubicBezTo>
                  <a:pt x="7416470" y="200130"/>
                  <a:pt x="7192680" y="197221"/>
                  <a:pt x="7136261" y="232130"/>
                </a:cubicBezTo>
                <a:cubicBezTo>
                  <a:pt x="7098650" y="220494"/>
                  <a:pt x="6967007" y="304853"/>
                  <a:pt x="6861695" y="325216"/>
                </a:cubicBezTo>
                <a:cubicBezTo>
                  <a:pt x="6859815" y="319398"/>
                  <a:pt x="6951964" y="374668"/>
                  <a:pt x="6940680" y="351397"/>
                </a:cubicBezTo>
                <a:cubicBezTo>
                  <a:pt x="6991456" y="339760"/>
                  <a:pt x="7077963" y="339760"/>
                  <a:pt x="7136261" y="389213"/>
                </a:cubicBezTo>
                <a:cubicBezTo>
                  <a:pt x="7059157" y="427030"/>
                  <a:pt x="6839127" y="429938"/>
                  <a:pt x="6903068" y="461937"/>
                </a:cubicBezTo>
                <a:cubicBezTo>
                  <a:pt x="6782710" y="525934"/>
                  <a:pt x="6837247" y="493936"/>
                  <a:pt x="6833487" y="479391"/>
                </a:cubicBezTo>
                <a:cubicBezTo>
                  <a:pt x="6833487" y="479391"/>
                  <a:pt x="6743217" y="514298"/>
                  <a:pt x="6743217" y="531752"/>
                </a:cubicBezTo>
                <a:cubicBezTo>
                  <a:pt x="6758263" y="540479"/>
                  <a:pt x="6763904" y="496844"/>
                  <a:pt x="6778948" y="514298"/>
                </a:cubicBezTo>
                <a:cubicBezTo>
                  <a:pt x="6775188" y="520117"/>
                  <a:pt x="6752620" y="555024"/>
                  <a:pt x="6763905" y="566659"/>
                </a:cubicBezTo>
                <a:cubicBezTo>
                  <a:pt x="6829725" y="485208"/>
                  <a:pt x="6967007" y="485208"/>
                  <a:pt x="7049755" y="470663"/>
                </a:cubicBezTo>
                <a:cubicBezTo>
                  <a:pt x="6980172" y="546297"/>
                  <a:pt x="7087366" y="485208"/>
                  <a:pt x="7132500" y="499753"/>
                </a:cubicBezTo>
                <a:cubicBezTo>
                  <a:pt x="7102411" y="531752"/>
                  <a:pt x="7226530" y="531752"/>
                  <a:pt x="7226530" y="488118"/>
                </a:cubicBezTo>
                <a:cubicBezTo>
                  <a:pt x="7235934" y="601567"/>
                  <a:pt x="7303635" y="397940"/>
                  <a:pt x="7363814" y="485208"/>
                </a:cubicBezTo>
                <a:cubicBezTo>
                  <a:pt x="7369456" y="476482"/>
                  <a:pt x="7329963" y="502662"/>
                  <a:pt x="7333724" y="511389"/>
                </a:cubicBezTo>
                <a:cubicBezTo>
                  <a:pt x="7358173" y="520117"/>
                  <a:pt x="7376978" y="511389"/>
                  <a:pt x="7395784" y="479391"/>
                </a:cubicBezTo>
                <a:cubicBezTo>
                  <a:pt x="7397665" y="499753"/>
                  <a:pt x="7390142" y="511389"/>
                  <a:pt x="7376978" y="514298"/>
                </a:cubicBezTo>
                <a:cubicBezTo>
                  <a:pt x="7551873" y="453210"/>
                  <a:pt x="7764381" y="552115"/>
                  <a:pt x="7967484" y="421211"/>
                </a:cubicBezTo>
                <a:cubicBezTo>
                  <a:pt x="7963723" y="406666"/>
                  <a:pt x="7956200" y="403757"/>
                  <a:pt x="7943037" y="412485"/>
                </a:cubicBezTo>
                <a:lnTo>
                  <a:pt x="7965329" y="403575"/>
                </a:lnTo>
                <a:lnTo>
                  <a:pt x="7963723" y="409576"/>
                </a:lnTo>
                <a:cubicBezTo>
                  <a:pt x="8008858" y="400849"/>
                  <a:pt x="8053992" y="371759"/>
                  <a:pt x="8099126" y="365941"/>
                </a:cubicBezTo>
                <a:cubicBezTo>
                  <a:pt x="8099126" y="389213"/>
                  <a:pt x="7946798" y="470663"/>
                  <a:pt x="8146142" y="374668"/>
                </a:cubicBezTo>
                <a:cubicBezTo>
                  <a:pt x="8136738" y="383395"/>
                  <a:pt x="8129216" y="392121"/>
                  <a:pt x="8121693" y="403757"/>
                </a:cubicBezTo>
                <a:cubicBezTo>
                  <a:pt x="8153663" y="397940"/>
                  <a:pt x="8277782" y="331034"/>
                  <a:pt x="8258977" y="342669"/>
                </a:cubicBezTo>
                <a:cubicBezTo>
                  <a:pt x="8238290" y="345579"/>
                  <a:pt x="8298470" y="348488"/>
                  <a:pt x="8298470" y="348488"/>
                </a:cubicBezTo>
                <a:cubicBezTo>
                  <a:pt x="8317276" y="322307"/>
                  <a:pt x="8253335" y="331034"/>
                  <a:pt x="8260858" y="322307"/>
                </a:cubicBezTo>
                <a:cubicBezTo>
                  <a:pt x="8282014" y="317943"/>
                  <a:pt x="8411070" y="321762"/>
                  <a:pt x="8472688" y="326398"/>
                </a:cubicBezTo>
                <a:lnTo>
                  <a:pt x="8491664" y="328229"/>
                </a:lnTo>
                <a:lnTo>
                  <a:pt x="8478065" y="331034"/>
                </a:lnTo>
                <a:cubicBezTo>
                  <a:pt x="8473365" y="332488"/>
                  <a:pt x="8468663" y="335398"/>
                  <a:pt x="8463961" y="342669"/>
                </a:cubicBezTo>
                <a:cubicBezTo>
                  <a:pt x="8468663" y="345579"/>
                  <a:pt x="8475245" y="344124"/>
                  <a:pt x="8480886" y="340852"/>
                </a:cubicBezTo>
                <a:lnTo>
                  <a:pt x="8492045" y="328266"/>
                </a:lnTo>
                <a:lnTo>
                  <a:pt x="8497067" y="328750"/>
                </a:lnTo>
                <a:cubicBezTo>
                  <a:pt x="8502778" y="329534"/>
                  <a:pt x="8505805" y="330306"/>
                  <a:pt x="8505335" y="331034"/>
                </a:cubicBezTo>
                <a:cubicBezTo>
                  <a:pt x="8556110" y="304853"/>
                  <a:pt x="8606887" y="281582"/>
                  <a:pt x="8659543" y="264127"/>
                </a:cubicBezTo>
                <a:cubicBezTo>
                  <a:pt x="8608767" y="220494"/>
                  <a:pt x="8556110" y="322307"/>
                  <a:pt x="8518498" y="316489"/>
                </a:cubicBezTo>
                <a:cubicBezTo>
                  <a:pt x="8542946" y="275763"/>
                  <a:pt x="8815633" y="156496"/>
                  <a:pt x="8826917" y="176859"/>
                </a:cubicBezTo>
                <a:cubicBezTo>
                  <a:pt x="8811871" y="275763"/>
                  <a:pt x="8823155" y="98317"/>
                  <a:pt x="8796827" y="240856"/>
                </a:cubicBezTo>
                <a:cubicBezTo>
                  <a:pt x="8926587" y="278672"/>
                  <a:pt x="9013094" y="147769"/>
                  <a:pt x="9109005" y="232130"/>
                </a:cubicBezTo>
                <a:lnTo>
                  <a:pt x="9105099" y="239034"/>
                </a:lnTo>
                <a:lnTo>
                  <a:pt x="9101307" y="239947"/>
                </a:lnTo>
                <a:cubicBezTo>
                  <a:pt x="9095371" y="241583"/>
                  <a:pt x="9090669" y="243038"/>
                  <a:pt x="9088319" y="243765"/>
                </a:cubicBezTo>
                <a:cubicBezTo>
                  <a:pt x="9093020" y="252492"/>
                  <a:pt x="9097251" y="251037"/>
                  <a:pt x="9100777" y="246674"/>
                </a:cubicBezTo>
                <a:lnTo>
                  <a:pt x="9105099" y="239034"/>
                </a:lnTo>
                <a:lnTo>
                  <a:pt x="9121699" y="235038"/>
                </a:lnTo>
                <a:cubicBezTo>
                  <a:pt x="9136274" y="232129"/>
                  <a:pt x="9151318" y="230675"/>
                  <a:pt x="9157900" y="235038"/>
                </a:cubicBezTo>
                <a:cubicBezTo>
                  <a:pt x="9157900" y="235038"/>
                  <a:pt x="9127810" y="287399"/>
                  <a:pt x="9133452" y="290308"/>
                </a:cubicBezTo>
                <a:cubicBezTo>
                  <a:pt x="9135333" y="287399"/>
                  <a:pt x="9304586" y="197221"/>
                  <a:pt x="9321512" y="217585"/>
                </a:cubicBezTo>
                <a:cubicBezTo>
                  <a:pt x="9283900" y="214675"/>
                  <a:pt x="9270736" y="226311"/>
                  <a:pt x="9280139" y="252492"/>
                </a:cubicBezTo>
                <a:cubicBezTo>
                  <a:pt x="9492646" y="150678"/>
                  <a:pt x="9368527" y="220494"/>
                  <a:pt x="9347841" y="267037"/>
                </a:cubicBezTo>
                <a:cubicBezTo>
                  <a:pt x="9423065" y="342669"/>
                  <a:pt x="9554706" y="217585"/>
                  <a:pt x="9639333" y="281582"/>
                </a:cubicBezTo>
                <a:cubicBezTo>
                  <a:pt x="9631810" y="374668"/>
                  <a:pt x="9408019" y="371759"/>
                  <a:pt x="9351602" y="406666"/>
                </a:cubicBezTo>
                <a:cubicBezTo>
                  <a:pt x="9313990" y="395031"/>
                  <a:pt x="9182348" y="479391"/>
                  <a:pt x="9077035" y="499753"/>
                </a:cubicBezTo>
                <a:lnTo>
                  <a:pt x="9083601" y="508068"/>
                </a:lnTo>
                <a:lnTo>
                  <a:pt x="9078915" y="511389"/>
                </a:lnTo>
                <a:cubicBezTo>
                  <a:pt x="9087378" y="518662"/>
                  <a:pt x="9091844" y="521025"/>
                  <a:pt x="9093725" y="520798"/>
                </a:cubicBezTo>
                <a:lnTo>
                  <a:pt x="9093390" y="517884"/>
                </a:lnTo>
                <a:lnTo>
                  <a:pt x="9117673" y="521208"/>
                </a:lnTo>
                <a:cubicBezTo>
                  <a:pt x="9180349" y="516844"/>
                  <a:pt x="9291422" y="450301"/>
                  <a:pt x="9291422" y="459028"/>
                </a:cubicBezTo>
                <a:cubicBezTo>
                  <a:pt x="9300826" y="572478"/>
                  <a:pt x="9368527" y="368850"/>
                  <a:pt x="9428706" y="456118"/>
                </a:cubicBezTo>
                <a:cubicBezTo>
                  <a:pt x="9434348" y="447392"/>
                  <a:pt x="9394856" y="473573"/>
                  <a:pt x="9398616" y="482299"/>
                </a:cubicBezTo>
                <a:cubicBezTo>
                  <a:pt x="9423065" y="491027"/>
                  <a:pt x="9441871" y="482299"/>
                  <a:pt x="9460677" y="450301"/>
                </a:cubicBezTo>
                <a:cubicBezTo>
                  <a:pt x="9462556" y="470663"/>
                  <a:pt x="9455034" y="482299"/>
                  <a:pt x="9441871" y="485208"/>
                </a:cubicBezTo>
                <a:cubicBezTo>
                  <a:pt x="9616766" y="424121"/>
                  <a:pt x="9829273" y="523025"/>
                  <a:pt x="10032377" y="392121"/>
                </a:cubicBezTo>
                <a:cubicBezTo>
                  <a:pt x="10028615" y="377578"/>
                  <a:pt x="10021093" y="374668"/>
                  <a:pt x="10007929" y="383395"/>
                </a:cubicBezTo>
                <a:lnTo>
                  <a:pt x="10030219" y="374485"/>
                </a:lnTo>
                <a:lnTo>
                  <a:pt x="10028615" y="380486"/>
                </a:lnTo>
                <a:cubicBezTo>
                  <a:pt x="10073750" y="371759"/>
                  <a:pt x="10118884" y="342669"/>
                  <a:pt x="10164018" y="336852"/>
                </a:cubicBezTo>
                <a:cubicBezTo>
                  <a:pt x="10164018" y="360124"/>
                  <a:pt x="10011691" y="441575"/>
                  <a:pt x="10211033" y="345579"/>
                </a:cubicBezTo>
                <a:cubicBezTo>
                  <a:pt x="10201630" y="354305"/>
                  <a:pt x="10194109" y="363033"/>
                  <a:pt x="10186586" y="374669"/>
                </a:cubicBezTo>
                <a:cubicBezTo>
                  <a:pt x="10218556" y="368850"/>
                  <a:pt x="10342675" y="301944"/>
                  <a:pt x="10323869" y="313579"/>
                </a:cubicBezTo>
                <a:cubicBezTo>
                  <a:pt x="10303183" y="316489"/>
                  <a:pt x="10363362" y="319398"/>
                  <a:pt x="10363362" y="319398"/>
                </a:cubicBezTo>
                <a:cubicBezTo>
                  <a:pt x="10382168" y="293217"/>
                  <a:pt x="10318227" y="301944"/>
                  <a:pt x="10325749" y="293217"/>
                </a:cubicBezTo>
                <a:cubicBezTo>
                  <a:pt x="10346907" y="288854"/>
                  <a:pt x="10475962" y="292672"/>
                  <a:pt x="10537581" y="297308"/>
                </a:cubicBezTo>
                <a:lnTo>
                  <a:pt x="10559124" y="299386"/>
                </a:lnTo>
                <a:lnTo>
                  <a:pt x="10546720" y="301945"/>
                </a:lnTo>
                <a:cubicBezTo>
                  <a:pt x="10542018" y="303398"/>
                  <a:pt x="10537317" y="306308"/>
                  <a:pt x="10532616" y="313580"/>
                </a:cubicBezTo>
                <a:cubicBezTo>
                  <a:pt x="10537317" y="316489"/>
                  <a:pt x="10543899" y="315034"/>
                  <a:pt x="10549540" y="311762"/>
                </a:cubicBezTo>
                <a:lnTo>
                  <a:pt x="10560404" y="299510"/>
                </a:lnTo>
                <a:lnTo>
                  <a:pt x="10561959" y="299661"/>
                </a:lnTo>
                <a:cubicBezTo>
                  <a:pt x="10567671" y="300444"/>
                  <a:pt x="10570697" y="301216"/>
                  <a:pt x="10570227" y="301944"/>
                </a:cubicBezTo>
                <a:cubicBezTo>
                  <a:pt x="10621002" y="275763"/>
                  <a:pt x="10671778" y="252492"/>
                  <a:pt x="10724435" y="235038"/>
                </a:cubicBezTo>
                <a:cubicBezTo>
                  <a:pt x="10673660" y="191404"/>
                  <a:pt x="10621002" y="293217"/>
                  <a:pt x="10583391" y="287399"/>
                </a:cubicBezTo>
                <a:cubicBezTo>
                  <a:pt x="10607839" y="246674"/>
                  <a:pt x="10880525" y="127407"/>
                  <a:pt x="10891808" y="147769"/>
                </a:cubicBezTo>
                <a:cubicBezTo>
                  <a:pt x="10876763" y="246675"/>
                  <a:pt x="10888047" y="69227"/>
                  <a:pt x="10861719" y="211766"/>
                </a:cubicBezTo>
                <a:cubicBezTo>
                  <a:pt x="10991480" y="249583"/>
                  <a:pt x="11077987" y="118679"/>
                  <a:pt x="11173898" y="203040"/>
                </a:cubicBezTo>
                <a:lnTo>
                  <a:pt x="11169992" y="209944"/>
                </a:lnTo>
                <a:lnTo>
                  <a:pt x="11166200" y="210858"/>
                </a:lnTo>
                <a:cubicBezTo>
                  <a:pt x="11160264" y="212493"/>
                  <a:pt x="11155562" y="213948"/>
                  <a:pt x="11153211" y="214675"/>
                </a:cubicBezTo>
                <a:cubicBezTo>
                  <a:pt x="11157912" y="223403"/>
                  <a:pt x="11162144" y="221948"/>
                  <a:pt x="11165670" y="217585"/>
                </a:cubicBezTo>
                <a:lnTo>
                  <a:pt x="11169992" y="209944"/>
                </a:lnTo>
                <a:lnTo>
                  <a:pt x="11186591" y="205949"/>
                </a:lnTo>
                <a:cubicBezTo>
                  <a:pt x="11201166" y="203040"/>
                  <a:pt x="11216210" y="201585"/>
                  <a:pt x="11222792" y="205949"/>
                </a:cubicBezTo>
                <a:cubicBezTo>
                  <a:pt x="11222792" y="205949"/>
                  <a:pt x="11192704" y="258310"/>
                  <a:pt x="11198345" y="261218"/>
                </a:cubicBezTo>
                <a:cubicBezTo>
                  <a:pt x="11200227" y="258310"/>
                  <a:pt x="11369480" y="168133"/>
                  <a:pt x="11386403" y="188495"/>
                </a:cubicBezTo>
                <a:cubicBezTo>
                  <a:pt x="11348793" y="185586"/>
                  <a:pt x="11335628" y="197221"/>
                  <a:pt x="11345031" y="223402"/>
                </a:cubicBezTo>
                <a:cubicBezTo>
                  <a:pt x="11424721" y="185222"/>
                  <a:pt x="11457074" y="171177"/>
                  <a:pt x="11465295" y="17099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4426006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7F0788F9-EB57-4F4F-840D-353ADD297808}"/>
              </a:ext>
            </a:extLst>
          </p:cNvPr>
          <p:cNvSpPr/>
          <p:nvPr userDrawn="1"/>
        </p:nvSpPr>
        <p:spPr>
          <a:xfrm>
            <a:off x="0" y="3327037"/>
            <a:ext cx="12192000" cy="35309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F9376DB-C009-49D1-87DD-4ADE68A6837A}"/>
              </a:ext>
            </a:extLst>
          </p:cNvPr>
          <p:cNvGrpSpPr/>
          <p:nvPr userDrawn="1"/>
        </p:nvGrpSpPr>
        <p:grpSpPr>
          <a:xfrm>
            <a:off x="670296" y="1814508"/>
            <a:ext cx="5417257" cy="2976416"/>
            <a:chOff x="-548507" y="477868"/>
            <a:chExt cx="11570449" cy="6357177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66897BB-3100-413E-8E1A-27DFEF5D32E1}"/>
                </a:ext>
              </a:extLst>
            </p:cNvPr>
            <p:cNvSpPr/>
            <p:nvPr/>
          </p:nvSpPr>
          <p:spPr>
            <a:xfrm>
              <a:off x="-482765" y="6440599"/>
              <a:ext cx="11438966" cy="394446"/>
            </a:xfrm>
            <a:custGeom>
              <a:avLst/>
              <a:gdLst>
                <a:gd name="connsiteX0" fmla="*/ 1605439 w 1657350"/>
                <a:gd name="connsiteY0" fmla="*/ 54769 h 57150"/>
                <a:gd name="connsiteX1" fmla="*/ 1652111 w 1657350"/>
                <a:gd name="connsiteY1" fmla="*/ 22384 h 57150"/>
                <a:gd name="connsiteX2" fmla="*/ 1652111 w 1657350"/>
                <a:gd name="connsiteY2" fmla="*/ 22384 h 57150"/>
                <a:gd name="connsiteX3" fmla="*/ 1636871 w 1657350"/>
                <a:gd name="connsiteY3" fmla="*/ 7144 h 57150"/>
                <a:gd name="connsiteX4" fmla="*/ 44291 w 1657350"/>
                <a:gd name="connsiteY4" fmla="*/ 12859 h 57150"/>
                <a:gd name="connsiteX5" fmla="*/ 23336 w 1657350"/>
                <a:gd name="connsiteY5" fmla="*/ 12859 h 57150"/>
                <a:gd name="connsiteX6" fmla="*/ 7144 w 1657350"/>
                <a:gd name="connsiteY6" fmla="*/ 26194 h 57150"/>
                <a:gd name="connsiteX7" fmla="*/ 7144 w 1657350"/>
                <a:gd name="connsiteY7" fmla="*/ 26194 h 57150"/>
                <a:gd name="connsiteX8" fmla="*/ 50959 w 1657350"/>
                <a:gd name="connsiteY8" fmla="*/ 53816 h 57150"/>
                <a:gd name="connsiteX9" fmla="*/ 51911 w 1657350"/>
                <a:gd name="connsiteY9" fmla="*/ 54769 h 57150"/>
                <a:gd name="connsiteX10" fmla="*/ 51911 w 1657350"/>
                <a:gd name="connsiteY10" fmla="*/ 54769 h 57150"/>
                <a:gd name="connsiteX11" fmla="*/ 56674 w 1657350"/>
                <a:gd name="connsiteY11" fmla="*/ 5476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57350" h="57150">
                  <a:moveTo>
                    <a:pt x="1605439" y="54769"/>
                  </a:moveTo>
                  <a:cubicBezTo>
                    <a:pt x="1605439" y="54769"/>
                    <a:pt x="1638776" y="50959"/>
                    <a:pt x="1652111" y="22384"/>
                  </a:cubicBezTo>
                  <a:lnTo>
                    <a:pt x="1652111" y="22384"/>
                  </a:lnTo>
                  <a:cubicBezTo>
                    <a:pt x="1652111" y="13811"/>
                    <a:pt x="1645444" y="7144"/>
                    <a:pt x="1636871" y="7144"/>
                  </a:cubicBezTo>
                  <a:lnTo>
                    <a:pt x="44291" y="12859"/>
                  </a:lnTo>
                  <a:lnTo>
                    <a:pt x="23336" y="12859"/>
                  </a:lnTo>
                  <a:cubicBezTo>
                    <a:pt x="14764" y="12859"/>
                    <a:pt x="7144" y="18574"/>
                    <a:pt x="7144" y="26194"/>
                  </a:cubicBezTo>
                  <a:lnTo>
                    <a:pt x="7144" y="26194"/>
                  </a:lnTo>
                  <a:cubicBezTo>
                    <a:pt x="17621" y="45244"/>
                    <a:pt x="40481" y="51911"/>
                    <a:pt x="50959" y="53816"/>
                  </a:cubicBezTo>
                  <a:lnTo>
                    <a:pt x="51911" y="54769"/>
                  </a:lnTo>
                  <a:cubicBezTo>
                    <a:pt x="51911" y="54769"/>
                    <a:pt x="51911" y="54769"/>
                    <a:pt x="51911" y="54769"/>
                  </a:cubicBezTo>
                  <a:lnTo>
                    <a:pt x="56674" y="54769"/>
                  </a:lnTo>
                </a:path>
              </a:pathLst>
            </a:custGeom>
            <a:solidFill>
              <a:srgbClr val="5F67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DAD8198-C161-4F13-9E05-57193A9E447E}"/>
                </a:ext>
              </a:extLst>
            </p:cNvPr>
            <p:cNvSpPr/>
            <p:nvPr/>
          </p:nvSpPr>
          <p:spPr>
            <a:xfrm>
              <a:off x="700575" y="477868"/>
              <a:ext cx="9072285" cy="5916709"/>
            </a:xfrm>
            <a:custGeom>
              <a:avLst/>
              <a:gdLst>
                <a:gd name="connsiteX0" fmla="*/ 1311116 w 1314450"/>
                <a:gd name="connsiteY0" fmla="*/ 813911 h 857250"/>
                <a:gd name="connsiteX1" fmla="*/ 1281589 w 1314450"/>
                <a:gd name="connsiteY1" fmla="*/ 852964 h 857250"/>
                <a:gd name="connsiteX2" fmla="*/ 36671 w 1314450"/>
                <a:gd name="connsiteY2" fmla="*/ 852964 h 857250"/>
                <a:gd name="connsiteX3" fmla="*/ 7144 w 1314450"/>
                <a:gd name="connsiteY3" fmla="*/ 813911 h 857250"/>
                <a:gd name="connsiteX4" fmla="*/ 7144 w 1314450"/>
                <a:gd name="connsiteY4" fmla="*/ 46196 h 857250"/>
                <a:gd name="connsiteX5" fmla="*/ 36671 w 1314450"/>
                <a:gd name="connsiteY5" fmla="*/ 7144 h 857250"/>
                <a:gd name="connsiteX6" fmla="*/ 1281589 w 1314450"/>
                <a:gd name="connsiteY6" fmla="*/ 7144 h 857250"/>
                <a:gd name="connsiteX7" fmla="*/ 1311116 w 1314450"/>
                <a:gd name="connsiteY7" fmla="*/ 46196 h 857250"/>
                <a:gd name="connsiteX8" fmla="*/ 1311116 w 1314450"/>
                <a:gd name="connsiteY8" fmla="*/ 813911 h 8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4450" h="857250">
                  <a:moveTo>
                    <a:pt x="1311116" y="813911"/>
                  </a:moveTo>
                  <a:cubicBezTo>
                    <a:pt x="1311116" y="834866"/>
                    <a:pt x="1297781" y="852964"/>
                    <a:pt x="1281589" y="852964"/>
                  </a:cubicBezTo>
                  <a:lnTo>
                    <a:pt x="36671" y="852964"/>
                  </a:lnTo>
                  <a:cubicBezTo>
                    <a:pt x="20479" y="852964"/>
                    <a:pt x="7144" y="835819"/>
                    <a:pt x="7144" y="813911"/>
                  </a:cubicBezTo>
                  <a:lnTo>
                    <a:pt x="7144" y="46196"/>
                  </a:lnTo>
                  <a:cubicBezTo>
                    <a:pt x="7144" y="25241"/>
                    <a:pt x="20479" y="7144"/>
                    <a:pt x="36671" y="7144"/>
                  </a:cubicBezTo>
                  <a:lnTo>
                    <a:pt x="1281589" y="7144"/>
                  </a:lnTo>
                  <a:cubicBezTo>
                    <a:pt x="1297781" y="7144"/>
                    <a:pt x="1311116" y="24289"/>
                    <a:pt x="1311116" y="46196"/>
                  </a:cubicBezTo>
                  <a:lnTo>
                    <a:pt x="1311116" y="81391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34326ED-C432-4F48-8CD1-9081AA4FEF55}"/>
                </a:ext>
              </a:extLst>
            </p:cNvPr>
            <p:cNvSpPr/>
            <p:nvPr/>
          </p:nvSpPr>
          <p:spPr>
            <a:xfrm>
              <a:off x="1088451" y="839448"/>
              <a:ext cx="8283390" cy="5062073"/>
            </a:xfrm>
            <a:custGeom>
              <a:avLst/>
              <a:gdLst>
                <a:gd name="connsiteX0" fmla="*/ 7144 w 1200150"/>
                <a:gd name="connsiteY0" fmla="*/ 7144 h 733425"/>
                <a:gd name="connsiteX1" fmla="*/ 1196816 w 1200150"/>
                <a:gd name="connsiteY1" fmla="*/ 7144 h 733425"/>
                <a:gd name="connsiteX2" fmla="*/ 1196816 w 1200150"/>
                <a:gd name="connsiteY2" fmla="*/ 730091 h 733425"/>
                <a:gd name="connsiteX3" fmla="*/ 7144 w 1200150"/>
                <a:gd name="connsiteY3" fmla="*/ 730091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150" h="733425">
                  <a:moveTo>
                    <a:pt x="7144" y="7144"/>
                  </a:moveTo>
                  <a:lnTo>
                    <a:pt x="1196816" y="7144"/>
                  </a:lnTo>
                  <a:lnTo>
                    <a:pt x="1196816" y="730091"/>
                  </a:lnTo>
                  <a:lnTo>
                    <a:pt x="7144" y="730091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C1CB96C-72E6-465C-AE6F-6EECBC306822}"/>
                </a:ext>
              </a:extLst>
            </p:cNvPr>
            <p:cNvSpPr/>
            <p:nvPr/>
          </p:nvSpPr>
          <p:spPr>
            <a:xfrm>
              <a:off x="-548507" y="6164484"/>
              <a:ext cx="11570449" cy="460187"/>
            </a:xfrm>
            <a:custGeom>
              <a:avLst/>
              <a:gdLst>
                <a:gd name="connsiteX0" fmla="*/ 50006 w 1676400"/>
                <a:gd name="connsiteY0" fmla="*/ 7144 h 66675"/>
                <a:gd name="connsiteX1" fmla="*/ 1630204 w 1676400"/>
                <a:gd name="connsiteY1" fmla="*/ 7144 h 66675"/>
                <a:gd name="connsiteX2" fmla="*/ 1672114 w 1676400"/>
                <a:gd name="connsiteY2" fmla="*/ 49054 h 66675"/>
                <a:gd name="connsiteX3" fmla="*/ 1672114 w 1676400"/>
                <a:gd name="connsiteY3" fmla="*/ 57626 h 66675"/>
                <a:gd name="connsiteX4" fmla="*/ 1656874 w 1676400"/>
                <a:gd name="connsiteY4" fmla="*/ 62389 h 66675"/>
                <a:gd name="connsiteX5" fmla="*/ 1654016 w 1676400"/>
                <a:gd name="connsiteY5" fmla="*/ 62389 h 66675"/>
                <a:gd name="connsiteX6" fmla="*/ 29051 w 1676400"/>
                <a:gd name="connsiteY6" fmla="*/ 62389 h 66675"/>
                <a:gd name="connsiteX7" fmla="*/ 21431 w 1676400"/>
                <a:gd name="connsiteY7" fmla="*/ 63341 h 66675"/>
                <a:gd name="connsiteX8" fmla="*/ 7144 w 1676400"/>
                <a:gd name="connsiteY8" fmla="*/ 55721 h 66675"/>
                <a:gd name="connsiteX9" fmla="*/ 7144 w 1676400"/>
                <a:gd name="connsiteY9" fmla="*/ 48101 h 66675"/>
                <a:gd name="connsiteX10" fmla="*/ 50006 w 16764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400" h="66675">
                  <a:moveTo>
                    <a:pt x="50006" y="7144"/>
                  </a:moveTo>
                  <a:lnTo>
                    <a:pt x="1630204" y="7144"/>
                  </a:lnTo>
                  <a:cubicBezTo>
                    <a:pt x="1653064" y="7144"/>
                    <a:pt x="1672114" y="26194"/>
                    <a:pt x="1672114" y="49054"/>
                  </a:cubicBezTo>
                  <a:lnTo>
                    <a:pt x="1672114" y="57626"/>
                  </a:lnTo>
                  <a:cubicBezTo>
                    <a:pt x="1672114" y="57626"/>
                    <a:pt x="1674019" y="64294"/>
                    <a:pt x="1656874" y="62389"/>
                  </a:cubicBezTo>
                  <a:cubicBezTo>
                    <a:pt x="1655921" y="62389"/>
                    <a:pt x="1654969" y="62389"/>
                    <a:pt x="1654016" y="62389"/>
                  </a:cubicBezTo>
                  <a:lnTo>
                    <a:pt x="29051" y="62389"/>
                  </a:lnTo>
                  <a:cubicBezTo>
                    <a:pt x="26194" y="62389"/>
                    <a:pt x="24289" y="62389"/>
                    <a:pt x="21431" y="63341"/>
                  </a:cubicBezTo>
                  <a:cubicBezTo>
                    <a:pt x="16669" y="64294"/>
                    <a:pt x="8096" y="64294"/>
                    <a:pt x="7144" y="55721"/>
                  </a:cubicBezTo>
                  <a:lnTo>
                    <a:pt x="7144" y="48101"/>
                  </a:lnTo>
                  <a:cubicBezTo>
                    <a:pt x="8096" y="25241"/>
                    <a:pt x="26194" y="7144"/>
                    <a:pt x="50006" y="7144"/>
                  </a:cubicBezTo>
                  <a:close/>
                </a:path>
              </a:pathLst>
            </a:custGeom>
            <a:solidFill>
              <a:srgbClr val="CCCC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F33B34F-7350-41CE-B0C2-C5100EF948B2}"/>
                </a:ext>
              </a:extLst>
            </p:cNvPr>
            <p:cNvSpPr/>
            <p:nvPr/>
          </p:nvSpPr>
          <p:spPr>
            <a:xfrm>
              <a:off x="4438629" y="6215033"/>
              <a:ext cx="1618413" cy="184076"/>
            </a:xfrm>
            <a:custGeom>
              <a:avLst/>
              <a:gdLst>
                <a:gd name="connsiteX0" fmla="*/ 1478513 w 1618413"/>
                <a:gd name="connsiteY0" fmla="*/ 177499 h 184076"/>
                <a:gd name="connsiteX1" fmla="*/ 1485084 w 1618413"/>
                <a:gd name="connsiteY1" fmla="*/ 177499 h 184076"/>
                <a:gd name="connsiteX2" fmla="*/ 1502686 w 1618413"/>
                <a:gd name="connsiteY2" fmla="*/ 178122 h 184076"/>
                <a:gd name="connsiteX3" fmla="*/ 1499879 w 1618413"/>
                <a:gd name="connsiteY3" fmla="*/ 178526 h 184076"/>
                <a:gd name="connsiteX4" fmla="*/ 1478513 w 1618413"/>
                <a:gd name="connsiteY4" fmla="*/ 177499 h 184076"/>
                <a:gd name="connsiteX5" fmla="*/ 84799 w 1618413"/>
                <a:gd name="connsiteY5" fmla="*/ 170928 h 184076"/>
                <a:gd name="connsiteX6" fmla="*/ 117666 w 1618413"/>
                <a:gd name="connsiteY6" fmla="*/ 177499 h 184076"/>
                <a:gd name="connsiteX7" fmla="*/ 104518 w 1618413"/>
                <a:gd name="connsiteY7" fmla="*/ 177499 h 184076"/>
                <a:gd name="connsiteX8" fmla="*/ 84799 w 1618413"/>
                <a:gd name="connsiteY8" fmla="*/ 170928 h 184076"/>
                <a:gd name="connsiteX9" fmla="*/ 1603418 w 1618413"/>
                <a:gd name="connsiteY9" fmla="*/ 0 h 184076"/>
                <a:gd name="connsiteX10" fmla="*/ 1616567 w 1618413"/>
                <a:gd name="connsiteY10" fmla="*/ 0 h 184076"/>
                <a:gd name="connsiteX11" fmla="*/ 1511177 w 1618413"/>
                <a:gd name="connsiteY11" fmla="*/ 178423 h 184076"/>
                <a:gd name="connsiteX12" fmla="*/ 1502686 w 1618413"/>
                <a:gd name="connsiteY12" fmla="*/ 178122 h 184076"/>
                <a:gd name="connsiteX13" fmla="*/ 1521501 w 1618413"/>
                <a:gd name="connsiteY13" fmla="*/ 175419 h 184076"/>
                <a:gd name="connsiteX14" fmla="*/ 1603418 w 1618413"/>
                <a:gd name="connsiteY14" fmla="*/ 6571 h 184076"/>
                <a:gd name="connsiteX15" fmla="*/ 5911 w 1618413"/>
                <a:gd name="connsiteY15" fmla="*/ 0 h 184076"/>
                <a:gd name="connsiteX16" fmla="*/ 19060 w 1618413"/>
                <a:gd name="connsiteY16" fmla="*/ 6571 h 184076"/>
                <a:gd name="connsiteX17" fmla="*/ 91379 w 1618413"/>
                <a:gd name="connsiteY17" fmla="*/ 184076 h 184076"/>
                <a:gd name="connsiteX18" fmla="*/ 5911 w 1618413"/>
                <a:gd name="connsiteY18" fmla="*/ 0 h 184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8413" h="184076">
                  <a:moveTo>
                    <a:pt x="1478513" y="177499"/>
                  </a:moveTo>
                  <a:lnTo>
                    <a:pt x="1485084" y="177499"/>
                  </a:lnTo>
                  <a:lnTo>
                    <a:pt x="1502686" y="178122"/>
                  </a:lnTo>
                  <a:lnTo>
                    <a:pt x="1499879" y="178526"/>
                  </a:lnTo>
                  <a:cubicBezTo>
                    <a:pt x="1487142" y="179142"/>
                    <a:pt x="1478513" y="177499"/>
                    <a:pt x="1478513" y="177499"/>
                  </a:cubicBezTo>
                  <a:close/>
                  <a:moveTo>
                    <a:pt x="84799" y="170928"/>
                  </a:moveTo>
                  <a:cubicBezTo>
                    <a:pt x="97947" y="177499"/>
                    <a:pt x="104518" y="177499"/>
                    <a:pt x="117666" y="177499"/>
                  </a:cubicBezTo>
                  <a:lnTo>
                    <a:pt x="104518" y="177499"/>
                  </a:lnTo>
                  <a:cubicBezTo>
                    <a:pt x="97947" y="177499"/>
                    <a:pt x="91370" y="177499"/>
                    <a:pt x="84799" y="170928"/>
                  </a:cubicBezTo>
                  <a:close/>
                  <a:moveTo>
                    <a:pt x="1603418" y="0"/>
                  </a:moveTo>
                  <a:lnTo>
                    <a:pt x="1616567" y="0"/>
                  </a:lnTo>
                  <a:cubicBezTo>
                    <a:pt x="1631361" y="152847"/>
                    <a:pt x="1553705" y="176266"/>
                    <a:pt x="1511177" y="178423"/>
                  </a:cubicBezTo>
                  <a:lnTo>
                    <a:pt x="1502686" y="178122"/>
                  </a:lnTo>
                  <a:lnTo>
                    <a:pt x="1521501" y="175419"/>
                  </a:lnTo>
                  <a:cubicBezTo>
                    <a:pt x="1560791" y="165788"/>
                    <a:pt x="1611636" y="129836"/>
                    <a:pt x="1603418" y="6571"/>
                  </a:cubicBezTo>
                  <a:close/>
                  <a:moveTo>
                    <a:pt x="5911" y="0"/>
                  </a:moveTo>
                  <a:lnTo>
                    <a:pt x="19060" y="6571"/>
                  </a:lnTo>
                  <a:cubicBezTo>
                    <a:pt x="19060" y="6571"/>
                    <a:pt x="-20385" y="144631"/>
                    <a:pt x="91379" y="184076"/>
                  </a:cubicBezTo>
                  <a:cubicBezTo>
                    <a:pt x="-33534" y="151202"/>
                    <a:pt x="5911" y="0"/>
                    <a:pt x="5911" y="0"/>
                  </a:cubicBezTo>
                  <a:close/>
                </a:path>
              </a:pathLst>
            </a:custGeom>
            <a:solidFill>
              <a:srgbClr val="4D4D4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820BEFD-2C5B-4432-9728-63FFFC35B9DA}"/>
                </a:ext>
              </a:extLst>
            </p:cNvPr>
            <p:cNvGrpSpPr/>
            <p:nvPr/>
          </p:nvGrpSpPr>
          <p:grpSpPr>
            <a:xfrm>
              <a:off x="1606" y="6382978"/>
              <a:ext cx="413937" cy="115242"/>
              <a:chOff x="5955" y="6353672"/>
              <a:chExt cx="413937" cy="115242"/>
            </a:xfrm>
          </p:grpSpPr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B32EA32D-0A43-4E4B-A787-948E4D3E07E6}"/>
                  </a:ext>
                </a:extLst>
              </p:cNvPr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Rectangle: Rounded Corners 26">
                <a:extLst>
                  <a:ext uri="{FF2B5EF4-FFF2-40B4-BE49-F238E27FC236}">
                    <a16:creationId xmlns:a16="http://schemas.microsoft.com/office/drawing/2014/main" id="{71F77921-4764-4741-979D-C5B3C849FAB6}"/>
                  </a:ext>
                </a:extLst>
              </p:cNvPr>
              <p:cNvSpPr/>
              <p:nvPr/>
            </p:nvSpPr>
            <p:spPr>
              <a:xfrm>
                <a:off x="99417" y="6382279"/>
                <a:ext cx="227012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440F0F5-4F83-4FDE-A4E7-772FDF0290BE}"/>
                </a:ext>
              </a:extLst>
            </p:cNvPr>
            <p:cNvGrpSpPr/>
            <p:nvPr/>
          </p:nvGrpSpPr>
          <p:grpSpPr>
            <a:xfrm>
              <a:off x="9855291" y="6381600"/>
              <a:ext cx="885989" cy="115242"/>
              <a:chOff x="5955" y="6353672"/>
              <a:chExt cx="413937" cy="115242"/>
            </a:xfrm>
          </p:grpSpPr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9F7BCAAD-18C7-431B-93F9-CE30626E904A}"/>
                  </a:ext>
                </a:extLst>
              </p:cNvPr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98FB9F0A-DAFD-4F04-8BF5-2349AAA5CAED}"/>
                  </a:ext>
                </a:extLst>
              </p:cNvPr>
              <p:cNvSpPr/>
              <p:nvPr/>
            </p:nvSpPr>
            <p:spPr>
              <a:xfrm>
                <a:off x="84761" y="6382279"/>
                <a:ext cx="256326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7DACA3B-8072-4CAE-B8A5-5E90318ECDA5}"/>
                </a:ext>
              </a:extLst>
            </p:cNvPr>
            <p:cNvSpPr/>
            <p:nvPr/>
          </p:nvSpPr>
          <p:spPr>
            <a:xfrm>
              <a:off x="3892805" y="496953"/>
              <a:ext cx="5479036" cy="5431217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8" name="그림 개체 틀 2">
            <a:extLst>
              <a:ext uri="{FF2B5EF4-FFF2-40B4-BE49-F238E27FC236}">
                <a16:creationId xmlns:a16="http://schemas.microsoft.com/office/drawing/2014/main" id="{AD0BFC55-BDBC-4928-BF7B-AE77C6881A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419498" y="1983798"/>
            <a:ext cx="3918856" cy="238252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EF6EADA-CED2-4051-AF49-17C84F49D00F}"/>
              </a:ext>
            </a:extLst>
          </p:cNvPr>
          <p:cNvGrpSpPr/>
          <p:nvPr userDrawn="1"/>
        </p:nvGrpSpPr>
        <p:grpSpPr>
          <a:xfrm>
            <a:off x="7690813" y="-9527"/>
            <a:ext cx="4510712" cy="1287974"/>
            <a:chOff x="7690813" y="-9527"/>
            <a:chExt cx="4510712" cy="1287974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38911F4-9AE5-42B4-AE48-2185CCB385AB}"/>
                </a:ext>
              </a:extLst>
            </p:cNvPr>
            <p:cNvSpPr/>
            <p:nvPr userDrawn="1"/>
          </p:nvSpPr>
          <p:spPr>
            <a:xfrm rot="9719239">
              <a:off x="8748655" y="451183"/>
              <a:ext cx="1000612" cy="800490"/>
            </a:xfrm>
            <a:custGeom>
              <a:avLst/>
              <a:gdLst>
                <a:gd name="connsiteX0" fmla="*/ 370108 w 737797"/>
                <a:gd name="connsiteY0" fmla="*/ 703 h 590237"/>
                <a:gd name="connsiteX1" fmla="*/ 567556 w 737797"/>
                <a:gd name="connsiteY1" fmla="*/ 0 h 590237"/>
                <a:gd name="connsiteX2" fmla="*/ 592150 w 737797"/>
                <a:gd name="connsiteY2" fmla="*/ 23891 h 590237"/>
                <a:gd name="connsiteX3" fmla="*/ 591447 w 737797"/>
                <a:gd name="connsiteY3" fmla="*/ 139128 h 590237"/>
                <a:gd name="connsiteX4" fmla="*/ 599176 w 737797"/>
                <a:gd name="connsiteY4" fmla="*/ 167234 h 590237"/>
                <a:gd name="connsiteX5" fmla="*/ 631499 w 737797"/>
                <a:gd name="connsiteY5" fmla="*/ 167937 h 590237"/>
                <a:gd name="connsiteX6" fmla="*/ 734791 w 737797"/>
                <a:gd name="connsiteY6" fmla="*/ 191125 h 590237"/>
                <a:gd name="connsiteX7" fmla="*/ 701063 w 737797"/>
                <a:gd name="connsiteY7" fmla="*/ 296524 h 590237"/>
                <a:gd name="connsiteX8" fmla="*/ 636418 w 737797"/>
                <a:gd name="connsiteY8" fmla="*/ 285282 h 590237"/>
                <a:gd name="connsiteX9" fmla="*/ 612527 w 737797"/>
                <a:gd name="connsiteY9" fmla="*/ 269121 h 590237"/>
                <a:gd name="connsiteX10" fmla="*/ 591447 w 737797"/>
                <a:gd name="connsiteY10" fmla="*/ 304254 h 590237"/>
                <a:gd name="connsiteX11" fmla="*/ 592150 w 737797"/>
                <a:gd name="connsiteY11" fmla="*/ 422301 h 590237"/>
                <a:gd name="connsiteX12" fmla="*/ 569665 w 737797"/>
                <a:gd name="connsiteY12" fmla="*/ 445489 h 590237"/>
                <a:gd name="connsiteX13" fmla="*/ 454428 w 737797"/>
                <a:gd name="connsiteY13" fmla="*/ 444787 h 590237"/>
                <a:gd name="connsiteX14" fmla="*/ 426321 w 737797"/>
                <a:gd name="connsiteY14" fmla="*/ 452516 h 590237"/>
                <a:gd name="connsiteX15" fmla="*/ 424916 w 737797"/>
                <a:gd name="connsiteY15" fmla="*/ 486244 h 590237"/>
                <a:gd name="connsiteX16" fmla="*/ 417889 w 737797"/>
                <a:gd name="connsiteY16" fmla="*/ 581806 h 590237"/>
                <a:gd name="connsiteX17" fmla="*/ 295626 w 737797"/>
                <a:gd name="connsiteY17" fmla="*/ 554402 h 590237"/>
                <a:gd name="connsiteX18" fmla="*/ 308274 w 737797"/>
                <a:gd name="connsiteY18" fmla="*/ 489757 h 590237"/>
                <a:gd name="connsiteX19" fmla="*/ 323029 w 737797"/>
                <a:gd name="connsiteY19" fmla="*/ 464461 h 590237"/>
                <a:gd name="connsiteX20" fmla="*/ 290004 w 737797"/>
                <a:gd name="connsiteY20" fmla="*/ 444787 h 590237"/>
                <a:gd name="connsiteX21" fmla="*/ 167038 w 737797"/>
                <a:gd name="connsiteY21" fmla="*/ 445489 h 590237"/>
                <a:gd name="connsiteX22" fmla="*/ 148769 w 737797"/>
                <a:gd name="connsiteY22" fmla="*/ 427220 h 590237"/>
                <a:gd name="connsiteX23" fmla="*/ 149471 w 737797"/>
                <a:gd name="connsiteY23" fmla="*/ 309172 h 590237"/>
                <a:gd name="connsiteX24" fmla="*/ 138229 w 737797"/>
                <a:gd name="connsiteY24" fmla="*/ 276850 h 590237"/>
                <a:gd name="connsiteX25" fmla="*/ 109420 w 737797"/>
                <a:gd name="connsiteY25" fmla="*/ 277552 h 590237"/>
                <a:gd name="connsiteX26" fmla="*/ 52504 w 737797"/>
                <a:gd name="connsiteY26" fmla="*/ 303551 h 590237"/>
                <a:gd name="connsiteX27" fmla="*/ 507 w 737797"/>
                <a:gd name="connsiteY27" fmla="*/ 233285 h 590237"/>
                <a:gd name="connsiteX28" fmla="*/ 37045 w 737797"/>
                <a:gd name="connsiteY28" fmla="*/ 150370 h 590237"/>
                <a:gd name="connsiteX29" fmla="*/ 103798 w 737797"/>
                <a:gd name="connsiteY29" fmla="*/ 161613 h 590237"/>
                <a:gd name="connsiteX30" fmla="*/ 125581 w 737797"/>
                <a:gd name="connsiteY30" fmla="*/ 177774 h 590237"/>
                <a:gd name="connsiteX31" fmla="*/ 148769 w 737797"/>
                <a:gd name="connsiteY31" fmla="*/ 144046 h 590237"/>
                <a:gd name="connsiteX32" fmla="*/ 148066 w 737797"/>
                <a:gd name="connsiteY32" fmla="*/ 23891 h 590237"/>
                <a:gd name="connsiteX33" fmla="*/ 170551 w 737797"/>
                <a:gd name="connsiteY33" fmla="*/ 1405 h 590237"/>
                <a:gd name="connsiteX34" fmla="*/ 370108 w 737797"/>
                <a:gd name="connsiteY34" fmla="*/ 703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37797" h="590237">
                  <a:moveTo>
                    <a:pt x="370108" y="703"/>
                  </a:moveTo>
                  <a:cubicBezTo>
                    <a:pt x="436159" y="703"/>
                    <a:pt x="501506" y="1405"/>
                    <a:pt x="567556" y="0"/>
                  </a:cubicBezTo>
                  <a:cubicBezTo>
                    <a:pt x="585826" y="0"/>
                    <a:pt x="592853" y="3513"/>
                    <a:pt x="592150" y="23891"/>
                  </a:cubicBezTo>
                  <a:cubicBezTo>
                    <a:pt x="590745" y="61835"/>
                    <a:pt x="591447" y="100481"/>
                    <a:pt x="591447" y="139128"/>
                  </a:cubicBezTo>
                  <a:cubicBezTo>
                    <a:pt x="591447" y="149668"/>
                    <a:pt x="592150" y="159505"/>
                    <a:pt x="599176" y="167234"/>
                  </a:cubicBezTo>
                  <a:cubicBezTo>
                    <a:pt x="609716" y="178477"/>
                    <a:pt x="617446" y="183396"/>
                    <a:pt x="631499" y="167937"/>
                  </a:cubicBezTo>
                  <a:cubicBezTo>
                    <a:pt x="666632" y="125777"/>
                    <a:pt x="717224" y="137722"/>
                    <a:pt x="734791" y="191125"/>
                  </a:cubicBezTo>
                  <a:cubicBezTo>
                    <a:pt x="748844" y="233987"/>
                    <a:pt x="735493" y="274742"/>
                    <a:pt x="701063" y="296524"/>
                  </a:cubicBezTo>
                  <a:cubicBezTo>
                    <a:pt x="675767" y="312685"/>
                    <a:pt x="658903" y="309172"/>
                    <a:pt x="636418" y="285282"/>
                  </a:cubicBezTo>
                  <a:cubicBezTo>
                    <a:pt x="629391" y="278255"/>
                    <a:pt x="626580" y="262094"/>
                    <a:pt x="612527" y="269121"/>
                  </a:cubicBezTo>
                  <a:cubicBezTo>
                    <a:pt x="598474" y="275444"/>
                    <a:pt x="591447" y="287390"/>
                    <a:pt x="591447" y="304254"/>
                  </a:cubicBezTo>
                  <a:cubicBezTo>
                    <a:pt x="592150" y="343603"/>
                    <a:pt x="590745" y="382952"/>
                    <a:pt x="592150" y="422301"/>
                  </a:cubicBezTo>
                  <a:cubicBezTo>
                    <a:pt x="592853" y="439868"/>
                    <a:pt x="588636" y="446192"/>
                    <a:pt x="569665" y="445489"/>
                  </a:cubicBezTo>
                  <a:cubicBezTo>
                    <a:pt x="531721" y="444084"/>
                    <a:pt x="493074" y="444787"/>
                    <a:pt x="454428" y="444787"/>
                  </a:cubicBezTo>
                  <a:cubicBezTo>
                    <a:pt x="444590" y="444787"/>
                    <a:pt x="434753" y="444787"/>
                    <a:pt x="426321" y="452516"/>
                  </a:cubicBezTo>
                  <a:cubicBezTo>
                    <a:pt x="414376" y="463758"/>
                    <a:pt x="406647" y="471488"/>
                    <a:pt x="424916" y="486244"/>
                  </a:cubicBezTo>
                  <a:cubicBezTo>
                    <a:pt x="462860" y="516458"/>
                    <a:pt x="458643" y="553700"/>
                    <a:pt x="417889" y="581806"/>
                  </a:cubicBezTo>
                  <a:cubicBezTo>
                    <a:pt x="379243" y="607804"/>
                    <a:pt x="320219" y="594454"/>
                    <a:pt x="295626" y="554402"/>
                  </a:cubicBezTo>
                  <a:cubicBezTo>
                    <a:pt x="280167" y="529106"/>
                    <a:pt x="283680" y="513648"/>
                    <a:pt x="308274" y="489757"/>
                  </a:cubicBezTo>
                  <a:cubicBezTo>
                    <a:pt x="315300" y="482730"/>
                    <a:pt x="330759" y="479217"/>
                    <a:pt x="323029" y="464461"/>
                  </a:cubicBezTo>
                  <a:cubicBezTo>
                    <a:pt x="316003" y="452516"/>
                    <a:pt x="306166" y="444084"/>
                    <a:pt x="290004" y="444787"/>
                  </a:cubicBezTo>
                  <a:cubicBezTo>
                    <a:pt x="249250" y="445489"/>
                    <a:pt x="207793" y="444787"/>
                    <a:pt x="167038" y="445489"/>
                  </a:cubicBezTo>
                  <a:cubicBezTo>
                    <a:pt x="152985" y="445489"/>
                    <a:pt x="148066" y="442678"/>
                    <a:pt x="148769" y="427220"/>
                  </a:cubicBezTo>
                  <a:cubicBezTo>
                    <a:pt x="149471" y="387871"/>
                    <a:pt x="148769" y="348522"/>
                    <a:pt x="149471" y="309172"/>
                  </a:cubicBezTo>
                  <a:cubicBezTo>
                    <a:pt x="149471" y="296524"/>
                    <a:pt x="148066" y="285984"/>
                    <a:pt x="138229" y="276850"/>
                  </a:cubicBezTo>
                  <a:cubicBezTo>
                    <a:pt x="127689" y="266310"/>
                    <a:pt x="119960" y="264202"/>
                    <a:pt x="109420" y="277552"/>
                  </a:cubicBezTo>
                  <a:cubicBezTo>
                    <a:pt x="95367" y="295822"/>
                    <a:pt x="79908" y="313388"/>
                    <a:pt x="52504" y="303551"/>
                  </a:cubicBezTo>
                  <a:cubicBezTo>
                    <a:pt x="21587" y="292308"/>
                    <a:pt x="3317" y="266310"/>
                    <a:pt x="507" y="233285"/>
                  </a:cubicBezTo>
                  <a:cubicBezTo>
                    <a:pt x="-2304" y="198854"/>
                    <a:pt x="6128" y="170045"/>
                    <a:pt x="37045" y="150370"/>
                  </a:cubicBezTo>
                  <a:cubicBezTo>
                    <a:pt x="63044" y="133506"/>
                    <a:pt x="81313" y="137019"/>
                    <a:pt x="103798" y="161613"/>
                  </a:cubicBezTo>
                  <a:cubicBezTo>
                    <a:pt x="110122" y="167937"/>
                    <a:pt x="112933" y="183396"/>
                    <a:pt x="125581" y="177774"/>
                  </a:cubicBezTo>
                  <a:cubicBezTo>
                    <a:pt x="138931" y="172153"/>
                    <a:pt x="148769" y="160910"/>
                    <a:pt x="148769" y="144046"/>
                  </a:cubicBezTo>
                  <a:cubicBezTo>
                    <a:pt x="148769" y="103995"/>
                    <a:pt x="149471" y="63943"/>
                    <a:pt x="148066" y="23891"/>
                  </a:cubicBezTo>
                  <a:cubicBezTo>
                    <a:pt x="147363" y="6324"/>
                    <a:pt x="152282" y="703"/>
                    <a:pt x="170551" y="1405"/>
                  </a:cubicBezTo>
                  <a:cubicBezTo>
                    <a:pt x="237304" y="1405"/>
                    <a:pt x="303355" y="703"/>
                    <a:pt x="37010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BA5BCC6-30CF-4C09-B7B3-99C078C78FD6}"/>
                </a:ext>
              </a:extLst>
            </p:cNvPr>
            <p:cNvSpPr/>
            <p:nvPr userDrawn="1"/>
          </p:nvSpPr>
          <p:spPr>
            <a:xfrm>
              <a:off x="10392406" y="-9525"/>
              <a:ext cx="800490" cy="800490"/>
            </a:xfrm>
            <a:custGeom>
              <a:avLst/>
              <a:gdLst>
                <a:gd name="connsiteX0" fmla="*/ 220096 w 590237"/>
                <a:gd name="connsiteY0" fmla="*/ 31 h 590237"/>
                <a:gd name="connsiteX1" fmla="*/ 422463 w 590237"/>
                <a:gd name="connsiteY1" fmla="*/ 31 h 590237"/>
                <a:gd name="connsiteX2" fmla="*/ 442840 w 590237"/>
                <a:gd name="connsiteY2" fmla="*/ 19705 h 590237"/>
                <a:gd name="connsiteX3" fmla="*/ 442138 w 590237"/>
                <a:gd name="connsiteY3" fmla="*/ 137753 h 590237"/>
                <a:gd name="connsiteX4" fmla="*/ 458299 w 590237"/>
                <a:gd name="connsiteY4" fmla="*/ 172886 h 590237"/>
                <a:gd name="connsiteX5" fmla="*/ 477271 w 590237"/>
                <a:gd name="connsiteY5" fmla="*/ 171481 h 590237"/>
                <a:gd name="connsiteX6" fmla="*/ 548240 w 590237"/>
                <a:gd name="connsiteY6" fmla="*/ 145482 h 590237"/>
                <a:gd name="connsiteX7" fmla="*/ 590400 w 590237"/>
                <a:gd name="connsiteY7" fmla="*/ 238234 h 590237"/>
                <a:gd name="connsiteX8" fmla="*/ 542619 w 590237"/>
                <a:gd name="connsiteY8" fmla="*/ 300068 h 590237"/>
                <a:gd name="connsiteX9" fmla="*/ 487109 w 590237"/>
                <a:gd name="connsiteY9" fmla="*/ 283204 h 590237"/>
                <a:gd name="connsiteX10" fmla="*/ 463920 w 590237"/>
                <a:gd name="connsiteY10" fmla="*/ 267043 h 590237"/>
                <a:gd name="connsiteX11" fmla="*/ 443543 w 590237"/>
                <a:gd name="connsiteY11" fmla="*/ 300068 h 590237"/>
                <a:gd name="connsiteX12" fmla="*/ 444246 w 590237"/>
                <a:gd name="connsiteY12" fmla="*/ 412495 h 590237"/>
                <a:gd name="connsiteX13" fmla="*/ 411220 w 590237"/>
                <a:gd name="connsiteY13" fmla="*/ 444115 h 590237"/>
                <a:gd name="connsiteX14" fmla="*/ 307226 w 590237"/>
                <a:gd name="connsiteY14" fmla="*/ 443412 h 590237"/>
                <a:gd name="connsiteX15" fmla="*/ 276309 w 590237"/>
                <a:gd name="connsiteY15" fmla="*/ 451844 h 590237"/>
                <a:gd name="connsiteX16" fmla="*/ 275606 w 590237"/>
                <a:gd name="connsiteY16" fmla="*/ 482058 h 590237"/>
                <a:gd name="connsiteX17" fmla="*/ 302308 w 590237"/>
                <a:gd name="connsiteY17" fmla="*/ 536163 h 590237"/>
                <a:gd name="connsiteX18" fmla="*/ 242581 w 590237"/>
                <a:gd name="connsiteY18" fmla="*/ 589566 h 590237"/>
                <a:gd name="connsiteX19" fmla="*/ 149127 w 590237"/>
                <a:gd name="connsiteY19" fmla="*/ 553730 h 590237"/>
                <a:gd name="connsiteX20" fmla="*/ 158964 w 590237"/>
                <a:gd name="connsiteY20" fmla="*/ 488382 h 590237"/>
                <a:gd name="connsiteX21" fmla="*/ 175126 w 590237"/>
                <a:gd name="connsiteY21" fmla="*/ 461681 h 590237"/>
                <a:gd name="connsiteX22" fmla="*/ 141398 w 590237"/>
                <a:gd name="connsiteY22" fmla="*/ 442709 h 590237"/>
                <a:gd name="connsiteX23" fmla="*/ 23350 w 590237"/>
                <a:gd name="connsiteY23" fmla="*/ 443412 h 590237"/>
                <a:gd name="connsiteX24" fmla="*/ 162 w 590237"/>
                <a:gd name="connsiteY24" fmla="*/ 421629 h 590237"/>
                <a:gd name="connsiteX25" fmla="*/ 162 w 590237"/>
                <a:gd name="connsiteY25" fmla="*/ 303582 h 590237"/>
                <a:gd name="connsiteX26" fmla="*/ 15621 w 590237"/>
                <a:gd name="connsiteY26" fmla="*/ 264233 h 590237"/>
                <a:gd name="connsiteX27" fmla="*/ 61294 w 590237"/>
                <a:gd name="connsiteY27" fmla="*/ 265638 h 590237"/>
                <a:gd name="connsiteX28" fmla="*/ 105562 w 590237"/>
                <a:gd name="connsiteY28" fmla="*/ 289528 h 590237"/>
                <a:gd name="connsiteX29" fmla="*/ 148424 w 590237"/>
                <a:gd name="connsiteY29" fmla="*/ 234721 h 590237"/>
                <a:gd name="connsiteX30" fmla="*/ 121723 w 590237"/>
                <a:gd name="connsiteY30" fmla="*/ 161644 h 590237"/>
                <a:gd name="connsiteX31" fmla="*/ 65510 w 590237"/>
                <a:gd name="connsiteY31" fmla="*/ 170076 h 590237"/>
                <a:gd name="connsiteX32" fmla="*/ 33890 w 590237"/>
                <a:gd name="connsiteY32" fmla="*/ 188345 h 590237"/>
                <a:gd name="connsiteX33" fmla="*/ 865 w 590237"/>
                <a:gd name="connsiteY33" fmla="*/ 146185 h 590237"/>
                <a:gd name="connsiteX34" fmla="*/ 162 w 590237"/>
                <a:gd name="connsiteY34" fmla="*/ 14787 h 590237"/>
                <a:gd name="connsiteX35" fmla="*/ 19134 w 590237"/>
                <a:gd name="connsiteY35" fmla="*/ 31 h 590237"/>
                <a:gd name="connsiteX36" fmla="*/ 220096 w 590237"/>
                <a:gd name="connsiteY36" fmla="*/ 31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590237">
                  <a:moveTo>
                    <a:pt x="220096" y="31"/>
                  </a:moveTo>
                  <a:cubicBezTo>
                    <a:pt x="287552" y="31"/>
                    <a:pt x="355007" y="734"/>
                    <a:pt x="422463" y="31"/>
                  </a:cubicBezTo>
                  <a:cubicBezTo>
                    <a:pt x="437219" y="31"/>
                    <a:pt x="442840" y="3544"/>
                    <a:pt x="442840" y="19705"/>
                  </a:cubicBezTo>
                  <a:cubicBezTo>
                    <a:pt x="441435" y="59055"/>
                    <a:pt x="442840" y="98404"/>
                    <a:pt x="442138" y="137753"/>
                  </a:cubicBezTo>
                  <a:cubicBezTo>
                    <a:pt x="442138" y="152509"/>
                    <a:pt x="446354" y="164454"/>
                    <a:pt x="458299" y="172886"/>
                  </a:cubicBezTo>
                  <a:cubicBezTo>
                    <a:pt x="465326" y="177805"/>
                    <a:pt x="470947" y="179210"/>
                    <a:pt x="477271" y="171481"/>
                  </a:cubicBezTo>
                  <a:cubicBezTo>
                    <a:pt x="495540" y="148996"/>
                    <a:pt x="513810" y="126510"/>
                    <a:pt x="548240" y="145482"/>
                  </a:cubicBezTo>
                  <a:cubicBezTo>
                    <a:pt x="580563" y="163751"/>
                    <a:pt x="596021" y="197479"/>
                    <a:pt x="590400" y="238234"/>
                  </a:cubicBezTo>
                  <a:cubicBezTo>
                    <a:pt x="586184" y="267746"/>
                    <a:pt x="568617" y="288123"/>
                    <a:pt x="542619" y="300068"/>
                  </a:cubicBezTo>
                  <a:cubicBezTo>
                    <a:pt x="520133" y="310608"/>
                    <a:pt x="502567" y="300068"/>
                    <a:pt x="487109" y="283204"/>
                  </a:cubicBezTo>
                  <a:cubicBezTo>
                    <a:pt x="480784" y="276178"/>
                    <a:pt x="478676" y="259314"/>
                    <a:pt x="463920" y="267043"/>
                  </a:cubicBezTo>
                  <a:cubicBezTo>
                    <a:pt x="451272" y="273367"/>
                    <a:pt x="442840" y="283907"/>
                    <a:pt x="443543" y="300068"/>
                  </a:cubicBezTo>
                  <a:cubicBezTo>
                    <a:pt x="444246" y="337310"/>
                    <a:pt x="441435" y="375253"/>
                    <a:pt x="444246" y="412495"/>
                  </a:cubicBezTo>
                  <a:cubicBezTo>
                    <a:pt x="446354" y="440601"/>
                    <a:pt x="436517" y="446222"/>
                    <a:pt x="411220" y="444115"/>
                  </a:cubicBezTo>
                  <a:cubicBezTo>
                    <a:pt x="376790" y="442006"/>
                    <a:pt x="341657" y="443412"/>
                    <a:pt x="307226" y="443412"/>
                  </a:cubicBezTo>
                  <a:cubicBezTo>
                    <a:pt x="295984" y="443412"/>
                    <a:pt x="285444" y="443412"/>
                    <a:pt x="276309" y="451844"/>
                  </a:cubicBezTo>
                  <a:cubicBezTo>
                    <a:pt x="266472" y="461681"/>
                    <a:pt x="259445" y="470816"/>
                    <a:pt x="275606" y="482058"/>
                  </a:cubicBezTo>
                  <a:cubicBezTo>
                    <a:pt x="293876" y="495409"/>
                    <a:pt x="310740" y="510868"/>
                    <a:pt x="302308" y="536163"/>
                  </a:cubicBezTo>
                  <a:cubicBezTo>
                    <a:pt x="292471" y="564270"/>
                    <a:pt x="273499" y="583945"/>
                    <a:pt x="242581" y="589566"/>
                  </a:cubicBezTo>
                  <a:cubicBezTo>
                    <a:pt x="201827" y="596593"/>
                    <a:pt x="168801" y="584647"/>
                    <a:pt x="149127" y="553730"/>
                  </a:cubicBezTo>
                  <a:cubicBezTo>
                    <a:pt x="132966" y="528434"/>
                    <a:pt x="135777" y="510868"/>
                    <a:pt x="158964" y="488382"/>
                  </a:cubicBezTo>
                  <a:cubicBezTo>
                    <a:pt x="166694" y="481356"/>
                    <a:pt x="183558" y="477842"/>
                    <a:pt x="175126" y="461681"/>
                  </a:cubicBezTo>
                  <a:cubicBezTo>
                    <a:pt x="168099" y="449033"/>
                    <a:pt x="156856" y="442709"/>
                    <a:pt x="141398" y="442709"/>
                  </a:cubicBezTo>
                  <a:cubicBezTo>
                    <a:pt x="102048" y="443412"/>
                    <a:pt x="62699" y="442006"/>
                    <a:pt x="23350" y="443412"/>
                  </a:cubicBezTo>
                  <a:cubicBezTo>
                    <a:pt x="6486" y="444115"/>
                    <a:pt x="-1243" y="440601"/>
                    <a:pt x="162" y="421629"/>
                  </a:cubicBezTo>
                  <a:cubicBezTo>
                    <a:pt x="1567" y="382280"/>
                    <a:pt x="865" y="342931"/>
                    <a:pt x="162" y="303582"/>
                  </a:cubicBezTo>
                  <a:cubicBezTo>
                    <a:pt x="162" y="288123"/>
                    <a:pt x="4378" y="274772"/>
                    <a:pt x="15621" y="264233"/>
                  </a:cubicBezTo>
                  <a:cubicBezTo>
                    <a:pt x="31079" y="249477"/>
                    <a:pt x="45835" y="245261"/>
                    <a:pt x="61294" y="265638"/>
                  </a:cubicBezTo>
                  <a:cubicBezTo>
                    <a:pt x="71834" y="280394"/>
                    <a:pt x="83779" y="297960"/>
                    <a:pt x="105562" y="289528"/>
                  </a:cubicBezTo>
                  <a:cubicBezTo>
                    <a:pt x="129452" y="279691"/>
                    <a:pt x="146317" y="262124"/>
                    <a:pt x="148424" y="234721"/>
                  </a:cubicBezTo>
                  <a:cubicBezTo>
                    <a:pt x="151235" y="205911"/>
                    <a:pt x="147019" y="179913"/>
                    <a:pt x="121723" y="161644"/>
                  </a:cubicBezTo>
                  <a:cubicBezTo>
                    <a:pt x="99238" y="145482"/>
                    <a:pt x="86590" y="147590"/>
                    <a:pt x="65510" y="170076"/>
                  </a:cubicBezTo>
                  <a:cubicBezTo>
                    <a:pt x="57078" y="179210"/>
                    <a:pt x="52862" y="196074"/>
                    <a:pt x="33890" y="188345"/>
                  </a:cubicBezTo>
                  <a:cubicBezTo>
                    <a:pt x="14918" y="180616"/>
                    <a:pt x="865" y="167265"/>
                    <a:pt x="865" y="146185"/>
                  </a:cubicBezTo>
                  <a:cubicBezTo>
                    <a:pt x="162" y="102620"/>
                    <a:pt x="1567" y="58352"/>
                    <a:pt x="162" y="14787"/>
                  </a:cubicBezTo>
                  <a:cubicBezTo>
                    <a:pt x="-540" y="-1374"/>
                    <a:pt x="7892" y="31"/>
                    <a:pt x="19134" y="31"/>
                  </a:cubicBezTo>
                  <a:cubicBezTo>
                    <a:pt x="84482" y="31"/>
                    <a:pt x="152640" y="31"/>
                    <a:pt x="220096" y="3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671509CE-1C25-4FCE-AD08-C3E74F4C2EA1}"/>
                </a:ext>
              </a:extLst>
            </p:cNvPr>
            <p:cNvSpPr/>
            <p:nvPr userDrawn="1"/>
          </p:nvSpPr>
          <p:spPr>
            <a:xfrm>
              <a:off x="11601157" y="-9525"/>
              <a:ext cx="600368" cy="800490"/>
            </a:xfrm>
            <a:custGeom>
              <a:avLst/>
              <a:gdLst>
                <a:gd name="connsiteX0" fmla="*/ 220672 w 442678"/>
                <a:gd name="connsiteY0" fmla="*/ 1219 h 590237"/>
                <a:gd name="connsiteX1" fmla="*/ 420228 w 442678"/>
                <a:gd name="connsiteY1" fmla="*/ 516 h 590237"/>
                <a:gd name="connsiteX2" fmla="*/ 443416 w 442678"/>
                <a:gd name="connsiteY2" fmla="*/ 23002 h 590237"/>
                <a:gd name="connsiteX3" fmla="*/ 443416 w 442678"/>
                <a:gd name="connsiteY3" fmla="*/ 420007 h 590237"/>
                <a:gd name="connsiteX4" fmla="*/ 419526 w 442678"/>
                <a:gd name="connsiteY4" fmla="*/ 443897 h 590237"/>
                <a:gd name="connsiteX5" fmla="*/ 304289 w 442678"/>
                <a:gd name="connsiteY5" fmla="*/ 443194 h 590237"/>
                <a:gd name="connsiteX6" fmla="*/ 274777 w 442678"/>
                <a:gd name="connsiteY6" fmla="*/ 453734 h 590237"/>
                <a:gd name="connsiteX7" fmla="*/ 275480 w 442678"/>
                <a:gd name="connsiteY7" fmla="*/ 481841 h 590237"/>
                <a:gd name="connsiteX8" fmla="*/ 302181 w 442678"/>
                <a:gd name="connsiteY8" fmla="*/ 536649 h 590237"/>
                <a:gd name="connsiteX9" fmla="*/ 244562 w 442678"/>
                <a:gd name="connsiteY9" fmla="*/ 589349 h 590237"/>
                <a:gd name="connsiteX10" fmla="*/ 147595 w 442678"/>
                <a:gd name="connsiteY10" fmla="*/ 552107 h 590237"/>
                <a:gd name="connsiteX11" fmla="*/ 160243 w 442678"/>
                <a:gd name="connsiteY11" fmla="*/ 487462 h 590237"/>
                <a:gd name="connsiteX12" fmla="*/ 175701 w 442678"/>
                <a:gd name="connsiteY12" fmla="*/ 464977 h 590237"/>
                <a:gd name="connsiteX13" fmla="*/ 144081 w 442678"/>
                <a:gd name="connsiteY13" fmla="*/ 443194 h 590237"/>
                <a:gd name="connsiteX14" fmla="*/ 23926 w 442678"/>
                <a:gd name="connsiteY14" fmla="*/ 443897 h 590237"/>
                <a:gd name="connsiteX15" fmla="*/ 35 w 442678"/>
                <a:gd name="connsiteY15" fmla="*/ 419304 h 590237"/>
                <a:gd name="connsiteX16" fmla="*/ 35 w 442678"/>
                <a:gd name="connsiteY16" fmla="*/ 301959 h 590237"/>
                <a:gd name="connsiteX17" fmla="*/ 25331 w 442678"/>
                <a:gd name="connsiteY17" fmla="*/ 256989 h 590237"/>
                <a:gd name="connsiteX18" fmla="*/ 54843 w 442678"/>
                <a:gd name="connsiteY18" fmla="*/ 259799 h 590237"/>
                <a:gd name="connsiteX19" fmla="*/ 129325 w 442678"/>
                <a:gd name="connsiteY19" fmla="*/ 273852 h 590237"/>
                <a:gd name="connsiteX20" fmla="*/ 132839 w 442678"/>
                <a:gd name="connsiteY20" fmla="*/ 174074 h 590237"/>
                <a:gd name="connsiteX21" fmla="*/ 63275 w 442678"/>
                <a:gd name="connsiteY21" fmla="*/ 172669 h 590237"/>
                <a:gd name="connsiteX22" fmla="*/ 36574 w 442678"/>
                <a:gd name="connsiteY22" fmla="*/ 190938 h 590237"/>
                <a:gd name="connsiteX23" fmla="*/ 2143 w 442678"/>
                <a:gd name="connsiteY23" fmla="*/ 155805 h 590237"/>
                <a:gd name="connsiteX24" fmla="*/ 738 w 442678"/>
                <a:gd name="connsiteY24" fmla="*/ 11056 h 590237"/>
                <a:gd name="connsiteX25" fmla="*/ 21115 w 442678"/>
                <a:gd name="connsiteY25" fmla="*/ 1219 h 590237"/>
                <a:gd name="connsiteX26" fmla="*/ 220672 w 442678"/>
                <a:gd name="connsiteY26" fmla="*/ 1219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42678" h="590237">
                  <a:moveTo>
                    <a:pt x="220672" y="1219"/>
                  </a:moveTo>
                  <a:cubicBezTo>
                    <a:pt x="287425" y="1219"/>
                    <a:pt x="354178" y="1922"/>
                    <a:pt x="420228" y="516"/>
                  </a:cubicBezTo>
                  <a:cubicBezTo>
                    <a:pt x="437795" y="516"/>
                    <a:pt x="443416" y="4732"/>
                    <a:pt x="443416" y="23002"/>
                  </a:cubicBezTo>
                  <a:cubicBezTo>
                    <a:pt x="442714" y="155102"/>
                    <a:pt x="442714" y="287906"/>
                    <a:pt x="443416" y="420007"/>
                  </a:cubicBezTo>
                  <a:cubicBezTo>
                    <a:pt x="443416" y="438978"/>
                    <a:pt x="438498" y="444600"/>
                    <a:pt x="419526" y="443897"/>
                  </a:cubicBezTo>
                  <a:cubicBezTo>
                    <a:pt x="381582" y="442492"/>
                    <a:pt x="342935" y="443194"/>
                    <a:pt x="304289" y="443194"/>
                  </a:cubicBezTo>
                  <a:cubicBezTo>
                    <a:pt x="293046" y="443194"/>
                    <a:pt x="283209" y="444600"/>
                    <a:pt x="274777" y="453734"/>
                  </a:cubicBezTo>
                  <a:cubicBezTo>
                    <a:pt x="264940" y="463572"/>
                    <a:pt x="261426" y="472004"/>
                    <a:pt x="275480" y="481841"/>
                  </a:cubicBezTo>
                  <a:cubicBezTo>
                    <a:pt x="294451" y="494489"/>
                    <a:pt x="310613" y="511353"/>
                    <a:pt x="302181" y="536649"/>
                  </a:cubicBezTo>
                  <a:cubicBezTo>
                    <a:pt x="293046" y="564053"/>
                    <a:pt x="274777" y="583025"/>
                    <a:pt x="244562" y="589349"/>
                  </a:cubicBezTo>
                  <a:cubicBezTo>
                    <a:pt x="200997" y="597781"/>
                    <a:pt x="167269" y="585133"/>
                    <a:pt x="147595" y="552107"/>
                  </a:cubicBezTo>
                  <a:cubicBezTo>
                    <a:pt x="132136" y="526811"/>
                    <a:pt x="136352" y="509948"/>
                    <a:pt x="160243" y="487462"/>
                  </a:cubicBezTo>
                  <a:cubicBezTo>
                    <a:pt x="167269" y="481138"/>
                    <a:pt x="181323" y="478328"/>
                    <a:pt x="175701" y="464977"/>
                  </a:cubicBezTo>
                  <a:cubicBezTo>
                    <a:pt x="170080" y="452329"/>
                    <a:pt x="159540" y="443194"/>
                    <a:pt x="144081" y="443194"/>
                  </a:cubicBezTo>
                  <a:cubicBezTo>
                    <a:pt x="104030" y="443194"/>
                    <a:pt x="63978" y="441789"/>
                    <a:pt x="23926" y="443897"/>
                  </a:cubicBezTo>
                  <a:cubicBezTo>
                    <a:pt x="4251" y="444600"/>
                    <a:pt x="35" y="438276"/>
                    <a:pt x="35" y="419304"/>
                  </a:cubicBezTo>
                  <a:cubicBezTo>
                    <a:pt x="1441" y="379955"/>
                    <a:pt x="738" y="340605"/>
                    <a:pt x="35" y="301959"/>
                  </a:cubicBezTo>
                  <a:cubicBezTo>
                    <a:pt x="-667" y="281582"/>
                    <a:pt x="9170" y="267528"/>
                    <a:pt x="25331" y="256989"/>
                  </a:cubicBezTo>
                  <a:cubicBezTo>
                    <a:pt x="35871" y="249962"/>
                    <a:pt x="45006" y="250665"/>
                    <a:pt x="54843" y="259799"/>
                  </a:cubicBezTo>
                  <a:cubicBezTo>
                    <a:pt x="94895" y="297743"/>
                    <a:pt x="103327" y="299148"/>
                    <a:pt x="129325" y="273852"/>
                  </a:cubicBezTo>
                  <a:cubicBezTo>
                    <a:pt x="153919" y="249259"/>
                    <a:pt x="156027" y="200073"/>
                    <a:pt x="132839" y="174074"/>
                  </a:cubicBezTo>
                  <a:cubicBezTo>
                    <a:pt x="107543" y="144562"/>
                    <a:pt x="87868" y="144562"/>
                    <a:pt x="63275" y="172669"/>
                  </a:cubicBezTo>
                  <a:cubicBezTo>
                    <a:pt x="56248" y="181101"/>
                    <a:pt x="50627" y="195154"/>
                    <a:pt x="36574" y="190938"/>
                  </a:cubicBezTo>
                  <a:cubicBezTo>
                    <a:pt x="19007" y="186019"/>
                    <a:pt x="2846" y="174074"/>
                    <a:pt x="2143" y="155805"/>
                  </a:cubicBezTo>
                  <a:cubicBezTo>
                    <a:pt x="-667" y="107321"/>
                    <a:pt x="738" y="58837"/>
                    <a:pt x="738" y="11056"/>
                  </a:cubicBezTo>
                  <a:cubicBezTo>
                    <a:pt x="738" y="-5105"/>
                    <a:pt x="13386" y="1219"/>
                    <a:pt x="21115" y="1219"/>
                  </a:cubicBezTo>
                  <a:cubicBezTo>
                    <a:pt x="87868" y="1219"/>
                    <a:pt x="153919" y="1219"/>
                    <a:pt x="220672" y="121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5F9BB55-7ABD-4038-B55E-5DA609BB5BE6}"/>
                </a:ext>
              </a:extLst>
            </p:cNvPr>
            <p:cNvSpPr/>
            <p:nvPr userDrawn="1"/>
          </p:nvSpPr>
          <p:spPr>
            <a:xfrm>
              <a:off x="10992752" y="-9525"/>
              <a:ext cx="800490" cy="600368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540A62F-A8FF-4E29-839D-AF91ACB57C09}"/>
                </a:ext>
              </a:extLst>
            </p:cNvPr>
            <p:cNvSpPr/>
            <p:nvPr userDrawn="1"/>
          </p:nvSpPr>
          <p:spPr>
            <a:xfrm>
              <a:off x="10197806" y="580875"/>
              <a:ext cx="1000612" cy="600368"/>
            </a:xfrm>
            <a:custGeom>
              <a:avLst/>
              <a:gdLst>
                <a:gd name="connsiteX0" fmla="*/ 370725 w 737797"/>
                <a:gd name="connsiteY0" fmla="*/ 441321 h 442678"/>
                <a:gd name="connsiteX1" fmla="*/ 178898 w 737797"/>
                <a:gd name="connsiteY1" fmla="*/ 442023 h 442678"/>
                <a:gd name="connsiteX2" fmla="*/ 148684 w 737797"/>
                <a:gd name="connsiteY2" fmla="*/ 413214 h 442678"/>
                <a:gd name="connsiteX3" fmla="*/ 149386 w 737797"/>
                <a:gd name="connsiteY3" fmla="*/ 303599 h 442678"/>
                <a:gd name="connsiteX4" fmla="*/ 138846 w 737797"/>
                <a:gd name="connsiteY4" fmla="*/ 274087 h 442678"/>
                <a:gd name="connsiteX5" fmla="*/ 110037 w 737797"/>
                <a:gd name="connsiteY5" fmla="*/ 274790 h 442678"/>
                <a:gd name="connsiteX6" fmla="*/ 55230 w 737797"/>
                <a:gd name="connsiteY6" fmla="*/ 301491 h 442678"/>
                <a:gd name="connsiteX7" fmla="*/ 2530 w 737797"/>
                <a:gd name="connsiteY7" fmla="*/ 243872 h 442678"/>
                <a:gd name="connsiteX8" fmla="*/ 40473 w 737797"/>
                <a:gd name="connsiteY8" fmla="*/ 146905 h 442678"/>
                <a:gd name="connsiteX9" fmla="*/ 105119 w 737797"/>
                <a:gd name="connsiteY9" fmla="*/ 160255 h 442678"/>
                <a:gd name="connsiteX10" fmla="*/ 127604 w 737797"/>
                <a:gd name="connsiteY10" fmla="*/ 175714 h 442678"/>
                <a:gd name="connsiteX11" fmla="*/ 149386 w 737797"/>
                <a:gd name="connsiteY11" fmla="*/ 143391 h 442678"/>
                <a:gd name="connsiteX12" fmla="*/ 148684 w 737797"/>
                <a:gd name="connsiteY12" fmla="*/ 23236 h 442678"/>
                <a:gd name="connsiteX13" fmla="*/ 170466 w 737797"/>
                <a:gd name="connsiteY13" fmla="*/ 48 h 442678"/>
                <a:gd name="connsiteX14" fmla="*/ 290622 w 737797"/>
                <a:gd name="connsiteY14" fmla="*/ 751 h 442678"/>
                <a:gd name="connsiteX15" fmla="*/ 330673 w 737797"/>
                <a:gd name="connsiteY15" fmla="*/ 19722 h 442678"/>
                <a:gd name="connsiteX16" fmla="*/ 327160 w 737797"/>
                <a:gd name="connsiteY16" fmla="*/ 59072 h 442678"/>
                <a:gd name="connsiteX17" fmla="*/ 301864 w 737797"/>
                <a:gd name="connsiteY17" fmla="*/ 105447 h 442678"/>
                <a:gd name="connsiteX18" fmla="*/ 357375 w 737797"/>
                <a:gd name="connsiteY18" fmla="*/ 148310 h 442678"/>
                <a:gd name="connsiteX19" fmla="*/ 419209 w 737797"/>
                <a:gd name="connsiteY19" fmla="*/ 132851 h 442678"/>
                <a:gd name="connsiteX20" fmla="*/ 419209 w 737797"/>
                <a:gd name="connsiteY20" fmla="*/ 63287 h 442678"/>
                <a:gd name="connsiteX21" fmla="*/ 401643 w 737797"/>
                <a:gd name="connsiteY21" fmla="*/ 35884 h 442678"/>
                <a:gd name="connsiteX22" fmla="*/ 437478 w 737797"/>
                <a:gd name="connsiteY22" fmla="*/ 2156 h 442678"/>
                <a:gd name="connsiteX23" fmla="*/ 582228 w 737797"/>
                <a:gd name="connsiteY23" fmla="*/ 751 h 442678"/>
                <a:gd name="connsiteX24" fmla="*/ 591362 w 737797"/>
                <a:gd name="connsiteY24" fmla="*/ 19020 h 442678"/>
                <a:gd name="connsiteX25" fmla="*/ 591362 w 737797"/>
                <a:gd name="connsiteY25" fmla="*/ 134257 h 442678"/>
                <a:gd name="connsiteX26" fmla="*/ 596983 w 737797"/>
                <a:gd name="connsiteY26" fmla="*/ 160255 h 442678"/>
                <a:gd name="connsiteX27" fmla="*/ 634224 w 737797"/>
                <a:gd name="connsiteY27" fmla="*/ 164471 h 442678"/>
                <a:gd name="connsiteX28" fmla="*/ 722760 w 737797"/>
                <a:gd name="connsiteY28" fmla="*/ 165174 h 442678"/>
                <a:gd name="connsiteX29" fmla="*/ 695356 w 737797"/>
                <a:gd name="connsiteY29" fmla="*/ 298680 h 442678"/>
                <a:gd name="connsiteX30" fmla="*/ 637035 w 737797"/>
                <a:gd name="connsiteY30" fmla="*/ 283221 h 442678"/>
                <a:gd name="connsiteX31" fmla="*/ 613144 w 737797"/>
                <a:gd name="connsiteY31" fmla="*/ 267060 h 442678"/>
                <a:gd name="connsiteX32" fmla="*/ 591362 w 737797"/>
                <a:gd name="connsiteY32" fmla="*/ 302193 h 442678"/>
                <a:gd name="connsiteX33" fmla="*/ 592065 w 737797"/>
                <a:gd name="connsiteY33" fmla="*/ 420241 h 442678"/>
                <a:gd name="connsiteX34" fmla="*/ 570282 w 737797"/>
                <a:gd name="connsiteY34" fmla="*/ 442726 h 442678"/>
                <a:gd name="connsiteX35" fmla="*/ 370725 w 737797"/>
                <a:gd name="connsiteY35" fmla="*/ 441321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37797" h="442678">
                  <a:moveTo>
                    <a:pt x="370725" y="441321"/>
                  </a:moveTo>
                  <a:cubicBezTo>
                    <a:pt x="306783" y="441321"/>
                    <a:pt x="242840" y="440618"/>
                    <a:pt x="178898" y="442023"/>
                  </a:cubicBezTo>
                  <a:cubicBezTo>
                    <a:pt x="155710" y="442726"/>
                    <a:pt x="146576" y="438510"/>
                    <a:pt x="148684" y="413214"/>
                  </a:cubicBezTo>
                  <a:cubicBezTo>
                    <a:pt x="151494" y="376676"/>
                    <a:pt x="149386" y="340137"/>
                    <a:pt x="149386" y="303599"/>
                  </a:cubicBezTo>
                  <a:cubicBezTo>
                    <a:pt x="149386" y="292356"/>
                    <a:pt x="147981" y="282519"/>
                    <a:pt x="138846" y="274087"/>
                  </a:cubicBezTo>
                  <a:cubicBezTo>
                    <a:pt x="128306" y="264250"/>
                    <a:pt x="119874" y="260736"/>
                    <a:pt x="110037" y="274790"/>
                  </a:cubicBezTo>
                  <a:cubicBezTo>
                    <a:pt x="96686" y="293761"/>
                    <a:pt x="79823" y="309923"/>
                    <a:pt x="55230" y="301491"/>
                  </a:cubicBezTo>
                  <a:cubicBezTo>
                    <a:pt x="28528" y="292356"/>
                    <a:pt x="8853" y="274087"/>
                    <a:pt x="2530" y="243872"/>
                  </a:cubicBezTo>
                  <a:cubicBezTo>
                    <a:pt x="-5902" y="201010"/>
                    <a:pt x="6746" y="166579"/>
                    <a:pt x="40473" y="146905"/>
                  </a:cubicBezTo>
                  <a:cubicBezTo>
                    <a:pt x="65067" y="132148"/>
                    <a:pt x="82633" y="136365"/>
                    <a:pt x="105119" y="160255"/>
                  </a:cubicBezTo>
                  <a:cubicBezTo>
                    <a:pt x="111443" y="167282"/>
                    <a:pt x="114956" y="181335"/>
                    <a:pt x="127604" y="175714"/>
                  </a:cubicBezTo>
                  <a:cubicBezTo>
                    <a:pt x="140252" y="170092"/>
                    <a:pt x="149386" y="159552"/>
                    <a:pt x="149386" y="143391"/>
                  </a:cubicBezTo>
                  <a:cubicBezTo>
                    <a:pt x="149386" y="103339"/>
                    <a:pt x="150089" y="63287"/>
                    <a:pt x="148684" y="23236"/>
                  </a:cubicBezTo>
                  <a:cubicBezTo>
                    <a:pt x="147981" y="6372"/>
                    <a:pt x="150792" y="-655"/>
                    <a:pt x="170466" y="48"/>
                  </a:cubicBezTo>
                  <a:cubicBezTo>
                    <a:pt x="210518" y="2156"/>
                    <a:pt x="250570" y="751"/>
                    <a:pt x="290622" y="751"/>
                  </a:cubicBezTo>
                  <a:cubicBezTo>
                    <a:pt x="307486" y="751"/>
                    <a:pt x="320836" y="7074"/>
                    <a:pt x="330673" y="19722"/>
                  </a:cubicBezTo>
                  <a:cubicBezTo>
                    <a:pt x="341916" y="33775"/>
                    <a:pt x="344024" y="46424"/>
                    <a:pt x="327160" y="59072"/>
                  </a:cubicBezTo>
                  <a:cubicBezTo>
                    <a:pt x="312404" y="70314"/>
                    <a:pt x="292730" y="82259"/>
                    <a:pt x="301864" y="105447"/>
                  </a:cubicBezTo>
                  <a:cubicBezTo>
                    <a:pt x="311702" y="129338"/>
                    <a:pt x="329268" y="146202"/>
                    <a:pt x="357375" y="148310"/>
                  </a:cubicBezTo>
                  <a:cubicBezTo>
                    <a:pt x="379860" y="150418"/>
                    <a:pt x="400940" y="149013"/>
                    <a:pt x="419209" y="132851"/>
                  </a:cubicBezTo>
                  <a:cubicBezTo>
                    <a:pt x="448018" y="106150"/>
                    <a:pt x="448018" y="89286"/>
                    <a:pt x="419209" y="63287"/>
                  </a:cubicBezTo>
                  <a:cubicBezTo>
                    <a:pt x="410777" y="56261"/>
                    <a:pt x="396724" y="50640"/>
                    <a:pt x="401643" y="35884"/>
                  </a:cubicBezTo>
                  <a:cubicBezTo>
                    <a:pt x="407264" y="19020"/>
                    <a:pt x="418506" y="2859"/>
                    <a:pt x="437478" y="2156"/>
                  </a:cubicBezTo>
                  <a:cubicBezTo>
                    <a:pt x="485962" y="48"/>
                    <a:pt x="534446" y="751"/>
                    <a:pt x="582228" y="751"/>
                  </a:cubicBezTo>
                  <a:cubicBezTo>
                    <a:pt x="596983" y="751"/>
                    <a:pt x="591362" y="11993"/>
                    <a:pt x="591362" y="19020"/>
                  </a:cubicBezTo>
                  <a:cubicBezTo>
                    <a:pt x="592065" y="57666"/>
                    <a:pt x="591362" y="95610"/>
                    <a:pt x="591362" y="134257"/>
                  </a:cubicBezTo>
                  <a:cubicBezTo>
                    <a:pt x="591362" y="143391"/>
                    <a:pt x="592065" y="152526"/>
                    <a:pt x="596983" y="160255"/>
                  </a:cubicBezTo>
                  <a:cubicBezTo>
                    <a:pt x="608929" y="179930"/>
                    <a:pt x="618766" y="180632"/>
                    <a:pt x="634224" y="164471"/>
                  </a:cubicBezTo>
                  <a:cubicBezTo>
                    <a:pt x="665142" y="130041"/>
                    <a:pt x="692545" y="130743"/>
                    <a:pt x="722760" y="165174"/>
                  </a:cubicBezTo>
                  <a:cubicBezTo>
                    <a:pt x="758596" y="205928"/>
                    <a:pt x="743840" y="274790"/>
                    <a:pt x="695356" y="298680"/>
                  </a:cubicBezTo>
                  <a:cubicBezTo>
                    <a:pt x="671465" y="310625"/>
                    <a:pt x="653899" y="300788"/>
                    <a:pt x="637035" y="283221"/>
                  </a:cubicBezTo>
                  <a:cubicBezTo>
                    <a:pt x="630711" y="276195"/>
                    <a:pt x="627901" y="260033"/>
                    <a:pt x="613144" y="267060"/>
                  </a:cubicBezTo>
                  <a:cubicBezTo>
                    <a:pt x="599794" y="273384"/>
                    <a:pt x="591362" y="285330"/>
                    <a:pt x="591362" y="302193"/>
                  </a:cubicBezTo>
                  <a:cubicBezTo>
                    <a:pt x="591362" y="341543"/>
                    <a:pt x="590659" y="380892"/>
                    <a:pt x="592065" y="420241"/>
                  </a:cubicBezTo>
                  <a:cubicBezTo>
                    <a:pt x="592767" y="437807"/>
                    <a:pt x="588551" y="443429"/>
                    <a:pt x="570282" y="442726"/>
                  </a:cubicBezTo>
                  <a:cubicBezTo>
                    <a:pt x="504232" y="440618"/>
                    <a:pt x="437478" y="441321"/>
                    <a:pt x="370725" y="44132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24AAC68-0114-4EA7-828F-D5CD98E0A90E}"/>
                </a:ext>
              </a:extLst>
            </p:cNvPr>
            <p:cNvSpPr/>
            <p:nvPr userDrawn="1"/>
          </p:nvSpPr>
          <p:spPr>
            <a:xfrm>
              <a:off x="10998829" y="380752"/>
              <a:ext cx="600368" cy="800490"/>
            </a:xfrm>
            <a:custGeom>
              <a:avLst/>
              <a:gdLst>
                <a:gd name="connsiteX0" fmla="*/ 222808 w 442678"/>
                <a:gd name="connsiteY0" fmla="*/ 592910 h 590237"/>
                <a:gd name="connsiteX1" fmla="*/ 22549 w 442678"/>
                <a:gd name="connsiteY1" fmla="*/ 593613 h 590237"/>
                <a:gd name="connsiteX2" fmla="*/ 64 w 442678"/>
                <a:gd name="connsiteY2" fmla="*/ 570425 h 590237"/>
                <a:gd name="connsiteX3" fmla="*/ 64 w 442678"/>
                <a:gd name="connsiteY3" fmla="*/ 457998 h 590237"/>
                <a:gd name="connsiteX4" fmla="*/ 15523 w 442678"/>
                <a:gd name="connsiteY4" fmla="*/ 415839 h 590237"/>
                <a:gd name="connsiteX5" fmla="*/ 62601 w 442678"/>
                <a:gd name="connsiteY5" fmla="*/ 417947 h 590237"/>
                <a:gd name="connsiteX6" fmla="*/ 104761 w 442678"/>
                <a:gd name="connsiteY6" fmla="*/ 440432 h 590237"/>
                <a:gd name="connsiteX7" fmla="*/ 147624 w 442678"/>
                <a:gd name="connsiteY7" fmla="*/ 391245 h 590237"/>
                <a:gd name="connsiteX8" fmla="*/ 127246 w 442678"/>
                <a:gd name="connsiteY8" fmla="*/ 316061 h 590237"/>
                <a:gd name="connsiteX9" fmla="*/ 66817 w 442678"/>
                <a:gd name="connsiteY9" fmla="*/ 319574 h 590237"/>
                <a:gd name="connsiteX10" fmla="*/ 35900 w 442678"/>
                <a:gd name="connsiteY10" fmla="*/ 339249 h 590237"/>
                <a:gd name="connsiteX11" fmla="*/ 1469 w 442678"/>
                <a:gd name="connsiteY11" fmla="*/ 297791 h 590237"/>
                <a:gd name="connsiteX12" fmla="*/ 767 w 442678"/>
                <a:gd name="connsiteY12" fmla="*/ 163583 h 590237"/>
                <a:gd name="connsiteX13" fmla="*/ 19036 w 442678"/>
                <a:gd name="connsiteY13" fmla="*/ 150934 h 590237"/>
                <a:gd name="connsiteX14" fmla="*/ 137084 w 442678"/>
                <a:gd name="connsiteY14" fmla="*/ 150934 h 590237"/>
                <a:gd name="connsiteX15" fmla="*/ 165190 w 442678"/>
                <a:gd name="connsiteY15" fmla="*/ 143205 h 590237"/>
                <a:gd name="connsiteX16" fmla="*/ 166595 w 442678"/>
                <a:gd name="connsiteY16" fmla="*/ 107369 h 590237"/>
                <a:gd name="connsiteX17" fmla="*/ 163785 w 442678"/>
                <a:gd name="connsiteY17" fmla="*/ 22347 h 590237"/>
                <a:gd name="connsiteX18" fmla="*/ 290967 w 442678"/>
                <a:gd name="connsiteY18" fmla="*/ 30779 h 590237"/>
                <a:gd name="connsiteX19" fmla="*/ 286048 w 442678"/>
                <a:gd name="connsiteY19" fmla="*/ 104559 h 590237"/>
                <a:gd name="connsiteX20" fmla="*/ 270590 w 442678"/>
                <a:gd name="connsiteY20" fmla="*/ 129152 h 590237"/>
                <a:gd name="connsiteX21" fmla="*/ 303615 w 442678"/>
                <a:gd name="connsiteY21" fmla="*/ 150232 h 590237"/>
                <a:gd name="connsiteX22" fmla="*/ 421662 w 442678"/>
                <a:gd name="connsiteY22" fmla="*/ 149529 h 590237"/>
                <a:gd name="connsiteX23" fmla="*/ 446256 w 442678"/>
                <a:gd name="connsiteY23" fmla="*/ 175528 h 590237"/>
                <a:gd name="connsiteX24" fmla="*/ 446256 w 442678"/>
                <a:gd name="connsiteY24" fmla="*/ 287954 h 590237"/>
                <a:gd name="connsiteX25" fmla="*/ 428689 w 442678"/>
                <a:gd name="connsiteY25" fmla="*/ 329411 h 590237"/>
                <a:gd name="connsiteX26" fmla="*/ 385827 w 442678"/>
                <a:gd name="connsiteY26" fmla="*/ 327303 h 590237"/>
                <a:gd name="connsiteX27" fmla="*/ 342261 w 442678"/>
                <a:gd name="connsiteY27" fmla="*/ 303412 h 590237"/>
                <a:gd name="connsiteX28" fmla="*/ 298696 w 442678"/>
                <a:gd name="connsiteY28" fmla="*/ 357518 h 590237"/>
                <a:gd name="connsiteX29" fmla="*/ 318371 w 442678"/>
                <a:gd name="connsiteY29" fmla="*/ 425676 h 590237"/>
                <a:gd name="connsiteX30" fmla="*/ 380908 w 442678"/>
                <a:gd name="connsiteY30" fmla="*/ 422865 h 590237"/>
                <a:gd name="connsiteX31" fmla="*/ 415338 w 442678"/>
                <a:gd name="connsiteY31" fmla="*/ 404596 h 590237"/>
                <a:gd name="connsiteX32" fmla="*/ 446256 w 442678"/>
                <a:gd name="connsiteY32" fmla="*/ 446054 h 590237"/>
                <a:gd name="connsiteX33" fmla="*/ 446958 w 442678"/>
                <a:gd name="connsiteY33" fmla="*/ 577451 h 590237"/>
                <a:gd name="connsiteX34" fmla="*/ 425878 w 442678"/>
                <a:gd name="connsiteY34" fmla="*/ 592910 h 590237"/>
                <a:gd name="connsiteX35" fmla="*/ 222808 w 442678"/>
                <a:gd name="connsiteY35" fmla="*/ 59291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222808" y="592910"/>
                  </a:moveTo>
                  <a:cubicBezTo>
                    <a:pt x="156055" y="592910"/>
                    <a:pt x="89302" y="592208"/>
                    <a:pt x="22549" y="593613"/>
                  </a:cubicBezTo>
                  <a:cubicBezTo>
                    <a:pt x="4280" y="593613"/>
                    <a:pt x="-639" y="588694"/>
                    <a:pt x="64" y="570425"/>
                  </a:cubicBezTo>
                  <a:cubicBezTo>
                    <a:pt x="1469" y="533184"/>
                    <a:pt x="767" y="495240"/>
                    <a:pt x="64" y="457998"/>
                  </a:cubicBezTo>
                  <a:cubicBezTo>
                    <a:pt x="64" y="441837"/>
                    <a:pt x="3577" y="427784"/>
                    <a:pt x="15523" y="415839"/>
                  </a:cubicBezTo>
                  <a:cubicBezTo>
                    <a:pt x="33792" y="397570"/>
                    <a:pt x="45035" y="397570"/>
                    <a:pt x="62601" y="417947"/>
                  </a:cubicBezTo>
                  <a:cubicBezTo>
                    <a:pt x="73844" y="431297"/>
                    <a:pt x="85086" y="448161"/>
                    <a:pt x="104761" y="440432"/>
                  </a:cubicBezTo>
                  <a:cubicBezTo>
                    <a:pt x="126544" y="432000"/>
                    <a:pt x="144813" y="417244"/>
                    <a:pt x="147624" y="391245"/>
                  </a:cubicBezTo>
                  <a:cubicBezTo>
                    <a:pt x="150434" y="363842"/>
                    <a:pt x="152542" y="336438"/>
                    <a:pt x="127246" y="316061"/>
                  </a:cubicBezTo>
                  <a:cubicBezTo>
                    <a:pt x="102653" y="295683"/>
                    <a:pt x="87897" y="296386"/>
                    <a:pt x="66817" y="319574"/>
                  </a:cubicBezTo>
                  <a:cubicBezTo>
                    <a:pt x="58385" y="328709"/>
                    <a:pt x="54169" y="345572"/>
                    <a:pt x="35900" y="339249"/>
                  </a:cubicBezTo>
                  <a:cubicBezTo>
                    <a:pt x="15523" y="332222"/>
                    <a:pt x="2172" y="318169"/>
                    <a:pt x="1469" y="297791"/>
                  </a:cubicBezTo>
                  <a:cubicBezTo>
                    <a:pt x="-639" y="252821"/>
                    <a:pt x="1469" y="208553"/>
                    <a:pt x="767" y="163583"/>
                  </a:cubicBezTo>
                  <a:cubicBezTo>
                    <a:pt x="767" y="148827"/>
                    <a:pt x="9901" y="150934"/>
                    <a:pt x="19036" y="150934"/>
                  </a:cubicBezTo>
                  <a:cubicBezTo>
                    <a:pt x="58385" y="150934"/>
                    <a:pt x="97734" y="150934"/>
                    <a:pt x="137084" y="150934"/>
                  </a:cubicBezTo>
                  <a:cubicBezTo>
                    <a:pt x="147624" y="150934"/>
                    <a:pt x="157461" y="150232"/>
                    <a:pt x="165190" y="143205"/>
                  </a:cubicBezTo>
                  <a:cubicBezTo>
                    <a:pt x="178541" y="131963"/>
                    <a:pt x="185567" y="122828"/>
                    <a:pt x="166595" y="107369"/>
                  </a:cubicBezTo>
                  <a:cubicBezTo>
                    <a:pt x="132165" y="80668"/>
                    <a:pt x="132165" y="53264"/>
                    <a:pt x="163785" y="22347"/>
                  </a:cubicBezTo>
                  <a:cubicBezTo>
                    <a:pt x="197513" y="-10678"/>
                    <a:pt x="260752" y="-6462"/>
                    <a:pt x="290967" y="30779"/>
                  </a:cubicBezTo>
                  <a:cubicBezTo>
                    <a:pt x="314155" y="58885"/>
                    <a:pt x="312047" y="79263"/>
                    <a:pt x="286048" y="104559"/>
                  </a:cubicBezTo>
                  <a:cubicBezTo>
                    <a:pt x="279022" y="111585"/>
                    <a:pt x="263563" y="115099"/>
                    <a:pt x="270590" y="129152"/>
                  </a:cubicBezTo>
                  <a:cubicBezTo>
                    <a:pt x="276914" y="141800"/>
                    <a:pt x="288156" y="150232"/>
                    <a:pt x="303615" y="150232"/>
                  </a:cubicBezTo>
                  <a:cubicBezTo>
                    <a:pt x="342964" y="150232"/>
                    <a:pt x="382313" y="151637"/>
                    <a:pt x="421662" y="149529"/>
                  </a:cubicBezTo>
                  <a:cubicBezTo>
                    <a:pt x="443445" y="148124"/>
                    <a:pt x="446958" y="155853"/>
                    <a:pt x="446256" y="175528"/>
                  </a:cubicBezTo>
                  <a:cubicBezTo>
                    <a:pt x="444850" y="212769"/>
                    <a:pt x="445553" y="250713"/>
                    <a:pt x="446256" y="287954"/>
                  </a:cubicBezTo>
                  <a:cubicBezTo>
                    <a:pt x="446256" y="304818"/>
                    <a:pt x="441337" y="318169"/>
                    <a:pt x="428689" y="329411"/>
                  </a:cubicBezTo>
                  <a:cubicBezTo>
                    <a:pt x="413933" y="342059"/>
                    <a:pt x="399880" y="346275"/>
                    <a:pt x="385827" y="327303"/>
                  </a:cubicBezTo>
                  <a:cubicBezTo>
                    <a:pt x="375287" y="313250"/>
                    <a:pt x="364044" y="295683"/>
                    <a:pt x="342261" y="303412"/>
                  </a:cubicBezTo>
                  <a:cubicBezTo>
                    <a:pt x="316965" y="312547"/>
                    <a:pt x="300804" y="330114"/>
                    <a:pt x="298696" y="357518"/>
                  </a:cubicBezTo>
                  <a:cubicBezTo>
                    <a:pt x="296588" y="382814"/>
                    <a:pt x="297994" y="406704"/>
                    <a:pt x="318371" y="425676"/>
                  </a:cubicBezTo>
                  <a:cubicBezTo>
                    <a:pt x="342964" y="448161"/>
                    <a:pt x="358423" y="447459"/>
                    <a:pt x="380908" y="422865"/>
                  </a:cubicBezTo>
                  <a:cubicBezTo>
                    <a:pt x="390043" y="412325"/>
                    <a:pt x="397069" y="395462"/>
                    <a:pt x="415338" y="404596"/>
                  </a:cubicBezTo>
                  <a:cubicBezTo>
                    <a:pt x="432202" y="413028"/>
                    <a:pt x="445553" y="425676"/>
                    <a:pt x="446256" y="446054"/>
                  </a:cubicBezTo>
                  <a:cubicBezTo>
                    <a:pt x="446958" y="489618"/>
                    <a:pt x="445553" y="533887"/>
                    <a:pt x="446958" y="577451"/>
                  </a:cubicBezTo>
                  <a:cubicBezTo>
                    <a:pt x="447661" y="595721"/>
                    <a:pt x="436418" y="592910"/>
                    <a:pt x="425878" y="592910"/>
                  </a:cubicBezTo>
                  <a:cubicBezTo>
                    <a:pt x="355612" y="592910"/>
                    <a:pt x="288859" y="592910"/>
                    <a:pt x="222808" y="59291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F4CA87B-EAAB-49A4-9BB0-C86B3CC4B5AA}"/>
                </a:ext>
              </a:extLst>
            </p:cNvPr>
            <p:cNvSpPr/>
            <p:nvPr userDrawn="1"/>
          </p:nvSpPr>
          <p:spPr>
            <a:xfrm>
              <a:off x="11401036" y="580875"/>
              <a:ext cx="800489" cy="600367"/>
            </a:xfrm>
            <a:custGeom>
              <a:avLst/>
              <a:gdLst>
                <a:gd name="connsiteX0" fmla="*/ 591733 w 590237"/>
                <a:gd name="connsiteY0" fmla="*/ 225014 h 442678"/>
                <a:gd name="connsiteX1" fmla="*/ 592436 w 590237"/>
                <a:gd name="connsiteY1" fmla="*/ 425273 h 442678"/>
                <a:gd name="connsiteX2" fmla="*/ 572761 w 590237"/>
                <a:gd name="connsiteY2" fmla="*/ 444948 h 442678"/>
                <a:gd name="connsiteX3" fmla="*/ 170135 w 590237"/>
                <a:gd name="connsiteY3" fmla="*/ 444948 h 442678"/>
                <a:gd name="connsiteX4" fmla="*/ 149758 w 590237"/>
                <a:gd name="connsiteY4" fmla="*/ 423165 h 442678"/>
                <a:gd name="connsiteX5" fmla="*/ 150460 w 590237"/>
                <a:gd name="connsiteY5" fmla="*/ 313549 h 442678"/>
                <a:gd name="connsiteX6" fmla="*/ 145542 w 590237"/>
                <a:gd name="connsiteY6" fmla="*/ 284038 h 442678"/>
                <a:gd name="connsiteX7" fmla="*/ 108300 w 590237"/>
                <a:gd name="connsiteY7" fmla="*/ 279822 h 442678"/>
                <a:gd name="connsiteX8" fmla="*/ 21170 w 590237"/>
                <a:gd name="connsiteY8" fmla="*/ 281227 h 442678"/>
                <a:gd name="connsiteX9" fmla="*/ 42953 w 590237"/>
                <a:gd name="connsiteY9" fmla="*/ 147018 h 442678"/>
                <a:gd name="connsiteX10" fmla="*/ 103382 w 590237"/>
                <a:gd name="connsiteY10" fmla="*/ 160369 h 442678"/>
                <a:gd name="connsiteX11" fmla="*/ 127272 w 590237"/>
                <a:gd name="connsiteY11" fmla="*/ 177233 h 442678"/>
                <a:gd name="connsiteX12" fmla="*/ 149758 w 590237"/>
                <a:gd name="connsiteY12" fmla="*/ 142802 h 442678"/>
                <a:gd name="connsiteX13" fmla="*/ 149758 w 590237"/>
                <a:gd name="connsiteY13" fmla="*/ 24755 h 442678"/>
                <a:gd name="connsiteX14" fmla="*/ 172946 w 590237"/>
                <a:gd name="connsiteY14" fmla="*/ 162 h 442678"/>
                <a:gd name="connsiteX15" fmla="*/ 288182 w 590237"/>
                <a:gd name="connsiteY15" fmla="*/ 864 h 442678"/>
                <a:gd name="connsiteX16" fmla="*/ 328937 w 590237"/>
                <a:gd name="connsiteY16" fmla="*/ 19134 h 442678"/>
                <a:gd name="connsiteX17" fmla="*/ 326126 w 590237"/>
                <a:gd name="connsiteY17" fmla="*/ 62699 h 442678"/>
                <a:gd name="connsiteX18" fmla="*/ 302938 w 590237"/>
                <a:gd name="connsiteY18" fmla="*/ 106967 h 442678"/>
                <a:gd name="connsiteX19" fmla="*/ 357746 w 590237"/>
                <a:gd name="connsiteY19" fmla="*/ 149829 h 442678"/>
                <a:gd name="connsiteX20" fmla="*/ 432228 w 590237"/>
                <a:gd name="connsiteY20" fmla="*/ 121020 h 442678"/>
                <a:gd name="connsiteX21" fmla="*/ 423797 w 590237"/>
                <a:gd name="connsiteY21" fmla="*/ 69023 h 442678"/>
                <a:gd name="connsiteX22" fmla="*/ 402717 w 590237"/>
                <a:gd name="connsiteY22" fmla="*/ 35997 h 442678"/>
                <a:gd name="connsiteX23" fmla="*/ 444877 w 590237"/>
                <a:gd name="connsiteY23" fmla="*/ 2269 h 442678"/>
                <a:gd name="connsiteX24" fmla="*/ 579085 w 590237"/>
                <a:gd name="connsiteY24" fmla="*/ 1567 h 442678"/>
                <a:gd name="connsiteX25" fmla="*/ 591031 w 590237"/>
                <a:gd name="connsiteY25" fmla="*/ 19836 h 442678"/>
                <a:gd name="connsiteX26" fmla="*/ 591733 w 590237"/>
                <a:gd name="connsiteY26" fmla="*/ 225014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0237" h="442678">
                  <a:moveTo>
                    <a:pt x="591733" y="225014"/>
                  </a:moveTo>
                  <a:cubicBezTo>
                    <a:pt x="591733" y="291767"/>
                    <a:pt x="591031" y="358520"/>
                    <a:pt x="592436" y="425273"/>
                  </a:cubicBezTo>
                  <a:cubicBezTo>
                    <a:pt x="592436" y="440732"/>
                    <a:pt x="588923" y="444948"/>
                    <a:pt x="572761" y="444948"/>
                  </a:cubicBezTo>
                  <a:cubicBezTo>
                    <a:pt x="438552" y="444245"/>
                    <a:pt x="304344" y="444245"/>
                    <a:pt x="170135" y="444948"/>
                  </a:cubicBezTo>
                  <a:cubicBezTo>
                    <a:pt x="151866" y="444948"/>
                    <a:pt x="149758" y="438624"/>
                    <a:pt x="149758" y="423165"/>
                  </a:cubicBezTo>
                  <a:cubicBezTo>
                    <a:pt x="150460" y="386627"/>
                    <a:pt x="149758" y="350088"/>
                    <a:pt x="150460" y="313549"/>
                  </a:cubicBezTo>
                  <a:cubicBezTo>
                    <a:pt x="150460" y="303712"/>
                    <a:pt x="150460" y="293172"/>
                    <a:pt x="145542" y="284038"/>
                  </a:cubicBezTo>
                  <a:cubicBezTo>
                    <a:pt x="135002" y="265066"/>
                    <a:pt x="122354" y="263661"/>
                    <a:pt x="108300" y="279822"/>
                  </a:cubicBezTo>
                  <a:cubicBezTo>
                    <a:pt x="78086" y="314252"/>
                    <a:pt x="52087" y="314955"/>
                    <a:pt x="21170" y="281227"/>
                  </a:cubicBezTo>
                  <a:cubicBezTo>
                    <a:pt x="-14666" y="242581"/>
                    <a:pt x="-3423" y="172314"/>
                    <a:pt x="42953" y="147018"/>
                  </a:cubicBezTo>
                  <a:cubicBezTo>
                    <a:pt x="67546" y="133668"/>
                    <a:pt x="85815" y="141397"/>
                    <a:pt x="103382" y="160369"/>
                  </a:cubicBezTo>
                  <a:cubicBezTo>
                    <a:pt x="109706" y="167395"/>
                    <a:pt x="113219" y="182854"/>
                    <a:pt x="127272" y="177233"/>
                  </a:cubicBezTo>
                  <a:cubicBezTo>
                    <a:pt x="142028" y="171612"/>
                    <a:pt x="149758" y="158963"/>
                    <a:pt x="149758" y="142802"/>
                  </a:cubicBezTo>
                  <a:cubicBezTo>
                    <a:pt x="149758" y="103453"/>
                    <a:pt x="150460" y="64104"/>
                    <a:pt x="149758" y="24755"/>
                  </a:cubicBezTo>
                  <a:cubicBezTo>
                    <a:pt x="149055" y="6486"/>
                    <a:pt x="152568" y="-1244"/>
                    <a:pt x="172946" y="162"/>
                  </a:cubicBezTo>
                  <a:cubicBezTo>
                    <a:pt x="210889" y="2269"/>
                    <a:pt x="249536" y="864"/>
                    <a:pt x="288182" y="864"/>
                  </a:cubicBezTo>
                  <a:cubicBezTo>
                    <a:pt x="305046" y="864"/>
                    <a:pt x="318397" y="6486"/>
                    <a:pt x="328937" y="19134"/>
                  </a:cubicBezTo>
                  <a:cubicBezTo>
                    <a:pt x="342990" y="34592"/>
                    <a:pt x="345098" y="48646"/>
                    <a:pt x="326126" y="62699"/>
                  </a:cubicBezTo>
                  <a:cubicBezTo>
                    <a:pt x="312073" y="73239"/>
                    <a:pt x="293804" y="85184"/>
                    <a:pt x="302938" y="106967"/>
                  </a:cubicBezTo>
                  <a:cubicBezTo>
                    <a:pt x="312775" y="130857"/>
                    <a:pt x="328937" y="147721"/>
                    <a:pt x="357746" y="149829"/>
                  </a:cubicBezTo>
                  <a:cubicBezTo>
                    <a:pt x="387258" y="151234"/>
                    <a:pt x="413959" y="149126"/>
                    <a:pt x="432228" y="121020"/>
                  </a:cubicBezTo>
                  <a:cubicBezTo>
                    <a:pt x="446282" y="99940"/>
                    <a:pt x="441363" y="84481"/>
                    <a:pt x="423797" y="69023"/>
                  </a:cubicBezTo>
                  <a:cubicBezTo>
                    <a:pt x="413959" y="60590"/>
                    <a:pt x="395690" y="55672"/>
                    <a:pt x="402717" y="35997"/>
                  </a:cubicBezTo>
                  <a:cubicBezTo>
                    <a:pt x="409743" y="16323"/>
                    <a:pt x="424499" y="2972"/>
                    <a:pt x="444877" y="2269"/>
                  </a:cubicBezTo>
                  <a:cubicBezTo>
                    <a:pt x="489847" y="864"/>
                    <a:pt x="534115" y="2269"/>
                    <a:pt x="579085" y="1567"/>
                  </a:cubicBezTo>
                  <a:cubicBezTo>
                    <a:pt x="595246" y="1567"/>
                    <a:pt x="591031" y="12107"/>
                    <a:pt x="591031" y="19836"/>
                  </a:cubicBezTo>
                  <a:cubicBezTo>
                    <a:pt x="591733" y="87995"/>
                    <a:pt x="591733" y="156856"/>
                    <a:pt x="591733" y="22501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67AA08C-8E32-442D-9B6B-23A962C704F6}"/>
                </a:ext>
              </a:extLst>
            </p:cNvPr>
            <p:cNvSpPr/>
            <p:nvPr userDrawn="1"/>
          </p:nvSpPr>
          <p:spPr>
            <a:xfrm rot="19800000">
              <a:off x="7690813" y="673466"/>
              <a:ext cx="595378" cy="604981"/>
            </a:xfrm>
            <a:custGeom>
              <a:avLst/>
              <a:gdLst>
                <a:gd name="connsiteX0" fmla="*/ 222744 w 435651"/>
                <a:gd name="connsiteY0" fmla="*/ 441468 h 442678"/>
                <a:gd name="connsiteX1" fmla="*/ 23188 w 435651"/>
                <a:gd name="connsiteY1" fmla="*/ 442171 h 442678"/>
                <a:gd name="connsiteX2" fmla="*/ 1405 w 435651"/>
                <a:gd name="connsiteY2" fmla="*/ 419686 h 442678"/>
                <a:gd name="connsiteX3" fmla="*/ 1405 w 435651"/>
                <a:gd name="connsiteY3" fmla="*/ 302341 h 442678"/>
                <a:gd name="connsiteX4" fmla="*/ 17567 w 435651"/>
                <a:gd name="connsiteY4" fmla="*/ 263694 h 442678"/>
                <a:gd name="connsiteX5" fmla="*/ 60429 w 435651"/>
                <a:gd name="connsiteY5" fmla="*/ 265802 h 442678"/>
                <a:gd name="connsiteX6" fmla="*/ 103994 w 435651"/>
                <a:gd name="connsiteY6" fmla="*/ 290395 h 442678"/>
                <a:gd name="connsiteX7" fmla="*/ 146857 w 435651"/>
                <a:gd name="connsiteY7" fmla="*/ 241912 h 442678"/>
                <a:gd name="connsiteX8" fmla="*/ 129993 w 435651"/>
                <a:gd name="connsiteY8" fmla="*/ 170942 h 442678"/>
                <a:gd name="connsiteX9" fmla="*/ 63942 w 435651"/>
                <a:gd name="connsiteY9" fmla="*/ 173051 h 442678"/>
                <a:gd name="connsiteX10" fmla="*/ 33728 w 435651"/>
                <a:gd name="connsiteY10" fmla="*/ 190617 h 442678"/>
                <a:gd name="connsiteX11" fmla="*/ 1405 w 435651"/>
                <a:gd name="connsiteY11" fmla="*/ 153376 h 442678"/>
                <a:gd name="connsiteX12" fmla="*/ 0 w 435651"/>
                <a:gd name="connsiteY12" fmla="*/ 10735 h 442678"/>
                <a:gd name="connsiteX13" fmla="*/ 14053 w 435651"/>
                <a:gd name="connsiteY13" fmla="*/ 195 h 442678"/>
                <a:gd name="connsiteX14" fmla="*/ 142641 w 435651"/>
                <a:gd name="connsiteY14" fmla="*/ 195 h 442678"/>
                <a:gd name="connsiteX15" fmla="*/ 179882 w 435651"/>
                <a:gd name="connsiteY15" fmla="*/ 19870 h 442678"/>
                <a:gd name="connsiteX16" fmla="*/ 176369 w 435651"/>
                <a:gd name="connsiteY16" fmla="*/ 61327 h 442678"/>
                <a:gd name="connsiteX17" fmla="*/ 151775 w 435651"/>
                <a:gd name="connsiteY17" fmla="*/ 104892 h 442678"/>
                <a:gd name="connsiteX18" fmla="*/ 205881 w 435651"/>
                <a:gd name="connsiteY18" fmla="*/ 148457 h 442678"/>
                <a:gd name="connsiteX19" fmla="*/ 275444 w 435651"/>
                <a:gd name="connsiteY19" fmla="*/ 127377 h 442678"/>
                <a:gd name="connsiteX20" fmla="*/ 271228 w 435651"/>
                <a:gd name="connsiteY20" fmla="*/ 66948 h 442678"/>
                <a:gd name="connsiteX21" fmla="*/ 252256 w 435651"/>
                <a:gd name="connsiteY21" fmla="*/ 32518 h 442678"/>
                <a:gd name="connsiteX22" fmla="*/ 293011 w 435651"/>
                <a:gd name="connsiteY22" fmla="*/ 898 h 442678"/>
                <a:gd name="connsiteX23" fmla="*/ 427220 w 435651"/>
                <a:gd name="connsiteY23" fmla="*/ 195 h 442678"/>
                <a:gd name="connsiteX24" fmla="*/ 440570 w 435651"/>
                <a:gd name="connsiteY24" fmla="*/ 15654 h 442678"/>
                <a:gd name="connsiteX25" fmla="*/ 440570 w 435651"/>
                <a:gd name="connsiteY25" fmla="*/ 144241 h 442678"/>
                <a:gd name="connsiteX26" fmla="*/ 410356 w 435651"/>
                <a:gd name="connsiteY26" fmla="*/ 189212 h 442678"/>
                <a:gd name="connsiteX27" fmla="*/ 373817 w 435651"/>
                <a:gd name="connsiteY27" fmla="*/ 169537 h 442678"/>
                <a:gd name="connsiteX28" fmla="*/ 317604 w 435651"/>
                <a:gd name="connsiteY28" fmla="*/ 164619 h 442678"/>
                <a:gd name="connsiteX29" fmla="*/ 314793 w 435651"/>
                <a:gd name="connsiteY29" fmla="*/ 277747 h 442678"/>
                <a:gd name="connsiteX30" fmla="*/ 375223 w 435651"/>
                <a:gd name="connsiteY30" fmla="*/ 273531 h 442678"/>
                <a:gd name="connsiteX31" fmla="*/ 406842 w 435651"/>
                <a:gd name="connsiteY31" fmla="*/ 253857 h 442678"/>
                <a:gd name="connsiteX32" fmla="*/ 440570 w 435651"/>
                <a:gd name="connsiteY32" fmla="*/ 296017 h 442678"/>
                <a:gd name="connsiteX33" fmla="*/ 441273 w 435651"/>
                <a:gd name="connsiteY33" fmla="*/ 430226 h 442678"/>
                <a:gd name="connsiteX34" fmla="*/ 420896 w 435651"/>
                <a:gd name="connsiteY34" fmla="*/ 442873 h 442678"/>
                <a:gd name="connsiteX35" fmla="*/ 222744 w 435651"/>
                <a:gd name="connsiteY35" fmla="*/ 441468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35651" h="442678">
                  <a:moveTo>
                    <a:pt x="222744" y="441468"/>
                  </a:moveTo>
                  <a:cubicBezTo>
                    <a:pt x="155991" y="441468"/>
                    <a:pt x="89238" y="440766"/>
                    <a:pt x="23188" y="442171"/>
                  </a:cubicBezTo>
                  <a:cubicBezTo>
                    <a:pt x="4919" y="442171"/>
                    <a:pt x="703" y="436550"/>
                    <a:pt x="1405" y="419686"/>
                  </a:cubicBezTo>
                  <a:cubicBezTo>
                    <a:pt x="2811" y="380336"/>
                    <a:pt x="2108" y="340987"/>
                    <a:pt x="1405" y="302341"/>
                  </a:cubicBezTo>
                  <a:cubicBezTo>
                    <a:pt x="1405" y="286180"/>
                    <a:pt x="6324" y="274234"/>
                    <a:pt x="17567" y="263694"/>
                  </a:cubicBezTo>
                  <a:cubicBezTo>
                    <a:pt x="32323" y="250344"/>
                    <a:pt x="46376" y="246128"/>
                    <a:pt x="60429" y="265802"/>
                  </a:cubicBezTo>
                  <a:cubicBezTo>
                    <a:pt x="70969" y="279855"/>
                    <a:pt x="81509" y="297422"/>
                    <a:pt x="103994" y="290395"/>
                  </a:cubicBezTo>
                  <a:cubicBezTo>
                    <a:pt x="127182" y="282666"/>
                    <a:pt x="142641" y="266505"/>
                    <a:pt x="146857" y="241912"/>
                  </a:cubicBezTo>
                  <a:cubicBezTo>
                    <a:pt x="151775" y="215913"/>
                    <a:pt x="149667" y="190617"/>
                    <a:pt x="129993" y="170942"/>
                  </a:cubicBezTo>
                  <a:cubicBezTo>
                    <a:pt x="105400" y="145647"/>
                    <a:pt x="87130" y="146349"/>
                    <a:pt x="63942" y="173051"/>
                  </a:cubicBezTo>
                  <a:cubicBezTo>
                    <a:pt x="56213" y="182185"/>
                    <a:pt x="49889" y="196941"/>
                    <a:pt x="33728" y="190617"/>
                  </a:cubicBezTo>
                  <a:cubicBezTo>
                    <a:pt x="16864" y="184293"/>
                    <a:pt x="2108" y="172348"/>
                    <a:pt x="1405" y="153376"/>
                  </a:cubicBezTo>
                  <a:cubicBezTo>
                    <a:pt x="0" y="106298"/>
                    <a:pt x="703" y="58516"/>
                    <a:pt x="0" y="10735"/>
                  </a:cubicBezTo>
                  <a:cubicBezTo>
                    <a:pt x="0" y="195"/>
                    <a:pt x="6324" y="-508"/>
                    <a:pt x="14053" y="195"/>
                  </a:cubicBezTo>
                  <a:cubicBezTo>
                    <a:pt x="56916" y="195"/>
                    <a:pt x="99778" y="195"/>
                    <a:pt x="142641" y="195"/>
                  </a:cubicBezTo>
                  <a:cubicBezTo>
                    <a:pt x="158802" y="195"/>
                    <a:pt x="170045" y="7925"/>
                    <a:pt x="179882" y="19870"/>
                  </a:cubicBezTo>
                  <a:cubicBezTo>
                    <a:pt x="192530" y="34626"/>
                    <a:pt x="193935" y="47976"/>
                    <a:pt x="176369" y="61327"/>
                  </a:cubicBezTo>
                  <a:cubicBezTo>
                    <a:pt x="162315" y="71867"/>
                    <a:pt x="144046" y="83109"/>
                    <a:pt x="151775" y="104892"/>
                  </a:cubicBezTo>
                  <a:cubicBezTo>
                    <a:pt x="160910" y="129485"/>
                    <a:pt x="177071" y="146349"/>
                    <a:pt x="205881" y="148457"/>
                  </a:cubicBezTo>
                  <a:cubicBezTo>
                    <a:pt x="231879" y="150565"/>
                    <a:pt x="256472" y="149863"/>
                    <a:pt x="275444" y="127377"/>
                  </a:cubicBezTo>
                  <a:cubicBezTo>
                    <a:pt x="296524" y="102784"/>
                    <a:pt x="295822" y="88028"/>
                    <a:pt x="271228" y="66948"/>
                  </a:cubicBezTo>
                  <a:cubicBezTo>
                    <a:pt x="260688" y="57814"/>
                    <a:pt x="243824" y="51490"/>
                    <a:pt x="252256" y="32518"/>
                  </a:cubicBezTo>
                  <a:cubicBezTo>
                    <a:pt x="259986" y="14951"/>
                    <a:pt x="273336" y="1601"/>
                    <a:pt x="293011" y="898"/>
                  </a:cubicBezTo>
                  <a:cubicBezTo>
                    <a:pt x="337981" y="-508"/>
                    <a:pt x="382249" y="898"/>
                    <a:pt x="427220" y="195"/>
                  </a:cubicBezTo>
                  <a:cubicBezTo>
                    <a:pt x="439165" y="195"/>
                    <a:pt x="440570" y="6519"/>
                    <a:pt x="440570" y="15654"/>
                  </a:cubicBezTo>
                  <a:cubicBezTo>
                    <a:pt x="440570" y="58516"/>
                    <a:pt x="440570" y="101379"/>
                    <a:pt x="440570" y="144241"/>
                  </a:cubicBezTo>
                  <a:cubicBezTo>
                    <a:pt x="440570" y="166024"/>
                    <a:pt x="428625" y="180780"/>
                    <a:pt x="410356" y="189212"/>
                  </a:cubicBezTo>
                  <a:cubicBezTo>
                    <a:pt x="390681" y="198347"/>
                    <a:pt x="383655" y="180077"/>
                    <a:pt x="373817" y="169537"/>
                  </a:cubicBezTo>
                  <a:cubicBezTo>
                    <a:pt x="354143" y="147755"/>
                    <a:pt x="340089" y="146349"/>
                    <a:pt x="317604" y="164619"/>
                  </a:cubicBezTo>
                  <a:cubicBezTo>
                    <a:pt x="283876" y="192022"/>
                    <a:pt x="282471" y="249641"/>
                    <a:pt x="314793" y="277747"/>
                  </a:cubicBezTo>
                  <a:cubicBezTo>
                    <a:pt x="338684" y="298125"/>
                    <a:pt x="353440" y="296719"/>
                    <a:pt x="375223" y="273531"/>
                  </a:cubicBezTo>
                  <a:cubicBezTo>
                    <a:pt x="383655" y="264397"/>
                    <a:pt x="388573" y="246830"/>
                    <a:pt x="406842" y="253857"/>
                  </a:cubicBezTo>
                  <a:cubicBezTo>
                    <a:pt x="425814" y="260884"/>
                    <a:pt x="439868" y="274234"/>
                    <a:pt x="440570" y="296017"/>
                  </a:cubicBezTo>
                  <a:cubicBezTo>
                    <a:pt x="441273" y="340987"/>
                    <a:pt x="440570" y="385255"/>
                    <a:pt x="441273" y="430226"/>
                  </a:cubicBezTo>
                  <a:cubicBezTo>
                    <a:pt x="441273" y="448495"/>
                    <a:pt x="429328" y="442171"/>
                    <a:pt x="420896" y="442873"/>
                  </a:cubicBezTo>
                  <a:cubicBezTo>
                    <a:pt x="356251" y="441468"/>
                    <a:pt x="289498" y="441468"/>
                    <a:pt x="222744" y="44146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A43C9F3-9833-4317-8519-B066AE9DCB1E}"/>
                </a:ext>
              </a:extLst>
            </p:cNvPr>
            <p:cNvSpPr/>
            <p:nvPr userDrawn="1"/>
          </p:nvSpPr>
          <p:spPr>
            <a:xfrm rot="10800000">
              <a:off x="9581096" y="-9527"/>
              <a:ext cx="1030193" cy="618117"/>
            </a:xfrm>
            <a:custGeom>
              <a:avLst/>
              <a:gdLst>
                <a:gd name="connsiteX0" fmla="*/ 370725 w 737797"/>
                <a:gd name="connsiteY0" fmla="*/ 441321 h 442678"/>
                <a:gd name="connsiteX1" fmla="*/ 178898 w 737797"/>
                <a:gd name="connsiteY1" fmla="*/ 442023 h 442678"/>
                <a:gd name="connsiteX2" fmla="*/ 148684 w 737797"/>
                <a:gd name="connsiteY2" fmla="*/ 413214 h 442678"/>
                <a:gd name="connsiteX3" fmla="*/ 149386 w 737797"/>
                <a:gd name="connsiteY3" fmla="*/ 303599 h 442678"/>
                <a:gd name="connsiteX4" fmla="*/ 138846 w 737797"/>
                <a:gd name="connsiteY4" fmla="*/ 274087 h 442678"/>
                <a:gd name="connsiteX5" fmla="*/ 110037 w 737797"/>
                <a:gd name="connsiteY5" fmla="*/ 274790 h 442678"/>
                <a:gd name="connsiteX6" fmla="*/ 55230 w 737797"/>
                <a:gd name="connsiteY6" fmla="*/ 301491 h 442678"/>
                <a:gd name="connsiteX7" fmla="*/ 2530 w 737797"/>
                <a:gd name="connsiteY7" fmla="*/ 243872 h 442678"/>
                <a:gd name="connsiteX8" fmla="*/ 40473 w 737797"/>
                <a:gd name="connsiteY8" fmla="*/ 146905 h 442678"/>
                <a:gd name="connsiteX9" fmla="*/ 105119 w 737797"/>
                <a:gd name="connsiteY9" fmla="*/ 160255 h 442678"/>
                <a:gd name="connsiteX10" fmla="*/ 127604 w 737797"/>
                <a:gd name="connsiteY10" fmla="*/ 175714 h 442678"/>
                <a:gd name="connsiteX11" fmla="*/ 149386 w 737797"/>
                <a:gd name="connsiteY11" fmla="*/ 143391 h 442678"/>
                <a:gd name="connsiteX12" fmla="*/ 148684 w 737797"/>
                <a:gd name="connsiteY12" fmla="*/ 23236 h 442678"/>
                <a:gd name="connsiteX13" fmla="*/ 170466 w 737797"/>
                <a:gd name="connsiteY13" fmla="*/ 48 h 442678"/>
                <a:gd name="connsiteX14" fmla="*/ 290622 w 737797"/>
                <a:gd name="connsiteY14" fmla="*/ 751 h 442678"/>
                <a:gd name="connsiteX15" fmla="*/ 330673 w 737797"/>
                <a:gd name="connsiteY15" fmla="*/ 19722 h 442678"/>
                <a:gd name="connsiteX16" fmla="*/ 327160 w 737797"/>
                <a:gd name="connsiteY16" fmla="*/ 59072 h 442678"/>
                <a:gd name="connsiteX17" fmla="*/ 301864 w 737797"/>
                <a:gd name="connsiteY17" fmla="*/ 105447 h 442678"/>
                <a:gd name="connsiteX18" fmla="*/ 357375 w 737797"/>
                <a:gd name="connsiteY18" fmla="*/ 148310 h 442678"/>
                <a:gd name="connsiteX19" fmla="*/ 419209 w 737797"/>
                <a:gd name="connsiteY19" fmla="*/ 132851 h 442678"/>
                <a:gd name="connsiteX20" fmla="*/ 419209 w 737797"/>
                <a:gd name="connsiteY20" fmla="*/ 63287 h 442678"/>
                <a:gd name="connsiteX21" fmla="*/ 401643 w 737797"/>
                <a:gd name="connsiteY21" fmla="*/ 35884 h 442678"/>
                <a:gd name="connsiteX22" fmla="*/ 437478 w 737797"/>
                <a:gd name="connsiteY22" fmla="*/ 2156 h 442678"/>
                <a:gd name="connsiteX23" fmla="*/ 582228 w 737797"/>
                <a:gd name="connsiteY23" fmla="*/ 751 h 442678"/>
                <a:gd name="connsiteX24" fmla="*/ 591362 w 737797"/>
                <a:gd name="connsiteY24" fmla="*/ 19020 h 442678"/>
                <a:gd name="connsiteX25" fmla="*/ 591362 w 737797"/>
                <a:gd name="connsiteY25" fmla="*/ 134257 h 442678"/>
                <a:gd name="connsiteX26" fmla="*/ 596983 w 737797"/>
                <a:gd name="connsiteY26" fmla="*/ 160255 h 442678"/>
                <a:gd name="connsiteX27" fmla="*/ 634224 w 737797"/>
                <a:gd name="connsiteY27" fmla="*/ 164471 h 442678"/>
                <a:gd name="connsiteX28" fmla="*/ 722760 w 737797"/>
                <a:gd name="connsiteY28" fmla="*/ 165174 h 442678"/>
                <a:gd name="connsiteX29" fmla="*/ 695356 w 737797"/>
                <a:gd name="connsiteY29" fmla="*/ 298680 h 442678"/>
                <a:gd name="connsiteX30" fmla="*/ 637035 w 737797"/>
                <a:gd name="connsiteY30" fmla="*/ 283221 h 442678"/>
                <a:gd name="connsiteX31" fmla="*/ 613144 w 737797"/>
                <a:gd name="connsiteY31" fmla="*/ 267060 h 442678"/>
                <a:gd name="connsiteX32" fmla="*/ 591362 w 737797"/>
                <a:gd name="connsiteY32" fmla="*/ 302193 h 442678"/>
                <a:gd name="connsiteX33" fmla="*/ 592065 w 737797"/>
                <a:gd name="connsiteY33" fmla="*/ 420241 h 442678"/>
                <a:gd name="connsiteX34" fmla="*/ 570282 w 737797"/>
                <a:gd name="connsiteY34" fmla="*/ 442726 h 442678"/>
                <a:gd name="connsiteX35" fmla="*/ 370725 w 737797"/>
                <a:gd name="connsiteY35" fmla="*/ 441321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37797" h="442678">
                  <a:moveTo>
                    <a:pt x="370725" y="441321"/>
                  </a:moveTo>
                  <a:cubicBezTo>
                    <a:pt x="306783" y="441321"/>
                    <a:pt x="242840" y="440618"/>
                    <a:pt x="178898" y="442023"/>
                  </a:cubicBezTo>
                  <a:cubicBezTo>
                    <a:pt x="155710" y="442726"/>
                    <a:pt x="146576" y="438510"/>
                    <a:pt x="148684" y="413214"/>
                  </a:cubicBezTo>
                  <a:cubicBezTo>
                    <a:pt x="151494" y="376676"/>
                    <a:pt x="149386" y="340137"/>
                    <a:pt x="149386" y="303599"/>
                  </a:cubicBezTo>
                  <a:cubicBezTo>
                    <a:pt x="149386" y="292356"/>
                    <a:pt x="147981" y="282519"/>
                    <a:pt x="138846" y="274087"/>
                  </a:cubicBezTo>
                  <a:cubicBezTo>
                    <a:pt x="128306" y="264250"/>
                    <a:pt x="119874" y="260736"/>
                    <a:pt x="110037" y="274790"/>
                  </a:cubicBezTo>
                  <a:cubicBezTo>
                    <a:pt x="96686" y="293761"/>
                    <a:pt x="79823" y="309923"/>
                    <a:pt x="55230" y="301491"/>
                  </a:cubicBezTo>
                  <a:cubicBezTo>
                    <a:pt x="28528" y="292356"/>
                    <a:pt x="8853" y="274087"/>
                    <a:pt x="2530" y="243872"/>
                  </a:cubicBezTo>
                  <a:cubicBezTo>
                    <a:pt x="-5902" y="201010"/>
                    <a:pt x="6746" y="166579"/>
                    <a:pt x="40473" y="146905"/>
                  </a:cubicBezTo>
                  <a:cubicBezTo>
                    <a:pt x="65067" y="132148"/>
                    <a:pt x="82633" y="136365"/>
                    <a:pt x="105119" y="160255"/>
                  </a:cubicBezTo>
                  <a:cubicBezTo>
                    <a:pt x="111443" y="167282"/>
                    <a:pt x="114956" y="181335"/>
                    <a:pt x="127604" y="175714"/>
                  </a:cubicBezTo>
                  <a:cubicBezTo>
                    <a:pt x="140252" y="170092"/>
                    <a:pt x="149386" y="159552"/>
                    <a:pt x="149386" y="143391"/>
                  </a:cubicBezTo>
                  <a:cubicBezTo>
                    <a:pt x="149386" y="103339"/>
                    <a:pt x="150089" y="63287"/>
                    <a:pt x="148684" y="23236"/>
                  </a:cubicBezTo>
                  <a:cubicBezTo>
                    <a:pt x="147981" y="6372"/>
                    <a:pt x="150792" y="-655"/>
                    <a:pt x="170466" y="48"/>
                  </a:cubicBezTo>
                  <a:cubicBezTo>
                    <a:pt x="210518" y="2156"/>
                    <a:pt x="250570" y="751"/>
                    <a:pt x="290622" y="751"/>
                  </a:cubicBezTo>
                  <a:cubicBezTo>
                    <a:pt x="307486" y="751"/>
                    <a:pt x="320836" y="7074"/>
                    <a:pt x="330673" y="19722"/>
                  </a:cubicBezTo>
                  <a:cubicBezTo>
                    <a:pt x="341916" y="33775"/>
                    <a:pt x="344024" y="46424"/>
                    <a:pt x="327160" y="59072"/>
                  </a:cubicBezTo>
                  <a:cubicBezTo>
                    <a:pt x="312404" y="70314"/>
                    <a:pt x="292730" y="82259"/>
                    <a:pt x="301864" y="105447"/>
                  </a:cubicBezTo>
                  <a:cubicBezTo>
                    <a:pt x="311702" y="129338"/>
                    <a:pt x="329268" y="146202"/>
                    <a:pt x="357375" y="148310"/>
                  </a:cubicBezTo>
                  <a:cubicBezTo>
                    <a:pt x="379860" y="150418"/>
                    <a:pt x="400940" y="149013"/>
                    <a:pt x="419209" y="132851"/>
                  </a:cubicBezTo>
                  <a:cubicBezTo>
                    <a:pt x="448018" y="106150"/>
                    <a:pt x="448018" y="89286"/>
                    <a:pt x="419209" y="63287"/>
                  </a:cubicBezTo>
                  <a:cubicBezTo>
                    <a:pt x="410777" y="56261"/>
                    <a:pt x="396724" y="50640"/>
                    <a:pt x="401643" y="35884"/>
                  </a:cubicBezTo>
                  <a:cubicBezTo>
                    <a:pt x="407264" y="19020"/>
                    <a:pt x="418506" y="2859"/>
                    <a:pt x="437478" y="2156"/>
                  </a:cubicBezTo>
                  <a:cubicBezTo>
                    <a:pt x="485962" y="48"/>
                    <a:pt x="534446" y="751"/>
                    <a:pt x="582228" y="751"/>
                  </a:cubicBezTo>
                  <a:cubicBezTo>
                    <a:pt x="596983" y="751"/>
                    <a:pt x="591362" y="11993"/>
                    <a:pt x="591362" y="19020"/>
                  </a:cubicBezTo>
                  <a:cubicBezTo>
                    <a:pt x="592065" y="57666"/>
                    <a:pt x="591362" y="95610"/>
                    <a:pt x="591362" y="134257"/>
                  </a:cubicBezTo>
                  <a:cubicBezTo>
                    <a:pt x="591362" y="143391"/>
                    <a:pt x="592065" y="152526"/>
                    <a:pt x="596983" y="160255"/>
                  </a:cubicBezTo>
                  <a:cubicBezTo>
                    <a:pt x="608929" y="179930"/>
                    <a:pt x="618766" y="180632"/>
                    <a:pt x="634224" y="164471"/>
                  </a:cubicBezTo>
                  <a:cubicBezTo>
                    <a:pt x="665142" y="130041"/>
                    <a:pt x="692545" y="130743"/>
                    <a:pt x="722760" y="165174"/>
                  </a:cubicBezTo>
                  <a:cubicBezTo>
                    <a:pt x="758596" y="205928"/>
                    <a:pt x="743840" y="274790"/>
                    <a:pt x="695356" y="298680"/>
                  </a:cubicBezTo>
                  <a:cubicBezTo>
                    <a:pt x="671465" y="310625"/>
                    <a:pt x="653899" y="300788"/>
                    <a:pt x="637035" y="283221"/>
                  </a:cubicBezTo>
                  <a:cubicBezTo>
                    <a:pt x="630711" y="276195"/>
                    <a:pt x="627901" y="260033"/>
                    <a:pt x="613144" y="267060"/>
                  </a:cubicBezTo>
                  <a:cubicBezTo>
                    <a:pt x="599794" y="273384"/>
                    <a:pt x="591362" y="285330"/>
                    <a:pt x="591362" y="302193"/>
                  </a:cubicBezTo>
                  <a:cubicBezTo>
                    <a:pt x="591362" y="341543"/>
                    <a:pt x="590659" y="380892"/>
                    <a:pt x="592065" y="420241"/>
                  </a:cubicBezTo>
                  <a:cubicBezTo>
                    <a:pt x="592767" y="437807"/>
                    <a:pt x="588551" y="443429"/>
                    <a:pt x="570282" y="442726"/>
                  </a:cubicBezTo>
                  <a:cubicBezTo>
                    <a:pt x="504232" y="440618"/>
                    <a:pt x="437478" y="441321"/>
                    <a:pt x="370725" y="441321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B301603-C8A4-486A-8305-14F373F9FF2E}"/>
                </a:ext>
              </a:extLst>
            </p:cNvPr>
            <p:cNvSpPr/>
            <p:nvPr userDrawn="1"/>
          </p:nvSpPr>
          <p:spPr>
            <a:xfrm rot="20646057">
              <a:off x="8156275" y="77241"/>
              <a:ext cx="835945" cy="626959"/>
            </a:xfrm>
            <a:custGeom>
              <a:avLst/>
              <a:gdLst>
                <a:gd name="connsiteX0" fmla="*/ 371948 w 590237"/>
                <a:gd name="connsiteY0" fmla="*/ 1405 h 442678"/>
                <a:gd name="connsiteX1" fmla="*/ 569397 w 590237"/>
                <a:gd name="connsiteY1" fmla="*/ 1405 h 442678"/>
                <a:gd name="connsiteX2" fmla="*/ 592584 w 590237"/>
                <a:gd name="connsiteY2" fmla="*/ 23188 h 442678"/>
                <a:gd name="connsiteX3" fmla="*/ 592584 w 590237"/>
                <a:gd name="connsiteY3" fmla="*/ 140533 h 442678"/>
                <a:gd name="connsiteX4" fmla="*/ 575018 w 590237"/>
                <a:gd name="connsiteY4" fmla="*/ 181287 h 442678"/>
                <a:gd name="connsiteX5" fmla="*/ 531453 w 590237"/>
                <a:gd name="connsiteY5" fmla="*/ 178477 h 442678"/>
                <a:gd name="connsiteX6" fmla="*/ 447836 w 590237"/>
                <a:gd name="connsiteY6" fmla="*/ 194638 h 442678"/>
                <a:gd name="connsiteX7" fmla="*/ 467510 w 590237"/>
                <a:gd name="connsiteY7" fmla="*/ 279660 h 442678"/>
                <a:gd name="connsiteX8" fmla="*/ 526534 w 590237"/>
                <a:gd name="connsiteY8" fmla="*/ 275444 h 442678"/>
                <a:gd name="connsiteX9" fmla="*/ 560262 w 590237"/>
                <a:gd name="connsiteY9" fmla="*/ 255067 h 442678"/>
                <a:gd name="connsiteX10" fmla="*/ 592584 w 590237"/>
                <a:gd name="connsiteY10" fmla="*/ 301443 h 442678"/>
                <a:gd name="connsiteX11" fmla="*/ 593287 w 590237"/>
                <a:gd name="connsiteY11" fmla="*/ 427220 h 442678"/>
                <a:gd name="connsiteX12" fmla="*/ 574315 w 590237"/>
                <a:gd name="connsiteY12" fmla="*/ 444786 h 442678"/>
                <a:gd name="connsiteX13" fmla="*/ 451349 w 590237"/>
                <a:gd name="connsiteY13" fmla="*/ 444786 h 442678"/>
                <a:gd name="connsiteX14" fmla="*/ 409892 w 590237"/>
                <a:gd name="connsiteY14" fmla="*/ 422301 h 442678"/>
                <a:gd name="connsiteX15" fmla="*/ 414108 w 590237"/>
                <a:gd name="connsiteY15" fmla="*/ 385060 h 442678"/>
                <a:gd name="connsiteX16" fmla="*/ 438701 w 590237"/>
                <a:gd name="connsiteY16" fmla="*/ 335873 h 442678"/>
                <a:gd name="connsiteX17" fmla="*/ 378975 w 590237"/>
                <a:gd name="connsiteY17" fmla="*/ 295821 h 442678"/>
                <a:gd name="connsiteX18" fmla="*/ 315032 w 590237"/>
                <a:gd name="connsiteY18" fmla="*/ 319010 h 442678"/>
                <a:gd name="connsiteX19" fmla="*/ 319248 w 590237"/>
                <a:gd name="connsiteY19" fmla="*/ 377331 h 442678"/>
                <a:gd name="connsiteX20" fmla="*/ 338923 w 590237"/>
                <a:gd name="connsiteY20" fmla="*/ 411761 h 442678"/>
                <a:gd name="connsiteX21" fmla="*/ 292547 w 590237"/>
                <a:gd name="connsiteY21" fmla="*/ 444084 h 442678"/>
                <a:gd name="connsiteX22" fmla="*/ 169581 w 590237"/>
                <a:gd name="connsiteY22" fmla="*/ 444786 h 442678"/>
                <a:gd name="connsiteX23" fmla="*/ 149203 w 590237"/>
                <a:gd name="connsiteY23" fmla="*/ 422301 h 442678"/>
                <a:gd name="connsiteX24" fmla="*/ 149203 w 590237"/>
                <a:gd name="connsiteY24" fmla="*/ 307064 h 442678"/>
                <a:gd name="connsiteX25" fmla="*/ 143582 w 590237"/>
                <a:gd name="connsiteY25" fmla="*/ 281066 h 442678"/>
                <a:gd name="connsiteX26" fmla="*/ 107746 w 590237"/>
                <a:gd name="connsiteY26" fmla="*/ 278958 h 442678"/>
                <a:gd name="connsiteX27" fmla="*/ 19913 w 590237"/>
                <a:gd name="connsiteY27" fmla="*/ 278958 h 442678"/>
                <a:gd name="connsiteX28" fmla="*/ 33966 w 590237"/>
                <a:gd name="connsiteY28" fmla="*/ 152478 h 442678"/>
                <a:gd name="connsiteX29" fmla="*/ 103530 w 590237"/>
                <a:gd name="connsiteY29" fmla="*/ 158802 h 442678"/>
                <a:gd name="connsiteX30" fmla="*/ 129529 w 590237"/>
                <a:gd name="connsiteY30" fmla="*/ 175666 h 442678"/>
                <a:gd name="connsiteX31" fmla="*/ 149203 w 590237"/>
                <a:gd name="connsiteY31" fmla="*/ 139830 h 442678"/>
                <a:gd name="connsiteX32" fmla="*/ 148501 w 590237"/>
                <a:gd name="connsiteY32" fmla="*/ 24593 h 442678"/>
                <a:gd name="connsiteX33" fmla="*/ 172391 w 590237"/>
                <a:gd name="connsiteY33" fmla="*/ 0 h 442678"/>
                <a:gd name="connsiteX34" fmla="*/ 371948 w 590237"/>
                <a:gd name="connsiteY34" fmla="*/ 1405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90237" h="442678">
                  <a:moveTo>
                    <a:pt x="371948" y="1405"/>
                  </a:moveTo>
                  <a:cubicBezTo>
                    <a:pt x="437998" y="1405"/>
                    <a:pt x="503346" y="2108"/>
                    <a:pt x="569397" y="1405"/>
                  </a:cubicBezTo>
                  <a:cubicBezTo>
                    <a:pt x="585558" y="1405"/>
                    <a:pt x="593990" y="3513"/>
                    <a:pt x="592584" y="23188"/>
                  </a:cubicBezTo>
                  <a:cubicBezTo>
                    <a:pt x="591179" y="62537"/>
                    <a:pt x="591882" y="101886"/>
                    <a:pt x="592584" y="140533"/>
                  </a:cubicBezTo>
                  <a:cubicBezTo>
                    <a:pt x="592584" y="157397"/>
                    <a:pt x="586963" y="170747"/>
                    <a:pt x="575018" y="181287"/>
                  </a:cubicBezTo>
                  <a:cubicBezTo>
                    <a:pt x="559559" y="195340"/>
                    <a:pt x="546208" y="196043"/>
                    <a:pt x="531453" y="178477"/>
                  </a:cubicBezTo>
                  <a:cubicBezTo>
                    <a:pt x="501238" y="141938"/>
                    <a:pt x="463997" y="150370"/>
                    <a:pt x="447836" y="194638"/>
                  </a:cubicBezTo>
                  <a:cubicBezTo>
                    <a:pt x="436593" y="226258"/>
                    <a:pt x="444322" y="259283"/>
                    <a:pt x="467510" y="279660"/>
                  </a:cubicBezTo>
                  <a:cubicBezTo>
                    <a:pt x="489995" y="298632"/>
                    <a:pt x="506157" y="297227"/>
                    <a:pt x="526534" y="275444"/>
                  </a:cubicBezTo>
                  <a:cubicBezTo>
                    <a:pt x="535669" y="265607"/>
                    <a:pt x="541290" y="246635"/>
                    <a:pt x="560262" y="255067"/>
                  </a:cubicBezTo>
                  <a:cubicBezTo>
                    <a:pt x="579936" y="263499"/>
                    <a:pt x="592584" y="278255"/>
                    <a:pt x="592584" y="301443"/>
                  </a:cubicBezTo>
                  <a:cubicBezTo>
                    <a:pt x="592584" y="343603"/>
                    <a:pt x="591882" y="385763"/>
                    <a:pt x="593287" y="427220"/>
                  </a:cubicBezTo>
                  <a:cubicBezTo>
                    <a:pt x="593990" y="442678"/>
                    <a:pt x="587666" y="444786"/>
                    <a:pt x="574315" y="444786"/>
                  </a:cubicBezTo>
                  <a:cubicBezTo>
                    <a:pt x="533561" y="444084"/>
                    <a:pt x="492103" y="444084"/>
                    <a:pt x="451349" y="444786"/>
                  </a:cubicBezTo>
                  <a:cubicBezTo>
                    <a:pt x="433080" y="444786"/>
                    <a:pt x="420432" y="436354"/>
                    <a:pt x="409892" y="422301"/>
                  </a:cubicBezTo>
                  <a:cubicBezTo>
                    <a:pt x="399352" y="408248"/>
                    <a:pt x="399352" y="396303"/>
                    <a:pt x="414108" y="385060"/>
                  </a:cubicBezTo>
                  <a:cubicBezTo>
                    <a:pt x="430269" y="373114"/>
                    <a:pt x="449241" y="360467"/>
                    <a:pt x="438701" y="335873"/>
                  </a:cubicBezTo>
                  <a:cubicBezTo>
                    <a:pt x="427458" y="311280"/>
                    <a:pt x="408486" y="295821"/>
                    <a:pt x="378975" y="295821"/>
                  </a:cubicBezTo>
                  <a:cubicBezTo>
                    <a:pt x="354381" y="295821"/>
                    <a:pt x="331896" y="297930"/>
                    <a:pt x="315032" y="319010"/>
                  </a:cubicBezTo>
                  <a:cubicBezTo>
                    <a:pt x="296060" y="342197"/>
                    <a:pt x="297465" y="356953"/>
                    <a:pt x="319248" y="377331"/>
                  </a:cubicBezTo>
                  <a:cubicBezTo>
                    <a:pt x="329085" y="386465"/>
                    <a:pt x="347355" y="393492"/>
                    <a:pt x="338923" y="411761"/>
                  </a:cubicBezTo>
                  <a:cubicBezTo>
                    <a:pt x="330491" y="430733"/>
                    <a:pt x="315735" y="444084"/>
                    <a:pt x="292547" y="444084"/>
                  </a:cubicBezTo>
                  <a:cubicBezTo>
                    <a:pt x="251792" y="444084"/>
                    <a:pt x="210335" y="442678"/>
                    <a:pt x="169581" y="444786"/>
                  </a:cubicBezTo>
                  <a:cubicBezTo>
                    <a:pt x="151311" y="445489"/>
                    <a:pt x="149203" y="437760"/>
                    <a:pt x="149203" y="422301"/>
                  </a:cubicBezTo>
                  <a:cubicBezTo>
                    <a:pt x="149906" y="383654"/>
                    <a:pt x="149906" y="345711"/>
                    <a:pt x="149203" y="307064"/>
                  </a:cubicBezTo>
                  <a:cubicBezTo>
                    <a:pt x="149203" y="297930"/>
                    <a:pt x="149906" y="288795"/>
                    <a:pt x="143582" y="281066"/>
                  </a:cubicBezTo>
                  <a:cubicBezTo>
                    <a:pt x="132339" y="267715"/>
                    <a:pt x="123205" y="259986"/>
                    <a:pt x="107746" y="278958"/>
                  </a:cubicBezTo>
                  <a:cubicBezTo>
                    <a:pt x="78234" y="315496"/>
                    <a:pt x="50830" y="314091"/>
                    <a:pt x="19913" y="278958"/>
                  </a:cubicBezTo>
                  <a:cubicBezTo>
                    <a:pt x="-11707" y="243122"/>
                    <a:pt x="-4680" y="181287"/>
                    <a:pt x="33966" y="152478"/>
                  </a:cubicBezTo>
                  <a:cubicBezTo>
                    <a:pt x="60668" y="132804"/>
                    <a:pt x="80342" y="134912"/>
                    <a:pt x="103530" y="158802"/>
                  </a:cubicBezTo>
                  <a:cubicBezTo>
                    <a:pt x="110557" y="165829"/>
                    <a:pt x="112665" y="184098"/>
                    <a:pt x="129529" y="175666"/>
                  </a:cubicBezTo>
                  <a:cubicBezTo>
                    <a:pt x="143582" y="168639"/>
                    <a:pt x="149203" y="155991"/>
                    <a:pt x="149203" y="139830"/>
                  </a:cubicBezTo>
                  <a:cubicBezTo>
                    <a:pt x="148501" y="101184"/>
                    <a:pt x="149906" y="63240"/>
                    <a:pt x="148501" y="24593"/>
                  </a:cubicBezTo>
                  <a:cubicBezTo>
                    <a:pt x="147798" y="5621"/>
                    <a:pt x="152717" y="0"/>
                    <a:pt x="172391" y="0"/>
                  </a:cubicBezTo>
                  <a:cubicBezTo>
                    <a:pt x="238442" y="2108"/>
                    <a:pt x="305195" y="1405"/>
                    <a:pt x="371948" y="1405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821B324-E0FE-4AA7-A4D6-E6F8139E08BC}"/>
                </a:ext>
              </a:extLst>
            </p:cNvPr>
            <p:cNvSpPr/>
            <p:nvPr userDrawn="1"/>
          </p:nvSpPr>
          <p:spPr>
            <a:xfrm>
              <a:off x="9787090" y="380752"/>
              <a:ext cx="600368" cy="800490"/>
            </a:xfrm>
            <a:custGeom>
              <a:avLst/>
              <a:gdLst>
                <a:gd name="connsiteX0" fmla="*/ 222808 w 442678"/>
                <a:gd name="connsiteY0" fmla="*/ 592910 h 590237"/>
                <a:gd name="connsiteX1" fmla="*/ 22549 w 442678"/>
                <a:gd name="connsiteY1" fmla="*/ 593613 h 590237"/>
                <a:gd name="connsiteX2" fmla="*/ 64 w 442678"/>
                <a:gd name="connsiteY2" fmla="*/ 570425 h 590237"/>
                <a:gd name="connsiteX3" fmla="*/ 64 w 442678"/>
                <a:gd name="connsiteY3" fmla="*/ 457998 h 590237"/>
                <a:gd name="connsiteX4" fmla="*/ 15523 w 442678"/>
                <a:gd name="connsiteY4" fmla="*/ 415839 h 590237"/>
                <a:gd name="connsiteX5" fmla="*/ 62601 w 442678"/>
                <a:gd name="connsiteY5" fmla="*/ 417947 h 590237"/>
                <a:gd name="connsiteX6" fmla="*/ 104761 w 442678"/>
                <a:gd name="connsiteY6" fmla="*/ 440432 h 590237"/>
                <a:gd name="connsiteX7" fmla="*/ 147624 w 442678"/>
                <a:gd name="connsiteY7" fmla="*/ 391245 h 590237"/>
                <a:gd name="connsiteX8" fmla="*/ 127246 w 442678"/>
                <a:gd name="connsiteY8" fmla="*/ 316061 h 590237"/>
                <a:gd name="connsiteX9" fmla="*/ 66817 w 442678"/>
                <a:gd name="connsiteY9" fmla="*/ 319574 h 590237"/>
                <a:gd name="connsiteX10" fmla="*/ 35900 w 442678"/>
                <a:gd name="connsiteY10" fmla="*/ 339249 h 590237"/>
                <a:gd name="connsiteX11" fmla="*/ 1469 w 442678"/>
                <a:gd name="connsiteY11" fmla="*/ 297791 h 590237"/>
                <a:gd name="connsiteX12" fmla="*/ 767 w 442678"/>
                <a:gd name="connsiteY12" fmla="*/ 163583 h 590237"/>
                <a:gd name="connsiteX13" fmla="*/ 19036 w 442678"/>
                <a:gd name="connsiteY13" fmla="*/ 150934 h 590237"/>
                <a:gd name="connsiteX14" fmla="*/ 137084 w 442678"/>
                <a:gd name="connsiteY14" fmla="*/ 150934 h 590237"/>
                <a:gd name="connsiteX15" fmla="*/ 165190 w 442678"/>
                <a:gd name="connsiteY15" fmla="*/ 143205 h 590237"/>
                <a:gd name="connsiteX16" fmla="*/ 166595 w 442678"/>
                <a:gd name="connsiteY16" fmla="*/ 107369 h 590237"/>
                <a:gd name="connsiteX17" fmla="*/ 163785 w 442678"/>
                <a:gd name="connsiteY17" fmla="*/ 22347 h 590237"/>
                <a:gd name="connsiteX18" fmla="*/ 290967 w 442678"/>
                <a:gd name="connsiteY18" fmla="*/ 30779 h 590237"/>
                <a:gd name="connsiteX19" fmla="*/ 286048 w 442678"/>
                <a:gd name="connsiteY19" fmla="*/ 104559 h 590237"/>
                <a:gd name="connsiteX20" fmla="*/ 270590 w 442678"/>
                <a:gd name="connsiteY20" fmla="*/ 129152 h 590237"/>
                <a:gd name="connsiteX21" fmla="*/ 303615 w 442678"/>
                <a:gd name="connsiteY21" fmla="*/ 150232 h 590237"/>
                <a:gd name="connsiteX22" fmla="*/ 421662 w 442678"/>
                <a:gd name="connsiteY22" fmla="*/ 149529 h 590237"/>
                <a:gd name="connsiteX23" fmla="*/ 446256 w 442678"/>
                <a:gd name="connsiteY23" fmla="*/ 175528 h 590237"/>
                <a:gd name="connsiteX24" fmla="*/ 446256 w 442678"/>
                <a:gd name="connsiteY24" fmla="*/ 287954 h 590237"/>
                <a:gd name="connsiteX25" fmla="*/ 428689 w 442678"/>
                <a:gd name="connsiteY25" fmla="*/ 329411 h 590237"/>
                <a:gd name="connsiteX26" fmla="*/ 385827 w 442678"/>
                <a:gd name="connsiteY26" fmla="*/ 327303 h 590237"/>
                <a:gd name="connsiteX27" fmla="*/ 342261 w 442678"/>
                <a:gd name="connsiteY27" fmla="*/ 303412 h 590237"/>
                <a:gd name="connsiteX28" fmla="*/ 298696 w 442678"/>
                <a:gd name="connsiteY28" fmla="*/ 357518 h 590237"/>
                <a:gd name="connsiteX29" fmla="*/ 318371 w 442678"/>
                <a:gd name="connsiteY29" fmla="*/ 425676 h 590237"/>
                <a:gd name="connsiteX30" fmla="*/ 380908 w 442678"/>
                <a:gd name="connsiteY30" fmla="*/ 422865 h 590237"/>
                <a:gd name="connsiteX31" fmla="*/ 415338 w 442678"/>
                <a:gd name="connsiteY31" fmla="*/ 404596 h 590237"/>
                <a:gd name="connsiteX32" fmla="*/ 446256 w 442678"/>
                <a:gd name="connsiteY32" fmla="*/ 446054 h 590237"/>
                <a:gd name="connsiteX33" fmla="*/ 446958 w 442678"/>
                <a:gd name="connsiteY33" fmla="*/ 577451 h 590237"/>
                <a:gd name="connsiteX34" fmla="*/ 425878 w 442678"/>
                <a:gd name="connsiteY34" fmla="*/ 592910 h 590237"/>
                <a:gd name="connsiteX35" fmla="*/ 222808 w 442678"/>
                <a:gd name="connsiteY35" fmla="*/ 592910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42678" h="590237">
                  <a:moveTo>
                    <a:pt x="222808" y="592910"/>
                  </a:moveTo>
                  <a:cubicBezTo>
                    <a:pt x="156055" y="592910"/>
                    <a:pt x="89302" y="592208"/>
                    <a:pt x="22549" y="593613"/>
                  </a:cubicBezTo>
                  <a:cubicBezTo>
                    <a:pt x="4280" y="593613"/>
                    <a:pt x="-639" y="588694"/>
                    <a:pt x="64" y="570425"/>
                  </a:cubicBezTo>
                  <a:cubicBezTo>
                    <a:pt x="1469" y="533184"/>
                    <a:pt x="767" y="495240"/>
                    <a:pt x="64" y="457998"/>
                  </a:cubicBezTo>
                  <a:cubicBezTo>
                    <a:pt x="64" y="441837"/>
                    <a:pt x="3577" y="427784"/>
                    <a:pt x="15523" y="415839"/>
                  </a:cubicBezTo>
                  <a:cubicBezTo>
                    <a:pt x="33792" y="397570"/>
                    <a:pt x="45035" y="397570"/>
                    <a:pt x="62601" y="417947"/>
                  </a:cubicBezTo>
                  <a:cubicBezTo>
                    <a:pt x="73844" y="431297"/>
                    <a:pt x="85086" y="448161"/>
                    <a:pt x="104761" y="440432"/>
                  </a:cubicBezTo>
                  <a:cubicBezTo>
                    <a:pt x="126544" y="432000"/>
                    <a:pt x="144813" y="417244"/>
                    <a:pt x="147624" y="391245"/>
                  </a:cubicBezTo>
                  <a:cubicBezTo>
                    <a:pt x="150434" y="363842"/>
                    <a:pt x="152542" y="336438"/>
                    <a:pt x="127246" y="316061"/>
                  </a:cubicBezTo>
                  <a:cubicBezTo>
                    <a:pt x="102653" y="295683"/>
                    <a:pt x="87897" y="296386"/>
                    <a:pt x="66817" y="319574"/>
                  </a:cubicBezTo>
                  <a:cubicBezTo>
                    <a:pt x="58385" y="328709"/>
                    <a:pt x="54169" y="345572"/>
                    <a:pt x="35900" y="339249"/>
                  </a:cubicBezTo>
                  <a:cubicBezTo>
                    <a:pt x="15523" y="332222"/>
                    <a:pt x="2172" y="318169"/>
                    <a:pt x="1469" y="297791"/>
                  </a:cubicBezTo>
                  <a:cubicBezTo>
                    <a:pt x="-639" y="252821"/>
                    <a:pt x="1469" y="208553"/>
                    <a:pt x="767" y="163583"/>
                  </a:cubicBezTo>
                  <a:cubicBezTo>
                    <a:pt x="767" y="148827"/>
                    <a:pt x="9901" y="150934"/>
                    <a:pt x="19036" y="150934"/>
                  </a:cubicBezTo>
                  <a:cubicBezTo>
                    <a:pt x="58385" y="150934"/>
                    <a:pt x="97734" y="150934"/>
                    <a:pt x="137084" y="150934"/>
                  </a:cubicBezTo>
                  <a:cubicBezTo>
                    <a:pt x="147624" y="150934"/>
                    <a:pt x="157461" y="150232"/>
                    <a:pt x="165190" y="143205"/>
                  </a:cubicBezTo>
                  <a:cubicBezTo>
                    <a:pt x="178541" y="131963"/>
                    <a:pt x="185567" y="122828"/>
                    <a:pt x="166595" y="107369"/>
                  </a:cubicBezTo>
                  <a:cubicBezTo>
                    <a:pt x="132165" y="80668"/>
                    <a:pt x="132165" y="53264"/>
                    <a:pt x="163785" y="22347"/>
                  </a:cubicBezTo>
                  <a:cubicBezTo>
                    <a:pt x="197513" y="-10678"/>
                    <a:pt x="260752" y="-6462"/>
                    <a:pt x="290967" y="30779"/>
                  </a:cubicBezTo>
                  <a:cubicBezTo>
                    <a:pt x="314155" y="58885"/>
                    <a:pt x="312047" y="79263"/>
                    <a:pt x="286048" y="104559"/>
                  </a:cubicBezTo>
                  <a:cubicBezTo>
                    <a:pt x="279022" y="111585"/>
                    <a:pt x="263563" y="115099"/>
                    <a:pt x="270590" y="129152"/>
                  </a:cubicBezTo>
                  <a:cubicBezTo>
                    <a:pt x="276914" y="141800"/>
                    <a:pt x="288156" y="150232"/>
                    <a:pt x="303615" y="150232"/>
                  </a:cubicBezTo>
                  <a:cubicBezTo>
                    <a:pt x="342964" y="150232"/>
                    <a:pt x="382313" y="151637"/>
                    <a:pt x="421662" y="149529"/>
                  </a:cubicBezTo>
                  <a:cubicBezTo>
                    <a:pt x="443445" y="148124"/>
                    <a:pt x="446958" y="155853"/>
                    <a:pt x="446256" y="175528"/>
                  </a:cubicBezTo>
                  <a:cubicBezTo>
                    <a:pt x="444850" y="212769"/>
                    <a:pt x="445553" y="250713"/>
                    <a:pt x="446256" y="287954"/>
                  </a:cubicBezTo>
                  <a:cubicBezTo>
                    <a:pt x="446256" y="304818"/>
                    <a:pt x="441337" y="318169"/>
                    <a:pt x="428689" y="329411"/>
                  </a:cubicBezTo>
                  <a:cubicBezTo>
                    <a:pt x="413933" y="342059"/>
                    <a:pt x="399880" y="346275"/>
                    <a:pt x="385827" y="327303"/>
                  </a:cubicBezTo>
                  <a:cubicBezTo>
                    <a:pt x="375287" y="313250"/>
                    <a:pt x="364044" y="295683"/>
                    <a:pt x="342261" y="303412"/>
                  </a:cubicBezTo>
                  <a:cubicBezTo>
                    <a:pt x="316965" y="312547"/>
                    <a:pt x="300804" y="330114"/>
                    <a:pt x="298696" y="357518"/>
                  </a:cubicBezTo>
                  <a:cubicBezTo>
                    <a:pt x="296588" y="382814"/>
                    <a:pt x="297994" y="406704"/>
                    <a:pt x="318371" y="425676"/>
                  </a:cubicBezTo>
                  <a:cubicBezTo>
                    <a:pt x="342964" y="448161"/>
                    <a:pt x="358423" y="447459"/>
                    <a:pt x="380908" y="422865"/>
                  </a:cubicBezTo>
                  <a:cubicBezTo>
                    <a:pt x="390043" y="412325"/>
                    <a:pt x="397069" y="395462"/>
                    <a:pt x="415338" y="404596"/>
                  </a:cubicBezTo>
                  <a:cubicBezTo>
                    <a:pt x="432202" y="413028"/>
                    <a:pt x="445553" y="425676"/>
                    <a:pt x="446256" y="446054"/>
                  </a:cubicBezTo>
                  <a:cubicBezTo>
                    <a:pt x="446958" y="489618"/>
                    <a:pt x="445553" y="533887"/>
                    <a:pt x="446958" y="577451"/>
                  </a:cubicBezTo>
                  <a:cubicBezTo>
                    <a:pt x="447661" y="595721"/>
                    <a:pt x="436418" y="592910"/>
                    <a:pt x="425878" y="592910"/>
                  </a:cubicBezTo>
                  <a:cubicBezTo>
                    <a:pt x="355612" y="592910"/>
                    <a:pt x="288859" y="592910"/>
                    <a:pt x="222808" y="592910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106D5D56-D6EF-4A77-999A-A1CA41D2FE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11390" y="339509"/>
            <a:ext cx="10485335" cy="72424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5400" b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2E7E7FE-86C4-4DA9-AE9E-F90FCB469A19}"/>
              </a:ext>
            </a:extLst>
          </p:cNvPr>
          <p:cNvGrpSpPr/>
          <p:nvPr userDrawn="1"/>
        </p:nvGrpSpPr>
        <p:grpSpPr>
          <a:xfrm flipH="1">
            <a:off x="0" y="0"/>
            <a:ext cx="1208773" cy="1190767"/>
            <a:chOff x="11145152" y="142875"/>
            <a:chExt cx="1208773" cy="1190767"/>
          </a:xfrm>
        </p:grpSpPr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283FA6A-D552-47C8-AEE6-207511015602}"/>
                </a:ext>
              </a:extLst>
            </p:cNvPr>
            <p:cNvSpPr/>
            <p:nvPr userDrawn="1"/>
          </p:nvSpPr>
          <p:spPr>
            <a:xfrm>
              <a:off x="11753557" y="142875"/>
              <a:ext cx="600368" cy="800490"/>
            </a:xfrm>
            <a:custGeom>
              <a:avLst/>
              <a:gdLst>
                <a:gd name="connsiteX0" fmla="*/ 220672 w 442678"/>
                <a:gd name="connsiteY0" fmla="*/ 1219 h 590237"/>
                <a:gd name="connsiteX1" fmla="*/ 420228 w 442678"/>
                <a:gd name="connsiteY1" fmla="*/ 516 h 590237"/>
                <a:gd name="connsiteX2" fmla="*/ 443416 w 442678"/>
                <a:gd name="connsiteY2" fmla="*/ 23002 h 590237"/>
                <a:gd name="connsiteX3" fmla="*/ 443416 w 442678"/>
                <a:gd name="connsiteY3" fmla="*/ 420007 h 590237"/>
                <a:gd name="connsiteX4" fmla="*/ 419526 w 442678"/>
                <a:gd name="connsiteY4" fmla="*/ 443897 h 590237"/>
                <a:gd name="connsiteX5" fmla="*/ 304289 w 442678"/>
                <a:gd name="connsiteY5" fmla="*/ 443194 h 590237"/>
                <a:gd name="connsiteX6" fmla="*/ 274777 w 442678"/>
                <a:gd name="connsiteY6" fmla="*/ 453734 h 590237"/>
                <a:gd name="connsiteX7" fmla="*/ 275480 w 442678"/>
                <a:gd name="connsiteY7" fmla="*/ 481841 h 590237"/>
                <a:gd name="connsiteX8" fmla="*/ 302181 w 442678"/>
                <a:gd name="connsiteY8" fmla="*/ 536649 h 590237"/>
                <a:gd name="connsiteX9" fmla="*/ 244562 w 442678"/>
                <a:gd name="connsiteY9" fmla="*/ 589349 h 590237"/>
                <a:gd name="connsiteX10" fmla="*/ 147595 w 442678"/>
                <a:gd name="connsiteY10" fmla="*/ 552107 h 590237"/>
                <a:gd name="connsiteX11" fmla="*/ 160243 w 442678"/>
                <a:gd name="connsiteY11" fmla="*/ 487462 h 590237"/>
                <a:gd name="connsiteX12" fmla="*/ 175701 w 442678"/>
                <a:gd name="connsiteY12" fmla="*/ 464977 h 590237"/>
                <a:gd name="connsiteX13" fmla="*/ 144081 w 442678"/>
                <a:gd name="connsiteY13" fmla="*/ 443194 h 590237"/>
                <a:gd name="connsiteX14" fmla="*/ 23926 w 442678"/>
                <a:gd name="connsiteY14" fmla="*/ 443897 h 590237"/>
                <a:gd name="connsiteX15" fmla="*/ 35 w 442678"/>
                <a:gd name="connsiteY15" fmla="*/ 419304 h 590237"/>
                <a:gd name="connsiteX16" fmla="*/ 35 w 442678"/>
                <a:gd name="connsiteY16" fmla="*/ 301959 h 590237"/>
                <a:gd name="connsiteX17" fmla="*/ 25331 w 442678"/>
                <a:gd name="connsiteY17" fmla="*/ 256989 h 590237"/>
                <a:gd name="connsiteX18" fmla="*/ 54843 w 442678"/>
                <a:gd name="connsiteY18" fmla="*/ 259799 h 590237"/>
                <a:gd name="connsiteX19" fmla="*/ 129325 w 442678"/>
                <a:gd name="connsiteY19" fmla="*/ 273852 h 590237"/>
                <a:gd name="connsiteX20" fmla="*/ 132839 w 442678"/>
                <a:gd name="connsiteY20" fmla="*/ 174074 h 590237"/>
                <a:gd name="connsiteX21" fmla="*/ 63275 w 442678"/>
                <a:gd name="connsiteY21" fmla="*/ 172669 h 590237"/>
                <a:gd name="connsiteX22" fmla="*/ 36574 w 442678"/>
                <a:gd name="connsiteY22" fmla="*/ 190938 h 590237"/>
                <a:gd name="connsiteX23" fmla="*/ 2143 w 442678"/>
                <a:gd name="connsiteY23" fmla="*/ 155805 h 590237"/>
                <a:gd name="connsiteX24" fmla="*/ 738 w 442678"/>
                <a:gd name="connsiteY24" fmla="*/ 11056 h 590237"/>
                <a:gd name="connsiteX25" fmla="*/ 21115 w 442678"/>
                <a:gd name="connsiteY25" fmla="*/ 1219 h 590237"/>
                <a:gd name="connsiteX26" fmla="*/ 220672 w 442678"/>
                <a:gd name="connsiteY26" fmla="*/ 1219 h 59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42678" h="590237">
                  <a:moveTo>
                    <a:pt x="220672" y="1219"/>
                  </a:moveTo>
                  <a:cubicBezTo>
                    <a:pt x="287425" y="1219"/>
                    <a:pt x="354178" y="1922"/>
                    <a:pt x="420228" y="516"/>
                  </a:cubicBezTo>
                  <a:cubicBezTo>
                    <a:pt x="437795" y="516"/>
                    <a:pt x="443416" y="4732"/>
                    <a:pt x="443416" y="23002"/>
                  </a:cubicBezTo>
                  <a:cubicBezTo>
                    <a:pt x="442714" y="155102"/>
                    <a:pt x="442714" y="287906"/>
                    <a:pt x="443416" y="420007"/>
                  </a:cubicBezTo>
                  <a:cubicBezTo>
                    <a:pt x="443416" y="438978"/>
                    <a:pt x="438498" y="444600"/>
                    <a:pt x="419526" y="443897"/>
                  </a:cubicBezTo>
                  <a:cubicBezTo>
                    <a:pt x="381582" y="442492"/>
                    <a:pt x="342935" y="443194"/>
                    <a:pt x="304289" y="443194"/>
                  </a:cubicBezTo>
                  <a:cubicBezTo>
                    <a:pt x="293046" y="443194"/>
                    <a:pt x="283209" y="444600"/>
                    <a:pt x="274777" y="453734"/>
                  </a:cubicBezTo>
                  <a:cubicBezTo>
                    <a:pt x="264940" y="463572"/>
                    <a:pt x="261426" y="472004"/>
                    <a:pt x="275480" y="481841"/>
                  </a:cubicBezTo>
                  <a:cubicBezTo>
                    <a:pt x="294451" y="494489"/>
                    <a:pt x="310613" y="511353"/>
                    <a:pt x="302181" y="536649"/>
                  </a:cubicBezTo>
                  <a:cubicBezTo>
                    <a:pt x="293046" y="564053"/>
                    <a:pt x="274777" y="583025"/>
                    <a:pt x="244562" y="589349"/>
                  </a:cubicBezTo>
                  <a:cubicBezTo>
                    <a:pt x="200997" y="597781"/>
                    <a:pt x="167269" y="585133"/>
                    <a:pt x="147595" y="552107"/>
                  </a:cubicBezTo>
                  <a:cubicBezTo>
                    <a:pt x="132136" y="526811"/>
                    <a:pt x="136352" y="509948"/>
                    <a:pt x="160243" y="487462"/>
                  </a:cubicBezTo>
                  <a:cubicBezTo>
                    <a:pt x="167269" y="481138"/>
                    <a:pt x="181323" y="478328"/>
                    <a:pt x="175701" y="464977"/>
                  </a:cubicBezTo>
                  <a:cubicBezTo>
                    <a:pt x="170080" y="452329"/>
                    <a:pt x="159540" y="443194"/>
                    <a:pt x="144081" y="443194"/>
                  </a:cubicBezTo>
                  <a:cubicBezTo>
                    <a:pt x="104030" y="443194"/>
                    <a:pt x="63978" y="441789"/>
                    <a:pt x="23926" y="443897"/>
                  </a:cubicBezTo>
                  <a:cubicBezTo>
                    <a:pt x="4251" y="444600"/>
                    <a:pt x="35" y="438276"/>
                    <a:pt x="35" y="419304"/>
                  </a:cubicBezTo>
                  <a:cubicBezTo>
                    <a:pt x="1441" y="379955"/>
                    <a:pt x="738" y="340605"/>
                    <a:pt x="35" y="301959"/>
                  </a:cubicBezTo>
                  <a:cubicBezTo>
                    <a:pt x="-667" y="281582"/>
                    <a:pt x="9170" y="267528"/>
                    <a:pt x="25331" y="256989"/>
                  </a:cubicBezTo>
                  <a:cubicBezTo>
                    <a:pt x="35871" y="249962"/>
                    <a:pt x="45006" y="250665"/>
                    <a:pt x="54843" y="259799"/>
                  </a:cubicBezTo>
                  <a:cubicBezTo>
                    <a:pt x="94895" y="297743"/>
                    <a:pt x="103327" y="299148"/>
                    <a:pt x="129325" y="273852"/>
                  </a:cubicBezTo>
                  <a:cubicBezTo>
                    <a:pt x="153919" y="249259"/>
                    <a:pt x="156027" y="200073"/>
                    <a:pt x="132839" y="174074"/>
                  </a:cubicBezTo>
                  <a:cubicBezTo>
                    <a:pt x="107543" y="144562"/>
                    <a:pt x="87868" y="144562"/>
                    <a:pt x="63275" y="172669"/>
                  </a:cubicBezTo>
                  <a:cubicBezTo>
                    <a:pt x="56248" y="181101"/>
                    <a:pt x="50627" y="195154"/>
                    <a:pt x="36574" y="190938"/>
                  </a:cubicBezTo>
                  <a:cubicBezTo>
                    <a:pt x="19007" y="186019"/>
                    <a:pt x="2846" y="174074"/>
                    <a:pt x="2143" y="155805"/>
                  </a:cubicBezTo>
                  <a:cubicBezTo>
                    <a:pt x="-667" y="107321"/>
                    <a:pt x="738" y="58837"/>
                    <a:pt x="738" y="11056"/>
                  </a:cubicBezTo>
                  <a:cubicBezTo>
                    <a:pt x="738" y="-5105"/>
                    <a:pt x="13386" y="1219"/>
                    <a:pt x="21115" y="1219"/>
                  </a:cubicBezTo>
                  <a:cubicBezTo>
                    <a:pt x="87868" y="1219"/>
                    <a:pt x="153919" y="1219"/>
                    <a:pt x="220672" y="121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C137DEC-BCA5-47C0-8082-9363615CE3D8}"/>
                </a:ext>
              </a:extLst>
            </p:cNvPr>
            <p:cNvSpPr/>
            <p:nvPr userDrawn="1"/>
          </p:nvSpPr>
          <p:spPr>
            <a:xfrm>
              <a:off x="11145152" y="142875"/>
              <a:ext cx="800490" cy="600368"/>
            </a:xfrm>
            <a:custGeom>
              <a:avLst/>
              <a:gdLst>
                <a:gd name="connsiteX0" fmla="*/ 226258 w 590237"/>
                <a:gd name="connsiteY0" fmla="*/ 703 h 442678"/>
                <a:gd name="connsiteX1" fmla="*/ 425814 w 590237"/>
                <a:gd name="connsiteY1" fmla="*/ 0 h 442678"/>
                <a:gd name="connsiteX2" fmla="*/ 446894 w 590237"/>
                <a:gd name="connsiteY2" fmla="*/ 21080 h 442678"/>
                <a:gd name="connsiteX3" fmla="*/ 446192 w 590237"/>
                <a:gd name="connsiteY3" fmla="*/ 133506 h 442678"/>
                <a:gd name="connsiteX4" fmla="*/ 456029 w 590237"/>
                <a:gd name="connsiteY4" fmla="*/ 166531 h 442678"/>
                <a:gd name="connsiteX5" fmla="*/ 486946 w 590237"/>
                <a:gd name="connsiteY5" fmla="*/ 166531 h 442678"/>
                <a:gd name="connsiteX6" fmla="*/ 543862 w 590237"/>
                <a:gd name="connsiteY6" fmla="*/ 141938 h 442678"/>
                <a:gd name="connsiteX7" fmla="*/ 593751 w 590237"/>
                <a:gd name="connsiteY7" fmla="*/ 207286 h 442678"/>
                <a:gd name="connsiteX8" fmla="*/ 563537 w 590237"/>
                <a:gd name="connsiteY8" fmla="*/ 290200 h 442678"/>
                <a:gd name="connsiteX9" fmla="*/ 491162 w 590237"/>
                <a:gd name="connsiteY9" fmla="*/ 283876 h 442678"/>
                <a:gd name="connsiteX10" fmla="*/ 467974 w 590237"/>
                <a:gd name="connsiteY10" fmla="*/ 267012 h 442678"/>
                <a:gd name="connsiteX11" fmla="*/ 445489 w 590237"/>
                <a:gd name="connsiteY11" fmla="*/ 301443 h 442678"/>
                <a:gd name="connsiteX12" fmla="*/ 445489 w 590237"/>
                <a:gd name="connsiteY12" fmla="*/ 421598 h 442678"/>
                <a:gd name="connsiteX13" fmla="*/ 424409 w 590237"/>
                <a:gd name="connsiteY13" fmla="*/ 443381 h 442678"/>
                <a:gd name="connsiteX14" fmla="*/ 306361 w 590237"/>
                <a:gd name="connsiteY14" fmla="*/ 443381 h 442678"/>
                <a:gd name="connsiteX15" fmla="*/ 265607 w 590237"/>
                <a:gd name="connsiteY15" fmla="*/ 425814 h 442678"/>
                <a:gd name="connsiteX16" fmla="*/ 267715 w 590237"/>
                <a:gd name="connsiteY16" fmla="*/ 382952 h 442678"/>
                <a:gd name="connsiteX17" fmla="*/ 291606 w 590237"/>
                <a:gd name="connsiteY17" fmla="*/ 339387 h 442678"/>
                <a:gd name="connsiteX18" fmla="*/ 237500 w 590237"/>
                <a:gd name="connsiteY18" fmla="*/ 295822 h 442678"/>
                <a:gd name="connsiteX19" fmla="*/ 167936 w 590237"/>
                <a:gd name="connsiteY19" fmla="*/ 316901 h 442678"/>
                <a:gd name="connsiteX20" fmla="*/ 172153 w 590237"/>
                <a:gd name="connsiteY20" fmla="*/ 377331 h 442678"/>
                <a:gd name="connsiteX21" fmla="*/ 191125 w 590237"/>
                <a:gd name="connsiteY21" fmla="*/ 409653 h 442678"/>
                <a:gd name="connsiteX22" fmla="*/ 148965 w 590237"/>
                <a:gd name="connsiteY22" fmla="*/ 443381 h 442678"/>
                <a:gd name="connsiteX23" fmla="*/ 14756 w 590237"/>
                <a:gd name="connsiteY23" fmla="*/ 444084 h 442678"/>
                <a:gd name="connsiteX24" fmla="*/ 702 w 590237"/>
                <a:gd name="connsiteY24" fmla="*/ 429328 h 442678"/>
                <a:gd name="connsiteX25" fmla="*/ 702 w 590237"/>
                <a:gd name="connsiteY25" fmla="*/ 300740 h 442678"/>
                <a:gd name="connsiteX26" fmla="*/ 19675 w 590237"/>
                <a:gd name="connsiteY26" fmla="*/ 262796 h 442678"/>
                <a:gd name="connsiteX27" fmla="*/ 61132 w 590237"/>
                <a:gd name="connsiteY27" fmla="*/ 265607 h 442678"/>
                <a:gd name="connsiteX28" fmla="*/ 104697 w 590237"/>
                <a:gd name="connsiteY28" fmla="*/ 290903 h 442678"/>
                <a:gd name="connsiteX29" fmla="*/ 148965 w 590237"/>
                <a:gd name="connsiteY29" fmla="*/ 237501 h 442678"/>
                <a:gd name="connsiteX30" fmla="*/ 125777 w 590237"/>
                <a:gd name="connsiteY30" fmla="*/ 165829 h 442678"/>
                <a:gd name="connsiteX31" fmla="*/ 67456 w 590237"/>
                <a:gd name="connsiteY31" fmla="*/ 170045 h 442678"/>
                <a:gd name="connsiteX32" fmla="*/ 33728 w 590237"/>
                <a:gd name="connsiteY32" fmla="*/ 189719 h 442678"/>
                <a:gd name="connsiteX33" fmla="*/ 702 w 590237"/>
                <a:gd name="connsiteY33" fmla="*/ 146857 h 442678"/>
                <a:gd name="connsiteX34" fmla="*/ 0 w 590237"/>
                <a:gd name="connsiteY34" fmla="*/ 15459 h 442678"/>
                <a:gd name="connsiteX35" fmla="*/ 19675 w 590237"/>
                <a:gd name="connsiteY35" fmla="*/ 1405 h 442678"/>
                <a:gd name="connsiteX36" fmla="*/ 226258 w 590237"/>
                <a:gd name="connsiteY36" fmla="*/ 703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0237" h="442678">
                  <a:moveTo>
                    <a:pt x="226258" y="703"/>
                  </a:moveTo>
                  <a:cubicBezTo>
                    <a:pt x="293011" y="703"/>
                    <a:pt x="359764" y="1405"/>
                    <a:pt x="425814" y="0"/>
                  </a:cubicBezTo>
                  <a:cubicBezTo>
                    <a:pt x="442678" y="0"/>
                    <a:pt x="447597" y="3513"/>
                    <a:pt x="446894" y="21080"/>
                  </a:cubicBezTo>
                  <a:cubicBezTo>
                    <a:pt x="445489" y="58321"/>
                    <a:pt x="446894" y="95562"/>
                    <a:pt x="446192" y="133506"/>
                  </a:cubicBezTo>
                  <a:cubicBezTo>
                    <a:pt x="446192" y="145452"/>
                    <a:pt x="447597" y="157397"/>
                    <a:pt x="456029" y="166531"/>
                  </a:cubicBezTo>
                  <a:cubicBezTo>
                    <a:pt x="466569" y="177774"/>
                    <a:pt x="475704" y="181287"/>
                    <a:pt x="486946" y="166531"/>
                  </a:cubicBezTo>
                  <a:cubicBezTo>
                    <a:pt x="500999" y="148262"/>
                    <a:pt x="517160" y="129993"/>
                    <a:pt x="543862" y="141938"/>
                  </a:cubicBezTo>
                  <a:cubicBezTo>
                    <a:pt x="571968" y="153883"/>
                    <a:pt x="591643" y="174261"/>
                    <a:pt x="593751" y="207286"/>
                  </a:cubicBezTo>
                  <a:cubicBezTo>
                    <a:pt x="595859" y="239608"/>
                    <a:pt x="592346" y="269120"/>
                    <a:pt x="563537" y="290200"/>
                  </a:cubicBezTo>
                  <a:cubicBezTo>
                    <a:pt x="536835" y="310578"/>
                    <a:pt x="514350" y="308469"/>
                    <a:pt x="491162" y="283876"/>
                  </a:cubicBezTo>
                  <a:cubicBezTo>
                    <a:pt x="484838" y="276850"/>
                    <a:pt x="482730" y="259986"/>
                    <a:pt x="467974" y="267012"/>
                  </a:cubicBezTo>
                  <a:cubicBezTo>
                    <a:pt x="453921" y="273336"/>
                    <a:pt x="445489" y="285282"/>
                    <a:pt x="445489" y="301443"/>
                  </a:cubicBezTo>
                  <a:cubicBezTo>
                    <a:pt x="445489" y="341495"/>
                    <a:pt x="444786" y="381547"/>
                    <a:pt x="445489" y="421598"/>
                  </a:cubicBezTo>
                  <a:cubicBezTo>
                    <a:pt x="446192" y="437760"/>
                    <a:pt x="442678" y="444084"/>
                    <a:pt x="424409" y="443381"/>
                  </a:cubicBezTo>
                  <a:cubicBezTo>
                    <a:pt x="385060" y="441976"/>
                    <a:pt x="345711" y="442678"/>
                    <a:pt x="306361" y="443381"/>
                  </a:cubicBezTo>
                  <a:cubicBezTo>
                    <a:pt x="289498" y="443381"/>
                    <a:pt x="276147" y="437760"/>
                    <a:pt x="265607" y="425814"/>
                  </a:cubicBezTo>
                  <a:cubicBezTo>
                    <a:pt x="252959" y="411058"/>
                    <a:pt x="248040" y="397005"/>
                    <a:pt x="267715" y="382952"/>
                  </a:cubicBezTo>
                  <a:cubicBezTo>
                    <a:pt x="281768" y="372412"/>
                    <a:pt x="300038" y="361872"/>
                    <a:pt x="291606" y="339387"/>
                  </a:cubicBezTo>
                  <a:cubicBezTo>
                    <a:pt x="282471" y="314794"/>
                    <a:pt x="265607" y="297929"/>
                    <a:pt x="237500" y="295822"/>
                  </a:cubicBezTo>
                  <a:cubicBezTo>
                    <a:pt x="211502" y="293714"/>
                    <a:pt x="186908" y="294416"/>
                    <a:pt x="167936" y="316901"/>
                  </a:cubicBezTo>
                  <a:cubicBezTo>
                    <a:pt x="147559" y="341495"/>
                    <a:pt x="148262" y="356251"/>
                    <a:pt x="172153" y="377331"/>
                  </a:cubicBezTo>
                  <a:cubicBezTo>
                    <a:pt x="181990" y="385762"/>
                    <a:pt x="198151" y="391384"/>
                    <a:pt x="191125" y="409653"/>
                  </a:cubicBezTo>
                  <a:cubicBezTo>
                    <a:pt x="184098" y="429328"/>
                    <a:pt x="169342" y="442678"/>
                    <a:pt x="148965" y="443381"/>
                  </a:cubicBezTo>
                  <a:cubicBezTo>
                    <a:pt x="103994" y="444786"/>
                    <a:pt x="59726" y="443381"/>
                    <a:pt x="14756" y="444084"/>
                  </a:cubicBezTo>
                  <a:cubicBezTo>
                    <a:pt x="3513" y="444084"/>
                    <a:pt x="702" y="439165"/>
                    <a:pt x="702" y="429328"/>
                  </a:cubicBezTo>
                  <a:cubicBezTo>
                    <a:pt x="702" y="386465"/>
                    <a:pt x="702" y="343603"/>
                    <a:pt x="702" y="300740"/>
                  </a:cubicBezTo>
                  <a:cubicBezTo>
                    <a:pt x="702" y="285282"/>
                    <a:pt x="7729" y="272634"/>
                    <a:pt x="19675" y="262796"/>
                  </a:cubicBezTo>
                  <a:cubicBezTo>
                    <a:pt x="34430" y="250148"/>
                    <a:pt x="47781" y="247338"/>
                    <a:pt x="61132" y="265607"/>
                  </a:cubicBezTo>
                  <a:cubicBezTo>
                    <a:pt x="71672" y="280363"/>
                    <a:pt x="83617" y="298632"/>
                    <a:pt x="104697" y="290903"/>
                  </a:cubicBezTo>
                  <a:cubicBezTo>
                    <a:pt x="128587" y="282471"/>
                    <a:pt x="146154" y="265607"/>
                    <a:pt x="148965" y="237501"/>
                  </a:cubicBezTo>
                  <a:cubicBezTo>
                    <a:pt x="151775" y="210096"/>
                    <a:pt x="149667" y="184801"/>
                    <a:pt x="125777" y="165829"/>
                  </a:cubicBezTo>
                  <a:cubicBezTo>
                    <a:pt x="101886" y="146857"/>
                    <a:pt x="88535" y="148262"/>
                    <a:pt x="67456" y="170045"/>
                  </a:cubicBezTo>
                  <a:cubicBezTo>
                    <a:pt x="58321" y="179179"/>
                    <a:pt x="54808" y="198854"/>
                    <a:pt x="33728" y="189719"/>
                  </a:cubicBezTo>
                  <a:cubicBezTo>
                    <a:pt x="14053" y="181287"/>
                    <a:pt x="1405" y="167234"/>
                    <a:pt x="702" y="146857"/>
                  </a:cubicBezTo>
                  <a:cubicBezTo>
                    <a:pt x="-703" y="103292"/>
                    <a:pt x="702" y="59024"/>
                    <a:pt x="0" y="15459"/>
                  </a:cubicBezTo>
                  <a:cubicBezTo>
                    <a:pt x="0" y="-1405"/>
                    <a:pt x="10540" y="1405"/>
                    <a:pt x="19675" y="1405"/>
                  </a:cubicBezTo>
                  <a:cubicBezTo>
                    <a:pt x="91346" y="703"/>
                    <a:pt x="158802" y="703"/>
                    <a:pt x="226258" y="70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104C636-D17B-40C1-A82A-D8614A61DD77}"/>
                </a:ext>
              </a:extLst>
            </p:cNvPr>
            <p:cNvSpPr/>
            <p:nvPr userDrawn="1"/>
          </p:nvSpPr>
          <p:spPr>
            <a:xfrm>
              <a:off x="11553436" y="733275"/>
              <a:ext cx="800489" cy="600367"/>
            </a:xfrm>
            <a:custGeom>
              <a:avLst/>
              <a:gdLst>
                <a:gd name="connsiteX0" fmla="*/ 591733 w 590237"/>
                <a:gd name="connsiteY0" fmla="*/ 225014 h 442678"/>
                <a:gd name="connsiteX1" fmla="*/ 592436 w 590237"/>
                <a:gd name="connsiteY1" fmla="*/ 425273 h 442678"/>
                <a:gd name="connsiteX2" fmla="*/ 572761 w 590237"/>
                <a:gd name="connsiteY2" fmla="*/ 444948 h 442678"/>
                <a:gd name="connsiteX3" fmla="*/ 170135 w 590237"/>
                <a:gd name="connsiteY3" fmla="*/ 444948 h 442678"/>
                <a:gd name="connsiteX4" fmla="*/ 149758 w 590237"/>
                <a:gd name="connsiteY4" fmla="*/ 423165 h 442678"/>
                <a:gd name="connsiteX5" fmla="*/ 150460 w 590237"/>
                <a:gd name="connsiteY5" fmla="*/ 313549 h 442678"/>
                <a:gd name="connsiteX6" fmla="*/ 145542 w 590237"/>
                <a:gd name="connsiteY6" fmla="*/ 284038 h 442678"/>
                <a:gd name="connsiteX7" fmla="*/ 108300 w 590237"/>
                <a:gd name="connsiteY7" fmla="*/ 279822 h 442678"/>
                <a:gd name="connsiteX8" fmla="*/ 21170 w 590237"/>
                <a:gd name="connsiteY8" fmla="*/ 281227 h 442678"/>
                <a:gd name="connsiteX9" fmla="*/ 42953 w 590237"/>
                <a:gd name="connsiteY9" fmla="*/ 147018 h 442678"/>
                <a:gd name="connsiteX10" fmla="*/ 103382 w 590237"/>
                <a:gd name="connsiteY10" fmla="*/ 160369 h 442678"/>
                <a:gd name="connsiteX11" fmla="*/ 127272 w 590237"/>
                <a:gd name="connsiteY11" fmla="*/ 177233 h 442678"/>
                <a:gd name="connsiteX12" fmla="*/ 149758 w 590237"/>
                <a:gd name="connsiteY12" fmla="*/ 142802 h 442678"/>
                <a:gd name="connsiteX13" fmla="*/ 149758 w 590237"/>
                <a:gd name="connsiteY13" fmla="*/ 24755 h 442678"/>
                <a:gd name="connsiteX14" fmla="*/ 172946 w 590237"/>
                <a:gd name="connsiteY14" fmla="*/ 162 h 442678"/>
                <a:gd name="connsiteX15" fmla="*/ 288182 w 590237"/>
                <a:gd name="connsiteY15" fmla="*/ 864 h 442678"/>
                <a:gd name="connsiteX16" fmla="*/ 328937 w 590237"/>
                <a:gd name="connsiteY16" fmla="*/ 19134 h 442678"/>
                <a:gd name="connsiteX17" fmla="*/ 326126 w 590237"/>
                <a:gd name="connsiteY17" fmla="*/ 62699 h 442678"/>
                <a:gd name="connsiteX18" fmla="*/ 302938 w 590237"/>
                <a:gd name="connsiteY18" fmla="*/ 106967 h 442678"/>
                <a:gd name="connsiteX19" fmla="*/ 357746 w 590237"/>
                <a:gd name="connsiteY19" fmla="*/ 149829 h 442678"/>
                <a:gd name="connsiteX20" fmla="*/ 432228 w 590237"/>
                <a:gd name="connsiteY20" fmla="*/ 121020 h 442678"/>
                <a:gd name="connsiteX21" fmla="*/ 423797 w 590237"/>
                <a:gd name="connsiteY21" fmla="*/ 69023 h 442678"/>
                <a:gd name="connsiteX22" fmla="*/ 402717 w 590237"/>
                <a:gd name="connsiteY22" fmla="*/ 35997 h 442678"/>
                <a:gd name="connsiteX23" fmla="*/ 444877 w 590237"/>
                <a:gd name="connsiteY23" fmla="*/ 2269 h 442678"/>
                <a:gd name="connsiteX24" fmla="*/ 579085 w 590237"/>
                <a:gd name="connsiteY24" fmla="*/ 1567 h 442678"/>
                <a:gd name="connsiteX25" fmla="*/ 591031 w 590237"/>
                <a:gd name="connsiteY25" fmla="*/ 19836 h 442678"/>
                <a:gd name="connsiteX26" fmla="*/ 591733 w 590237"/>
                <a:gd name="connsiteY26" fmla="*/ 225014 h 44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0237" h="442678">
                  <a:moveTo>
                    <a:pt x="591733" y="225014"/>
                  </a:moveTo>
                  <a:cubicBezTo>
                    <a:pt x="591733" y="291767"/>
                    <a:pt x="591031" y="358520"/>
                    <a:pt x="592436" y="425273"/>
                  </a:cubicBezTo>
                  <a:cubicBezTo>
                    <a:pt x="592436" y="440732"/>
                    <a:pt x="588923" y="444948"/>
                    <a:pt x="572761" y="444948"/>
                  </a:cubicBezTo>
                  <a:cubicBezTo>
                    <a:pt x="438552" y="444245"/>
                    <a:pt x="304344" y="444245"/>
                    <a:pt x="170135" y="444948"/>
                  </a:cubicBezTo>
                  <a:cubicBezTo>
                    <a:pt x="151866" y="444948"/>
                    <a:pt x="149758" y="438624"/>
                    <a:pt x="149758" y="423165"/>
                  </a:cubicBezTo>
                  <a:cubicBezTo>
                    <a:pt x="150460" y="386627"/>
                    <a:pt x="149758" y="350088"/>
                    <a:pt x="150460" y="313549"/>
                  </a:cubicBezTo>
                  <a:cubicBezTo>
                    <a:pt x="150460" y="303712"/>
                    <a:pt x="150460" y="293172"/>
                    <a:pt x="145542" y="284038"/>
                  </a:cubicBezTo>
                  <a:cubicBezTo>
                    <a:pt x="135002" y="265066"/>
                    <a:pt x="122354" y="263661"/>
                    <a:pt x="108300" y="279822"/>
                  </a:cubicBezTo>
                  <a:cubicBezTo>
                    <a:pt x="78086" y="314252"/>
                    <a:pt x="52087" y="314955"/>
                    <a:pt x="21170" y="281227"/>
                  </a:cubicBezTo>
                  <a:cubicBezTo>
                    <a:pt x="-14666" y="242581"/>
                    <a:pt x="-3423" y="172314"/>
                    <a:pt x="42953" y="147018"/>
                  </a:cubicBezTo>
                  <a:cubicBezTo>
                    <a:pt x="67546" y="133668"/>
                    <a:pt x="85815" y="141397"/>
                    <a:pt x="103382" y="160369"/>
                  </a:cubicBezTo>
                  <a:cubicBezTo>
                    <a:pt x="109706" y="167395"/>
                    <a:pt x="113219" y="182854"/>
                    <a:pt x="127272" y="177233"/>
                  </a:cubicBezTo>
                  <a:cubicBezTo>
                    <a:pt x="142028" y="171612"/>
                    <a:pt x="149758" y="158963"/>
                    <a:pt x="149758" y="142802"/>
                  </a:cubicBezTo>
                  <a:cubicBezTo>
                    <a:pt x="149758" y="103453"/>
                    <a:pt x="150460" y="64104"/>
                    <a:pt x="149758" y="24755"/>
                  </a:cubicBezTo>
                  <a:cubicBezTo>
                    <a:pt x="149055" y="6486"/>
                    <a:pt x="152568" y="-1244"/>
                    <a:pt x="172946" y="162"/>
                  </a:cubicBezTo>
                  <a:cubicBezTo>
                    <a:pt x="210889" y="2269"/>
                    <a:pt x="249536" y="864"/>
                    <a:pt x="288182" y="864"/>
                  </a:cubicBezTo>
                  <a:cubicBezTo>
                    <a:pt x="305046" y="864"/>
                    <a:pt x="318397" y="6486"/>
                    <a:pt x="328937" y="19134"/>
                  </a:cubicBezTo>
                  <a:cubicBezTo>
                    <a:pt x="342990" y="34592"/>
                    <a:pt x="345098" y="48646"/>
                    <a:pt x="326126" y="62699"/>
                  </a:cubicBezTo>
                  <a:cubicBezTo>
                    <a:pt x="312073" y="73239"/>
                    <a:pt x="293804" y="85184"/>
                    <a:pt x="302938" y="106967"/>
                  </a:cubicBezTo>
                  <a:cubicBezTo>
                    <a:pt x="312775" y="130857"/>
                    <a:pt x="328937" y="147721"/>
                    <a:pt x="357746" y="149829"/>
                  </a:cubicBezTo>
                  <a:cubicBezTo>
                    <a:pt x="387258" y="151234"/>
                    <a:pt x="413959" y="149126"/>
                    <a:pt x="432228" y="121020"/>
                  </a:cubicBezTo>
                  <a:cubicBezTo>
                    <a:pt x="446282" y="99940"/>
                    <a:pt x="441363" y="84481"/>
                    <a:pt x="423797" y="69023"/>
                  </a:cubicBezTo>
                  <a:cubicBezTo>
                    <a:pt x="413959" y="60590"/>
                    <a:pt x="395690" y="55672"/>
                    <a:pt x="402717" y="35997"/>
                  </a:cubicBezTo>
                  <a:cubicBezTo>
                    <a:pt x="409743" y="16323"/>
                    <a:pt x="424499" y="2972"/>
                    <a:pt x="444877" y="2269"/>
                  </a:cubicBezTo>
                  <a:cubicBezTo>
                    <a:pt x="489847" y="864"/>
                    <a:pt x="534115" y="2269"/>
                    <a:pt x="579085" y="1567"/>
                  </a:cubicBezTo>
                  <a:cubicBezTo>
                    <a:pt x="595246" y="1567"/>
                    <a:pt x="591031" y="12107"/>
                    <a:pt x="591031" y="19836"/>
                  </a:cubicBezTo>
                  <a:cubicBezTo>
                    <a:pt x="591733" y="87995"/>
                    <a:pt x="591733" y="156856"/>
                    <a:pt x="591733" y="22501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2221661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6EDA7A22-F303-4C21-B7A8-6ED5036A84BB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5207492" y="676740"/>
            <a:ext cx="6384854" cy="5504521"/>
          </a:xfrm>
          <a:custGeom>
            <a:avLst/>
            <a:gdLst>
              <a:gd name="connsiteX0" fmla="*/ 3234628 w 6384854"/>
              <a:gd name="connsiteY0" fmla="*/ 4194761 h 5504521"/>
              <a:gd name="connsiteX1" fmla="*/ 3338110 w 6384854"/>
              <a:gd name="connsiteY1" fmla="*/ 4242528 h 5504521"/>
              <a:gd name="connsiteX2" fmla="*/ 3495570 w 6384854"/>
              <a:gd name="connsiteY2" fmla="*/ 4304502 h 5504521"/>
              <a:gd name="connsiteX3" fmla="*/ 3519858 w 6384854"/>
              <a:gd name="connsiteY3" fmla="*/ 4311868 h 5504521"/>
              <a:gd name="connsiteX4" fmla="*/ 3456577 w 6384854"/>
              <a:gd name="connsiteY4" fmla="*/ 4358293 h 5504521"/>
              <a:gd name="connsiteX5" fmla="*/ 3434733 w 6384854"/>
              <a:gd name="connsiteY5" fmla="*/ 4373774 h 5504521"/>
              <a:gd name="connsiteX6" fmla="*/ 3429318 w 6384854"/>
              <a:gd name="connsiteY6" fmla="*/ 4375881 h 5504521"/>
              <a:gd name="connsiteX7" fmla="*/ 3095134 w 6384854"/>
              <a:gd name="connsiteY7" fmla="*/ 4598871 h 5504521"/>
              <a:gd name="connsiteX8" fmla="*/ 3004829 w 6384854"/>
              <a:gd name="connsiteY8" fmla="*/ 4654220 h 5504521"/>
              <a:gd name="connsiteX9" fmla="*/ 2805676 w 6384854"/>
              <a:gd name="connsiteY9" fmla="*/ 4772869 h 5504521"/>
              <a:gd name="connsiteX10" fmla="*/ 2647578 w 6384854"/>
              <a:gd name="connsiteY10" fmla="*/ 4864155 h 5504521"/>
              <a:gd name="connsiteX11" fmla="*/ 2499826 w 6384854"/>
              <a:gd name="connsiteY11" fmla="*/ 4948107 h 5504521"/>
              <a:gd name="connsiteX12" fmla="*/ 2485882 w 6384854"/>
              <a:gd name="connsiteY12" fmla="*/ 4952801 h 5504521"/>
              <a:gd name="connsiteX13" fmla="*/ 2400732 w 6384854"/>
              <a:gd name="connsiteY13" fmla="*/ 4983742 h 5504521"/>
              <a:gd name="connsiteX14" fmla="*/ 2322405 w 6384854"/>
              <a:gd name="connsiteY14" fmla="*/ 5034060 h 5504521"/>
              <a:gd name="connsiteX15" fmla="*/ 2180921 w 6384854"/>
              <a:gd name="connsiteY15" fmla="*/ 5104924 h 5504521"/>
              <a:gd name="connsiteX16" fmla="*/ 2115649 w 6384854"/>
              <a:gd name="connsiteY16" fmla="*/ 5120048 h 5504521"/>
              <a:gd name="connsiteX17" fmla="*/ 2102187 w 6384854"/>
              <a:gd name="connsiteY17" fmla="*/ 5127859 h 5504521"/>
              <a:gd name="connsiteX18" fmla="*/ 2072295 w 6384854"/>
              <a:gd name="connsiteY18" fmla="*/ 5149042 h 5504521"/>
              <a:gd name="connsiteX19" fmla="*/ 2021598 w 6384854"/>
              <a:gd name="connsiteY19" fmla="*/ 5167674 h 5504521"/>
              <a:gd name="connsiteX20" fmla="*/ 1942197 w 6384854"/>
              <a:gd name="connsiteY20" fmla="*/ 5194541 h 5504521"/>
              <a:gd name="connsiteX21" fmla="*/ 1898212 w 6384854"/>
              <a:gd name="connsiteY21" fmla="*/ 5215334 h 5504521"/>
              <a:gd name="connsiteX22" fmla="*/ 1840246 w 6384854"/>
              <a:gd name="connsiteY22" fmla="*/ 5252954 h 5504521"/>
              <a:gd name="connsiteX23" fmla="*/ 1804310 w 6384854"/>
              <a:gd name="connsiteY23" fmla="*/ 5268044 h 5504521"/>
              <a:gd name="connsiteX24" fmla="*/ 1792182 w 6384854"/>
              <a:gd name="connsiteY24" fmla="*/ 5267990 h 5504521"/>
              <a:gd name="connsiteX25" fmla="*/ 1786471 w 6384854"/>
              <a:gd name="connsiteY25" fmla="*/ 5259931 h 5504521"/>
              <a:gd name="connsiteX26" fmla="*/ 1771229 w 6384854"/>
              <a:gd name="connsiteY26" fmla="*/ 5260356 h 5504521"/>
              <a:gd name="connsiteX27" fmla="*/ 1745380 w 6384854"/>
              <a:gd name="connsiteY27" fmla="*/ 5299429 h 5504521"/>
              <a:gd name="connsiteX28" fmla="*/ 1731917 w 6384854"/>
              <a:gd name="connsiteY28" fmla="*/ 5307239 h 5504521"/>
              <a:gd name="connsiteX29" fmla="*/ 1724908 w 6384854"/>
              <a:gd name="connsiteY29" fmla="*/ 5294911 h 5504521"/>
              <a:gd name="connsiteX30" fmla="*/ 1707403 w 6384854"/>
              <a:gd name="connsiteY30" fmla="*/ 5284832 h 5504521"/>
              <a:gd name="connsiteX31" fmla="*/ 1694608 w 6384854"/>
              <a:gd name="connsiteY31" fmla="*/ 5288711 h 5504521"/>
              <a:gd name="connsiteX32" fmla="*/ 1682666 w 6384854"/>
              <a:gd name="connsiteY32" fmla="*/ 5281608 h 5504521"/>
              <a:gd name="connsiteX33" fmla="*/ 1678104 w 6384854"/>
              <a:gd name="connsiteY33" fmla="*/ 5272734 h 5504521"/>
              <a:gd name="connsiteX34" fmla="*/ 1668091 w 6384854"/>
              <a:gd name="connsiteY34" fmla="*/ 5278100 h 5504521"/>
              <a:gd name="connsiteX35" fmla="*/ 1639349 w 6384854"/>
              <a:gd name="connsiteY35" fmla="*/ 5298469 h 5504521"/>
              <a:gd name="connsiteX36" fmla="*/ 1564881 w 6384854"/>
              <a:gd name="connsiteY36" fmla="*/ 5373727 h 5504521"/>
              <a:gd name="connsiteX37" fmla="*/ 1558762 w 6384854"/>
              <a:gd name="connsiteY37" fmla="*/ 5391900 h 5504521"/>
              <a:gd name="connsiteX38" fmla="*/ 1550788 w 6384854"/>
              <a:gd name="connsiteY38" fmla="*/ 5373337 h 5504521"/>
              <a:gd name="connsiteX39" fmla="*/ 1523455 w 6384854"/>
              <a:gd name="connsiteY39" fmla="*/ 5361575 h 5504521"/>
              <a:gd name="connsiteX40" fmla="*/ 1402850 w 6384854"/>
              <a:gd name="connsiteY40" fmla="*/ 5410723 h 5504521"/>
              <a:gd name="connsiteX41" fmla="*/ 1360831 w 6384854"/>
              <a:gd name="connsiteY41" fmla="*/ 5431853 h 5504521"/>
              <a:gd name="connsiteX42" fmla="*/ 1338245 w 6384854"/>
              <a:gd name="connsiteY42" fmla="*/ 5421915 h 5504521"/>
              <a:gd name="connsiteX43" fmla="*/ 1308910 w 6384854"/>
              <a:gd name="connsiteY43" fmla="*/ 5421950 h 5504521"/>
              <a:gd name="connsiteX44" fmla="*/ 1283951 w 6384854"/>
              <a:gd name="connsiteY44" fmla="*/ 5437908 h 5504521"/>
              <a:gd name="connsiteX45" fmla="*/ 1269005 w 6384854"/>
              <a:gd name="connsiteY45" fmla="*/ 5448500 h 5504521"/>
              <a:gd name="connsiteX46" fmla="*/ 1251909 w 6384854"/>
              <a:gd name="connsiteY46" fmla="*/ 5465804 h 5504521"/>
              <a:gd name="connsiteX47" fmla="*/ 1233699 w 6384854"/>
              <a:gd name="connsiteY47" fmla="*/ 5471790 h 5504521"/>
              <a:gd name="connsiteX48" fmla="*/ 1216825 w 6384854"/>
              <a:gd name="connsiteY48" fmla="*/ 5469912 h 5504521"/>
              <a:gd name="connsiteX49" fmla="*/ 1195500 w 6384854"/>
              <a:gd name="connsiteY49" fmla="*/ 5476377 h 5504521"/>
              <a:gd name="connsiteX50" fmla="*/ 1182631 w 6384854"/>
              <a:gd name="connsiteY50" fmla="*/ 5504521 h 5504521"/>
              <a:gd name="connsiteX51" fmla="*/ 1179850 w 6384854"/>
              <a:gd name="connsiteY51" fmla="*/ 5503034 h 5504521"/>
              <a:gd name="connsiteX52" fmla="*/ 1158970 w 6384854"/>
              <a:gd name="connsiteY52" fmla="*/ 5471133 h 5504521"/>
              <a:gd name="connsiteX53" fmla="*/ 1151441 w 6384854"/>
              <a:gd name="connsiteY53" fmla="*/ 5467820 h 5504521"/>
              <a:gd name="connsiteX54" fmla="*/ 1099112 w 6384854"/>
              <a:gd name="connsiteY54" fmla="*/ 5484150 h 5504521"/>
              <a:gd name="connsiteX55" fmla="*/ 1074190 w 6384854"/>
              <a:gd name="connsiteY55" fmla="*/ 5487975 h 5504521"/>
              <a:gd name="connsiteX56" fmla="*/ 1061951 w 6384854"/>
              <a:gd name="connsiteY56" fmla="*/ 5470705 h 5504521"/>
              <a:gd name="connsiteX57" fmla="*/ 1084500 w 6384854"/>
              <a:gd name="connsiteY57" fmla="*/ 5439159 h 5504521"/>
              <a:gd name="connsiteX58" fmla="*/ 1123032 w 6384854"/>
              <a:gd name="connsiteY58" fmla="*/ 5432607 h 5504521"/>
              <a:gd name="connsiteX59" fmla="*/ 1158450 w 6384854"/>
              <a:gd name="connsiteY59" fmla="*/ 5426533 h 5504521"/>
              <a:gd name="connsiteX60" fmla="*/ 1189639 w 6384854"/>
              <a:gd name="connsiteY60" fmla="*/ 5409618 h 5504521"/>
              <a:gd name="connsiteX61" fmla="*/ 1213486 w 6384854"/>
              <a:gd name="connsiteY61" fmla="*/ 5382342 h 5504521"/>
              <a:gd name="connsiteX62" fmla="*/ 1285507 w 6384854"/>
              <a:gd name="connsiteY62" fmla="*/ 5357245 h 5504521"/>
              <a:gd name="connsiteX63" fmla="*/ 1330864 w 6384854"/>
              <a:gd name="connsiteY63" fmla="*/ 5316455 h 5504521"/>
              <a:gd name="connsiteX64" fmla="*/ 1352040 w 6384854"/>
              <a:gd name="connsiteY64" fmla="*/ 5304907 h 5504521"/>
              <a:gd name="connsiteX65" fmla="*/ 1486255 w 6384854"/>
              <a:gd name="connsiteY65" fmla="*/ 5253031 h 5504521"/>
              <a:gd name="connsiteX66" fmla="*/ 1505466 w 6384854"/>
              <a:gd name="connsiteY66" fmla="*/ 5241147 h 5504521"/>
              <a:gd name="connsiteX67" fmla="*/ 1520560 w 6384854"/>
              <a:gd name="connsiteY67" fmla="*/ 5235639 h 5504521"/>
              <a:gd name="connsiteX68" fmla="*/ 1510769 w 6384854"/>
              <a:gd name="connsiteY68" fmla="*/ 5221823 h 5504521"/>
              <a:gd name="connsiteX69" fmla="*/ 1511140 w 6384854"/>
              <a:gd name="connsiteY69" fmla="*/ 5207724 h 5504521"/>
              <a:gd name="connsiteX70" fmla="*/ 1534282 w 6384854"/>
              <a:gd name="connsiteY70" fmla="*/ 5196512 h 5504521"/>
              <a:gd name="connsiteX71" fmla="*/ 1582865 w 6384854"/>
              <a:gd name="connsiteY71" fmla="*/ 5172460 h 5504521"/>
              <a:gd name="connsiteX72" fmla="*/ 1590727 w 6384854"/>
              <a:gd name="connsiteY72" fmla="*/ 5173807 h 5504521"/>
              <a:gd name="connsiteX73" fmla="*/ 1620396 w 6384854"/>
              <a:gd name="connsiteY73" fmla="*/ 5171806 h 5504521"/>
              <a:gd name="connsiteX74" fmla="*/ 1734140 w 6384854"/>
              <a:gd name="connsiteY74" fmla="*/ 5115413 h 5504521"/>
              <a:gd name="connsiteX75" fmla="*/ 1743337 w 6384854"/>
              <a:gd name="connsiteY75" fmla="*/ 5108895 h 5504521"/>
              <a:gd name="connsiteX76" fmla="*/ 1772858 w 6384854"/>
              <a:gd name="connsiteY76" fmla="*/ 5101811 h 5504521"/>
              <a:gd name="connsiteX77" fmla="*/ 1798299 w 6384854"/>
              <a:gd name="connsiteY77" fmla="*/ 5088970 h 5504521"/>
              <a:gd name="connsiteX78" fmla="*/ 1802786 w 6384854"/>
              <a:gd name="connsiteY78" fmla="*/ 5068495 h 5504521"/>
              <a:gd name="connsiteX79" fmla="*/ 1829823 w 6384854"/>
              <a:gd name="connsiteY79" fmla="*/ 5070090 h 5504521"/>
              <a:gd name="connsiteX80" fmla="*/ 1857081 w 6384854"/>
              <a:gd name="connsiteY80" fmla="*/ 5052502 h 5504521"/>
              <a:gd name="connsiteX81" fmla="*/ 1875772 w 6384854"/>
              <a:gd name="connsiteY81" fmla="*/ 4996017 h 5504521"/>
              <a:gd name="connsiteX82" fmla="*/ 1876105 w 6384854"/>
              <a:gd name="connsiteY82" fmla="*/ 4994051 h 5504521"/>
              <a:gd name="connsiteX83" fmla="*/ 1887491 w 6384854"/>
              <a:gd name="connsiteY83" fmla="*/ 4968687 h 5504521"/>
              <a:gd name="connsiteX84" fmla="*/ 2058347 w 6384854"/>
              <a:gd name="connsiteY84" fmla="*/ 4885657 h 5504521"/>
              <a:gd name="connsiteX85" fmla="*/ 2164228 w 6384854"/>
              <a:gd name="connsiteY85" fmla="*/ 4827917 h 5504521"/>
              <a:gd name="connsiteX86" fmla="*/ 2296812 w 6384854"/>
              <a:gd name="connsiteY86" fmla="*/ 4773739 h 5504521"/>
              <a:gd name="connsiteX87" fmla="*/ 2382704 w 6384854"/>
              <a:gd name="connsiteY87" fmla="*/ 4714600 h 5504521"/>
              <a:gd name="connsiteX88" fmla="*/ 2418492 w 6384854"/>
              <a:gd name="connsiteY88" fmla="*/ 4694426 h 5504521"/>
              <a:gd name="connsiteX89" fmla="*/ 2499562 w 6384854"/>
              <a:gd name="connsiteY89" fmla="*/ 4657728 h 5504521"/>
              <a:gd name="connsiteX90" fmla="*/ 2569507 w 6384854"/>
              <a:gd name="connsiteY90" fmla="*/ 4615079 h 5504521"/>
              <a:gd name="connsiteX91" fmla="*/ 2678021 w 6384854"/>
              <a:gd name="connsiteY91" fmla="*/ 4553744 h 5504521"/>
              <a:gd name="connsiteX92" fmla="*/ 2744517 w 6384854"/>
              <a:gd name="connsiteY92" fmla="*/ 4513539 h 5504521"/>
              <a:gd name="connsiteX93" fmla="*/ 2889487 w 6384854"/>
              <a:gd name="connsiteY93" fmla="*/ 4428098 h 5504521"/>
              <a:gd name="connsiteX94" fmla="*/ 3028746 w 6384854"/>
              <a:gd name="connsiteY94" fmla="*/ 4334598 h 5504521"/>
              <a:gd name="connsiteX95" fmla="*/ 3125949 w 6384854"/>
              <a:gd name="connsiteY95" fmla="*/ 4274361 h 5504521"/>
              <a:gd name="connsiteX96" fmla="*/ 3196936 w 6384854"/>
              <a:gd name="connsiteY96" fmla="*/ 4218866 h 5504521"/>
              <a:gd name="connsiteX97" fmla="*/ 4003123 w 6384854"/>
              <a:gd name="connsiteY97" fmla="*/ 4154825 h 5504521"/>
              <a:gd name="connsiteX98" fmla="*/ 4008712 w 6384854"/>
              <a:gd name="connsiteY98" fmla="*/ 4156019 h 5504521"/>
              <a:gd name="connsiteX99" fmla="*/ 4002542 w 6384854"/>
              <a:gd name="connsiteY99" fmla="*/ 4155938 h 5504521"/>
              <a:gd name="connsiteX100" fmla="*/ 3734223 w 6384854"/>
              <a:gd name="connsiteY100" fmla="*/ 4141114 h 5504521"/>
              <a:gd name="connsiteX101" fmla="*/ 3734331 w 6384854"/>
              <a:gd name="connsiteY101" fmla="*/ 4141221 h 5504521"/>
              <a:gd name="connsiteX102" fmla="*/ 3734178 w 6384854"/>
              <a:gd name="connsiteY102" fmla="*/ 4141152 h 5504521"/>
              <a:gd name="connsiteX103" fmla="*/ 3243102 w 6384854"/>
              <a:gd name="connsiteY103" fmla="*/ 4137928 h 5504521"/>
              <a:gd name="connsiteX104" fmla="*/ 3269195 w 6384854"/>
              <a:gd name="connsiteY104" fmla="*/ 4152452 h 5504521"/>
              <a:gd name="connsiteX105" fmla="*/ 3289292 w 6384854"/>
              <a:gd name="connsiteY105" fmla="*/ 4161012 h 5504521"/>
              <a:gd name="connsiteX106" fmla="*/ 3271958 w 6384854"/>
              <a:gd name="connsiteY106" fmla="*/ 4170888 h 5504521"/>
              <a:gd name="connsiteX107" fmla="*/ 3234628 w 6384854"/>
              <a:gd name="connsiteY107" fmla="*/ 4194761 h 5504521"/>
              <a:gd name="connsiteX108" fmla="*/ 3189892 w 6384854"/>
              <a:gd name="connsiteY108" fmla="*/ 4174112 h 5504521"/>
              <a:gd name="connsiteX109" fmla="*/ 3231821 w 6384854"/>
              <a:gd name="connsiteY109" fmla="*/ 4145933 h 5504521"/>
              <a:gd name="connsiteX110" fmla="*/ 3734328 w 6384854"/>
              <a:gd name="connsiteY110" fmla="*/ 4136108 h 5504521"/>
              <a:gd name="connsiteX111" fmla="*/ 3739433 w 6384854"/>
              <a:gd name="connsiteY111" fmla="*/ 4136809 h 5504521"/>
              <a:gd name="connsiteX112" fmla="*/ 3734223 w 6384854"/>
              <a:gd name="connsiteY112" fmla="*/ 4141114 h 5504521"/>
              <a:gd name="connsiteX113" fmla="*/ 3731056 w 6384854"/>
              <a:gd name="connsiteY113" fmla="*/ 4137965 h 5504521"/>
              <a:gd name="connsiteX114" fmla="*/ 3734328 w 6384854"/>
              <a:gd name="connsiteY114" fmla="*/ 4136108 h 5504521"/>
              <a:gd name="connsiteX115" fmla="*/ 3330591 w 6384854"/>
              <a:gd name="connsiteY115" fmla="*/ 4135529 h 5504521"/>
              <a:gd name="connsiteX116" fmla="*/ 3460467 w 6384854"/>
              <a:gd name="connsiteY116" fmla="*/ 4194092 h 5504521"/>
              <a:gd name="connsiteX117" fmla="*/ 3572704 w 6384854"/>
              <a:gd name="connsiteY117" fmla="*/ 4230898 h 5504521"/>
              <a:gd name="connsiteX118" fmla="*/ 3612148 w 6384854"/>
              <a:gd name="connsiteY118" fmla="*/ 4240802 h 5504521"/>
              <a:gd name="connsiteX119" fmla="*/ 3577312 w 6384854"/>
              <a:gd name="connsiteY119" fmla="*/ 4267716 h 5504521"/>
              <a:gd name="connsiteX120" fmla="*/ 3543878 w 6384854"/>
              <a:gd name="connsiteY120" fmla="*/ 4259102 h 5504521"/>
              <a:gd name="connsiteX121" fmla="*/ 3436266 w 6384854"/>
              <a:gd name="connsiteY121" fmla="*/ 4223614 h 5504521"/>
              <a:gd name="connsiteX122" fmla="*/ 3289292 w 6384854"/>
              <a:gd name="connsiteY122" fmla="*/ 4161012 h 5504521"/>
              <a:gd name="connsiteX123" fmla="*/ 3310865 w 6384854"/>
              <a:gd name="connsiteY123" fmla="*/ 4148721 h 5504521"/>
              <a:gd name="connsiteX124" fmla="*/ 3749128 w 6384854"/>
              <a:gd name="connsiteY124" fmla="*/ 4128799 h 5504521"/>
              <a:gd name="connsiteX125" fmla="*/ 3792195 w 6384854"/>
              <a:gd name="connsiteY125" fmla="*/ 4135324 h 5504521"/>
              <a:gd name="connsiteX126" fmla="*/ 3905145 w 6384854"/>
              <a:gd name="connsiteY126" fmla="*/ 4148500 h 5504521"/>
              <a:gd name="connsiteX127" fmla="*/ 3994145 w 6384854"/>
              <a:gd name="connsiteY127" fmla="*/ 4155829 h 5504521"/>
              <a:gd name="connsiteX128" fmla="*/ 4002542 w 6384854"/>
              <a:gd name="connsiteY128" fmla="*/ 4155938 h 5504521"/>
              <a:gd name="connsiteX129" fmla="*/ 4000035 w 6384854"/>
              <a:gd name="connsiteY129" fmla="*/ 4160738 h 5504521"/>
              <a:gd name="connsiteX130" fmla="*/ 4004127 w 6384854"/>
              <a:gd name="connsiteY130" fmla="*/ 4163804 h 5504521"/>
              <a:gd name="connsiteX131" fmla="*/ 3997943 w 6384854"/>
              <a:gd name="connsiteY131" fmla="*/ 4165404 h 5504521"/>
              <a:gd name="connsiteX132" fmla="*/ 3998539 w 6384854"/>
              <a:gd name="connsiteY132" fmla="*/ 4162611 h 5504521"/>
              <a:gd name="connsiteX133" fmla="*/ 3980581 w 6384854"/>
              <a:gd name="connsiteY133" fmla="*/ 4164617 h 5504521"/>
              <a:gd name="connsiteX134" fmla="*/ 3974397 w 6384854"/>
              <a:gd name="connsiteY134" fmla="*/ 4166217 h 5504521"/>
              <a:gd name="connsiteX135" fmla="*/ 3951448 w 6384854"/>
              <a:gd name="connsiteY135" fmla="*/ 4164235 h 5504521"/>
              <a:gd name="connsiteX136" fmla="*/ 3948654 w 6384854"/>
              <a:gd name="connsiteY136" fmla="*/ 4163638 h 5504521"/>
              <a:gd name="connsiteX137" fmla="*/ 3945263 w 6384854"/>
              <a:gd name="connsiteY137" fmla="*/ 4165836 h 5504521"/>
              <a:gd name="connsiteX138" fmla="*/ 3942469 w 6384854"/>
              <a:gd name="connsiteY138" fmla="*/ 4165238 h 5504521"/>
              <a:gd name="connsiteX139" fmla="*/ 3925705 w 6384854"/>
              <a:gd name="connsiteY139" fmla="*/ 4161657 h 5504521"/>
              <a:gd name="connsiteX140" fmla="*/ 3922911 w 6384854"/>
              <a:gd name="connsiteY140" fmla="*/ 4161060 h 5504521"/>
              <a:gd name="connsiteX141" fmla="*/ 3919521 w 6384854"/>
              <a:gd name="connsiteY141" fmla="*/ 4163258 h 5504521"/>
              <a:gd name="connsiteX142" fmla="*/ 3913933 w 6384854"/>
              <a:gd name="connsiteY142" fmla="*/ 4162063 h 5504521"/>
              <a:gd name="connsiteX143" fmla="*/ 3854663 w 6384854"/>
              <a:gd name="connsiteY143" fmla="*/ 4152322 h 5504521"/>
              <a:gd name="connsiteX144" fmla="*/ 3805971 w 6384854"/>
              <a:gd name="connsiteY144" fmla="*/ 4147763 h 5504521"/>
              <a:gd name="connsiteX145" fmla="*/ 3803177 w 6384854"/>
              <a:gd name="connsiteY145" fmla="*/ 4147165 h 5504521"/>
              <a:gd name="connsiteX146" fmla="*/ 3794199 w 6384854"/>
              <a:gd name="connsiteY146" fmla="*/ 4148168 h 5504521"/>
              <a:gd name="connsiteX147" fmla="*/ 3788014 w 6384854"/>
              <a:gd name="connsiteY147" fmla="*/ 4149769 h 5504521"/>
              <a:gd name="connsiteX148" fmla="*/ 3771250 w 6384854"/>
              <a:gd name="connsiteY148" fmla="*/ 4146187 h 5504521"/>
              <a:gd name="connsiteX149" fmla="*/ 3755083 w 6384854"/>
              <a:gd name="connsiteY149" fmla="*/ 4139811 h 5504521"/>
              <a:gd name="connsiteX150" fmla="*/ 3743311 w 6384854"/>
              <a:gd name="connsiteY150" fmla="*/ 4140218 h 5504521"/>
              <a:gd name="connsiteX151" fmla="*/ 3743907 w 6384854"/>
              <a:gd name="connsiteY151" fmla="*/ 4137424 h 5504521"/>
              <a:gd name="connsiteX152" fmla="*/ 3739433 w 6384854"/>
              <a:gd name="connsiteY152" fmla="*/ 4136809 h 5504521"/>
              <a:gd name="connsiteX153" fmla="*/ 3842459 w 6384854"/>
              <a:gd name="connsiteY153" fmla="*/ 4100049 h 5504521"/>
              <a:gd name="connsiteX154" fmla="*/ 3845252 w 6384854"/>
              <a:gd name="connsiteY154" fmla="*/ 4100647 h 5504521"/>
              <a:gd name="connsiteX155" fmla="*/ 3878183 w 6384854"/>
              <a:gd name="connsiteY155" fmla="*/ 4110603 h 5504521"/>
              <a:gd name="connsiteX156" fmla="*/ 3829492 w 6384854"/>
              <a:gd name="connsiteY156" fmla="*/ 4106044 h 5504521"/>
              <a:gd name="connsiteX157" fmla="*/ 3830089 w 6384854"/>
              <a:gd name="connsiteY157" fmla="*/ 4103250 h 5504521"/>
              <a:gd name="connsiteX158" fmla="*/ 3830686 w 6384854"/>
              <a:gd name="connsiteY158" fmla="*/ 4100456 h 5504521"/>
              <a:gd name="connsiteX159" fmla="*/ 3842459 w 6384854"/>
              <a:gd name="connsiteY159" fmla="*/ 4100049 h 5504521"/>
              <a:gd name="connsiteX160" fmla="*/ 3807737 w 6384854"/>
              <a:gd name="connsiteY160" fmla="*/ 4098474 h 5504521"/>
              <a:gd name="connsiteX161" fmla="*/ 3818913 w 6384854"/>
              <a:gd name="connsiteY161" fmla="*/ 4100862 h 5504521"/>
              <a:gd name="connsiteX162" fmla="*/ 3821707 w 6384854"/>
              <a:gd name="connsiteY162" fmla="*/ 4101459 h 5504521"/>
              <a:gd name="connsiteX163" fmla="*/ 3824500 w 6384854"/>
              <a:gd name="connsiteY163" fmla="*/ 4102056 h 5504521"/>
              <a:gd name="connsiteX164" fmla="*/ 3801436 w 6384854"/>
              <a:gd name="connsiteY164" fmla="*/ 4098692 h 5504521"/>
              <a:gd name="connsiteX165" fmla="*/ 3788291 w 6384854"/>
              <a:gd name="connsiteY165" fmla="*/ 4096775 h 5504521"/>
              <a:gd name="connsiteX166" fmla="*/ 3801436 w 6384854"/>
              <a:gd name="connsiteY166" fmla="*/ 4098692 h 5504521"/>
              <a:gd name="connsiteX167" fmla="*/ 3795965 w 6384854"/>
              <a:gd name="connsiteY167" fmla="*/ 4098881 h 5504521"/>
              <a:gd name="connsiteX168" fmla="*/ 3793170 w 6384854"/>
              <a:gd name="connsiteY168" fmla="*/ 4098284 h 5504521"/>
              <a:gd name="connsiteX169" fmla="*/ 3787633 w 6384854"/>
              <a:gd name="connsiteY169" fmla="*/ 4097287 h 5504521"/>
              <a:gd name="connsiteX170" fmla="*/ 3805481 w 6384854"/>
              <a:gd name="connsiteY170" fmla="*/ 4083385 h 5504521"/>
              <a:gd name="connsiteX171" fmla="*/ 3813516 w 6384854"/>
              <a:gd name="connsiteY171" fmla="*/ 4085102 h 5504521"/>
              <a:gd name="connsiteX172" fmla="*/ 3813921 w 6384854"/>
              <a:gd name="connsiteY172" fmla="*/ 4096874 h 5504521"/>
              <a:gd name="connsiteX173" fmla="*/ 3808334 w 6384854"/>
              <a:gd name="connsiteY173" fmla="*/ 4095680 h 5504521"/>
              <a:gd name="connsiteX174" fmla="*/ 3796561 w 6384854"/>
              <a:gd name="connsiteY174" fmla="*/ 4096087 h 5504521"/>
              <a:gd name="connsiteX175" fmla="*/ 3797158 w 6384854"/>
              <a:gd name="connsiteY175" fmla="*/ 4093292 h 5504521"/>
              <a:gd name="connsiteX176" fmla="*/ 3794015 w 6384854"/>
              <a:gd name="connsiteY176" fmla="*/ 4092316 h 5504521"/>
              <a:gd name="connsiteX177" fmla="*/ 3327001 w 6384854"/>
              <a:gd name="connsiteY177" fmla="*/ 4078395 h 5504521"/>
              <a:gd name="connsiteX178" fmla="*/ 3340598 w 6384854"/>
              <a:gd name="connsiteY178" fmla="*/ 4083395 h 5504521"/>
              <a:gd name="connsiteX179" fmla="*/ 3369565 w 6384854"/>
              <a:gd name="connsiteY179" fmla="*/ 4096522 h 5504521"/>
              <a:gd name="connsiteX180" fmla="*/ 3380047 w 6384854"/>
              <a:gd name="connsiteY180" fmla="*/ 4100583 h 5504521"/>
              <a:gd name="connsiteX181" fmla="*/ 3348801 w 6384854"/>
              <a:gd name="connsiteY181" fmla="*/ 4123351 h 5504521"/>
              <a:gd name="connsiteX182" fmla="*/ 3330591 w 6384854"/>
              <a:gd name="connsiteY182" fmla="*/ 4135529 h 5504521"/>
              <a:gd name="connsiteX183" fmla="*/ 3279164 w 6384854"/>
              <a:gd name="connsiteY183" fmla="*/ 4112339 h 5504521"/>
              <a:gd name="connsiteX184" fmla="*/ 3783976 w 6384854"/>
              <a:gd name="connsiteY184" fmla="*/ 4072948 h 5504521"/>
              <a:gd name="connsiteX185" fmla="*/ 3786769 w 6384854"/>
              <a:gd name="connsiteY185" fmla="*/ 4073544 h 5504521"/>
              <a:gd name="connsiteX186" fmla="*/ 3789563 w 6384854"/>
              <a:gd name="connsiteY186" fmla="*/ 4074141 h 5504521"/>
              <a:gd name="connsiteX187" fmla="*/ 3788967 w 6384854"/>
              <a:gd name="connsiteY187" fmla="*/ 4076935 h 5504521"/>
              <a:gd name="connsiteX188" fmla="*/ 3802937 w 6384854"/>
              <a:gd name="connsiteY188" fmla="*/ 4079920 h 5504521"/>
              <a:gd name="connsiteX189" fmla="*/ 3808424 w 6384854"/>
              <a:gd name="connsiteY189" fmla="*/ 4081092 h 5504521"/>
              <a:gd name="connsiteX190" fmla="*/ 3805480 w 6384854"/>
              <a:gd name="connsiteY190" fmla="*/ 4083385 h 5504521"/>
              <a:gd name="connsiteX191" fmla="*/ 3802340 w 6384854"/>
              <a:gd name="connsiteY191" fmla="*/ 4082714 h 5504521"/>
              <a:gd name="connsiteX192" fmla="*/ 3785575 w 6384854"/>
              <a:gd name="connsiteY192" fmla="*/ 4079132 h 5504521"/>
              <a:gd name="connsiteX193" fmla="*/ 3782782 w 6384854"/>
              <a:gd name="connsiteY193" fmla="*/ 4078536 h 5504521"/>
              <a:gd name="connsiteX194" fmla="*/ 3779988 w 6384854"/>
              <a:gd name="connsiteY194" fmla="*/ 4077939 h 5504521"/>
              <a:gd name="connsiteX195" fmla="*/ 3774400 w 6384854"/>
              <a:gd name="connsiteY195" fmla="*/ 4076745 h 5504521"/>
              <a:gd name="connsiteX196" fmla="*/ 3771606 w 6384854"/>
              <a:gd name="connsiteY196" fmla="*/ 4076148 h 5504521"/>
              <a:gd name="connsiteX197" fmla="*/ 3774997 w 6384854"/>
              <a:gd name="connsiteY197" fmla="*/ 4073951 h 5504521"/>
              <a:gd name="connsiteX198" fmla="*/ 3780585 w 6384854"/>
              <a:gd name="connsiteY198" fmla="*/ 4075145 h 5504521"/>
              <a:gd name="connsiteX199" fmla="*/ 3783379 w 6384854"/>
              <a:gd name="connsiteY199" fmla="*/ 4075742 h 5504521"/>
              <a:gd name="connsiteX200" fmla="*/ 3783976 w 6384854"/>
              <a:gd name="connsiteY200" fmla="*/ 4072948 h 5504521"/>
              <a:gd name="connsiteX201" fmla="*/ 3648481 w 6384854"/>
              <a:gd name="connsiteY201" fmla="*/ 4064450 h 5504521"/>
              <a:gd name="connsiteX202" fmla="*/ 3732300 w 6384854"/>
              <a:gd name="connsiteY202" fmla="*/ 4082357 h 5504521"/>
              <a:gd name="connsiteX203" fmla="*/ 3736288 w 6384854"/>
              <a:gd name="connsiteY203" fmla="*/ 4077367 h 5504521"/>
              <a:gd name="connsiteX204" fmla="*/ 3739082 w 6384854"/>
              <a:gd name="connsiteY204" fmla="*/ 4077964 h 5504521"/>
              <a:gd name="connsiteX205" fmla="*/ 3738485 w 6384854"/>
              <a:gd name="connsiteY205" fmla="*/ 4080758 h 5504521"/>
              <a:gd name="connsiteX206" fmla="*/ 3774555 w 6384854"/>
              <a:gd name="connsiteY206" fmla="*/ 4086272 h 5504521"/>
              <a:gd name="connsiteX207" fmla="*/ 3794015 w 6384854"/>
              <a:gd name="connsiteY207" fmla="*/ 4092316 h 5504521"/>
              <a:gd name="connsiteX208" fmla="*/ 3788291 w 6384854"/>
              <a:gd name="connsiteY208" fmla="*/ 4096775 h 5504521"/>
              <a:gd name="connsiteX209" fmla="*/ 3769913 w 6384854"/>
              <a:gd name="connsiteY209" fmla="*/ 4094094 h 5504521"/>
              <a:gd name="connsiteX210" fmla="*/ 3760466 w 6384854"/>
              <a:gd name="connsiteY210" fmla="*/ 4092392 h 5504521"/>
              <a:gd name="connsiteX211" fmla="*/ 3734497 w 6384854"/>
              <a:gd name="connsiteY211" fmla="*/ 4085749 h 5504521"/>
              <a:gd name="connsiteX212" fmla="*/ 3731703 w 6384854"/>
              <a:gd name="connsiteY212" fmla="*/ 4085152 h 5504521"/>
              <a:gd name="connsiteX213" fmla="*/ 3648481 w 6384854"/>
              <a:gd name="connsiteY213" fmla="*/ 4064450 h 5504521"/>
              <a:gd name="connsiteX214" fmla="*/ 3643490 w 6384854"/>
              <a:gd name="connsiteY214" fmla="*/ 4060462 h 5504521"/>
              <a:gd name="connsiteX215" fmla="*/ 3649078 w 6384854"/>
              <a:gd name="connsiteY215" fmla="*/ 4061656 h 5504521"/>
              <a:gd name="connsiteX216" fmla="*/ 3648481 w 6384854"/>
              <a:gd name="connsiteY216" fmla="*/ 4064450 h 5504521"/>
              <a:gd name="connsiteX217" fmla="*/ 3645687 w 6384854"/>
              <a:gd name="connsiteY217" fmla="*/ 4063853 h 5504521"/>
              <a:gd name="connsiteX218" fmla="*/ 3643490 w 6384854"/>
              <a:gd name="connsiteY218" fmla="*/ 4060462 h 5504521"/>
              <a:gd name="connsiteX219" fmla="*/ 3409318 w 6384854"/>
              <a:gd name="connsiteY219" fmla="*/ 4019984 h 5504521"/>
              <a:gd name="connsiteX220" fmla="*/ 3416988 w 6384854"/>
              <a:gd name="connsiteY220" fmla="*/ 4026679 h 5504521"/>
              <a:gd name="connsiteX221" fmla="*/ 3444832 w 6384854"/>
              <a:gd name="connsiteY221" fmla="*/ 4039931 h 5504521"/>
              <a:gd name="connsiteX222" fmla="*/ 3449672 w 6384854"/>
              <a:gd name="connsiteY222" fmla="*/ 4041941 h 5504521"/>
              <a:gd name="connsiteX223" fmla="*/ 3436168 w 6384854"/>
              <a:gd name="connsiteY223" fmla="*/ 4053933 h 5504521"/>
              <a:gd name="connsiteX224" fmla="*/ 3453525 w 6384854"/>
              <a:gd name="connsiteY224" fmla="*/ 4060778 h 5504521"/>
              <a:gd name="connsiteX225" fmla="*/ 3465299 w 6384854"/>
              <a:gd name="connsiteY225" fmla="*/ 4060371 h 5504521"/>
              <a:gd name="connsiteX226" fmla="*/ 3472486 w 6384854"/>
              <a:gd name="connsiteY226" fmla="*/ 4067751 h 5504521"/>
              <a:gd name="connsiteX227" fmla="*/ 3475280 w 6384854"/>
              <a:gd name="connsiteY227" fmla="*/ 4068347 h 5504521"/>
              <a:gd name="connsiteX228" fmla="*/ 3543338 w 6384854"/>
              <a:gd name="connsiteY228" fmla="*/ 4091652 h 5504521"/>
              <a:gd name="connsiteX229" fmla="*/ 3543936 w 6384854"/>
              <a:gd name="connsiteY229" fmla="*/ 4088858 h 5504521"/>
              <a:gd name="connsiteX230" fmla="*/ 3557906 w 6384854"/>
              <a:gd name="connsiteY230" fmla="*/ 4091843 h 5504521"/>
              <a:gd name="connsiteX231" fmla="*/ 3573475 w 6384854"/>
              <a:gd name="connsiteY231" fmla="*/ 4101012 h 5504521"/>
              <a:gd name="connsiteX232" fmla="*/ 3583051 w 6384854"/>
              <a:gd name="connsiteY232" fmla="*/ 4097215 h 5504521"/>
              <a:gd name="connsiteX233" fmla="*/ 3618776 w 6384854"/>
              <a:gd name="connsiteY233" fmla="*/ 4107769 h 5504521"/>
              <a:gd name="connsiteX234" fmla="*/ 3645521 w 6384854"/>
              <a:gd name="connsiteY234" fmla="*/ 4119326 h 5504521"/>
              <a:gd name="connsiteX235" fmla="*/ 3648913 w 6384854"/>
              <a:gd name="connsiteY235" fmla="*/ 4117129 h 5504521"/>
              <a:gd name="connsiteX236" fmla="*/ 3693019 w 6384854"/>
              <a:gd name="connsiteY236" fmla="*/ 4129473 h 5504521"/>
              <a:gd name="connsiteX237" fmla="*/ 3698607 w 6384854"/>
              <a:gd name="connsiteY237" fmla="*/ 4130667 h 5504521"/>
              <a:gd name="connsiteX238" fmla="*/ 3699204 w 6384854"/>
              <a:gd name="connsiteY238" fmla="*/ 4127873 h 5504521"/>
              <a:gd name="connsiteX239" fmla="*/ 3702595 w 6384854"/>
              <a:gd name="connsiteY239" fmla="*/ 4125676 h 5504521"/>
              <a:gd name="connsiteX240" fmla="*/ 3704792 w 6384854"/>
              <a:gd name="connsiteY240" fmla="*/ 4129067 h 5504521"/>
              <a:gd name="connsiteX241" fmla="*/ 3717689 w 6384854"/>
              <a:gd name="connsiteY241" fmla="*/ 4133649 h 5504521"/>
              <a:gd name="connsiteX242" fmla="*/ 3734178 w 6384854"/>
              <a:gd name="connsiteY242" fmla="*/ 4141152 h 5504521"/>
              <a:gd name="connsiteX243" fmla="*/ 3666589 w 6384854"/>
              <a:gd name="connsiteY243" fmla="*/ 4197000 h 5504521"/>
              <a:gd name="connsiteX244" fmla="*/ 3638981 w 6384854"/>
              <a:gd name="connsiteY244" fmla="*/ 4190965 h 5504521"/>
              <a:gd name="connsiteX245" fmla="*/ 3583699 w 6384854"/>
              <a:gd name="connsiteY245" fmla="*/ 4176233 h 5504521"/>
              <a:gd name="connsiteX246" fmla="*/ 3491091 w 6384854"/>
              <a:gd name="connsiteY246" fmla="*/ 4144762 h 5504521"/>
              <a:gd name="connsiteX247" fmla="*/ 3396884 w 6384854"/>
              <a:gd name="connsiteY247" fmla="*/ 4107106 h 5504521"/>
              <a:gd name="connsiteX248" fmla="*/ 3380047 w 6384854"/>
              <a:gd name="connsiteY248" fmla="*/ 4100583 h 5504521"/>
              <a:gd name="connsiteX249" fmla="*/ 3392079 w 6384854"/>
              <a:gd name="connsiteY249" fmla="*/ 4091816 h 5504521"/>
              <a:gd name="connsiteX250" fmla="*/ 3432911 w 6384854"/>
              <a:gd name="connsiteY250" fmla="*/ 4056826 h 5504521"/>
              <a:gd name="connsiteX251" fmla="*/ 3435617 w 6384854"/>
              <a:gd name="connsiteY251" fmla="*/ 4054422 h 5504521"/>
              <a:gd name="connsiteX252" fmla="*/ 3419920 w 6384854"/>
              <a:gd name="connsiteY252" fmla="*/ 4048851 h 5504521"/>
              <a:gd name="connsiteX253" fmla="*/ 3388858 w 6384854"/>
              <a:gd name="connsiteY253" fmla="*/ 4035276 h 5504521"/>
              <a:gd name="connsiteX254" fmla="*/ 3388297 w 6384854"/>
              <a:gd name="connsiteY254" fmla="*/ 4034900 h 5504521"/>
              <a:gd name="connsiteX255" fmla="*/ 3490691 w 6384854"/>
              <a:gd name="connsiteY255" fmla="*/ 4016620 h 5504521"/>
              <a:gd name="connsiteX256" fmla="*/ 3521674 w 6384854"/>
              <a:gd name="connsiteY256" fmla="*/ 4028959 h 5504521"/>
              <a:gd name="connsiteX257" fmla="*/ 3619944 w 6384854"/>
              <a:gd name="connsiteY257" fmla="*/ 4061275 h 5504521"/>
              <a:gd name="connsiteX258" fmla="*/ 3722151 w 6384854"/>
              <a:gd name="connsiteY258" fmla="*/ 4087128 h 5504521"/>
              <a:gd name="connsiteX259" fmla="*/ 3769913 w 6384854"/>
              <a:gd name="connsiteY259" fmla="*/ 4094094 h 5504521"/>
              <a:gd name="connsiteX260" fmla="*/ 3787633 w 6384854"/>
              <a:gd name="connsiteY260" fmla="*/ 4097287 h 5504521"/>
              <a:gd name="connsiteX261" fmla="*/ 3781191 w 6384854"/>
              <a:gd name="connsiteY261" fmla="*/ 4102305 h 5504521"/>
              <a:gd name="connsiteX262" fmla="*/ 3750302 w 6384854"/>
              <a:gd name="connsiteY262" fmla="*/ 4127828 h 5504521"/>
              <a:gd name="connsiteX263" fmla="*/ 3686428 w 6384854"/>
              <a:gd name="connsiteY263" fmla="*/ 4119300 h 5504521"/>
              <a:gd name="connsiteX264" fmla="*/ 3638931 w 6384854"/>
              <a:gd name="connsiteY264" fmla="*/ 4109153 h 5504521"/>
              <a:gd name="connsiteX265" fmla="*/ 3631145 w 6384854"/>
              <a:gd name="connsiteY265" fmla="*/ 4104568 h 5504521"/>
              <a:gd name="connsiteX266" fmla="*/ 3628352 w 6384854"/>
              <a:gd name="connsiteY266" fmla="*/ 4103971 h 5504521"/>
              <a:gd name="connsiteX267" fmla="*/ 3622763 w 6384854"/>
              <a:gd name="connsiteY267" fmla="*/ 4102778 h 5504521"/>
              <a:gd name="connsiteX268" fmla="*/ 3564687 w 6384854"/>
              <a:gd name="connsiteY268" fmla="*/ 4087449 h 5504521"/>
              <a:gd name="connsiteX269" fmla="*/ 3481059 w 6384854"/>
              <a:gd name="connsiteY269" fmla="*/ 4054974 h 5504521"/>
              <a:gd name="connsiteX270" fmla="*/ 3449672 w 6384854"/>
              <a:gd name="connsiteY270" fmla="*/ 4041941 h 5504521"/>
              <a:gd name="connsiteX271" fmla="*/ 3458218 w 6384854"/>
              <a:gd name="connsiteY271" fmla="*/ 4034352 h 5504521"/>
              <a:gd name="connsiteX272" fmla="*/ 3486945 w 6384854"/>
              <a:gd name="connsiteY272" fmla="*/ 4018533 h 5504521"/>
              <a:gd name="connsiteX273" fmla="*/ 4975744 w 6384854"/>
              <a:gd name="connsiteY273" fmla="*/ 3909793 h 5504521"/>
              <a:gd name="connsiteX274" fmla="*/ 4975147 w 6384854"/>
              <a:gd name="connsiteY274" fmla="*/ 3912587 h 5504521"/>
              <a:gd name="connsiteX275" fmla="*/ 4973116 w 6384854"/>
              <a:gd name="connsiteY275" fmla="*/ 3912152 h 5504521"/>
              <a:gd name="connsiteX276" fmla="*/ 5026417 w 6384854"/>
              <a:gd name="connsiteY276" fmla="*/ 3891403 h 5504521"/>
              <a:gd name="connsiteX277" fmla="*/ 5022429 w 6384854"/>
              <a:gd name="connsiteY277" fmla="*/ 3896395 h 5504521"/>
              <a:gd name="connsiteX278" fmla="*/ 5019635 w 6384854"/>
              <a:gd name="connsiteY278" fmla="*/ 3895798 h 5504521"/>
              <a:gd name="connsiteX279" fmla="*/ 5023026 w 6384854"/>
              <a:gd name="connsiteY279" fmla="*/ 3893600 h 5504521"/>
              <a:gd name="connsiteX280" fmla="*/ 5026417 w 6384854"/>
              <a:gd name="connsiteY280" fmla="*/ 3891403 h 5504521"/>
              <a:gd name="connsiteX281" fmla="*/ 5174469 w 6384854"/>
              <a:gd name="connsiteY281" fmla="*/ 3787658 h 5504521"/>
              <a:gd name="connsiteX282" fmla="*/ 5174015 w 6384854"/>
              <a:gd name="connsiteY282" fmla="*/ 3788549 h 5504521"/>
              <a:gd name="connsiteX283" fmla="*/ 5170624 w 6384854"/>
              <a:gd name="connsiteY283" fmla="*/ 3790747 h 5504521"/>
              <a:gd name="connsiteX284" fmla="*/ 5172968 w 6384854"/>
              <a:gd name="connsiteY284" fmla="*/ 3788326 h 5504521"/>
              <a:gd name="connsiteX285" fmla="*/ 5172613 w 6384854"/>
              <a:gd name="connsiteY285" fmla="*/ 3780070 h 5504521"/>
              <a:gd name="connsiteX286" fmla="*/ 5169024 w 6384854"/>
              <a:gd name="connsiteY286" fmla="*/ 3784561 h 5504521"/>
              <a:gd name="connsiteX287" fmla="*/ 5172513 w 6384854"/>
              <a:gd name="connsiteY287" fmla="*/ 3780195 h 5504521"/>
              <a:gd name="connsiteX288" fmla="*/ 2919753 w 6384854"/>
              <a:gd name="connsiteY288" fmla="*/ 3742236 h 5504521"/>
              <a:gd name="connsiteX289" fmla="*/ 2922282 w 6384854"/>
              <a:gd name="connsiteY289" fmla="*/ 3744072 h 5504521"/>
              <a:gd name="connsiteX290" fmla="*/ 2921950 w 6384854"/>
              <a:gd name="connsiteY290" fmla="*/ 3745628 h 5504521"/>
              <a:gd name="connsiteX291" fmla="*/ 2919753 w 6384854"/>
              <a:gd name="connsiteY291" fmla="*/ 3742236 h 5504521"/>
              <a:gd name="connsiteX292" fmla="*/ 2887419 w 6384854"/>
              <a:gd name="connsiteY292" fmla="*/ 3729486 h 5504521"/>
              <a:gd name="connsiteX293" fmla="*/ 2902392 w 6384854"/>
              <a:gd name="connsiteY293" fmla="*/ 3741449 h 5504521"/>
              <a:gd name="connsiteX294" fmla="*/ 2901198 w 6384854"/>
              <a:gd name="connsiteY294" fmla="*/ 3747037 h 5504521"/>
              <a:gd name="connsiteX295" fmla="*/ 2903395 w 6384854"/>
              <a:gd name="connsiteY295" fmla="*/ 3750428 h 5504521"/>
              <a:gd name="connsiteX296" fmla="*/ 2906189 w 6384854"/>
              <a:gd name="connsiteY296" fmla="*/ 3751024 h 5504521"/>
              <a:gd name="connsiteX297" fmla="*/ 2907789 w 6384854"/>
              <a:gd name="connsiteY297" fmla="*/ 3757210 h 5504521"/>
              <a:gd name="connsiteX298" fmla="*/ 2907193 w 6384854"/>
              <a:gd name="connsiteY298" fmla="*/ 3760004 h 5504521"/>
              <a:gd name="connsiteX299" fmla="*/ 2904398 w 6384854"/>
              <a:gd name="connsiteY299" fmla="*/ 3759406 h 5504521"/>
              <a:gd name="connsiteX300" fmla="*/ 2900004 w 6384854"/>
              <a:gd name="connsiteY300" fmla="*/ 3752625 h 5504521"/>
              <a:gd name="connsiteX301" fmla="*/ 2897807 w 6384854"/>
              <a:gd name="connsiteY301" fmla="*/ 3749234 h 5504521"/>
              <a:gd name="connsiteX302" fmla="*/ 2896804 w 6384854"/>
              <a:gd name="connsiteY302" fmla="*/ 3740255 h 5504521"/>
              <a:gd name="connsiteX303" fmla="*/ 2887419 w 6384854"/>
              <a:gd name="connsiteY303" fmla="*/ 3729486 h 5504521"/>
              <a:gd name="connsiteX304" fmla="*/ 2796767 w 6384854"/>
              <a:gd name="connsiteY304" fmla="*/ 3634160 h 5504521"/>
              <a:gd name="connsiteX305" fmla="*/ 2798965 w 6384854"/>
              <a:gd name="connsiteY305" fmla="*/ 3637551 h 5504521"/>
              <a:gd name="connsiteX306" fmla="*/ 2796171 w 6384854"/>
              <a:gd name="connsiteY306" fmla="*/ 3636955 h 5504521"/>
              <a:gd name="connsiteX307" fmla="*/ 2796767 w 6384854"/>
              <a:gd name="connsiteY307" fmla="*/ 3634160 h 5504521"/>
              <a:gd name="connsiteX308" fmla="*/ 5283567 w 6384854"/>
              <a:gd name="connsiteY308" fmla="*/ 3467221 h 5504521"/>
              <a:gd name="connsiteX309" fmla="*/ 5282969 w 6384854"/>
              <a:gd name="connsiteY309" fmla="*/ 3470014 h 5504521"/>
              <a:gd name="connsiteX310" fmla="*/ 5280175 w 6384854"/>
              <a:gd name="connsiteY310" fmla="*/ 3469418 h 5504521"/>
              <a:gd name="connsiteX311" fmla="*/ 5471309 w 6384854"/>
              <a:gd name="connsiteY311" fmla="*/ 3422608 h 5504521"/>
              <a:gd name="connsiteX312" fmla="*/ 5470712 w 6384854"/>
              <a:gd name="connsiteY312" fmla="*/ 3425402 h 5504521"/>
              <a:gd name="connsiteX313" fmla="*/ 5469914 w 6384854"/>
              <a:gd name="connsiteY313" fmla="*/ 3425232 h 5504521"/>
              <a:gd name="connsiteX314" fmla="*/ 2750484 w 6384854"/>
              <a:gd name="connsiteY314" fmla="*/ 3399291 h 5504521"/>
              <a:gd name="connsiteX315" fmla="*/ 2750529 w 6384854"/>
              <a:gd name="connsiteY315" fmla="*/ 3399328 h 5504521"/>
              <a:gd name="connsiteX316" fmla="*/ 2750531 w 6384854"/>
              <a:gd name="connsiteY316" fmla="*/ 3399359 h 5504521"/>
              <a:gd name="connsiteX317" fmla="*/ 2756713 w 6384854"/>
              <a:gd name="connsiteY317" fmla="*/ 3397728 h 5504521"/>
              <a:gd name="connsiteX318" fmla="*/ 2778088 w 6384854"/>
              <a:gd name="connsiteY318" fmla="*/ 3434431 h 5504521"/>
              <a:gd name="connsiteX319" fmla="*/ 2775294 w 6384854"/>
              <a:gd name="connsiteY319" fmla="*/ 3433834 h 5504521"/>
              <a:gd name="connsiteX320" fmla="*/ 2781885 w 6384854"/>
              <a:gd name="connsiteY320" fmla="*/ 3444006 h 5504521"/>
              <a:gd name="connsiteX321" fmla="*/ 2784679 w 6384854"/>
              <a:gd name="connsiteY321" fmla="*/ 3444604 h 5504521"/>
              <a:gd name="connsiteX322" fmla="*/ 2784082 w 6384854"/>
              <a:gd name="connsiteY322" fmla="*/ 3447397 h 5504521"/>
              <a:gd name="connsiteX323" fmla="*/ 2786875 w 6384854"/>
              <a:gd name="connsiteY323" fmla="*/ 3447994 h 5504521"/>
              <a:gd name="connsiteX324" fmla="*/ 2791270 w 6384854"/>
              <a:gd name="connsiteY324" fmla="*/ 3454776 h 5504521"/>
              <a:gd name="connsiteX325" fmla="*/ 2792870 w 6384854"/>
              <a:gd name="connsiteY325" fmla="*/ 3460960 h 5504521"/>
              <a:gd name="connsiteX326" fmla="*/ 2795067 w 6384854"/>
              <a:gd name="connsiteY326" fmla="*/ 3464351 h 5504521"/>
              <a:gd name="connsiteX327" fmla="*/ 2801659 w 6384854"/>
              <a:gd name="connsiteY327" fmla="*/ 3474524 h 5504521"/>
              <a:gd name="connsiteX328" fmla="*/ 2801061 w 6384854"/>
              <a:gd name="connsiteY328" fmla="*/ 3477318 h 5504521"/>
              <a:gd name="connsiteX329" fmla="*/ 2803259 w 6384854"/>
              <a:gd name="connsiteY329" fmla="*/ 3480709 h 5504521"/>
              <a:gd name="connsiteX330" fmla="*/ 2823629 w 6384854"/>
              <a:gd name="connsiteY330" fmla="*/ 3508433 h 5504521"/>
              <a:gd name="connsiteX331" fmla="*/ 2827019 w 6384854"/>
              <a:gd name="connsiteY331" fmla="*/ 3506235 h 5504521"/>
              <a:gd name="connsiteX332" fmla="*/ 2824823 w 6384854"/>
              <a:gd name="connsiteY332" fmla="*/ 3502845 h 5504521"/>
              <a:gd name="connsiteX333" fmla="*/ 2822625 w 6384854"/>
              <a:gd name="connsiteY333" fmla="*/ 3499454 h 5504521"/>
              <a:gd name="connsiteX334" fmla="*/ 2825419 w 6384854"/>
              <a:gd name="connsiteY334" fmla="*/ 3500051 h 5504521"/>
              <a:gd name="connsiteX335" fmla="*/ 2827616 w 6384854"/>
              <a:gd name="connsiteY335" fmla="*/ 3503442 h 5504521"/>
              <a:gd name="connsiteX336" fmla="*/ 2829814 w 6384854"/>
              <a:gd name="connsiteY336" fmla="*/ 3506832 h 5504521"/>
              <a:gd name="connsiteX337" fmla="*/ 2829217 w 6384854"/>
              <a:gd name="connsiteY337" fmla="*/ 3509627 h 5504521"/>
              <a:gd name="connsiteX338" fmla="*/ 2828620 w 6384854"/>
              <a:gd name="connsiteY338" fmla="*/ 3512421 h 5504521"/>
              <a:gd name="connsiteX339" fmla="*/ 2849587 w 6384854"/>
              <a:gd name="connsiteY339" fmla="*/ 3537350 h 5504521"/>
              <a:gd name="connsiteX340" fmla="*/ 2848991 w 6384854"/>
              <a:gd name="connsiteY340" fmla="*/ 3540144 h 5504521"/>
              <a:gd name="connsiteX341" fmla="*/ 2896513 w 6384854"/>
              <a:gd name="connsiteY341" fmla="*/ 3591198 h 5504521"/>
              <a:gd name="connsiteX342" fmla="*/ 2963403 w 6384854"/>
              <a:gd name="connsiteY342" fmla="*/ 3660996 h 5504521"/>
              <a:gd name="connsiteX343" fmla="*/ 2977779 w 6384854"/>
              <a:gd name="connsiteY343" fmla="*/ 3675754 h 5504521"/>
              <a:gd name="connsiteX344" fmla="*/ 2980573 w 6384854"/>
              <a:gd name="connsiteY344" fmla="*/ 3676351 h 5504521"/>
              <a:gd name="connsiteX345" fmla="*/ 2988357 w 6384854"/>
              <a:gd name="connsiteY345" fmla="*/ 3680935 h 5504521"/>
              <a:gd name="connsiteX346" fmla="*/ 2990555 w 6384854"/>
              <a:gd name="connsiteY346" fmla="*/ 3684327 h 5504521"/>
              <a:gd name="connsiteX347" fmla="*/ 2987761 w 6384854"/>
              <a:gd name="connsiteY347" fmla="*/ 3683729 h 5504521"/>
              <a:gd name="connsiteX348" fmla="*/ 3024298 w 6384854"/>
              <a:gd name="connsiteY348" fmla="*/ 3717829 h 5504521"/>
              <a:gd name="connsiteX349" fmla="*/ 3053647 w 6384854"/>
              <a:gd name="connsiteY349" fmla="*/ 3744549 h 5504521"/>
              <a:gd name="connsiteX350" fmla="*/ 3063629 w 6384854"/>
              <a:gd name="connsiteY350" fmla="*/ 3752525 h 5504521"/>
              <a:gd name="connsiteX351" fmla="*/ 3091378 w 6384854"/>
              <a:gd name="connsiteY351" fmla="*/ 3773061 h 5504521"/>
              <a:gd name="connsiteX352" fmla="*/ 3110745 w 6384854"/>
              <a:gd name="connsiteY352" fmla="*/ 3791806 h 5504521"/>
              <a:gd name="connsiteX353" fmla="*/ 3223939 w 6384854"/>
              <a:gd name="connsiteY353" fmla="*/ 3877340 h 5504521"/>
              <a:gd name="connsiteX354" fmla="*/ 3316762 w 6384854"/>
              <a:gd name="connsiteY354" fmla="*/ 3935150 h 5504521"/>
              <a:gd name="connsiteX355" fmla="*/ 3414169 w 6384854"/>
              <a:gd name="connsiteY355" fmla="*/ 3985176 h 5504521"/>
              <a:gd name="connsiteX356" fmla="*/ 3424747 w 6384854"/>
              <a:gd name="connsiteY356" fmla="*/ 3990357 h 5504521"/>
              <a:gd name="connsiteX357" fmla="*/ 3441608 w 6384854"/>
              <a:gd name="connsiteY357" fmla="*/ 3997072 h 5504521"/>
              <a:gd name="connsiteX358" fmla="*/ 3469701 w 6384854"/>
              <a:gd name="connsiteY358" fmla="*/ 3977138 h 5504521"/>
              <a:gd name="connsiteX359" fmla="*/ 3724668 w 6384854"/>
              <a:gd name="connsiteY359" fmla="*/ 3787369 h 5504521"/>
              <a:gd name="connsiteX360" fmla="*/ 3754040 w 6384854"/>
              <a:gd name="connsiteY360" fmla="*/ 3765203 h 5504521"/>
              <a:gd name="connsiteX361" fmla="*/ 3767564 w 6384854"/>
              <a:gd name="connsiteY361" fmla="*/ 3768276 h 5504521"/>
              <a:gd name="connsiteX362" fmla="*/ 3792803 w 6384854"/>
              <a:gd name="connsiteY362" fmla="*/ 3771639 h 5504521"/>
              <a:gd name="connsiteX363" fmla="*/ 3704456 w 6384854"/>
              <a:gd name="connsiteY363" fmla="*/ 3845364 h 5504521"/>
              <a:gd name="connsiteX364" fmla="*/ 3610814 w 6384854"/>
              <a:gd name="connsiteY364" fmla="*/ 3920373 h 5504521"/>
              <a:gd name="connsiteX365" fmla="*/ 3546062 w 6384854"/>
              <a:gd name="connsiteY365" fmla="*/ 3980098 h 5504521"/>
              <a:gd name="connsiteX366" fmla="*/ 3518646 w 6384854"/>
              <a:gd name="connsiteY366" fmla="*/ 4002337 h 5504521"/>
              <a:gd name="connsiteX367" fmla="*/ 3490691 w 6384854"/>
              <a:gd name="connsiteY367" fmla="*/ 4016620 h 5504521"/>
              <a:gd name="connsiteX368" fmla="*/ 3441607 w 6384854"/>
              <a:gd name="connsiteY368" fmla="*/ 3997072 h 5504521"/>
              <a:gd name="connsiteX369" fmla="*/ 3409318 w 6384854"/>
              <a:gd name="connsiteY369" fmla="*/ 4019984 h 5504521"/>
              <a:gd name="connsiteX370" fmla="*/ 3408678 w 6384854"/>
              <a:gd name="connsiteY370" fmla="*/ 4019425 h 5504521"/>
              <a:gd name="connsiteX371" fmla="*/ 3393633 w 6384854"/>
              <a:gd name="connsiteY371" fmla="*/ 4012924 h 5504521"/>
              <a:gd name="connsiteX372" fmla="*/ 3384655 w 6384854"/>
              <a:gd name="connsiteY372" fmla="*/ 4013927 h 5504521"/>
              <a:gd name="connsiteX373" fmla="*/ 3375270 w 6384854"/>
              <a:gd name="connsiteY373" fmla="*/ 4003158 h 5504521"/>
              <a:gd name="connsiteX374" fmla="*/ 3353515 w 6384854"/>
              <a:gd name="connsiteY374" fmla="*/ 3995589 h 5504521"/>
              <a:gd name="connsiteX375" fmla="*/ 3280059 w 6384854"/>
              <a:gd name="connsiteY375" fmla="*/ 3956524 h 5504521"/>
              <a:gd name="connsiteX376" fmla="*/ 3267879 w 6384854"/>
              <a:gd name="connsiteY376" fmla="*/ 3945157 h 5504521"/>
              <a:gd name="connsiteX377" fmla="*/ 3193421 w 6384854"/>
              <a:gd name="connsiteY377" fmla="*/ 3897113 h 5504521"/>
              <a:gd name="connsiteX378" fmla="*/ 3127344 w 6384854"/>
              <a:gd name="connsiteY378" fmla="*/ 3850860 h 5504521"/>
              <a:gd name="connsiteX379" fmla="*/ 3122950 w 6384854"/>
              <a:gd name="connsiteY379" fmla="*/ 3844078 h 5504521"/>
              <a:gd name="connsiteX380" fmla="*/ 3122353 w 6384854"/>
              <a:gd name="connsiteY380" fmla="*/ 3846872 h 5504521"/>
              <a:gd name="connsiteX381" fmla="*/ 3093003 w 6384854"/>
              <a:gd name="connsiteY381" fmla="*/ 3820152 h 5504521"/>
              <a:gd name="connsiteX382" fmla="*/ 3074639 w 6384854"/>
              <a:gd name="connsiteY382" fmla="*/ 3810385 h 5504521"/>
              <a:gd name="connsiteX383" fmla="*/ 3078627 w 6384854"/>
              <a:gd name="connsiteY383" fmla="*/ 3805394 h 5504521"/>
              <a:gd name="connsiteX384" fmla="*/ 3066448 w 6384854"/>
              <a:gd name="connsiteY384" fmla="*/ 3794027 h 5504521"/>
              <a:gd name="connsiteX385" fmla="*/ 3057470 w 6384854"/>
              <a:gd name="connsiteY385" fmla="*/ 3795031 h 5504521"/>
              <a:gd name="connsiteX386" fmla="*/ 3002161 w 6384854"/>
              <a:gd name="connsiteY386" fmla="*/ 3739393 h 5504521"/>
              <a:gd name="connsiteX387" fmla="*/ 2997171 w 6384854"/>
              <a:gd name="connsiteY387" fmla="*/ 3735405 h 5504521"/>
              <a:gd name="connsiteX388" fmla="*/ 2994974 w 6384854"/>
              <a:gd name="connsiteY388" fmla="*/ 3732014 h 5504521"/>
              <a:gd name="connsiteX389" fmla="*/ 2997768 w 6384854"/>
              <a:gd name="connsiteY389" fmla="*/ 3732611 h 5504521"/>
              <a:gd name="connsiteX390" fmla="*/ 3000562 w 6384854"/>
              <a:gd name="connsiteY390" fmla="*/ 3733208 h 5504521"/>
              <a:gd name="connsiteX391" fmla="*/ 2940263 w 6384854"/>
              <a:gd name="connsiteY391" fmla="*/ 3673582 h 5504521"/>
              <a:gd name="connsiteX392" fmla="*/ 2931285 w 6384854"/>
              <a:gd name="connsiteY392" fmla="*/ 3674585 h 5504521"/>
              <a:gd name="connsiteX393" fmla="*/ 2844621 w 6384854"/>
              <a:gd name="connsiteY393" fmla="*/ 3574268 h 5504521"/>
              <a:gd name="connsiteX394" fmla="*/ 2762543 w 6384854"/>
              <a:gd name="connsiteY394" fmla="*/ 3466167 h 5504521"/>
              <a:gd name="connsiteX395" fmla="*/ 2787904 w 6384854"/>
              <a:gd name="connsiteY395" fmla="*/ 3497878 h 5504521"/>
              <a:gd name="connsiteX396" fmla="*/ 2795689 w 6384854"/>
              <a:gd name="connsiteY396" fmla="*/ 3502464 h 5504521"/>
              <a:gd name="connsiteX397" fmla="*/ 2853600 w 6384854"/>
              <a:gd name="connsiteY397" fmla="*/ 3573265 h 5504521"/>
              <a:gd name="connsiteX398" fmla="*/ 2926484 w 6384854"/>
              <a:gd name="connsiteY398" fmla="*/ 3656031 h 5504521"/>
              <a:gd name="connsiteX399" fmla="*/ 2937063 w 6384854"/>
              <a:gd name="connsiteY399" fmla="*/ 3661212 h 5504521"/>
              <a:gd name="connsiteX400" fmla="*/ 2977397 w 6384854"/>
              <a:gd name="connsiteY400" fmla="*/ 3704887 h 5504521"/>
              <a:gd name="connsiteX401" fmla="*/ 2982985 w 6384854"/>
              <a:gd name="connsiteY401" fmla="*/ 3706081 h 5504521"/>
              <a:gd name="connsiteX402" fmla="*/ 2981791 w 6384854"/>
              <a:gd name="connsiteY402" fmla="*/ 3711669 h 5504521"/>
              <a:gd name="connsiteX403" fmla="*/ 3038889 w 6384854"/>
              <a:gd name="connsiteY403" fmla="*/ 3758925 h 5504521"/>
              <a:gd name="connsiteX404" fmla="*/ 3031702 w 6384854"/>
              <a:gd name="connsiteY404" fmla="*/ 3751547 h 5504521"/>
              <a:gd name="connsiteX405" fmla="*/ 3012932 w 6384854"/>
              <a:gd name="connsiteY405" fmla="*/ 3730008 h 5504521"/>
              <a:gd name="connsiteX406" fmla="*/ 2977588 w 6384854"/>
              <a:gd name="connsiteY406" fmla="*/ 3690321 h 5504521"/>
              <a:gd name="connsiteX407" fmla="*/ 2972597 w 6384854"/>
              <a:gd name="connsiteY407" fmla="*/ 3686333 h 5504521"/>
              <a:gd name="connsiteX408" fmla="*/ 2967009 w 6384854"/>
              <a:gd name="connsiteY408" fmla="*/ 3685139 h 5504521"/>
              <a:gd name="connsiteX409" fmla="*/ 2956024 w 6384854"/>
              <a:gd name="connsiteY409" fmla="*/ 3668185 h 5504521"/>
              <a:gd name="connsiteX410" fmla="*/ 2939450 w 6384854"/>
              <a:gd name="connsiteY410" fmla="*/ 3650037 h 5504521"/>
              <a:gd name="connsiteX411" fmla="*/ 2907308 w 6384854"/>
              <a:gd name="connsiteY411" fmla="*/ 3622719 h 5504521"/>
              <a:gd name="connsiteX412" fmla="*/ 2907905 w 6384854"/>
              <a:gd name="connsiteY412" fmla="*/ 3619925 h 5504521"/>
              <a:gd name="connsiteX413" fmla="*/ 2898519 w 6384854"/>
              <a:gd name="connsiteY413" fmla="*/ 3609156 h 5504521"/>
              <a:gd name="connsiteX414" fmla="*/ 2896322 w 6384854"/>
              <a:gd name="connsiteY414" fmla="*/ 3605764 h 5504521"/>
              <a:gd name="connsiteX415" fmla="*/ 2877552 w 6384854"/>
              <a:gd name="connsiteY415" fmla="*/ 3584226 h 5504521"/>
              <a:gd name="connsiteX416" fmla="*/ 2868167 w 6384854"/>
              <a:gd name="connsiteY416" fmla="*/ 3573456 h 5504521"/>
              <a:gd name="connsiteX417" fmla="*/ 2840012 w 6384854"/>
              <a:gd name="connsiteY417" fmla="*/ 3541148 h 5504521"/>
              <a:gd name="connsiteX418" fmla="*/ 2828429 w 6384854"/>
              <a:gd name="connsiteY418" fmla="*/ 3526987 h 5504521"/>
              <a:gd name="connsiteX419" fmla="*/ 2825635 w 6384854"/>
              <a:gd name="connsiteY419" fmla="*/ 3526390 h 5504521"/>
              <a:gd name="connsiteX420" fmla="*/ 2823438 w 6384854"/>
              <a:gd name="connsiteY420" fmla="*/ 3522999 h 5504521"/>
              <a:gd name="connsiteX421" fmla="*/ 2824035 w 6384854"/>
              <a:gd name="connsiteY421" fmla="*/ 3520206 h 5504521"/>
              <a:gd name="connsiteX422" fmla="*/ 2821241 w 6384854"/>
              <a:gd name="connsiteY422" fmla="*/ 3519609 h 5504521"/>
              <a:gd name="connsiteX423" fmla="*/ 2778303 w 6384854"/>
              <a:gd name="connsiteY423" fmla="*/ 3460770 h 5504521"/>
              <a:gd name="connsiteX424" fmla="*/ 2773313 w 6384854"/>
              <a:gd name="connsiteY424" fmla="*/ 3456782 h 5504521"/>
              <a:gd name="connsiteX425" fmla="*/ 2770519 w 6384854"/>
              <a:gd name="connsiteY425" fmla="*/ 3456185 h 5504521"/>
              <a:gd name="connsiteX426" fmla="*/ 2768321 w 6384854"/>
              <a:gd name="connsiteY426" fmla="*/ 3452794 h 5504521"/>
              <a:gd name="connsiteX427" fmla="*/ 2768919 w 6384854"/>
              <a:gd name="connsiteY427" fmla="*/ 3450000 h 5504521"/>
              <a:gd name="connsiteX428" fmla="*/ 2754135 w 6384854"/>
              <a:gd name="connsiteY428" fmla="*/ 3423470 h 5504521"/>
              <a:gd name="connsiteX429" fmla="*/ 2751939 w 6384854"/>
              <a:gd name="connsiteY429" fmla="*/ 3420080 h 5504521"/>
              <a:gd name="connsiteX430" fmla="*/ 2750339 w 6384854"/>
              <a:gd name="connsiteY430" fmla="*/ 3413895 h 5504521"/>
              <a:gd name="connsiteX431" fmla="*/ 2755810 w 6384854"/>
              <a:gd name="connsiteY431" fmla="*/ 3415063 h 5504521"/>
              <a:gd name="connsiteX432" fmla="*/ 2758123 w 6384854"/>
              <a:gd name="connsiteY432" fmla="*/ 3418479 h 5504521"/>
              <a:gd name="connsiteX433" fmla="*/ 2755927 w 6384854"/>
              <a:gd name="connsiteY433" fmla="*/ 3415088 h 5504521"/>
              <a:gd name="connsiteX434" fmla="*/ 2755810 w 6384854"/>
              <a:gd name="connsiteY434" fmla="*/ 3415063 h 5504521"/>
              <a:gd name="connsiteX435" fmla="*/ 2751183 w 6384854"/>
              <a:gd name="connsiteY435" fmla="*/ 3408232 h 5504521"/>
              <a:gd name="connsiteX436" fmla="*/ 2750531 w 6384854"/>
              <a:gd name="connsiteY436" fmla="*/ 3399359 h 5504521"/>
              <a:gd name="connsiteX437" fmla="*/ 2751079 w 6384854"/>
              <a:gd name="connsiteY437" fmla="*/ 3400176 h 5504521"/>
              <a:gd name="connsiteX438" fmla="*/ 2756713 w 6384854"/>
              <a:gd name="connsiteY438" fmla="*/ 3397728 h 5504521"/>
              <a:gd name="connsiteX439" fmla="*/ 5584542 w 6384854"/>
              <a:gd name="connsiteY439" fmla="*/ 3248139 h 5504521"/>
              <a:gd name="connsiteX440" fmla="*/ 5586740 w 6384854"/>
              <a:gd name="connsiteY440" fmla="*/ 3251531 h 5504521"/>
              <a:gd name="connsiteX441" fmla="*/ 5474666 w 6384854"/>
              <a:gd name="connsiteY441" fmla="*/ 3487233 h 5504521"/>
              <a:gd name="connsiteX442" fmla="*/ 5413364 w 6384854"/>
              <a:gd name="connsiteY442" fmla="*/ 3585142 h 5504521"/>
              <a:gd name="connsiteX443" fmla="*/ 5330999 w 6384854"/>
              <a:gd name="connsiteY443" fmla="*/ 3696465 h 5504521"/>
              <a:gd name="connsiteX444" fmla="*/ 5014504 w 6384854"/>
              <a:gd name="connsiteY444" fmla="*/ 3988189 h 5504521"/>
              <a:gd name="connsiteX445" fmla="*/ 5004928 w 6384854"/>
              <a:gd name="connsiteY445" fmla="*/ 3991986 h 5504521"/>
              <a:gd name="connsiteX446" fmla="*/ 5007721 w 6384854"/>
              <a:gd name="connsiteY446" fmla="*/ 3992582 h 5504521"/>
              <a:gd name="connsiteX447" fmla="*/ 4966434 w 6384854"/>
              <a:gd name="connsiteY447" fmla="*/ 4021741 h 5504521"/>
              <a:gd name="connsiteX448" fmla="*/ 4946089 w 6384854"/>
              <a:gd name="connsiteY448" fmla="*/ 4034923 h 5504521"/>
              <a:gd name="connsiteX449" fmla="*/ 4899214 w 6384854"/>
              <a:gd name="connsiteY449" fmla="*/ 4062887 h 5504521"/>
              <a:gd name="connsiteX450" fmla="*/ 4882857 w 6384854"/>
              <a:gd name="connsiteY450" fmla="*/ 4071079 h 5504521"/>
              <a:gd name="connsiteX451" fmla="*/ 4878869 w 6384854"/>
              <a:gd name="connsiteY451" fmla="*/ 4076070 h 5504521"/>
              <a:gd name="connsiteX452" fmla="*/ 4876075 w 6384854"/>
              <a:gd name="connsiteY452" fmla="*/ 4075472 h 5504521"/>
              <a:gd name="connsiteX453" fmla="*/ 4872684 w 6384854"/>
              <a:gd name="connsiteY453" fmla="*/ 4077670 h 5504521"/>
              <a:gd name="connsiteX454" fmla="*/ 4839372 w 6384854"/>
              <a:gd name="connsiteY454" fmla="*/ 4096846 h 5504521"/>
              <a:gd name="connsiteX455" fmla="*/ 4783518 w 6384854"/>
              <a:gd name="connsiteY455" fmla="*/ 4125814 h 5504521"/>
              <a:gd name="connsiteX456" fmla="*/ 4784114 w 6384854"/>
              <a:gd name="connsiteY456" fmla="*/ 4123020 h 5504521"/>
              <a:gd name="connsiteX457" fmla="*/ 4736236 w 6384854"/>
              <a:gd name="connsiteY457" fmla="*/ 4142005 h 5504521"/>
              <a:gd name="connsiteX458" fmla="*/ 4744617 w 6384854"/>
              <a:gd name="connsiteY458" fmla="*/ 4143796 h 5504521"/>
              <a:gd name="connsiteX459" fmla="*/ 3688510 w 6384854"/>
              <a:gd name="connsiteY459" fmla="*/ 4259976 h 5504521"/>
              <a:gd name="connsiteX460" fmla="*/ 3612148 w 6384854"/>
              <a:gd name="connsiteY460" fmla="*/ 4240802 h 5504521"/>
              <a:gd name="connsiteX461" fmla="*/ 3634146 w 6384854"/>
              <a:gd name="connsiteY461" fmla="*/ 4223808 h 5504521"/>
              <a:gd name="connsiteX462" fmla="*/ 3666589 w 6384854"/>
              <a:gd name="connsiteY462" fmla="*/ 4197000 h 5504521"/>
              <a:gd name="connsiteX463" fmla="*/ 3712597 w 6384854"/>
              <a:gd name="connsiteY463" fmla="*/ 4207058 h 5504521"/>
              <a:gd name="connsiteX464" fmla="*/ 3785461 w 6384854"/>
              <a:gd name="connsiteY464" fmla="*/ 4216417 h 5504521"/>
              <a:gd name="connsiteX465" fmla="*/ 3798833 w 6384854"/>
              <a:gd name="connsiteY465" fmla="*/ 4222196 h 5504521"/>
              <a:gd name="connsiteX466" fmla="*/ 3796040 w 6384854"/>
              <a:gd name="connsiteY466" fmla="*/ 4221599 h 5504521"/>
              <a:gd name="connsiteX467" fmla="*/ 3795443 w 6384854"/>
              <a:gd name="connsiteY467" fmla="*/ 4224392 h 5504521"/>
              <a:gd name="connsiteX468" fmla="*/ 3801031 w 6384854"/>
              <a:gd name="connsiteY468" fmla="*/ 4225586 h 5504521"/>
              <a:gd name="connsiteX469" fmla="*/ 3801627 w 6384854"/>
              <a:gd name="connsiteY469" fmla="*/ 4222793 h 5504521"/>
              <a:gd name="connsiteX470" fmla="*/ 3804422 w 6384854"/>
              <a:gd name="connsiteY470" fmla="*/ 4223389 h 5504521"/>
              <a:gd name="connsiteX471" fmla="*/ 3850915 w 6384854"/>
              <a:gd name="connsiteY471" fmla="*/ 4224558 h 5504521"/>
              <a:gd name="connsiteX472" fmla="*/ 3862091 w 6384854"/>
              <a:gd name="connsiteY472" fmla="*/ 4226946 h 5504521"/>
              <a:gd name="connsiteX473" fmla="*/ 3905195 w 6384854"/>
              <a:gd name="connsiteY473" fmla="*/ 4230312 h 5504521"/>
              <a:gd name="connsiteX474" fmla="*/ 3931534 w 6384854"/>
              <a:gd name="connsiteY474" fmla="*/ 4230096 h 5504521"/>
              <a:gd name="connsiteX475" fmla="*/ 3999974 w 6384854"/>
              <a:gd name="connsiteY475" fmla="*/ 4224268 h 5504521"/>
              <a:gd name="connsiteX476" fmla="*/ 4068413 w 6384854"/>
              <a:gd name="connsiteY476" fmla="*/ 4218439 h 5504521"/>
              <a:gd name="connsiteX477" fmla="*/ 4124483 w 6384854"/>
              <a:gd name="connsiteY477" fmla="*/ 4215811 h 5504521"/>
              <a:gd name="connsiteX478" fmla="*/ 4206893 w 6384854"/>
              <a:gd name="connsiteY478" fmla="*/ 4212967 h 5504521"/>
              <a:gd name="connsiteX479" fmla="*/ 4316429 w 6384854"/>
              <a:gd name="connsiteY479" fmla="*/ 4192547 h 5504521"/>
              <a:gd name="connsiteX480" fmla="*/ 4383269 w 6384854"/>
              <a:gd name="connsiteY480" fmla="*/ 4180533 h 5504521"/>
              <a:gd name="connsiteX481" fmla="*/ 4444520 w 6384854"/>
              <a:gd name="connsiteY481" fmla="*/ 4167326 h 5504521"/>
              <a:gd name="connsiteX482" fmla="*/ 4548659 w 6384854"/>
              <a:gd name="connsiteY482" fmla="*/ 4131145 h 5504521"/>
              <a:gd name="connsiteX483" fmla="*/ 4596538 w 6384854"/>
              <a:gd name="connsiteY483" fmla="*/ 4112159 h 5504521"/>
              <a:gd name="connsiteX484" fmla="*/ 4621874 w 6384854"/>
              <a:gd name="connsiteY484" fmla="*/ 4102966 h 5504521"/>
              <a:gd name="connsiteX485" fmla="*/ 4625862 w 6384854"/>
              <a:gd name="connsiteY485" fmla="*/ 4097974 h 5504521"/>
              <a:gd name="connsiteX486" fmla="*/ 4653992 w 6384854"/>
              <a:gd name="connsiteY486" fmla="*/ 4089377 h 5504521"/>
              <a:gd name="connsiteX487" fmla="*/ 4703065 w 6384854"/>
              <a:gd name="connsiteY487" fmla="*/ 4064804 h 5504521"/>
              <a:gd name="connsiteX488" fmla="*/ 4816970 w 6384854"/>
              <a:gd name="connsiteY488" fmla="*/ 4010259 h 5504521"/>
              <a:gd name="connsiteX489" fmla="*/ 4824946 w 6384854"/>
              <a:gd name="connsiteY489" fmla="*/ 4000277 h 5504521"/>
              <a:gd name="connsiteX490" fmla="*/ 4837315 w 6384854"/>
              <a:gd name="connsiteY490" fmla="*/ 3997077 h 5504521"/>
              <a:gd name="connsiteX491" fmla="*/ 4878005 w 6384854"/>
              <a:gd name="connsiteY491" fmla="*/ 3970712 h 5504521"/>
              <a:gd name="connsiteX492" fmla="*/ 4883594 w 6384854"/>
              <a:gd name="connsiteY492" fmla="*/ 3971906 h 5504521"/>
              <a:gd name="connsiteX493" fmla="*/ 4897158 w 6384854"/>
              <a:gd name="connsiteY493" fmla="*/ 3963118 h 5504521"/>
              <a:gd name="connsiteX494" fmla="*/ 4899951 w 6384854"/>
              <a:gd name="connsiteY494" fmla="*/ 3963715 h 5504521"/>
              <a:gd name="connsiteX495" fmla="*/ 4902745 w 6384854"/>
              <a:gd name="connsiteY495" fmla="*/ 3964312 h 5504521"/>
              <a:gd name="connsiteX496" fmla="*/ 4915712 w 6384854"/>
              <a:gd name="connsiteY496" fmla="*/ 3958318 h 5504521"/>
              <a:gd name="connsiteX497" fmla="*/ 4927078 w 6384854"/>
              <a:gd name="connsiteY497" fmla="*/ 3946138 h 5504521"/>
              <a:gd name="connsiteX498" fmla="*/ 4921490 w 6384854"/>
              <a:gd name="connsiteY498" fmla="*/ 3944945 h 5504521"/>
              <a:gd name="connsiteX499" fmla="*/ 4924881 w 6384854"/>
              <a:gd name="connsiteY499" fmla="*/ 3942748 h 5504521"/>
              <a:gd name="connsiteX500" fmla="*/ 4969559 w 6384854"/>
              <a:gd name="connsiteY500" fmla="*/ 3911392 h 5504521"/>
              <a:gd name="connsiteX501" fmla="*/ 4973116 w 6384854"/>
              <a:gd name="connsiteY501" fmla="*/ 3912152 h 5504521"/>
              <a:gd name="connsiteX502" fmla="*/ 4968515 w 6384854"/>
              <a:gd name="connsiteY502" fmla="*/ 3916282 h 5504521"/>
              <a:gd name="connsiteX503" fmla="*/ 4962181 w 6384854"/>
              <a:gd name="connsiteY503" fmla="*/ 3918581 h 5504521"/>
              <a:gd name="connsiteX504" fmla="*/ 4979542 w 6384854"/>
              <a:gd name="connsiteY504" fmla="*/ 3919368 h 5504521"/>
              <a:gd name="connsiteX505" fmla="*/ 4986920 w 6384854"/>
              <a:gd name="connsiteY505" fmla="*/ 3912180 h 5504521"/>
              <a:gd name="connsiteX506" fmla="*/ 4990311 w 6384854"/>
              <a:gd name="connsiteY506" fmla="*/ 3909983 h 5504521"/>
              <a:gd name="connsiteX507" fmla="*/ 4993702 w 6384854"/>
              <a:gd name="connsiteY507" fmla="*/ 3907786 h 5504521"/>
              <a:gd name="connsiteX508" fmla="*/ 4994298 w 6384854"/>
              <a:gd name="connsiteY508" fmla="*/ 3904992 h 5504521"/>
              <a:gd name="connsiteX509" fmla="*/ 5005068 w 6384854"/>
              <a:gd name="connsiteY509" fmla="*/ 3895607 h 5504521"/>
              <a:gd name="connsiteX510" fmla="*/ 5004472 w 6384854"/>
              <a:gd name="connsiteY510" fmla="*/ 3898401 h 5504521"/>
              <a:gd name="connsiteX511" fmla="*/ 5003875 w 6384854"/>
              <a:gd name="connsiteY511" fmla="*/ 3901195 h 5504521"/>
              <a:gd name="connsiteX512" fmla="*/ 5013451 w 6384854"/>
              <a:gd name="connsiteY512" fmla="*/ 3897397 h 5504521"/>
              <a:gd name="connsiteX513" fmla="*/ 5014047 w 6384854"/>
              <a:gd name="connsiteY513" fmla="*/ 3894604 h 5504521"/>
              <a:gd name="connsiteX514" fmla="*/ 5014644 w 6384854"/>
              <a:gd name="connsiteY514" fmla="*/ 3891810 h 5504521"/>
              <a:gd name="connsiteX515" fmla="*/ 5023623 w 6384854"/>
              <a:gd name="connsiteY515" fmla="*/ 3890807 h 5504521"/>
              <a:gd name="connsiteX516" fmla="*/ 5020232 w 6384854"/>
              <a:gd name="connsiteY516" fmla="*/ 3893004 h 5504521"/>
              <a:gd name="connsiteX517" fmla="*/ 5016841 w 6384854"/>
              <a:gd name="connsiteY517" fmla="*/ 3895201 h 5504521"/>
              <a:gd name="connsiteX518" fmla="*/ 5016245 w 6384854"/>
              <a:gd name="connsiteY518" fmla="*/ 3897995 h 5504521"/>
              <a:gd name="connsiteX519" fmla="*/ 5019635 w 6384854"/>
              <a:gd name="connsiteY519" fmla="*/ 3895798 h 5504521"/>
              <a:gd name="connsiteX520" fmla="*/ 5018441 w 6384854"/>
              <a:gd name="connsiteY520" fmla="*/ 3901385 h 5504521"/>
              <a:gd name="connsiteX521" fmla="*/ 5021832 w 6384854"/>
              <a:gd name="connsiteY521" fmla="*/ 3899188 h 5504521"/>
              <a:gd name="connsiteX522" fmla="*/ 5025223 w 6384854"/>
              <a:gd name="connsiteY522" fmla="*/ 3896992 h 5504521"/>
              <a:gd name="connsiteX523" fmla="*/ 5012257 w 6384854"/>
              <a:gd name="connsiteY523" fmla="*/ 3902986 h 5504521"/>
              <a:gd name="connsiteX524" fmla="*/ 5007672 w 6384854"/>
              <a:gd name="connsiteY524" fmla="*/ 3910771 h 5504521"/>
              <a:gd name="connsiteX525" fmla="*/ 5028614 w 6384854"/>
              <a:gd name="connsiteY525" fmla="*/ 3894795 h 5504521"/>
              <a:gd name="connsiteX526" fmla="*/ 5031408 w 6384854"/>
              <a:gd name="connsiteY526" fmla="*/ 3895391 h 5504521"/>
              <a:gd name="connsiteX527" fmla="*/ 5035396 w 6384854"/>
              <a:gd name="connsiteY527" fmla="*/ 3890400 h 5504521"/>
              <a:gd name="connsiteX528" fmla="*/ 5032602 w 6384854"/>
              <a:gd name="connsiteY528" fmla="*/ 3889804 h 5504521"/>
              <a:gd name="connsiteX529" fmla="*/ 5042177 w 6384854"/>
              <a:gd name="connsiteY529" fmla="*/ 3886007 h 5504521"/>
              <a:gd name="connsiteX530" fmla="*/ 5043371 w 6384854"/>
              <a:gd name="connsiteY530" fmla="*/ 3880419 h 5504521"/>
              <a:gd name="connsiteX531" fmla="*/ 5048960 w 6384854"/>
              <a:gd name="connsiteY531" fmla="*/ 3881613 h 5504521"/>
              <a:gd name="connsiteX532" fmla="*/ 5068301 w 6384854"/>
              <a:gd name="connsiteY532" fmla="*/ 3859451 h 5504521"/>
              <a:gd name="connsiteX533" fmla="*/ 5071692 w 6384854"/>
              <a:gd name="connsiteY533" fmla="*/ 3857255 h 5504521"/>
              <a:gd name="connsiteX534" fmla="*/ 5074486 w 6384854"/>
              <a:gd name="connsiteY534" fmla="*/ 3857851 h 5504521"/>
              <a:gd name="connsiteX535" fmla="*/ 5111977 w 6384854"/>
              <a:gd name="connsiteY535" fmla="*/ 3819118 h 5504521"/>
              <a:gd name="connsiteX536" fmla="*/ 5124943 w 6384854"/>
              <a:gd name="connsiteY536" fmla="*/ 3813123 h 5504521"/>
              <a:gd name="connsiteX537" fmla="*/ 5124346 w 6384854"/>
              <a:gd name="connsiteY537" fmla="*/ 3815917 h 5504521"/>
              <a:gd name="connsiteX538" fmla="*/ 5128334 w 6384854"/>
              <a:gd name="connsiteY538" fmla="*/ 3810926 h 5504521"/>
              <a:gd name="connsiteX539" fmla="*/ 5142494 w 6384854"/>
              <a:gd name="connsiteY539" fmla="*/ 3799344 h 5504521"/>
              <a:gd name="connsiteX540" fmla="*/ 5141898 w 6384854"/>
              <a:gd name="connsiteY540" fmla="*/ 3802138 h 5504521"/>
              <a:gd name="connsiteX541" fmla="*/ 5145288 w 6384854"/>
              <a:gd name="connsiteY541" fmla="*/ 3799940 h 5504521"/>
              <a:gd name="connsiteX542" fmla="*/ 5145885 w 6384854"/>
              <a:gd name="connsiteY542" fmla="*/ 3797147 h 5504521"/>
              <a:gd name="connsiteX543" fmla="*/ 5154458 w 6384854"/>
              <a:gd name="connsiteY543" fmla="*/ 3784371 h 5504521"/>
              <a:gd name="connsiteX544" fmla="*/ 5157252 w 6384854"/>
              <a:gd name="connsiteY544" fmla="*/ 3784968 h 5504521"/>
              <a:gd name="connsiteX545" fmla="*/ 5157849 w 6384854"/>
              <a:gd name="connsiteY545" fmla="*/ 3782174 h 5504521"/>
              <a:gd name="connsiteX546" fmla="*/ 5160642 w 6384854"/>
              <a:gd name="connsiteY546" fmla="*/ 3782771 h 5504521"/>
              <a:gd name="connsiteX547" fmla="*/ 5161239 w 6384854"/>
              <a:gd name="connsiteY547" fmla="*/ 3779977 h 5504521"/>
              <a:gd name="connsiteX548" fmla="*/ 5158446 w 6384854"/>
              <a:gd name="connsiteY548" fmla="*/ 3779381 h 5504521"/>
              <a:gd name="connsiteX549" fmla="*/ 5176593 w 6384854"/>
              <a:gd name="connsiteY549" fmla="*/ 3762807 h 5504521"/>
              <a:gd name="connsiteX550" fmla="*/ 5175400 w 6384854"/>
              <a:gd name="connsiteY550" fmla="*/ 3768395 h 5504521"/>
              <a:gd name="connsiteX551" fmla="*/ 5172009 w 6384854"/>
              <a:gd name="connsiteY551" fmla="*/ 3770592 h 5504521"/>
              <a:gd name="connsiteX552" fmla="*/ 5171412 w 6384854"/>
              <a:gd name="connsiteY552" fmla="*/ 3773386 h 5504521"/>
              <a:gd name="connsiteX553" fmla="*/ 5170815 w 6384854"/>
              <a:gd name="connsiteY553" fmla="*/ 3776180 h 5504521"/>
              <a:gd name="connsiteX554" fmla="*/ 5174206 w 6384854"/>
              <a:gd name="connsiteY554" fmla="*/ 3773983 h 5504521"/>
              <a:gd name="connsiteX555" fmla="*/ 5169024 w 6384854"/>
              <a:gd name="connsiteY555" fmla="*/ 3784561 h 5504521"/>
              <a:gd name="connsiteX556" fmla="*/ 5165634 w 6384854"/>
              <a:gd name="connsiteY556" fmla="*/ 3786759 h 5504521"/>
              <a:gd name="connsiteX557" fmla="*/ 5161645 w 6384854"/>
              <a:gd name="connsiteY557" fmla="*/ 3791750 h 5504521"/>
              <a:gd name="connsiteX558" fmla="*/ 5167233 w 6384854"/>
              <a:gd name="connsiteY558" fmla="*/ 3792944 h 5504521"/>
              <a:gd name="connsiteX559" fmla="*/ 5170624 w 6384854"/>
              <a:gd name="connsiteY559" fmla="*/ 3790747 h 5504521"/>
              <a:gd name="connsiteX560" fmla="*/ 5162649 w 6384854"/>
              <a:gd name="connsiteY560" fmla="*/ 3800729 h 5504521"/>
              <a:gd name="connsiteX561" fmla="*/ 5159258 w 6384854"/>
              <a:gd name="connsiteY561" fmla="*/ 3802925 h 5504521"/>
              <a:gd name="connsiteX562" fmla="*/ 5162052 w 6384854"/>
              <a:gd name="connsiteY562" fmla="*/ 3803522 h 5504521"/>
              <a:gd name="connsiteX563" fmla="*/ 5162649 w 6384854"/>
              <a:gd name="connsiteY563" fmla="*/ 3800729 h 5504521"/>
              <a:gd name="connsiteX564" fmla="*/ 5166040 w 6384854"/>
              <a:gd name="connsiteY564" fmla="*/ 3798532 h 5504521"/>
              <a:gd name="connsiteX565" fmla="*/ 5177407 w 6384854"/>
              <a:gd name="connsiteY565" fmla="*/ 3786352 h 5504521"/>
              <a:gd name="connsiteX566" fmla="*/ 5174469 w 6384854"/>
              <a:gd name="connsiteY566" fmla="*/ 3787658 h 5504521"/>
              <a:gd name="connsiteX567" fmla="*/ 5176532 w 6384854"/>
              <a:gd name="connsiteY567" fmla="*/ 3783610 h 5504521"/>
              <a:gd name="connsiteX568" fmla="*/ 5178601 w 6384854"/>
              <a:gd name="connsiteY568" fmla="*/ 3780764 h 5504521"/>
              <a:gd name="connsiteX569" fmla="*/ 5177078 w 6384854"/>
              <a:gd name="connsiteY569" fmla="*/ 3779344 h 5504521"/>
              <a:gd name="connsiteX570" fmla="*/ 5173012 w 6384854"/>
              <a:gd name="connsiteY570" fmla="*/ 3779570 h 5504521"/>
              <a:gd name="connsiteX571" fmla="*/ 5177000 w 6384854"/>
              <a:gd name="connsiteY571" fmla="*/ 3774580 h 5504521"/>
              <a:gd name="connsiteX572" fmla="*/ 5177597 w 6384854"/>
              <a:gd name="connsiteY572" fmla="*/ 3771786 h 5504521"/>
              <a:gd name="connsiteX573" fmla="*/ 5180391 w 6384854"/>
              <a:gd name="connsiteY573" fmla="*/ 3772383 h 5504521"/>
              <a:gd name="connsiteX574" fmla="*/ 5184378 w 6384854"/>
              <a:gd name="connsiteY574" fmla="*/ 3767392 h 5504521"/>
              <a:gd name="connsiteX575" fmla="*/ 5181585 w 6384854"/>
              <a:gd name="connsiteY575" fmla="*/ 3766795 h 5504521"/>
              <a:gd name="connsiteX576" fmla="*/ 5185572 w 6384854"/>
              <a:gd name="connsiteY576" fmla="*/ 3761804 h 5504521"/>
              <a:gd name="connsiteX577" fmla="*/ 5189560 w 6384854"/>
              <a:gd name="connsiteY577" fmla="*/ 3756813 h 5504521"/>
              <a:gd name="connsiteX578" fmla="*/ 5183376 w 6384854"/>
              <a:gd name="connsiteY578" fmla="*/ 3758413 h 5504521"/>
              <a:gd name="connsiteX579" fmla="*/ 5180581 w 6384854"/>
              <a:gd name="connsiteY579" fmla="*/ 3757816 h 5504521"/>
              <a:gd name="connsiteX580" fmla="*/ 5193142 w 6384854"/>
              <a:gd name="connsiteY580" fmla="*/ 3740049 h 5504521"/>
              <a:gd name="connsiteX581" fmla="*/ 5190754 w 6384854"/>
              <a:gd name="connsiteY581" fmla="*/ 3751225 h 5504521"/>
              <a:gd name="connsiteX582" fmla="*/ 5201523 w 6384854"/>
              <a:gd name="connsiteY582" fmla="*/ 3741840 h 5504521"/>
              <a:gd name="connsiteX583" fmla="*/ 5200927 w 6384854"/>
              <a:gd name="connsiteY583" fmla="*/ 3744633 h 5504521"/>
              <a:gd name="connsiteX584" fmla="*/ 5197536 w 6384854"/>
              <a:gd name="connsiteY584" fmla="*/ 3746831 h 5504521"/>
              <a:gd name="connsiteX585" fmla="*/ 5196939 w 6384854"/>
              <a:gd name="connsiteY585" fmla="*/ 3749625 h 5504521"/>
              <a:gd name="connsiteX586" fmla="*/ 5203720 w 6384854"/>
              <a:gd name="connsiteY586" fmla="*/ 3745231 h 5504521"/>
              <a:gd name="connsiteX587" fmla="*/ 5207112 w 6384854"/>
              <a:gd name="connsiteY587" fmla="*/ 3743034 h 5504521"/>
              <a:gd name="connsiteX588" fmla="*/ 5220675 w 6384854"/>
              <a:gd name="connsiteY588" fmla="*/ 3734245 h 5504521"/>
              <a:gd name="connsiteX589" fmla="*/ 5210502 w 6384854"/>
              <a:gd name="connsiteY589" fmla="*/ 3740836 h 5504521"/>
              <a:gd name="connsiteX590" fmla="*/ 5214490 w 6384854"/>
              <a:gd name="connsiteY590" fmla="*/ 3735846 h 5504521"/>
              <a:gd name="connsiteX591" fmla="*/ 5215684 w 6384854"/>
              <a:gd name="connsiteY591" fmla="*/ 3730257 h 5504521"/>
              <a:gd name="connsiteX592" fmla="*/ 5212293 w 6384854"/>
              <a:gd name="connsiteY592" fmla="*/ 3732455 h 5504521"/>
              <a:gd name="connsiteX593" fmla="*/ 5208903 w 6384854"/>
              <a:gd name="connsiteY593" fmla="*/ 3734652 h 5504521"/>
              <a:gd name="connsiteX594" fmla="*/ 5218072 w 6384854"/>
              <a:gd name="connsiteY594" fmla="*/ 3719082 h 5504521"/>
              <a:gd name="connsiteX595" fmla="*/ 5231038 w 6384854"/>
              <a:gd name="connsiteY595" fmla="*/ 3713088 h 5504521"/>
              <a:gd name="connsiteX596" fmla="*/ 5243002 w 6384854"/>
              <a:gd name="connsiteY596" fmla="*/ 3698115 h 5504521"/>
              <a:gd name="connsiteX597" fmla="*/ 5247586 w 6384854"/>
              <a:gd name="connsiteY597" fmla="*/ 3690330 h 5504521"/>
              <a:gd name="connsiteX598" fmla="*/ 5260553 w 6384854"/>
              <a:gd name="connsiteY598" fmla="*/ 3684336 h 5504521"/>
              <a:gd name="connsiteX599" fmla="*/ 5296443 w 6384854"/>
              <a:gd name="connsiteY599" fmla="*/ 3639417 h 5504521"/>
              <a:gd name="connsiteX600" fmla="*/ 5295846 w 6384854"/>
              <a:gd name="connsiteY600" fmla="*/ 3642211 h 5504521"/>
              <a:gd name="connsiteX601" fmla="*/ 5295249 w 6384854"/>
              <a:gd name="connsiteY601" fmla="*/ 3645005 h 5504521"/>
              <a:gd name="connsiteX602" fmla="*/ 5298640 w 6384854"/>
              <a:gd name="connsiteY602" fmla="*/ 3642808 h 5504521"/>
              <a:gd name="connsiteX603" fmla="*/ 5302628 w 6384854"/>
              <a:gd name="connsiteY603" fmla="*/ 3637817 h 5504521"/>
              <a:gd name="connsiteX604" fmla="*/ 5329349 w 6384854"/>
              <a:gd name="connsiteY604" fmla="*/ 3608468 h 5504521"/>
              <a:gd name="connsiteX605" fmla="*/ 5328752 w 6384854"/>
              <a:gd name="connsiteY605" fmla="*/ 3611262 h 5504521"/>
              <a:gd name="connsiteX606" fmla="*/ 5332143 w 6384854"/>
              <a:gd name="connsiteY606" fmla="*/ 3609065 h 5504521"/>
              <a:gd name="connsiteX607" fmla="*/ 5332740 w 6384854"/>
              <a:gd name="connsiteY607" fmla="*/ 3606271 h 5504521"/>
              <a:gd name="connsiteX608" fmla="*/ 5333337 w 6384854"/>
              <a:gd name="connsiteY608" fmla="*/ 3603477 h 5504521"/>
              <a:gd name="connsiteX609" fmla="*/ 5337324 w 6384854"/>
              <a:gd name="connsiteY609" fmla="*/ 3598486 h 5504521"/>
              <a:gd name="connsiteX610" fmla="*/ 5340118 w 6384854"/>
              <a:gd name="connsiteY610" fmla="*/ 3599083 h 5504521"/>
              <a:gd name="connsiteX611" fmla="*/ 5344703 w 6384854"/>
              <a:gd name="connsiteY611" fmla="*/ 3591299 h 5504521"/>
              <a:gd name="connsiteX612" fmla="*/ 5344106 w 6384854"/>
              <a:gd name="connsiteY612" fmla="*/ 3594092 h 5504521"/>
              <a:gd name="connsiteX613" fmla="*/ 5347497 w 6384854"/>
              <a:gd name="connsiteY613" fmla="*/ 3591895 h 5504521"/>
              <a:gd name="connsiteX614" fmla="*/ 5351484 w 6384854"/>
              <a:gd name="connsiteY614" fmla="*/ 3586904 h 5504521"/>
              <a:gd name="connsiteX615" fmla="*/ 5352082 w 6384854"/>
              <a:gd name="connsiteY615" fmla="*/ 3584110 h 5504521"/>
              <a:gd name="connsiteX616" fmla="*/ 5360058 w 6384854"/>
              <a:gd name="connsiteY616" fmla="*/ 3574128 h 5504521"/>
              <a:gd name="connsiteX617" fmla="*/ 5363448 w 6384854"/>
              <a:gd name="connsiteY617" fmla="*/ 3571931 h 5504521"/>
              <a:gd name="connsiteX618" fmla="*/ 5364044 w 6384854"/>
              <a:gd name="connsiteY618" fmla="*/ 3569138 h 5504521"/>
              <a:gd name="connsiteX619" fmla="*/ 5360654 w 6384854"/>
              <a:gd name="connsiteY619" fmla="*/ 3571334 h 5504521"/>
              <a:gd name="connsiteX620" fmla="*/ 5367029 w 6384854"/>
              <a:gd name="connsiteY620" fmla="*/ 3555167 h 5504521"/>
              <a:gd name="connsiteX621" fmla="*/ 5371017 w 6384854"/>
              <a:gd name="connsiteY621" fmla="*/ 3550176 h 5504521"/>
              <a:gd name="connsiteX622" fmla="*/ 5375005 w 6384854"/>
              <a:gd name="connsiteY622" fmla="*/ 3545185 h 5504521"/>
              <a:gd name="connsiteX623" fmla="*/ 5375602 w 6384854"/>
              <a:gd name="connsiteY623" fmla="*/ 3542392 h 5504521"/>
              <a:gd name="connsiteX624" fmla="*/ 5376199 w 6384854"/>
              <a:gd name="connsiteY624" fmla="*/ 3539597 h 5504521"/>
              <a:gd name="connsiteX625" fmla="*/ 5389165 w 6384854"/>
              <a:gd name="connsiteY625" fmla="*/ 3533604 h 5504521"/>
              <a:gd name="connsiteX626" fmla="*/ 5390956 w 6384854"/>
              <a:gd name="connsiteY626" fmla="*/ 3525222 h 5504521"/>
              <a:gd name="connsiteX627" fmla="*/ 5392150 w 6384854"/>
              <a:gd name="connsiteY627" fmla="*/ 3519634 h 5504521"/>
              <a:gd name="connsiteX628" fmla="*/ 5389356 w 6384854"/>
              <a:gd name="connsiteY628" fmla="*/ 3519036 h 5504521"/>
              <a:gd name="connsiteX629" fmla="*/ 5388759 w 6384854"/>
              <a:gd name="connsiteY629" fmla="*/ 3521831 h 5504521"/>
              <a:gd name="connsiteX630" fmla="*/ 5386562 w 6384854"/>
              <a:gd name="connsiteY630" fmla="*/ 3518440 h 5504521"/>
              <a:gd name="connsiteX631" fmla="*/ 5479450 w 6384854"/>
              <a:gd name="connsiteY631" fmla="*/ 3357154 h 5504521"/>
              <a:gd name="connsiteX632" fmla="*/ 5477468 w 6384854"/>
              <a:gd name="connsiteY632" fmla="*/ 3380102 h 5504521"/>
              <a:gd name="connsiteX633" fmla="*/ 5501395 w 6384854"/>
              <a:gd name="connsiteY633" fmla="*/ 3350156 h 5504521"/>
              <a:gd name="connsiteX634" fmla="*/ 5526110 w 6384854"/>
              <a:gd name="connsiteY634" fmla="*/ 3302850 h 5504521"/>
              <a:gd name="connsiteX635" fmla="*/ 5525919 w 6384854"/>
              <a:gd name="connsiteY635" fmla="*/ 3317416 h 5504521"/>
              <a:gd name="connsiteX636" fmla="*/ 5529310 w 6384854"/>
              <a:gd name="connsiteY636" fmla="*/ 3315219 h 5504521"/>
              <a:gd name="connsiteX637" fmla="*/ 5525322 w 6384854"/>
              <a:gd name="connsiteY637" fmla="*/ 3320210 h 5504521"/>
              <a:gd name="connsiteX638" fmla="*/ 5522934 w 6384854"/>
              <a:gd name="connsiteY638" fmla="*/ 3331386 h 5504521"/>
              <a:gd name="connsiteX639" fmla="*/ 5514959 w 6384854"/>
              <a:gd name="connsiteY639" fmla="*/ 3341368 h 5504521"/>
              <a:gd name="connsiteX640" fmla="*/ 5516153 w 6384854"/>
              <a:gd name="connsiteY640" fmla="*/ 3335780 h 5504521"/>
              <a:gd name="connsiteX641" fmla="*/ 5512762 w 6384854"/>
              <a:gd name="connsiteY641" fmla="*/ 3337977 h 5504521"/>
              <a:gd name="connsiteX642" fmla="*/ 5507580 w 6384854"/>
              <a:gd name="connsiteY642" fmla="*/ 3348556 h 5504521"/>
              <a:gd name="connsiteX643" fmla="*/ 5503593 w 6384854"/>
              <a:gd name="connsiteY643" fmla="*/ 3353547 h 5504521"/>
              <a:gd name="connsiteX644" fmla="*/ 5502399 w 6384854"/>
              <a:gd name="connsiteY644" fmla="*/ 3359135 h 5504521"/>
              <a:gd name="connsiteX645" fmla="*/ 5505790 w 6384854"/>
              <a:gd name="connsiteY645" fmla="*/ 3356938 h 5504521"/>
              <a:gd name="connsiteX646" fmla="*/ 5506387 w 6384854"/>
              <a:gd name="connsiteY646" fmla="*/ 3354144 h 5504521"/>
              <a:gd name="connsiteX647" fmla="*/ 5509180 w 6384854"/>
              <a:gd name="connsiteY647" fmla="*/ 3354740 h 5504521"/>
              <a:gd name="connsiteX648" fmla="*/ 5481672 w 6384854"/>
              <a:gd name="connsiteY648" fmla="*/ 3401450 h 5504521"/>
              <a:gd name="connsiteX649" fmla="*/ 5475297 w 6384854"/>
              <a:gd name="connsiteY649" fmla="*/ 3417617 h 5504521"/>
              <a:gd name="connsiteX650" fmla="*/ 5471906 w 6384854"/>
              <a:gd name="connsiteY650" fmla="*/ 3419814 h 5504521"/>
              <a:gd name="connsiteX651" fmla="*/ 5468515 w 6384854"/>
              <a:gd name="connsiteY651" fmla="*/ 3422011 h 5504521"/>
              <a:gd name="connsiteX652" fmla="*/ 5467918 w 6384854"/>
              <a:gd name="connsiteY652" fmla="*/ 3424805 h 5504521"/>
              <a:gd name="connsiteX653" fmla="*/ 5469914 w 6384854"/>
              <a:gd name="connsiteY653" fmla="*/ 3425232 h 5504521"/>
              <a:gd name="connsiteX654" fmla="*/ 5468409 w 6384854"/>
              <a:gd name="connsiteY654" fmla="*/ 3428060 h 5504521"/>
              <a:gd name="connsiteX655" fmla="*/ 5461543 w 6384854"/>
              <a:gd name="connsiteY655" fmla="*/ 3440972 h 5504521"/>
              <a:gd name="connsiteX656" fmla="*/ 5458152 w 6384854"/>
              <a:gd name="connsiteY656" fmla="*/ 3443169 h 5504521"/>
              <a:gd name="connsiteX657" fmla="*/ 5457555 w 6384854"/>
              <a:gd name="connsiteY657" fmla="*/ 3445963 h 5504521"/>
              <a:gd name="connsiteX658" fmla="*/ 5460349 w 6384854"/>
              <a:gd name="connsiteY658" fmla="*/ 3446560 h 5504521"/>
              <a:gd name="connsiteX659" fmla="*/ 5416293 w 6384854"/>
              <a:gd name="connsiteY659" fmla="*/ 3516027 h 5504521"/>
              <a:gd name="connsiteX660" fmla="*/ 5418490 w 6384854"/>
              <a:gd name="connsiteY660" fmla="*/ 3519418 h 5504521"/>
              <a:gd name="connsiteX661" fmla="*/ 5409917 w 6384854"/>
              <a:gd name="connsiteY661" fmla="*/ 3532194 h 5504521"/>
              <a:gd name="connsiteX662" fmla="*/ 5407123 w 6384854"/>
              <a:gd name="connsiteY662" fmla="*/ 3531597 h 5504521"/>
              <a:gd name="connsiteX663" fmla="*/ 5406526 w 6384854"/>
              <a:gd name="connsiteY663" fmla="*/ 3534391 h 5504521"/>
              <a:gd name="connsiteX664" fmla="*/ 5405930 w 6384854"/>
              <a:gd name="connsiteY664" fmla="*/ 3537185 h 5504521"/>
              <a:gd name="connsiteX665" fmla="*/ 5392175 w 6384854"/>
              <a:gd name="connsiteY665" fmla="*/ 3560540 h 5504521"/>
              <a:gd name="connsiteX666" fmla="*/ 5388784 w 6384854"/>
              <a:gd name="connsiteY666" fmla="*/ 3562737 h 5504521"/>
              <a:gd name="connsiteX667" fmla="*/ 5388187 w 6384854"/>
              <a:gd name="connsiteY667" fmla="*/ 3565530 h 5504521"/>
              <a:gd name="connsiteX668" fmla="*/ 5334555 w 6384854"/>
              <a:gd name="connsiteY668" fmla="*/ 3638796 h 5504521"/>
              <a:gd name="connsiteX669" fmla="*/ 5331761 w 6384854"/>
              <a:gd name="connsiteY669" fmla="*/ 3638198 h 5504521"/>
              <a:gd name="connsiteX670" fmla="*/ 5328370 w 6384854"/>
              <a:gd name="connsiteY670" fmla="*/ 3640395 h 5504521"/>
              <a:gd name="connsiteX671" fmla="*/ 5327774 w 6384854"/>
              <a:gd name="connsiteY671" fmla="*/ 3643189 h 5504521"/>
              <a:gd name="connsiteX672" fmla="*/ 5330568 w 6384854"/>
              <a:gd name="connsiteY672" fmla="*/ 3643786 h 5504521"/>
              <a:gd name="connsiteX673" fmla="*/ 5319798 w 6384854"/>
              <a:gd name="connsiteY673" fmla="*/ 3653172 h 5504521"/>
              <a:gd name="connsiteX674" fmla="*/ 5325983 w 6384854"/>
              <a:gd name="connsiteY674" fmla="*/ 3651571 h 5504521"/>
              <a:gd name="connsiteX675" fmla="*/ 5298068 w 6384854"/>
              <a:gd name="connsiteY675" fmla="*/ 3686508 h 5504521"/>
              <a:gd name="connsiteX676" fmla="*/ 5295275 w 6384854"/>
              <a:gd name="connsiteY676" fmla="*/ 3685911 h 5504521"/>
              <a:gd name="connsiteX677" fmla="*/ 5294678 w 6384854"/>
              <a:gd name="connsiteY677" fmla="*/ 3688705 h 5504521"/>
              <a:gd name="connsiteX678" fmla="*/ 5294081 w 6384854"/>
              <a:gd name="connsiteY678" fmla="*/ 3691499 h 5504521"/>
              <a:gd name="connsiteX679" fmla="*/ 5249212 w 6384854"/>
              <a:gd name="connsiteY679" fmla="*/ 3737421 h 5504521"/>
              <a:gd name="connsiteX680" fmla="*/ 5242430 w 6384854"/>
              <a:gd name="connsiteY680" fmla="*/ 3741815 h 5504521"/>
              <a:gd name="connsiteX681" fmla="*/ 5244627 w 6384854"/>
              <a:gd name="connsiteY681" fmla="*/ 3745206 h 5504521"/>
              <a:gd name="connsiteX682" fmla="*/ 5215709 w 6384854"/>
              <a:gd name="connsiteY682" fmla="*/ 3771164 h 5504521"/>
              <a:gd name="connsiteX683" fmla="*/ 5253009 w 6384854"/>
              <a:gd name="connsiteY683" fmla="*/ 3746996 h 5504521"/>
              <a:gd name="connsiteX684" fmla="*/ 5283121 w 6384854"/>
              <a:gd name="connsiteY684" fmla="*/ 3715450 h 5504521"/>
              <a:gd name="connsiteX685" fmla="*/ 5302462 w 6384854"/>
              <a:gd name="connsiteY685" fmla="*/ 3693290 h 5504521"/>
              <a:gd name="connsiteX686" fmla="*/ 5303060 w 6384854"/>
              <a:gd name="connsiteY686" fmla="*/ 3690496 h 5504521"/>
              <a:gd name="connsiteX687" fmla="*/ 5305853 w 6384854"/>
              <a:gd name="connsiteY687" fmla="*/ 3691092 h 5504521"/>
              <a:gd name="connsiteX688" fmla="*/ 5307047 w 6384854"/>
              <a:gd name="connsiteY688" fmla="*/ 3685505 h 5504521"/>
              <a:gd name="connsiteX689" fmla="*/ 5303656 w 6384854"/>
              <a:gd name="connsiteY689" fmla="*/ 3687702 h 5504521"/>
              <a:gd name="connsiteX690" fmla="*/ 5314426 w 6384854"/>
              <a:gd name="connsiteY690" fmla="*/ 3678317 h 5504521"/>
              <a:gd name="connsiteX691" fmla="*/ 5316217 w 6384854"/>
              <a:gd name="connsiteY691" fmla="*/ 3669935 h 5504521"/>
              <a:gd name="connsiteX692" fmla="*/ 5351510 w 6384854"/>
              <a:gd name="connsiteY692" fmla="*/ 3627810 h 5504521"/>
              <a:gd name="connsiteX693" fmla="*/ 5352106 w 6384854"/>
              <a:gd name="connsiteY693" fmla="*/ 3625016 h 5504521"/>
              <a:gd name="connsiteX694" fmla="*/ 5354900 w 6384854"/>
              <a:gd name="connsiteY694" fmla="*/ 3625613 h 5504521"/>
              <a:gd name="connsiteX695" fmla="*/ 5358888 w 6384854"/>
              <a:gd name="connsiteY695" fmla="*/ 3620622 h 5504521"/>
              <a:gd name="connsiteX696" fmla="*/ 5356094 w 6384854"/>
              <a:gd name="connsiteY696" fmla="*/ 3620025 h 5504521"/>
              <a:gd name="connsiteX697" fmla="*/ 5353300 w 6384854"/>
              <a:gd name="connsiteY697" fmla="*/ 3619428 h 5504521"/>
              <a:gd name="connsiteX698" fmla="*/ 5359486 w 6384854"/>
              <a:gd name="connsiteY698" fmla="*/ 3617828 h 5504521"/>
              <a:gd name="connsiteX699" fmla="*/ 5386206 w 6384854"/>
              <a:gd name="connsiteY699" fmla="*/ 3588479 h 5504521"/>
              <a:gd name="connsiteX700" fmla="*/ 5391388 w 6384854"/>
              <a:gd name="connsiteY700" fmla="*/ 3577900 h 5504521"/>
              <a:gd name="connsiteX701" fmla="*/ 5395972 w 6384854"/>
              <a:gd name="connsiteY701" fmla="*/ 3570115 h 5504521"/>
              <a:gd name="connsiteX702" fmla="*/ 5398766 w 6384854"/>
              <a:gd name="connsiteY702" fmla="*/ 3570712 h 5504521"/>
              <a:gd name="connsiteX703" fmla="*/ 5399364 w 6384854"/>
              <a:gd name="connsiteY703" fmla="*/ 3567918 h 5504521"/>
              <a:gd name="connsiteX704" fmla="*/ 5399960 w 6384854"/>
              <a:gd name="connsiteY704" fmla="*/ 3565125 h 5504521"/>
              <a:gd name="connsiteX705" fmla="*/ 5423887 w 6384854"/>
              <a:gd name="connsiteY705" fmla="*/ 3535178 h 5504521"/>
              <a:gd name="connsiteX706" fmla="*/ 5427797 w 6384854"/>
              <a:gd name="connsiteY706" fmla="*/ 3525424 h 5504521"/>
              <a:gd name="connsiteX707" fmla="*/ 5429163 w 6384854"/>
              <a:gd name="connsiteY707" fmla="*/ 3524068 h 5504521"/>
              <a:gd name="connsiteX708" fmla="*/ 5429069 w 6384854"/>
              <a:gd name="connsiteY708" fmla="*/ 3524600 h 5504521"/>
              <a:gd name="connsiteX709" fmla="*/ 5429417 w 6384854"/>
              <a:gd name="connsiteY709" fmla="*/ 3523816 h 5504521"/>
              <a:gd name="connsiteX710" fmla="*/ 5434343 w 6384854"/>
              <a:gd name="connsiteY710" fmla="*/ 3518925 h 5504521"/>
              <a:gd name="connsiteX711" fmla="*/ 5434250 w 6384854"/>
              <a:gd name="connsiteY711" fmla="*/ 3514021 h 5504521"/>
              <a:gd name="connsiteX712" fmla="*/ 5431883 w 6384854"/>
              <a:gd name="connsiteY712" fmla="*/ 3518262 h 5504521"/>
              <a:gd name="connsiteX713" fmla="*/ 5429417 w 6384854"/>
              <a:gd name="connsiteY713" fmla="*/ 3523816 h 5504521"/>
              <a:gd name="connsiteX714" fmla="*/ 5429163 w 6384854"/>
              <a:gd name="connsiteY714" fmla="*/ 3524068 h 5504521"/>
              <a:gd name="connsiteX715" fmla="*/ 5430638 w 6384854"/>
              <a:gd name="connsiteY715" fmla="*/ 3515760 h 5504521"/>
              <a:gd name="connsiteX716" fmla="*/ 5441820 w 6384854"/>
              <a:gd name="connsiteY716" fmla="*/ 3492266 h 5504521"/>
              <a:gd name="connsiteX717" fmla="*/ 5452589 w 6384854"/>
              <a:gd name="connsiteY717" fmla="*/ 3482882 h 5504521"/>
              <a:gd name="connsiteX718" fmla="*/ 5454380 w 6384854"/>
              <a:gd name="connsiteY718" fmla="*/ 3474499 h 5504521"/>
              <a:gd name="connsiteX719" fmla="*/ 5472122 w 6384854"/>
              <a:gd name="connsiteY719" fmla="*/ 3446154 h 5504521"/>
              <a:gd name="connsiteX720" fmla="*/ 5489864 w 6384854"/>
              <a:gd name="connsiteY720" fmla="*/ 3417808 h 5504521"/>
              <a:gd name="connsiteX721" fmla="*/ 5500824 w 6384854"/>
              <a:gd name="connsiteY721" fmla="*/ 3393856 h 5504521"/>
              <a:gd name="connsiteX722" fmla="*/ 5506602 w 6384854"/>
              <a:gd name="connsiteY722" fmla="*/ 3380484 h 5504521"/>
              <a:gd name="connsiteX723" fmla="*/ 5507390 w 6384854"/>
              <a:gd name="connsiteY723" fmla="*/ 3363122 h 5504521"/>
              <a:gd name="connsiteX724" fmla="*/ 5512977 w 6384854"/>
              <a:gd name="connsiteY724" fmla="*/ 3364316 h 5504521"/>
              <a:gd name="connsiteX725" fmla="*/ 5524535 w 6384854"/>
              <a:gd name="connsiteY725" fmla="*/ 3337571 h 5504521"/>
              <a:gd name="connsiteX726" fmla="*/ 5535901 w 6384854"/>
              <a:gd name="connsiteY726" fmla="*/ 3325392 h 5504521"/>
              <a:gd name="connsiteX727" fmla="*/ 5539292 w 6384854"/>
              <a:gd name="connsiteY727" fmla="*/ 3323195 h 5504521"/>
              <a:gd name="connsiteX728" fmla="*/ 5539889 w 6384854"/>
              <a:gd name="connsiteY728" fmla="*/ 3320401 h 5504521"/>
              <a:gd name="connsiteX729" fmla="*/ 5543280 w 6384854"/>
              <a:gd name="connsiteY729" fmla="*/ 3318204 h 5504521"/>
              <a:gd name="connsiteX730" fmla="*/ 5540486 w 6384854"/>
              <a:gd name="connsiteY730" fmla="*/ 3317607 h 5504521"/>
              <a:gd name="connsiteX731" fmla="*/ 5537095 w 6384854"/>
              <a:gd name="connsiteY731" fmla="*/ 3319804 h 5504521"/>
              <a:gd name="connsiteX732" fmla="*/ 5544067 w 6384854"/>
              <a:gd name="connsiteY732" fmla="*/ 3300843 h 5504521"/>
              <a:gd name="connsiteX733" fmla="*/ 5584542 w 6384854"/>
              <a:gd name="connsiteY733" fmla="*/ 3248139 h 5504521"/>
              <a:gd name="connsiteX734" fmla="*/ 2203252 w 6384854"/>
              <a:gd name="connsiteY734" fmla="*/ 3232588 h 5504521"/>
              <a:gd name="connsiteX735" fmla="*/ 2205046 w 6384854"/>
              <a:gd name="connsiteY735" fmla="*/ 3235355 h 5504521"/>
              <a:gd name="connsiteX736" fmla="*/ 2204737 w 6384854"/>
              <a:gd name="connsiteY736" fmla="*/ 3236805 h 5504521"/>
              <a:gd name="connsiteX737" fmla="*/ 2204130 w 6384854"/>
              <a:gd name="connsiteY737" fmla="*/ 3235457 h 5504521"/>
              <a:gd name="connsiteX738" fmla="*/ 2203252 w 6384854"/>
              <a:gd name="connsiteY738" fmla="*/ 3232588 h 5504521"/>
              <a:gd name="connsiteX739" fmla="*/ 2626707 w 6384854"/>
              <a:gd name="connsiteY739" fmla="*/ 3226800 h 5504521"/>
              <a:gd name="connsiteX740" fmla="*/ 2636092 w 6384854"/>
              <a:gd name="connsiteY740" fmla="*/ 3237570 h 5504521"/>
              <a:gd name="connsiteX741" fmla="*/ 2632104 w 6384854"/>
              <a:gd name="connsiteY741" fmla="*/ 3242560 h 5504521"/>
              <a:gd name="connsiteX742" fmla="*/ 2645287 w 6384854"/>
              <a:gd name="connsiteY742" fmla="*/ 3262906 h 5504521"/>
              <a:gd name="connsiteX743" fmla="*/ 2641489 w 6384854"/>
              <a:gd name="connsiteY743" fmla="*/ 3253330 h 5504521"/>
              <a:gd name="connsiteX744" fmla="*/ 2669860 w 6384854"/>
              <a:gd name="connsiteY744" fmla="*/ 3311978 h 5504521"/>
              <a:gd name="connsiteX745" fmla="*/ 2697037 w 6384854"/>
              <a:gd name="connsiteY745" fmla="*/ 3376214 h 5504521"/>
              <a:gd name="connsiteX746" fmla="*/ 2702625 w 6384854"/>
              <a:gd name="connsiteY746" fmla="*/ 3377408 h 5504521"/>
              <a:gd name="connsiteX747" fmla="*/ 2734985 w 6384854"/>
              <a:gd name="connsiteY747" fmla="*/ 3431065 h 5504521"/>
              <a:gd name="connsiteX748" fmla="*/ 2748167 w 6384854"/>
              <a:gd name="connsiteY748" fmla="*/ 3451410 h 5504521"/>
              <a:gd name="connsiteX749" fmla="*/ 2751965 w 6384854"/>
              <a:gd name="connsiteY749" fmla="*/ 3460986 h 5504521"/>
              <a:gd name="connsiteX750" fmla="*/ 2763546 w 6384854"/>
              <a:gd name="connsiteY750" fmla="*/ 3475146 h 5504521"/>
              <a:gd name="connsiteX751" fmla="*/ 2782723 w 6384854"/>
              <a:gd name="connsiteY751" fmla="*/ 3508457 h 5504521"/>
              <a:gd name="connsiteX752" fmla="*/ 2802496 w 6384854"/>
              <a:gd name="connsiteY752" fmla="*/ 3538975 h 5504521"/>
              <a:gd name="connsiteX753" fmla="*/ 2863607 w 6384854"/>
              <a:gd name="connsiteY753" fmla="*/ 3622147 h 5504521"/>
              <a:gd name="connsiteX754" fmla="*/ 2881781 w 6384854"/>
              <a:gd name="connsiteY754" fmla="*/ 3646480 h 5504521"/>
              <a:gd name="connsiteX755" fmla="*/ 2885171 w 6384854"/>
              <a:gd name="connsiteY755" fmla="*/ 3644283 h 5504521"/>
              <a:gd name="connsiteX756" fmla="*/ 2954258 w 6384854"/>
              <a:gd name="connsiteY756" fmla="*/ 3717473 h 5504521"/>
              <a:gd name="connsiteX757" fmla="*/ 2970831 w 6384854"/>
              <a:gd name="connsiteY757" fmla="*/ 3735620 h 5504521"/>
              <a:gd name="connsiteX758" fmla="*/ 2997386 w 6384854"/>
              <a:gd name="connsiteY758" fmla="*/ 3761744 h 5504521"/>
              <a:gd name="connsiteX759" fmla="*/ 3096610 w 6384854"/>
              <a:gd name="connsiteY759" fmla="*/ 3844294 h 5504521"/>
              <a:gd name="connsiteX760" fmla="*/ 3125959 w 6384854"/>
              <a:gd name="connsiteY760" fmla="*/ 3871015 h 5504521"/>
              <a:gd name="connsiteX761" fmla="*/ 3131547 w 6384854"/>
              <a:gd name="connsiteY761" fmla="*/ 3872209 h 5504521"/>
              <a:gd name="connsiteX762" fmla="*/ 3154902 w 6384854"/>
              <a:gd name="connsiteY762" fmla="*/ 3885962 h 5504521"/>
              <a:gd name="connsiteX763" fmla="*/ 3172073 w 6384854"/>
              <a:gd name="connsiteY763" fmla="*/ 3901317 h 5504521"/>
              <a:gd name="connsiteX764" fmla="*/ 3230961 w 6384854"/>
              <a:gd name="connsiteY764" fmla="*/ 3940191 h 5504521"/>
              <a:gd name="connsiteX765" fmla="*/ 3264298 w 6384854"/>
              <a:gd name="connsiteY765" fmla="*/ 3961921 h 5504521"/>
              <a:gd name="connsiteX766" fmla="*/ 3314399 w 6384854"/>
              <a:gd name="connsiteY766" fmla="*/ 3987232 h 5504521"/>
              <a:gd name="connsiteX767" fmla="*/ 3321587 w 6384854"/>
              <a:gd name="connsiteY767" fmla="*/ 3994611 h 5504521"/>
              <a:gd name="connsiteX768" fmla="*/ 3342745 w 6384854"/>
              <a:gd name="connsiteY768" fmla="*/ 4004974 h 5504521"/>
              <a:gd name="connsiteX769" fmla="*/ 3372882 w 6384854"/>
              <a:gd name="connsiteY769" fmla="*/ 4014334 h 5504521"/>
              <a:gd name="connsiteX770" fmla="*/ 3376082 w 6384854"/>
              <a:gd name="connsiteY770" fmla="*/ 4026704 h 5504521"/>
              <a:gd name="connsiteX771" fmla="*/ 3388297 w 6384854"/>
              <a:gd name="connsiteY771" fmla="*/ 4034900 h 5504521"/>
              <a:gd name="connsiteX772" fmla="*/ 3327001 w 6384854"/>
              <a:gd name="connsiteY772" fmla="*/ 4078395 h 5504521"/>
              <a:gd name="connsiteX773" fmla="*/ 3321637 w 6384854"/>
              <a:gd name="connsiteY773" fmla="*/ 4076422 h 5504521"/>
              <a:gd name="connsiteX774" fmla="*/ 3284909 w 6384854"/>
              <a:gd name="connsiteY774" fmla="*/ 4056890 h 5504521"/>
              <a:gd name="connsiteX775" fmla="*/ 3284312 w 6384854"/>
              <a:gd name="connsiteY775" fmla="*/ 4059684 h 5504521"/>
              <a:gd name="connsiteX776" fmla="*/ 3281518 w 6384854"/>
              <a:gd name="connsiteY776" fmla="*/ 4059087 h 5504521"/>
              <a:gd name="connsiteX777" fmla="*/ 3275931 w 6384854"/>
              <a:gd name="connsiteY777" fmla="*/ 4057893 h 5504521"/>
              <a:gd name="connsiteX778" fmla="*/ 3273733 w 6384854"/>
              <a:gd name="connsiteY778" fmla="*/ 4054503 h 5504521"/>
              <a:gd name="connsiteX779" fmla="*/ 3267549 w 6384854"/>
              <a:gd name="connsiteY779" fmla="*/ 4056102 h 5504521"/>
              <a:gd name="connsiteX780" fmla="*/ 3268743 w 6384854"/>
              <a:gd name="connsiteY780" fmla="*/ 4050515 h 5504521"/>
              <a:gd name="connsiteX781" fmla="*/ 3265948 w 6384854"/>
              <a:gd name="connsiteY781" fmla="*/ 4049918 h 5504521"/>
              <a:gd name="connsiteX782" fmla="*/ 3260958 w 6384854"/>
              <a:gd name="connsiteY782" fmla="*/ 4045930 h 5504521"/>
              <a:gd name="connsiteX783" fmla="*/ 3267143 w 6384854"/>
              <a:gd name="connsiteY783" fmla="*/ 4044330 h 5504521"/>
              <a:gd name="connsiteX784" fmla="*/ 3266546 w 6384854"/>
              <a:gd name="connsiteY784" fmla="*/ 4047124 h 5504521"/>
              <a:gd name="connsiteX785" fmla="*/ 3269937 w 6384854"/>
              <a:gd name="connsiteY785" fmla="*/ 4044927 h 5504521"/>
              <a:gd name="connsiteX786" fmla="*/ 3204863 w 6384854"/>
              <a:gd name="connsiteY786" fmla="*/ 4007652 h 5504521"/>
              <a:gd name="connsiteX787" fmla="*/ 3107049 w 6384854"/>
              <a:gd name="connsiteY787" fmla="*/ 3945854 h 5504521"/>
              <a:gd name="connsiteX788" fmla="*/ 3106451 w 6384854"/>
              <a:gd name="connsiteY788" fmla="*/ 3948648 h 5504521"/>
              <a:gd name="connsiteX789" fmla="*/ 3109246 w 6384854"/>
              <a:gd name="connsiteY789" fmla="*/ 3949245 h 5504521"/>
              <a:gd name="connsiteX790" fmla="*/ 3110846 w 6384854"/>
              <a:gd name="connsiteY790" fmla="*/ 3955430 h 5504521"/>
              <a:gd name="connsiteX791" fmla="*/ 3105855 w 6384854"/>
              <a:gd name="connsiteY791" fmla="*/ 3951442 h 5504521"/>
              <a:gd name="connsiteX792" fmla="*/ 3100864 w 6384854"/>
              <a:gd name="connsiteY792" fmla="*/ 3947454 h 5504521"/>
              <a:gd name="connsiteX793" fmla="*/ 3091885 w 6384854"/>
              <a:gd name="connsiteY793" fmla="*/ 3948458 h 5504521"/>
              <a:gd name="connsiteX794" fmla="*/ 3093330 w 6384854"/>
              <a:gd name="connsiteY794" fmla="*/ 3945114 h 5504521"/>
              <a:gd name="connsiteX795" fmla="*/ 3094910 w 6384854"/>
              <a:gd name="connsiteY795" fmla="*/ 3945695 h 5504521"/>
              <a:gd name="connsiteX796" fmla="*/ 3095276 w 6384854"/>
              <a:gd name="connsiteY796" fmla="*/ 3946261 h 5504521"/>
              <a:gd name="connsiteX797" fmla="*/ 3098069 w 6384854"/>
              <a:gd name="connsiteY797" fmla="*/ 3946857 h 5504521"/>
              <a:gd name="connsiteX798" fmla="*/ 3094910 w 6384854"/>
              <a:gd name="connsiteY798" fmla="*/ 3945695 h 5504521"/>
              <a:gd name="connsiteX799" fmla="*/ 3090882 w 6384854"/>
              <a:gd name="connsiteY799" fmla="*/ 3939479 h 5504521"/>
              <a:gd name="connsiteX800" fmla="*/ 3099264 w 6384854"/>
              <a:gd name="connsiteY800" fmla="*/ 3941270 h 5504521"/>
              <a:gd name="connsiteX801" fmla="*/ 3075502 w 6384854"/>
              <a:gd name="connsiteY801" fmla="*/ 3915743 h 5504521"/>
              <a:gd name="connsiteX802" fmla="*/ 3072112 w 6384854"/>
              <a:gd name="connsiteY802" fmla="*/ 3917939 h 5504521"/>
              <a:gd name="connsiteX803" fmla="*/ 3040565 w 6384854"/>
              <a:gd name="connsiteY803" fmla="*/ 3887828 h 5504521"/>
              <a:gd name="connsiteX804" fmla="*/ 3042762 w 6384854"/>
              <a:gd name="connsiteY804" fmla="*/ 3891219 h 5504521"/>
              <a:gd name="connsiteX805" fmla="*/ 3005032 w 6384854"/>
              <a:gd name="connsiteY805" fmla="*/ 3862708 h 5504521"/>
              <a:gd name="connsiteX806" fmla="*/ 3002835 w 6384854"/>
              <a:gd name="connsiteY806" fmla="*/ 3859317 h 5504521"/>
              <a:gd name="connsiteX807" fmla="*/ 3014010 w 6384854"/>
              <a:gd name="connsiteY807" fmla="*/ 3861704 h 5504521"/>
              <a:gd name="connsiteX808" fmla="*/ 2989652 w 6384854"/>
              <a:gd name="connsiteY808" fmla="*/ 3838971 h 5504521"/>
              <a:gd name="connsiteX809" fmla="*/ 2983467 w 6384854"/>
              <a:gd name="connsiteY809" fmla="*/ 3840572 h 5504521"/>
              <a:gd name="connsiteX810" fmla="*/ 2979670 w 6384854"/>
              <a:gd name="connsiteY810" fmla="*/ 3830997 h 5504521"/>
              <a:gd name="connsiteX811" fmla="*/ 2977473 w 6384854"/>
              <a:gd name="connsiteY811" fmla="*/ 3827605 h 5504521"/>
              <a:gd name="connsiteX812" fmla="*/ 2973079 w 6384854"/>
              <a:gd name="connsiteY812" fmla="*/ 3820823 h 5504521"/>
              <a:gd name="connsiteX813" fmla="*/ 2978667 w 6384854"/>
              <a:gd name="connsiteY813" fmla="*/ 3822017 h 5504521"/>
              <a:gd name="connsiteX814" fmla="*/ 2981461 w 6384854"/>
              <a:gd name="connsiteY814" fmla="*/ 3822614 h 5504521"/>
              <a:gd name="connsiteX815" fmla="*/ 2928947 w 6384854"/>
              <a:gd name="connsiteY815" fmla="*/ 3767573 h 5504521"/>
              <a:gd name="connsiteX816" fmla="*/ 2907789 w 6384854"/>
              <a:gd name="connsiteY816" fmla="*/ 3757210 h 5504521"/>
              <a:gd name="connsiteX817" fmla="*/ 2954499 w 6384854"/>
              <a:gd name="connsiteY817" fmla="*/ 3784718 h 5504521"/>
              <a:gd name="connsiteX818" fmla="*/ 2960087 w 6384854"/>
              <a:gd name="connsiteY818" fmla="*/ 3785912 h 5504521"/>
              <a:gd name="connsiteX819" fmla="*/ 2960684 w 6384854"/>
              <a:gd name="connsiteY819" fmla="*/ 3783117 h 5504521"/>
              <a:gd name="connsiteX820" fmla="*/ 2962881 w 6384854"/>
              <a:gd name="connsiteY820" fmla="*/ 3786509 h 5504521"/>
              <a:gd name="connsiteX821" fmla="*/ 2965675 w 6384854"/>
              <a:gd name="connsiteY821" fmla="*/ 3787105 h 5504521"/>
              <a:gd name="connsiteX822" fmla="*/ 2947577 w 6384854"/>
              <a:gd name="connsiteY822" fmla="*/ 3762423 h 5504521"/>
              <a:gd name="connsiteX823" fmla="*/ 2922282 w 6384854"/>
              <a:gd name="connsiteY823" fmla="*/ 3744072 h 5504521"/>
              <a:gd name="connsiteX824" fmla="*/ 2922547 w 6384854"/>
              <a:gd name="connsiteY824" fmla="*/ 3742833 h 5504521"/>
              <a:gd name="connsiteX825" fmla="*/ 2919753 w 6384854"/>
              <a:gd name="connsiteY825" fmla="*/ 3742236 h 5504521"/>
              <a:gd name="connsiteX826" fmla="*/ 2909771 w 6384854"/>
              <a:gd name="connsiteY826" fmla="*/ 3734261 h 5504521"/>
              <a:gd name="connsiteX827" fmla="*/ 2911968 w 6384854"/>
              <a:gd name="connsiteY827" fmla="*/ 3737652 h 5504521"/>
              <a:gd name="connsiteX828" fmla="*/ 2909173 w 6384854"/>
              <a:gd name="connsiteY828" fmla="*/ 3737055 h 5504521"/>
              <a:gd name="connsiteX829" fmla="*/ 2906976 w 6384854"/>
              <a:gd name="connsiteY829" fmla="*/ 3733664 h 5504521"/>
              <a:gd name="connsiteX830" fmla="*/ 2867049 w 6384854"/>
              <a:gd name="connsiteY830" fmla="*/ 3701762 h 5504521"/>
              <a:gd name="connsiteX831" fmla="*/ 2860863 w 6384854"/>
              <a:gd name="connsiteY831" fmla="*/ 3703362 h 5504521"/>
              <a:gd name="connsiteX832" fmla="*/ 2871849 w 6384854"/>
              <a:gd name="connsiteY832" fmla="*/ 3720316 h 5504521"/>
              <a:gd name="connsiteX833" fmla="*/ 2826523 w 6384854"/>
              <a:gd name="connsiteY833" fmla="*/ 3672654 h 5504521"/>
              <a:gd name="connsiteX834" fmla="*/ 2820935 w 6384854"/>
              <a:gd name="connsiteY834" fmla="*/ 3671460 h 5504521"/>
              <a:gd name="connsiteX835" fmla="*/ 2819335 w 6384854"/>
              <a:gd name="connsiteY835" fmla="*/ 3665275 h 5504521"/>
              <a:gd name="connsiteX836" fmla="*/ 2808946 w 6384854"/>
              <a:gd name="connsiteY836" fmla="*/ 3645527 h 5504521"/>
              <a:gd name="connsiteX837" fmla="*/ 2804959 w 6384854"/>
              <a:gd name="connsiteY837" fmla="*/ 3650518 h 5504521"/>
              <a:gd name="connsiteX838" fmla="*/ 2801162 w 6384854"/>
              <a:gd name="connsiteY838" fmla="*/ 3640941 h 5504521"/>
              <a:gd name="connsiteX839" fmla="*/ 2798965 w 6384854"/>
              <a:gd name="connsiteY839" fmla="*/ 3637551 h 5504521"/>
              <a:gd name="connsiteX840" fmla="*/ 2801759 w 6384854"/>
              <a:gd name="connsiteY840" fmla="*/ 3638148 h 5504521"/>
              <a:gd name="connsiteX841" fmla="*/ 2792373 w 6384854"/>
              <a:gd name="connsiteY841" fmla="*/ 3627379 h 5504521"/>
              <a:gd name="connsiteX842" fmla="*/ 2791777 w 6384854"/>
              <a:gd name="connsiteY842" fmla="*/ 3630172 h 5504521"/>
              <a:gd name="connsiteX843" fmla="*/ 2742032 w 6384854"/>
              <a:gd name="connsiteY843" fmla="*/ 3534822 h 5504521"/>
              <a:gd name="connsiteX844" fmla="*/ 2701863 w 6384854"/>
              <a:gd name="connsiteY844" fmla="*/ 3435675 h 5504521"/>
              <a:gd name="connsiteX845" fmla="*/ 2694485 w 6384854"/>
              <a:gd name="connsiteY845" fmla="*/ 3442862 h 5504521"/>
              <a:gd name="connsiteX846" fmla="*/ 2674089 w 6384854"/>
              <a:gd name="connsiteY846" fmla="*/ 3374233 h 5504521"/>
              <a:gd name="connsiteX847" fmla="*/ 2651496 w 6384854"/>
              <a:gd name="connsiteY847" fmla="*/ 3302212 h 5504521"/>
              <a:gd name="connsiteX848" fmla="*/ 2650899 w 6384854"/>
              <a:gd name="connsiteY848" fmla="*/ 3305005 h 5504521"/>
              <a:gd name="connsiteX849" fmla="*/ 2645909 w 6384854"/>
              <a:gd name="connsiteY849" fmla="*/ 3301018 h 5504521"/>
              <a:gd name="connsiteX850" fmla="*/ 2643115 w 6384854"/>
              <a:gd name="connsiteY850" fmla="*/ 3300421 h 5504521"/>
              <a:gd name="connsiteX851" fmla="*/ 2640512 w 6384854"/>
              <a:gd name="connsiteY851" fmla="*/ 3285257 h 5504521"/>
              <a:gd name="connsiteX852" fmla="*/ 2636117 w 6384854"/>
              <a:gd name="connsiteY852" fmla="*/ 3278476 h 5504521"/>
              <a:gd name="connsiteX853" fmla="*/ 2636714 w 6384854"/>
              <a:gd name="connsiteY853" fmla="*/ 3275681 h 5504521"/>
              <a:gd name="connsiteX854" fmla="*/ 2639508 w 6384854"/>
              <a:gd name="connsiteY854" fmla="*/ 3276279 h 5504521"/>
              <a:gd name="connsiteX855" fmla="*/ 2624916 w 6384854"/>
              <a:gd name="connsiteY855" fmla="*/ 3235182 h 5504521"/>
              <a:gd name="connsiteX856" fmla="*/ 2626707 w 6384854"/>
              <a:gd name="connsiteY856" fmla="*/ 3226800 h 5504521"/>
              <a:gd name="connsiteX857" fmla="*/ 5439421 w 6384854"/>
              <a:gd name="connsiteY857" fmla="*/ 3161627 h 5504521"/>
              <a:gd name="connsiteX858" fmla="*/ 5439540 w 6384854"/>
              <a:gd name="connsiteY858" fmla="*/ 3163205 h 5504521"/>
              <a:gd name="connsiteX859" fmla="*/ 5438825 w 6384854"/>
              <a:gd name="connsiteY859" fmla="*/ 3164421 h 5504521"/>
              <a:gd name="connsiteX860" fmla="*/ 5439421 w 6384854"/>
              <a:gd name="connsiteY860" fmla="*/ 3161627 h 5504521"/>
              <a:gd name="connsiteX861" fmla="*/ 2150471 w 6384854"/>
              <a:gd name="connsiteY861" fmla="*/ 3130746 h 5504521"/>
              <a:gd name="connsiteX862" fmla="*/ 2151041 w 6384854"/>
              <a:gd name="connsiteY862" fmla="*/ 3130868 h 5504521"/>
              <a:gd name="connsiteX863" fmla="*/ 2150554 w 6384854"/>
              <a:gd name="connsiteY863" fmla="*/ 3133147 h 5504521"/>
              <a:gd name="connsiteX864" fmla="*/ 5509195 w 6384854"/>
              <a:gd name="connsiteY864" fmla="*/ 3053832 h 5504521"/>
              <a:gd name="connsiteX865" fmla="*/ 5507404 w 6384854"/>
              <a:gd name="connsiteY865" fmla="*/ 3062214 h 5504521"/>
              <a:gd name="connsiteX866" fmla="*/ 5504611 w 6384854"/>
              <a:gd name="connsiteY866" fmla="*/ 3061617 h 5504521"/>
              <a:gd name="connsiteX867" fmla="*/ 5509195 w 6384854"/>
              <a:gd name="connsiteY867" fmla="*/ 3053832 h 5504521"/>
              <a:gd name="connsiteX868" fmla="*/ 2812129 w 6384854"/>
              <a:gd name="connsiteY868" fmla="*/ 3025548 h 5504521"/>
              <a:gd name="connsiteX869" fmla="*/ 2811641 w 6384854"/>
              <a:gd name="connsiteY869" fmla="*/ 3027827 h 5504521"/>
              <a:gd name="connsiteX870" fmla="*/ 2811155 w 6384854"/>
              <a:gd name="connsiteY870" fmla="*/ 3030107 h 5504521"/>
              <a:gd name="connsiteX871" fmla="*/ 2809361 w 6384854"/>
              <a:gd name="connsiteY871" fmla="*/ 3027340 h 5504521"/>
              <a:gd name="connsiteX872" fmla="*/ 2812129 w 6384854"/>
              <a:gd name="connsiteY872" fmla="*/ 3025548 h 5504521"/>
              <a:gd name="connsiteX873" fmla="*/ 2140813 w 6384854"/>
              <a:gd name="connsiteY873" fmla="*/ 2966617 h 5504521"/>
              <a:gd name="connsiteX874" fmla="*/ 2141993 w 6384854"/>
              <a:gd name="connsiteY874" fmla="*/ 3016919 h 5504521"/>
              <a:gd name="connsiteX875" fmla="*/ 2155219 w 6384854"/>
              <a:gd name="connsiteY875" fmla="*/ 3055494 h 5504521"/>
              <a:gd name="connsiteX876" fmla="*/ 2152450 w 6384854"/>
              <a:gd name="connsiteY876" fmla="*/ 3057286 h 5504521"/>
              <a:gd name="connsiteX877" fmla="*/ 2155552 w 6384854"/>
              <a:gd name="connsiteY877" fmla="*/ 3065099 h 5504521"/>
              <a:gd name="connsiteX878" fmla="*/ 2157346 w 6384854"/>
              <a:gd name="connsiteY878" fmla="*/ 3067865 h 5504521"/>
              <a:gd name="connsiteX879" fmla="*/ 2155065 w 6384854"/>
              <a:gd name="connsiteY879" fmla="*/ 3067378 h 5504521"/>
              <a:gd name="connsiteX880" fmla="*/ 2161447 w 6384854"/>
              <a:gd name="connsiteY880" fmla="*/ 3104491 h 5504521"/>
              <a:gd name="connsiteX881" fmla="*/ 2160960 w 6384854"/>
              <a:gd name="connsiteY881" fmla="*/ 3106770 h 5504521"/>
              <a:gd name="connsiteX882" fmla="*/ 2160473 w 6384854"/>
              <a:gd name="connsiteY882" fmla="*/ 3109050 h 5504521"/>
              <a:gd name="connsiteX883" fmla="*/ 2159986 w 6384854"/>
              <a:gd name="connsiteY883" fmla="*/ 3111329 h 5504521"/>
              <a:gd name="connsiteX884" fmla="*/ 2162267 w 6384854"/>
              <a:gd name="connsiteY884" fmla="*/ 3111817 h 5504521"/>
              <a:gd name="connsiteX885" fmla="*/ 2159499 w 6384854"/>
              <a:gd name="connsiteY885" fmla="*/ 3113609 h 5504521"/>
              <a:gd name="connsiteX886" fmla="*/ 2160166 w 6384854"/>
              <a:gd name="connsiteY886" fmla="*/ 3132818 h 5504521"/>
              <a:gd name="connsiteX887" fmla="*/ 2150221 w 6384854"/>
              <a:gd name="connsiteY887" fmla="*/ 3123543 h 5504521"/>
              <a:gd name="connsiteX888" fmla="*/ 2150388 w 6384854"/>
              <a:gd name="connsiteY888" fmla="*/ 3128345 h 5504521"/>
              <a:gd name="connsiteX889" fmla="*/ 2150471 w 6384854"/>
              <a:gd name="connsiteY889" fmla="*/ 3130746 h 5504521"/>
              <a:gd name="connsiteX890" fmla="*/ 2148760 w 6384854"/>
              <a:gd name="connsiteY890" fmla="*/ 3130380 h 5504521"/>
              <a:gd name="connsiteX891" fmla="*/ 2148273 w 6384854"/>
              <a:gd name="connsiteY891" fmla="*/ 3132660 h 5504521"/>
              <a:gd name="connsiteX892" fmla="*/ 2147786 w 6384854"/>
              <a:gd name="connsiteY892" fmla="*/ 3134939 h 5504521"/>
              <a:gd name="connsiteX893" fmla="*/ 2152195 w 6384854"/>
              <a:gd name="connsiteY893" fmla="*/ 3147798 h 5504521"/>
              <a:gd name="connsiteX894" fmla="*/ 2153989 w 6384854"/>
              <a:gd name="connsiteY894" fmla="*/ 3150564 h 5504521"/>
              <a:gd name="connsiteX895" fmla="*/ 2155296 w 6384854"/>
              <a:gd name="connsiteY895" fmla="*/ 3155610 h 5504521"/>
              <a:gd name="connsiteX896" fmla="*/ 2157090 w 6384854"/>
              <a:gd name="connsiteY896" fmla="*/ 3158377 h 5504521"/>
              <a:gd name="connsiteX897" fmla="*/ 2155783 w 6384854"/>
              <a:gd name="connsiteY897" fmla="*/ 3153331 h 5504521"/>
              <a:gd name="connsiteX898" fmla="*/ 2154476 w 6384854"/>
              <a:gd name="connsiteY898" fmla="*/ 3148285 h 5504521"/>
              <a:gd name="connsiteX899" fmla="*/ 2163447 w 6384854"/>
              <a:gd name="connsiteY899" fmla="*/ 3162118 h 5504521"/>
              <a:gd name="connsiteX900" fmla="*/ 2171751 w 6384854"/>
              <a:gd name="connsiteY900" fmla="*/ 3156743 h 5504521"/>
              <a:gd name="connsiteX901" fmla="*/ 2201971 w 6384854"/>
              <a:gd name="connsiteY901" fmla="*/ 3260915 h 5504521"/>
              <a:gd name="connsiteX902" fmla="*/ 2203278 w 6384854"/>
              <a:gd name="connsiteY902" fmla="*/ 3265961 h 5504521"/>
              <a:gd name="connsiteX903" fmla="*/ 2205072 w 6384854"/>
              <a:gd name="connsiteY903" fmla="*/ 3268727 h 5504521"/>
              <a:gd name="connsiteX904" fmla="*/ 2220092 w 6384854"/>
              <a:gd name="connsiteY904" fmla="*/ 3310069 h 5504521"/>
              <a:gd name="connsiteX905" fmla="*/ 2237726 w 6384854"/>
              <a:gd name="connsiteY905" fmla="*/ 3361503 h 5504521"/>
              <a:gd name="connsiteX906" fmla="*/ 2262691 w 6384854"/>
              <a:gd name="connsiteY906" fmla="*/ 3412120 h 5504521"/>
              <a:gd name="connsiteX907" fmla="*/ 2299241 w 6384854"/>
              <a:gd name="connsiteY907" fmla="*/ 3486661 h 5504521"/>
              <a:gd name="connsiteX908" fmla="*/ 2338380 w 6384854"/>
              <a:gd name="connsiteY908" fmla="*/ 3537923 h 5504521"/>
              <a:gd name="connsiteX909" fmla="*/ 2332997 w 6384854"/>
              <a:gd name="connsiteY909" fmla="*/ 3529623 h 5504521"/>
              <a:gd name="connsiteX910" fmla="*/ 2337072 w 6384854"/>
              <a:gd name="connsiteY910" fmla="*/ 3532877 h 5504521"/>
              <a:gd name="connsiteX911" fmla="*/ 2338867 w 6384854"/>
              <a:gd name="connsiteY911" fmla="*/ 3535643 h 5504521"/>
              <a:gd name="connsiteX912" fmla="*/ 2337559 w 6384854"/>
              <a:gd name="connsiteY912" fmla="*/ 3530598 h 5504521"/>
              <a:gd name="connsiteX913" fmla="*/ 2338046 w 6384854"/>
              <a:gd name="connsiteY913" fmla="*/ 3528318 h 5504521"/>
              <a:gd name="connsiteX914" fmla="*/ 2374750 w 6384854"/>
              <a:gd name="connsiteY914" fmla="*/ 3590977 h 5504521"/>
              <a:gd name="connsiteX915" fmla="*/ 2423013 w 6384854"/>
              <a:gd name="connsiteY915" fmla="*/ 3644187 h 5504521"/>
              <a:gd name="connsiteX916" fmla="*/ 2356142 w 6384854"/>
              <a:gd name="connsiteY916" fmla="*/ 3544101 h 5504521"/>
              <a:gd name="connsiteX917" fmla="*/ 2352220 w 6384854"/>
              <a:gd name="connsiteY917" fmla="*/ 3528963 h 5504521"/>
              <a:gd name="connsiteX918" fmla="*/ 2331510 w 6384854"/>
              <a:gd name="connsiteY918" fmla="*/ 3503089 h 5504521"/>
              <a:gd name="connsiteX919" fmla="*/ 2322693 w 6384854"/>
              <a:gd name="connsiteY919" fmla="*/ 3477372 h 5504521"/>
              <a:gd name="connsiteX920" fmla="*/ 2299702 w 6384854"/>
              <a:gd name="connsiteY920" fmla="*/ 3451010 h 5504521"/>
              <a:gd name="connsiteX921" fmla="*/ 2294166 w 6384854"/>
              <a:gd name="connsiteY921" fmla="*/ 3454594 h 5504521"/>
              <a:gd name="connsiteX922" fmla="*/ 2282094 w 6384854"/>
              <a:gd name="connsiteY922" fmla="*/ 3432948 h 5504521"/>
              <a:gd name="connsiteX923" fmla="*/ 2284375 w 6384854"/>
              <a:gd name="connsiteY923" fmla="*/ 3433435 h 5504521"/>
              <a:gd name="connsiteX924" fmla="*/ 2286169 w 6384854"/>
              <a:gd name="connsiteY924" fmla="*/ 3436203 h 5504521"/>
              <a:gd name="connsiteX925" fmla="*/ 2286656 w 6384854"/>
              <a:gd name="connsiteY925" fmla="*/ 3433923 h 5504521"/>
              <a:gd name="connsiteX926" fmla="*/ 2293012 w 6384854"/>
              <a:gd name="connsiteY926" fmla="*/ 3437665 h 5504521"/>
              <a:gd name="connsiteX927" fmla="*/ 2284529 w 6384854"/>
              <a:gd name="connsiteY927" fmla="*/ 3421552 h 5504521"/>
              <a:gd name="connsiteX928" fmla="*/ 2285015 w 6384854"/>
              <a:gd name="connsiteY928" fmla="*/ 3419272 h 5504521"/>
              <a:gd name="connsiteX929" fmla="*/ 2282735 w 6384854"/>
              <a:gd name="connsiteY929" fmla="*/ 3418785 h 5504521"/>
              <a:gd name="connsiteX930" fmla="*/ 2281427 w 6384854"/>
              <a:gd name="connsiteY930" fmla="*/ 3413739 h 5504521"/>
              <a:gd name="connsiteX931" fmla="*/ 2279146 w 6384854"/>
              <a:gd name="connsiteY931" fmla="*/ 3413252 h 5504521"/>
              <a:gd name="connsiteX932" fmla="*/ 2269022 w 6384854"/>
              <a:gd name="connsiteY932" fmla="*/ 3382489 h 5504521"/>
              <a:gd name="connsiteX933" fmla="*/ 2251900 w 6384854"/>
              <a:gd name="connsiteY933" fmla="*/ 3362148 h 5504521"/>
              <a:gd name="connsiteX934" fmla="*/ 2250106 w 6384854"/>
              <a:gd name="connsiteY934" fmla="*/ 3359381 h 5504521"/>
              <a:gd name="connsiteX935" fmla="*/ 2246517 w 6384854"/>
              <a:gd name="connsiteY935" fmla="*/ 3353848 h 5504521"/>
              <a:gd name="connsiteX936" fmla="*/ 2246031 w 6384854"/>
              <a:gd name="connsiteY936" fmla="*/ 3356127 h 5504521"/>
              <a:gd name="connsiteX937" fmla="*/ 2247825 w 6384854"/>
              <a:gd name="connsiteY937" fmla="*/ 3358894 h 5504521"/>
              <a:gd name="connsiteX938" fmla="*/ 2247338 w 6384854"/>
              <a:gd name="connsiteY938" fmla="*/ 3361173 h 5504521"/>
              <a:gd name="connsiteX939" fmla="*/ 2241622 w 6384854"/>
              <a:gd name="connsiteY939" fmla="*/ 3343269 h 5504521"/>
              <a:gd name="connsiteX940" fmla="*/ 2243417 w 6384854"/>
              <a:gd name="connsiteY940" fmla="*/ 3346036 h 5504521"/>
              <a:gd name="connsiteX941" fmla="*/ 2243903 w 6384854"/>
              <a:gd name="connsiteY941" fmla="*/ 3343756 h 5504521"/>
              <a:gd name="connsiteX942" fmla="*/ 2244390 w 6384854"/>
              <a:gd name="connsiteY942" fmla="*/ 3341477 h 5504521"/>
              <a:gd name="connsiteX943" fmla="*/ 2248465 w 6384854"/>
              <a:gd name="connsiteY943" fmla="*/ 3344731 h 5504521"/>
              <a:gd name="connsiteX944" fmla="*/ 2239495 w 6384854"/>
              <a:gd name="connsiteY944" fmla="*/ 3330898 h 5504521"/>
              <a:gd name="connsiteX945" fmla="*/ 2237700 w 6384854"/>
              <a:gd name="connsiteY945" fmla="*/ 3328131 h 5504521"/>
              <a:gd name="connsiteX946" fmla="*/ 2238187 w 6384854"/>
              <a:gd name="connsiteY946" fmla="*/ 3325852 h 5504521"/>
              <a:gd name="connsiteX947" fmla="*/ 2238674 w 6384854"/>
              <a:gd name="connsiteY947" fmla="*/ 3323573 h 5504521"/>
              <a:gd name="connsiteX948" fmla="*/ 2235906 w 6384854"/>
              <a:gd name="connsiteY948" fmla="*/ 3325365 h 5504521"/>
              <a:gd name="connsiteX949" fmla="*/ 2237700 w 6384854"/>
              <a:gd name="connsiteY949" fmla="*/ 3328131 h 5504521"/>
              <a:gd name="connsiteX950" fmla="*/ 2207840 w 6384854"/>
              <a:gd name="connsiteY950" fmla="*/ 3266936 h 5504521"/>
              <a:gd name="connsiteX951" fmla="*/ 2206046 w 6384854"/>
              <a:gd name="connsiteY951" fmla="*/ 3264169 h 5504521"/>
              <a:gd name="connsiteX952" fmla="*/ 2204739 w 6384854"/>
              <a:gd name="connsiteY952" fmla="*/ 3259123 h 5504521"/>
              <a:gd name="connsiteX953" fmla="*/ 2204252 w 6384854"/>
              <a:gd name="connsiteY953" fmla="*/ 3261402 h 5504521"/>
              <a:gd name="connsiteX954" fmla="*/ 2202278 w 6384854"/>
              <a:gd name="connsiteY954" fmla="*/ 3237147 h 5504521"/>
              <a:gd name="connsiteX955" fmla="*/ 2203585 w 6384854"/>
              <a:gd name="connsiteY955" fmla="*/ 3242193 h 5504521"/>
              <a:gd name="connsiteX956" fmla="*/ 2205866 w 6384854"/>
              <a:gd name="connsiteY956" fmla="*/ 3242680 h 5504521"/>
              <a:gd name="connsiteX957" fmla="*/ 2204559 w 6384854"/>
              <a:gd name="connsiteY957" fmla="*/ 3237635 h 5504521"/>
              <a:gd name="connsiteX958" fmla="*/ 2204737 w 6384854"/>
              <a:gd name="connsiteY958" fmla="*/ 3236805 h 5504521"/>
              <a:gd name="connsiteX959" fmla="*/ 2206353 w 6384854"/>
              <a:gd name="connsiteY959" fmla="*/ 3240401 h 5504521"/>
              <a:gd name="connsiteX960" fmla="*/ 2180209 w 6384854"/>
              <a:gd name="connsiteY960" fmla="*/ 3139483 h 5504521"/>
              <a:gd name="connsiteX961" fmla="*/ 2173519 w 6384854"/>
              <a:gd name="connsiteY961" fmla="*/ 3126137 h 5504521"/>
              <a:gd name="connsiteX962" fmla="*/ 2176774 w 6384854"/>
              <a:gd name="connsiteY962" fmla="*/ 3122066 h 5504521"/>
              <a:gd name="connsiteX963" fmla="*/ 2174980 w 6384854"/>
              <a:gd name="connsiteY963" fmla="*/ 3119299 h 5504521"/>
              <a:gd name="connsiteX964" fmla="*/ 2173673 w 6384854"/>
              <a:gd name="connsiteY964" fmla="*/ 3114253 h 5504521"/>
              <a:gd name="connsiteX965" fmla="*/ 2159141 w 6384854"/>
              <a:gd name="connsiteY965" fmla="*/ 3070632 h 5504521"/>
              <a:gd name="connsiteX966" fmla="*/ 2160935 w 6384854"/>
              <a:gd name="connsiteY966" fmla="*/ 3073398 h 5504521"/>
              <a:gd name="connsiteX967" fmla="*/ 2163702 w 6384854"/>
              <a:gd name="connsiteY967" fmla="*/ 3071606 h 5504521"/>
              <a:gd name="connsiteX968" fmla="*/ 2161908 w 6384854"/>
              <a:gd name="connsiteY968" fmla="*/ 3068840 h 5504521"/>
              <a:gd name="connsiteX969" fmla="*/ 2162395 w 6384854"/>
              <a:gd name="connsiteY969" fmla="*/ 3066561 h 5504521"/>
              <a:gd name="connsiteX970" fmla="*/ 2149657 w 6384854"/>
              <a:gd name="connsiteY970" fmla="*/ 3025706 h 5504521"/>
              <a:gd name="connsiteX971" fmla="*/ 2140813 w 6384854"/>
              <a:gd name="connsiteY971" fmla="*/ 2966617 h 5504521"/>
              <a:gd name="connsiteX972" fmla="*/ 5565977 w 6384854"/>
              <a:gd name="connsiteY972" fmla="*/ 2911125 h 5504521"/>
              <a:gd name="connsiteX973" fmla="*/ 5568174 w 6384854"/>
              <a:gd name="connsiteY973" fmla="*/ 2914516 h 5504521"/>
              <a:gd name="connsiteX974" fmla="*/ 5564187 w 6384854"/>
              <a:gd name="connsiteY974" fmla="*/ 2919507 h 5504521"/>
              <a:gd name="connsiteX975" fmla="*/ 5527243 w 6384854"/>
              <a:gd name="connsiteY975" fmla="*/ 2873635 h 5504521"/>
              <a:gd name="connsiteX976" fmla="*/ 5526049 w 6384854"/>
              <a:gd name="connsiteY976" fmla="*/ 2879223 h 5504521"/>
              <a:gd name="connsiteX977" fmla="*/ 5523852 w 6384854"/>
              <a:gd name="connsiteY977" fmla="*/ 2875832 h 5504521"/>
              <a:gd name="connsiteX978" fmla="*/ 5527243 w 6384854"/>
              <a:gd name="connsiteY978" fmla="*/ 2873635 h 5504521"/>
              <a:gd name="connsiteX979" fmla="*/ 2214252 w 6384854"/>
              <a:gd name="connsiteY979" fmla="*/ 2806819 h 5504521"/>
              <a:gd name="connsiteX980" fmla="*/ 2230783 w 6384854"/>
              <a:gd name="connsiteY980" fmla="*/ 2914318 h 5504521"/>
              <a:gd name="connsiteX981" fmla="*/ 2375869 w 6384854"/>
              <a:gd name="connsiteY981" fmla="*/ 3366632 h 5504521"/>
              <a:gd name="connsiteX982" fmla="*/ 2825624 w 6384854"/>
              <a:gd name="connsiteY982" fmla="*/ 3935778 h 5504521"/>
              <a:gd name="connsiteX983" fmla="*/ 3032941 w 6384854"/>
              <a:gd name="connsiteY983" fmla="*/ 4095302 h 5504521"/>
              <a:gd name="connsiteX984" fmla="*/ 3184390 w 6384854"/>
              <a:gd name="connsiteY984" fmla="*/ 4171572 h 5504521"/>
              <a:gd name="connsiteX985" fmla="*/ 3189892 w 6384854"/>
              <a:gd name="connsiteY985" fmla="*/ 4174112 h 5504521"/>
              <a:gd name="connsiteX986" fmla="*/ 2989656 w 6384854"/>
              <a:gd name="connsiteY986" fmla="*/ 4308684 h 5504521"/>
              <a:gd name="connsiteX987" fmla="*/ 2670307 w 6384854"/>
              <a:gd name="connsiteY987" fmla="*/ 4503865 h 5504521"/>
              <a:gd name="connsiteX988" fmla="*/ 2384335 w 6384854"/>
              <a:gd name="connsiteY988" fmla="*/ 4663286 h 5504521"/>
              <a:gd name="connsiteX989" fmla="*/ 2018515 w 6384854"/>
              <a:gd name="connsiteY989" fmla="*/ 4834325 h 5504521"/>
              <a:gd name="connsiteX990" fmla="*/ 1903622 w 6384854"/>
              <a:gd name="connsiteY990" fmla="*/ 4891532 h 5504521"/>
              <a:gd name="connsiteX991" fmla="*/ 1775971 w 6384854"/>
              <a:gd name="connsiteY991" fmla="*/ 4940486 h 5504521"/>
              <a:gd name="connsiteX992" fmla="*/ 1727054 w 6384854"/>
              <a:gd name="connsiteY992" fmla="*/ 4966504 h 5504521"/>
              <a:gd name="connsiteX993" fmla="*/ 1694863 w 6384854"/>
              <a:gd name="connsiteY993" fmla="*/ 4989316 h 5504521"/>
              <a:gd name="connsiteX994" fmla="*/ 1637899 w 6384854"/>
              <a:gd name="connsiteY994" fmla="*/ 5021038 h 5504521"/>
              <a:gd name="connsiteX995" fmla="*/ 1590169 w 6384854"/>
              <a:gd name="connsiteY995" fmla="*/ 5034108 h 5504521"/>
              <a:gd name="connsiteX996" fmla="*/ 1573925 w 6384854"/>
              <a:gd name="connsiteY996" fmla="*/ 5040431 h 5504521"/>
              <a:gd name="connsiteX997" fmla="*/ 1548298 w 6384854"/>
              <a:gd name="connsiteY997" fmla="*/ 5060321 h 5504521"/>
              <a:gd name="connsiteX998" fmla="*/ 1445755 w 6384854"/>
              <a:gd name="connsiteY998" fmla="*/ 5098400 h 5504521"/>
              <a:gd name="connsiteX999" fmla="*/ 1417347 w 6384854"/>
              <a:gd name="connsiteY999" fmla="*/ 5116802 h 5504521"/>
              <a:gd name="connsiteX1000" fmla="*/ 1372064 w 6384854"/>
              <a:gd name="connsiteY1000" fmla="*/ 5133327 h 5504521"/>
              <a:gd name="connsiteX1001" fmla="*/ 1346660 w 6384854"/>
              <a:gd name="connsiteY1001" fmla="*/ 5134034 h 5504521"/>
              <a:gd name="connsiteX1002" fmla="*/ 1266591 w 6384854"/>
              <a:gd name="connsiteY1002" fmla="*/ 5164834 h 5504521"/>
              <a:gd name="connsiteX1003" fmla="*/ 1200280 w 6384854"/>
              <a:gd name="connsiteY1003" fmla="*/ 5197989 h 5504521"/>
              <a:gd name="connsiteX1004" fmla="*/ 1179289 w 6384854"/>
              <a:gd name="connsiteY1004" fmla="*/ 5202488 h 5504521"/>
              <a:gd name="connsiteX1005" fmla="*/ 1150770 w 6384854"/>
              <a:gd name="connsiteY1005" fmla="*/ 5203674 h 5504521"/>
              <a:gd name="connsiteX1006" fmla="*/ 1089095 w 6384854"/>
              <a:gd name="connsiteY1006" fmla="*/ 5221437 h 5504521"/>
              <a:gd name="connsiteX1007" fmla="*/ 1002461 w 6384854"/>
              <a:gd name="connsiteY1007" fmla="*/ 5255159 h 5504521"/>
              <a:gd name="connsiteX1008" fmla="*/ 981322 w 6384854"/>
              <a:gd name="connsiteY1008" fmla="*/ 5254574 h 5504521"/>
              <a:gd name="connsiteX1009" fmla="*/ 973645 w 6384854"/>
              <a:gd name="connsiteY1009" fmla="*/ 5246178 h 5504521"/>
              <a:gd name="connsiteX1010" fmla="*/ 875180 w 6384854"/>
              <a:gd name="connsiteY1010" fmla="*/ 5236398 h 5504521"/>
              <a:gd name="connsiteX1011" fmla="*/ 865204 w 6384854"/>
              <a:gd name="connsiteY1011" fmla="*/ 5229631 h 5504521"/>
              <a:gd name="connsiteX1012" fmla="*/ 866057 w 6384854"/>
              <a:gd name="connsiteY1012" fmla="*/ 5218649 h 5504521"/>
              <a:gd name="connsiteX1013" fmla="*/ 860049 w 6384854"/>
              <a:gd name="connsiteY1013" fmla="*/ 5200423 h 5504521"/>
              <a:gd name="connsiteX1014" fmla="*/ 844287 w 6384854"/>
              <a:gd name="connsiteY1014" fmla="*/ 5209863 h 5504521"/>
              <a:gd name="connsiteX1015" fmla="*/ 810946 w 6384854"/>
              <a:gd name="connsiteY1015" fmla="*/ 5233491 h 5504521"/>
              <a:gd name="connsiteX1016" fmla="*/ 788917 w 6384854"/>
              <a:gd name="connsiteY1016" fmla="*/ 5256020 h 5504521"/>
              <a:gd name="connsiteX1017" fmla="*/ 784949 w 6384854"/>
              <a:gd name="connsiteY1017" fmla="*/ 5267480 h 5504521"/>
              <a:gd name="connsiteX1018" fmla="*/ 773452 w 6384854"/>
              <a:gd name="connsiteY1018" fmla="*/ 5275628 h 5504521"/>
              <a:gd name="connsiteX1019" fmla="*/ 765293 w 6384854"/>
              <a:gd name="connsiteY1019" fmla="*/ 5264114 h 5504521"/>
              <a:gd name="connsiteX1020" fmla="*/ 765515 w 6384854"/>
              <a:gd name="connsiteY1020" fmla="*/ 5244932 h 5504521"/>
              <a:gd name="connsiteX1021" fmla="*/ 764885 w 6384854"/>
              <a:gd name="connsiteY1021" fmla="*/ 5236731 h 5504521"/>
              <a:gd name="connsiteX1022" fmla="*/ 757171 w 6384854"/>
              <a:gd name="connsiteY1022" fmla="*/ 5240468 h 5504521"/>
              <a:gd name="connsiteX1023" fmla="*/ 750755 w 6384854"/>
              <a:gd name="connsiteY1023" fmla="*/ 5248474 h 5504521"/>
              <a:gd name="connsiteX1024" fmla="*/ 743857 w 6384854"/>
              <a:gd name="connsiteY1024" fmla="*/ 5253362 h 5504521"/>
              <a:gd name="connsiteX1025" fmla="*/ 686781 w 6384854"/>
              <a:gd name="connsiteY1025" fmla="*/ 5267867 h 5504521"/>
              <a:gd name="connsiteX1026" fmla="*/ 662638 w 6384854"/>
              <a:gd name="connsiteY1026" fmla="*/ 5284976 h 5504521"/>
              <a:gd name="connsiteX1027" fmla="*/ 644762 w 6384854"/>
              <a:gd name="connsiteY1027" fmla="*/ 5288996 h 5504521"/>
              <a:gd name="connsiteX1028" fmla="*/ 644651 w 6384854"/>
              <a:gd name="connsiteY1028" fmla="*/ 5271780 h 5504521"/>
              <a:gd name="connsiteX1029" fmla="*/ 647469 w 6384854"/>
              <a:gd name="connsiteY1029" fmla="*/ 5261135 h 5504521"/>
              <a:gd name="connsiteX1030" fmla="*/ 646690 w 6384854"/>
              <a:gd name="connsiteY1030" fmla="*/ 5247850 h 5504521"/>
              <a:gd name="connsiteX1031" fmla="*/ 632746 w 6384854"/>
              <a:gd name="connsiteY1031" fmla="*/ 5252544 h 5504521"/>
              <a:gd name="connsiteX1032" fmla="*/ 599108 w 6384854"/>
              <a:gd name="connsiteY1032" fmla="*/ 5266004 h 5504521"/>
              <a:gd name="connsiteX1033" fmla="*/ 566510 w 6384854"/>
              <a:gd name="connsiteY1033" fmla="*/ 5315049 h 5504521"/>
              <a:gd name="connsiteX1034" fmla="*/ 557090 w 6384854"/>
              <a:gd name="connsiteY1034" fmla="*/ 5340750 h 5504521"/>
              <a:gd name="connsiteX1035" fmla="*/ 511399 w 6384854"/>
              <a:gd name="connsiteY1035" fmla="*/ 5276275 h 5504521"/>
              <a:gd name="connsiteX1036" fmla="*/ 514107 w 6384854"/>
              <a:gd name="connsiteY1036" fmla="*/ 5248413 h 5504521"/>
              <a:gd name="connsiteX1037" fmla="*/ 504129 w 6384854"/>
              <a:gd name="connsiteY1037" fmla="*/ 5241646 h 5504521"/>
              <a:gd name="connsiteX1038" fmla="*/ 514810 w 6384854"/>
              <a:gd name="connsiteY1038" fmla="*/ 5232348 h 5504521"/>
              <a:gd name="connsiteX1039" fmla="*/ 524490 w 6384854"/>
              <a:gd name="connsiteY1039" fmla="*/ 5228947 h 5504521"/>
              <a:gd name="connsiteX1040" fmla="*/ 531091 w 6384854"/>
              <a:gd name="connsiteY1040" fmla="*/ 5213892 h 5504521"/>
              <a:gd name="connsiteX1041" fmla="*/ 535726 w 6384854"/>
              <a:gd name="connsiteY1041" fmla="*/ 5198500 h 5504521"/>
              <a:gd name="connsiteX1042" fmla="*/ 563133 w 6384854"/>
              <a:gd name="connsiteY1042" fmla="*/ 5185996 h 5504521"/>
              <a:gd name="connsiteX1043" fmla="*/ 586943 w 6384854"/>
              <a:gd name="connsiteY1043" fmla="*/ 5170852 h 5504521"/>
              <a:gd name="connsiteX1044" fmla="*/ 584717 w 6384854"/>
              <a:gd name="connsiteY1044" fmla="*/ 5148215 h 5504521"/>
              <a:gd name="connsiteX1045" fmla="*/ 584420 w 6384854"/>
              <a:gd name="connsiteY1045" fmla="*/ 5138049 h 5504521"/>
              <a:gd name="connsiteX1046" fmla="*/ 624066 w 6384854"/>
              <a:gd name="connsiteY1046" fmla="*/ 5142814 h 5504521"/>
              <a:gd name="connsiteX1047" fmla="*/ 638789 w 6384854"/>
              <a:gd name="connsiteY1047" fmla="*/ 5151405 h 5504521"/>
              <a:gd name="connsiteX1048" fmla="*/ 666531 w 6384854"/>
              <a:gd name="connsiteY1048" fmla="*/ 5136935 h 5504521"/>
              <a:gd name="connsiteX1049" fmla="*/ 663934 w 6384854"/>
              <a:gd name="connsiteY1049" fmla="*/ 5128398 h 5504521"/>
              <a:gd name="connsiteX1050" fmla="*/ 658890 w 6384854"/>
              <a:gd name="connsiteY1050" fmla="*/ 5116406 h 5504521"/>
              <a:gd name="connsiteX1051" fmla="*/ 667124 w 6384854"/>
              <a:gd name="connsiteY1051" fmla="*/ 5103653 h 5504521"/>
              <a:gd name="connsiteX1052" fmla="*/ 709439 w 6384854"/>
              <a:gd name="connsiteY1052" fmla="*/ 5092691 h 5504521"/>
              <a:gd name="connsiteX1053" fmla="*/ 734694 w 6384854"/>
              <a:gd name="connsiteY1053" fmla="*/ 5086900 h 5504521"/>
              <a:gd name="connsiteX1054" fmla="*/ 785799 w 6384854"/>
              <a:gd name="connsiteY1054" fmla="*/ 5042035 h 5504521"/>
              <a:gd name="connsiteX1055" fmla="*/ 800262 w 6384854"/>
              <a:gd name="connsiteY1055" fmla="*/ 5028326 h 5504521"/>
              <a:gd name="connsiteX1056" fmla="*/ 863569 w 6384854"/>
              <a:gd name="connsiteY1056" fmla="*/ 5012865 h 5504521"/>
              <a:gd name="connsiteX1057" fmla="*/ 893127 w 6384854"/>
              <a:gd name="connsiteY1057" fmla="*/ 4993648 h 5504521"/>
              <a:gd name="connsiteX1058" fmla="*/ 919161 w 6384854"/>
              <a:gd name="connsiteY1058" fmla="*/ 4947526 h 5504521"/>
              <a:gd name="connsiteX1059" fmla="*/ 936147 w 6384854"/>
              <a:gd name="connsiteY1059" fmla="*/ 4966620 h 5504521"/>
              <a:gd name="connsiteX1060" fmla="*/ 964666 w 6384854"/>
              <a:gd name="connsiteY1060" fmla="*/ 4965434 h 5504521"/>
              <a:gd name="connsiteX1061" fmla="*/ 959474 w 6384854"/>
              <a:gd name="connsiteY1061" fmla="*/ 4948359 h 5504521"/>
              <a:gd name="connsiteX1062" fmla="*/ 966409 w 6384854"/>
              <a:gd name="connsiteY1062" fmla="*/ 4931338 h 5504521"/>
              <a:gd name="connsiteX1063" fmla="*/ 996448 w 6384854"/>
              <a:gd name="connsiteY1063" fmla="*/ 4915238 h 5504521"/>
              <a:gd name="connsiteX1064" fmla="*/ 1037318 w 6384854"/>
              <a:gd name="connsiteY1064" fmla="*/ 4894923 h 5504521"/>
              <a:gd name="connsiteX1065" fmla="*/ 1056046 w 6384854"/>
              <a:gd name="connsiteY1065" fmla="*/ 4879921 h 5504521"/>
              <a:gd name="connsiteX1066" fmla="*/ 1058716 w 6384854"/>
              <a:gd name="connsiteY1066" fmla="*/ 4864193 h 5504521"/>
              <a:gd name="connsiteX1067" fmla="*/ 1067468 w 6384854"/>
              <a:gd name="connsiteY1067" fmla="*/ 4842424 h 5504521"/>
              <a:gd name="connsiteX1068" fmla="*/ 1084639 w 6384854"/>
              <a:gd name="connsiteY1068" fmla="*/ 4854470 h 5504521"/>
              <a:gd name="connsiteX1069" fmla="*/ 1095951 w 6384854"/>
              <a:gd name="connsiteY1069" fmla="*/ 4853372 h 5504521"/>
              <a:gd name="connsiteX1070" fmla="*/ 1098436 w 6384854"/>
              <a:gd name="connsiteY1070" fmla="*/ 4844693 h 5504521"/>
              <a:gd name="connsiteX1071" fmla="*/ 1101142 w 6384854"/>
              <a:gd name="connsiteY1071" fmla="*/ 4816831 h 5504521"/>
              <a:gd name="connsiteX1072" fmla="*/ 1095950 w 6384854"/>
              <a:gd name="connsiteY1072" fmla="*/ 4799756 h 5504521"/>
              <a:gd name="connsiteX1073" fmla="*/ 1084639 w 6384854"/>
              <a:gd name="connsiteY1073" fmla="*/ 4800854 h 5504521"/>
              <a:gd name="connsiteX1074" fmla="*/ 972082 w 6384854"/>
              <a:gd name="connsiteY1074" fmla="*/ 4844299 h 5504521"/>
              <a:gd name="connsiteX1075" fmla="*/ 880886 w 6384854"/>
              <a:gd name="connsiteY1075" fmla="*/ 4869147 h 5504521"/>
              <a:gd name="connsiteX1076" fmla="*/ 823254 w 6384854"/>
              <a:gd name="connsiteY1076" fmla="*/ 4851184 h 5504521"/>
              <a:gd name="connsiteX1077" fmla="*/ 800408 w 6384854"/>
              <a:gd name="connsiteY1077" fmla="*/ 4872563 h 5504521"/>
              <a:gd name="connsiteX1078" fmla="*/ 785204 w 6384854"/>
              <a:gd name="connsiteY1078" fmla="*/ 4860854 h 5504521"/>
              <a:gd name="connsiteX1079" fmla="*/ 759650 w 6384854"/>
              <a:gd name="connsiteY1079" fmla="*/ 4856478 h 5504521"/>
              <a:gd name="connsiteX1080" fmla="*/ 751232 w 6384854"/>
              <a:gd name="connsiteY1080" fmla="*/ 4876281 h 5504521"/>
              <a:gd name="connsiteX1081" fmla="*/ 755906 w 6384854"/>
              <a:gd name="connsiteY1081" fmla="*/ 4902371 h 5504521"/>
              <a:gd name="connsiteX1082" fmla="*/ 729388 w 6384854"/>
              <a:gd name="connsiteY1082" fmla="*/ 4891761 h 5504521"/>
              <a:gd name="connsiteX1083" fmla="*/ 703501 w 6384854"/>
              <a:gd name="connsiteY1083" fmla="*/ 4889351 h 5504521"/>
              <a:gd name="connsiteX1084" fmla="*/ 689705 w 6384854"/>
              <a:gd name="connsiteY1084" fmla="*/ 4845512 h 5504521"/>
              <a:gd name="connsiteX1085" fmla="*/ 702870 w 6384854"/>
              <a:gd name="connsiteY1085" fmla="*/ 4827534 h 5504521"/>
              <a:gd name="connsiteX1086" fmla="*/ 717927 w 6384854"/>
              <a:gd name="connsiteY1086" fmla="*/ 4834159 h 5504521"/>
              <a:gd name="connsiteX1087" fmla="*/ 729721 w 6384854"/>
              <a:gd name="connsiteY1087" fmla="*/ 4836179 h 5504521"/>
              <a:gd name="connsiteX1088" fmla="*/ 769403 w 6384854"/>
              <a:gd name="connsiteY1088" fmla="*/ 4828812 h 5504521"/>
              <a:gd name="connsiteX1089" fmla="*/ 795512 w 6384854"/>
              <a:gd name="connsiteY1089" fmla="*/ 4812039 h 5504521"/>
              <a:gd name="connsiteX1090" fmla="*/ 804858 w 6384854"/>
              <a:gd name="connsiteY1090" fmla="*/ 4810604 h 5504521"/>
              <a:gd name="connsiteX1091" fmla="*/ 817467 w 6384854"/>
              <a:gd name="connsiteY1091" fmla="*/ 4813775 h 5504521"/>
              <a:gd name="connsiteX1092" fmla="*/ 877250 w 6384854"/>
              <a:gd name="connsiteY1092" fmla="*/ 4771409 h 5504521"/>
              <a:gd name="connsiteX1093" fmla="*/ 906660 w 6384854"/>
              <a:gd name="connsiteY1093" fmla="*/ 4747108 h 5504521"/>
              <a:gd name="connsiteX1094" fmla="*/ 940594 w 6384854"/>
              <a:gd name="connsiteY1094" fmla="*/ 4743815 h 5504521"/>
              <a:gd name="connsiteX1095" fmla="*/ 955354 w 6384854"/>
              <a:gd name="connsiteY1095" fmla="*/ 4740273 h 5504521"/>
              <a:gd name="connsiteX1096" fmla="*/ 950162 w 6384854"/>
              <a:gd name="connsiteY1096" fmla="*/ 4723198 h 5504521"/>
              <a:gd name="connsiteX1097" fmla="*/ 938887 w 6384854"/>
              <a:gd name="connsiteY1097" fmla="*/ 4712163 h 5504521"/>
              <a:gd name="connsiteX1098" fmla="*/ 906956 w 6384854"/>
              <a:gd name="connsiteY1098" fmla="*/ 4703660 h 5504521"/>
              <a:gd name="connsiteX1099" fmla="*/ 836084 w 6384854"/>
              <a:gd name="connsiteY1099" fmla="*/ 4727941 h 5504521"/>
              <a:gd name="connsiteX1100" fmla="*/ 816798 w 6384854"/>
              <a:gd name="connsiteY1100" fmla="*/ 4710476 h 5504521"/>
              <a:gd name="connsiteX1101" fmla="*/ 816316 w 6384854"/>
              <a:gd name="connsiteY1101" fmla="*/ 4707359 h 5504521"/>
              <a:gd name="connsiteX1102" fmla="*/ 817577 w 6384854"/>
              <a:gd name="connsiteY1102" fmla="*/ 4670145 h 5504521"/>
              <a:gd name="connsiteX1103" fmla="*/ 828406 w 6384854"/>
              <a:gd name="connsiteY1103" fmla="*/ 4665929 h 5504521"/>
              <a:gd name="connsiteX1104" fmla="*/ 827182 w 6384854"/>
              <a:gd name="connsiteY1104" fmla="*/ 4691010 h 5504521"/>
              <a:gd name="connsiteX1105" fmla="*/ 846022 w 6384854"/>
              <a:gd name="connsiteY1105" fmla="*/ 4693225 h 5504521"/>
              <a:gd name="connsiteX1106" fmla="*/ 846059 w 6384854"/>
              <a:gd name="connsiteY1106" fmla="*/ 4681092 h 5504521"/>
              <a:gd name="connsiteX1107" fmla="*/ 858631 w 6384854"/>
              <a:gd name="connsiteY1107" fmla="*/ 4642780 h 5504521"/>
              <a:gd name="connsiteX1108" fmla="*/ 908067 w 6384854"/>
              <a:gd name="connsiteY1108" fmla="*/ 4607746 h 5504521"/>
              <a:gd name="connsiteX1109" fmla="*/ 947379 w 6384854"/>
              <a:gd name="connsiteY1109" fmla="*/ 4614478 h 5504521"/>
              <a:gd name="connsiteX1110" fmla="*/ 949826 w 6384854"/>
              <a:gd name="connsiteY1110" fmla="*/ 4617932 h 5504521"/>
              <a:gd name="connsiteX1111" fmla="*/ 958319 w 6384854"/>
              <a:gd name="connsiteY1111" fmla="*/ 4627480 h 5504521"/>
              <a:gd name="connsiteX1112" fmla="*/ 970817 w 6384854"/>
              <a:gd name="connsiteY1112" fmla="*/ 4613434 h 5504521"/>
              <a:gd name="connsiteX1113" fmla="*/ 967591 w 6384854"/>
              <a:gd name="connsiteY1113" fmla="*/ 4596696 h 5504521"/>
              <a:gd name="connsiteX1114" fmla="*/ 981238 w 6384854"/>
              <a:gd name="connsiteY1114" fmla="*/ 4581835 h 5504521"/>
              <a:gd name="connsiteX1115" fmla="*/ 992179 w 6384854"/>
              <a:gd name="connsiteY1115" fmla="*/ 4594837 h 5504521"/>
              <a:gd name="connsiteX1116" fmla="*/ 992810 w 6384854"/>
              <a:gd name="connsiteY1116" fmla="*/ 4603037 h 5504521"/>
              <a:gd name="connsiteX1117" fmla="*/ 998521 w 6384854"/>
              <a:gd name="connsiteY1117" fmla="*/ 4611097 h 5504521"/>
              <a:gd name="connsiteX1118" fmla="*/ 1003787 w 6384854"/>
              <a:gd name="connsiteY1118" fmla="*/ 4603906 h 5504521"/>
              <a:gd name="connsiteX1119" fmla="*/ 1004343 w 6384854"/>
              <a:gd name="connsiteY1119" fmla="*/ 4582757 h 5504521"/>
              <a:gd name="connsiteX1120" fmla="*/ 1027707 w 6384854"/>
              <a:gd name="connsiteY1120" fmla="*/ 4552363 h 5504521"/>
              <a:gd name="connsiteX1121" fmla="*/ 1056561 w 6384854"/>
              <a:gd name="connsiteY1121" fmla="*/ 4549211 h 5504521"/>
              <a:gd name="connsiteX1122" fmla="*/ 1069874 w 6384854"/>
              <a:gd name="connsiteY1122" fmla="*/ 4536317 h 5504521"/>
              <a:gd name="connsiteX1123" fmla="*/ 1080777 w 6384854"/>
              <a:gd name="connsiteY1123" fmla="*/ 4507836 h 5504521"/>
              <a:gd name="connsiteX1124" fmla="*/ 1100470 w 6384854"/>
              <a:gd name="connsiteY1124" fmla="*/ 4499069 h 5504521"/>
              <a:gd name="connsiteX1125" fmla="*/ 1213361 w 6384854"/>
              <a:gd name="connsiteY1125" fmla="*/ 4453657 h 5504521"/>
              <a:gd name="connsiteX1126" fmla="*/ 1230755 w 6384854"/>
              <a:gd name="connsiteY1126" fmla="*/ 4446520 h 5504521"/>
              <a:gd name="connsiteX1127" fmla="*/ 1274071 w 6384854"/>
              <a:gd name="connsiteY1127" fmla="*/ 4429659 h 5504521"/>
              <a:gd name="connsiteX1128" fmla="*/ 1314235 w 6384854"/>
              <a:gd name="connsiteY1128" fmla="*/ 4371793 h 5504521"/>
              <a:gd name="connsiteX1129" fmla="*/ 1333817 w 6384854"/>
              <a:gd name="connsiteY1129" fmla="*/ 4345810 h 5504521"/>
              <a:gd name="connsiteX1130" fmla="*/ 1438993 w 6384854"/>
              <a:gd name="connsiteY1130" fmla="*/ 4304135 h 5504521"/>
              <a:gd name="connsiteX1131" fmla="*/ 1453457 w 6384854"/>
              <a:gd name="connsiteY1131" fmla="*/ 4290426 h 5504521"/>
              <a:gd name="connsiteX1132" fmla="*/ 1456275 w 6384854"/>
              <a:gd name="connsiteY1132" fmla="*/ 4279781 h 5504521"/>
              <a:gd name="connsiteX1133" fmla="*/ 1454829 w 6384854"/>
              <a:gd name="connsiteY1133" fmla="*/ 4270429 h 5504521"/>
              <a:gd name="connsiteX1134" fmla="*/ 1433690 w 6384854"/>
              <a:gd name="connsiteY1134" fmla="*/ 4269844 h 5504521"/>
              <a:gd name="connsiteX1135" fmla="*/ 1413551 w 6384854"/>
              <a:gd name="connsiteY1135" fmla="*/ 4263360 h 5504521"/>
              <a:gd name="connsiteX1136" fmla="*/ 1424566 w 6384854"/>
              <a:gd name="connsiteY1136" fmla="*/ 4252096 h 5504521"/>
              <a:gd name="connsiteX1137" fmla="*/ 1459613 w 6384854"/>
              <a:gd name="connsiteY1137" fmla="*/ 4260120 h 5504521"/>
              <a:gd name="connsiteX1138" fmla="*/ 1554257 w 6384854"/>
              <a:gd name="connsiteY1138" fmla="*/ 4232829 h 5504521"/>
              <a:gd name="connsiteX1139" fmla="*/ 1575137 w 6384854"/>
              <a:gd name="connsiteY1139" fmla="*/ 4211114 h 5504521"/>
              <a:gd name="connsiteX1140" fmla="*/ 1588080 w 6384854"/>
              <a:gd name="connsiteY1140" fmla="*/ 4212319 h 5504521"/>
              <a:gd name="connsiteX1141" fmla="*/ 1610369 w 6384854"/>
              <a:gd name="connsiteY1141" fmla="*/ 4212089 h 5504521"/>
              <a:gd name="connsiteX1142" fmla="*/ 1663773 w 6384854"/>
              <a:gd name="connsiteY1142" fmla="*/ 4165595 h 5504521"/>
              <a:gd name="connsiteX1143" fmla="*/ 1727301 w 6384854"/>
              <a:gd name="connsiteY1143" fmla="*/ 4077336 h 5504521"/>
              <a:gd name="connsiteX1144" fmla="*/ 1730083 w 6384854"/>
              <a:gd name="connsiteY1144" fmla="*/ 4078824 h 5504521"/>
              <a:gd name="connsiteX1145" fmla="*/ 1733643 w 6384854"/>
              <a:gd name="connsiteY1145" fmla="*/ 4093596 h 5504521"/>
              <a:gd name="connsiteX1146" fmla="*/ 1756229 w 6384854"/>
              <a:gd name="connsiteY1146" fmla="*/ 4103534 h 5504521"/>
              <a:gd name="connsiteX1147" fmla="*/ 1764499 w 6384854"/>
              <a:gd name="connsiteY1147" fmla="*/ 4078648 h 5504521"/>
              <a:gd name="connsiteX1148" fmla="*/ 1761754 w 6384854"/>
              <a:gd name="connsiteY1148" fmla="*/ 4065027 h 5504521"/>
              <a:gd name="connsiteX1149" fmla="*/ 1786639 w 6384854"/>
              <a:gd name="connsiteY1149" fmla="*/ 4073335 h 5504521"/>
              <a:gd name="connsiteX1150" fmla="*/ 1799397 w 6384854"/>
              <a:gd name="connsiteY1150" fmla="*/ 4081589 h 5504521"/>
              <a:gd name="connsiteX1151" fmla="*/ 1858587 w 6384854"/>
              <a:gd name="connsiteY1151" fmla="*/ 4072505 h 5504521"/>
              <a:gd name="connsiteX1152" fmla="*/ 1895377 w 6384854"/>
              <a:gd name="connsiteY1152" fmla="*/ 4046433 h 5504521"/>
              <a:gd name="connsiteX1153" fmla="*/ 1905909 w 6384854"/>
              <a:gd name="connsiteY1153" fmla="*/ 4032051 h 5504521"/>
              <a:gd name="connsiteX1154" fmla="*/ 1935949 w 6384854"/>
              <a:gd name="connsiteY1154" fmla="*/ 4015951 h 5504521"/>
              <a:gd name="connsiteX1155" fmla="*/ 1959054 w 6384854"/>
              <a:gd name="connsiteY1155" fmla="*/ 4016873 h 5504521"/>
              <a:gd name="connsiteX1156" fmla="*/ 1976596 w 6384854"/>
              <a:gd name="connsiteY1156" fmla="*/ 4014819 h 5504521"/>
              <a:gd name="connsiteX1157" fmla="*/ 1992543 w 6384854"/>
              <a:gd name="connsiteY1157" fmla="*/ 3998329 h 5504521"/>
              <a:gd name="connsiteX1158" fmla="*/ 1998736 w 6384854"/>
              <a:gd name="connsiteY1158" fmla="*/ 3955890 h 5504521"/>
              <a:gd name="connsiteX1159" fmla="*/ 1991244 w 6384854"/>
              <a:gd name="connsiteY1159" fmla="*/ 3940444 h 5504521"/>
              <a:gd name="connsiteX1160" fmla="*/ 2078249 w 6384854"/>
              <a:gd name="connsiteY1160" fmla="*/ 3946239 h 5504521"/>
              <a:gd name="connsiteX1161" fmla="*/ 2093714 w 6384854"/>
              <a:gd name="connsiteY1161" fmla="*/ 3926632 h 5504521"/>
              <a:gd name="connsiteX1162" fmla="*/ 2087223 w 6384854"/>
              <a:gd name="connsiteY1162" fmla="*/ 3905288 h 5504521"/>
              <a:gd name="connsiteX1163" fmla="*/ 2072945 w 6384854"/>
              <a:gd name="connsiteY1163" fmla="*/ 3911948 h 5504521"/>
              <a:gd name="connsiteX1164" fmla="*/ 2059335 w 6384854"/>
              <a:gd name="connsiteY1164" fmla="*/ 3914675 h 5504521"/>
              <a:gd name="connsiteX1165" fmla="*/ 2056108 w 6384854"/>
              <a:gd name="connsiteY1165" fmla="*/ 3897936 h 5504521"/>
              <a:gd name="connsiteX1166" fmla="*/ 2068606 w 6384854"/>
              <a:gd name="connsiteY1166" fmla="*/ 3883891 h 5504521"/>
              <a:gd name="connsiteX1167" fmla="*/ 2080288 w 6384854"/>
              <a:gd name="connsiteY1167" fmla="*/ 3868694 h 5504521"/>
              <a:gd name="connsiteX1168" fmla="*/ 2049135 w 6384854"/>
              <a:gd name="connsiteY1168" fmla="*/ 3873475 h 5504521"/>
              <a:gd name="connsiteX1169" fmla="*/ 1968250 w 6384854"/>
              <a:gd name="connsiteY1169" fmla="*/ 3903123 h 5504521"/>
              <a:gd name="connsiteX1170" fmla="*/ 1925860 w 6384854"/>
              <a:gd name="connsiteY1170" fmla="*/ 3938352 h 5504521"/>
              <a:gd name="connsiteX1171" fmla="*/ 1910432 w 6384854"/>
              <a:gd name="connsiteY1171" fmla="*/ 3945826 h 5504521"/>
              <a:gd name="connsiteX1172" fmla="*/ 1867004 w 6384854"/>
              <a:gd name="connsiteY1172" fmla="*/ 3945471 h 5504521"/>
              <a:gd name="connsiteX1173" fmla="*/ 1850575 w 6384854"/>
              <a:gd name="connsiteY1173" fmla="*/ 3958843 h 5504521"/>
              <a:gd name="connsiteX1174" fmla="*/ 1817865 w 6384854"/>
              <a:gd name="connsiteY1174" fmla="*/ 3990672 h 5504521"/>
              <a:gd name="connsiteX1175" fmla="*/ 1777181 w 6384854"/>
              <a:gd name="connsiteY1175" fmla="*/ 4003937 h 5504521"/>
              <a:gd name="connsiteX1176" fmla="*/ 1768281 w 6384854"/>
              <a:gd name="connsiteY1176" fmla="*/ 4020622 h 5504521"/>
              <a:gd name="connsiteX1177" fmla="*/ 1765611 w 6384854"/>
              <a:gd name="connsiteY1177" fmla="*/ 4036350 h 5504521"/>
              <a:gd name="connsiteX1178" fmla="*/ 1741542 w 6384854"/>
              <a:gd name="connsiteY1178" fmla="*/ 4029194 h 5504521"/>
              <a:gd name="connsiteX1179" fmla="*/ 1712725 w 6384854"/>
              <a:gd name="connsiteY1179" fmla="*/ 4020213 h 5504521"/>
              <a:gd name="connsiteX1180" fmla="*/ 1684466 w 6384854"/>
              <a:gd name="connsiteY1180" fmla="*/ 4043698 h 5504521"/>
              <a:gd name="connsiteX1181" fmla="*/ 1639480 w 6384854"/>
              <a:gd name="connsiteY1181" fmla="*/ 4070390 h 5504521"/>
              <a:gd name="connsiteX1182" fmla="*/ 1615744 w 6384854"/>
              <a:gd name="connsiteY1182" fmla="*/ 4061267 h 5504521"/>
              <a:gd name="connsiteX1183" fmla="*/ 1593641 w 6384854"/>
              <a:gd name="connsiteY1183" fmla="*/ 4054447 h 5504521"/>
              <a:gd name="connsiteX1184" fmla="*/ 1497995 w 6384854"/>
              <a:gd name="connsiteY1184" fmla="*/ 4087637 h 5504521"/>
              <a:gd name="connsiteX1185" fmla="*/ 1461651 w 6384854"/>
              <a:gd name="connsiteY1185" fmla="*/ 4128959 h 5504521"/>
              <a:gd name="connsiteX1186" fmla="*/ 1459351 w 6384854"/>
              <a:gd name="connsiteY1186" fmla="*/ 4130589 h 5504521"/>
              <a:gd name="connsiteX1187" fmla="*/ 1443812 w 6384854"/>
              <a:gd name="connsiteY1187" fmla="*/ 4120847 h 5504521"/>
              <a:gd name="connsiteX1188" fmla="*/ 1438991 w 6384854"/>
              <a:gd name="connsiteY1188" fmla="*/ 4143288 h 5504521"/>
              <a:gd name="connsiteX1189" fmla="*/ 1438806 w 6384854"/>
              <a:gd name="connsiteY1189" fmla="*/ 4150338 h 5504521"/>
              <a:gd name="connsiteX1190" fmla="*/ 1445593 w 6384854"/>
              <a:gd name="connsiteY1190" fmla="*/ 4181848 h 5504521"/>
              <a:gd name="connsiteX1191" fmla="*/ 1436210 w 6384854"/>
              <a:gd name="connsiteY1191" fmla="*/ 4195416 h 5504521"/>
              <a:gd name="connsiteX1192" fmla="*/ 1423119 w 6384854"/>
              <a:gd name="connsiteY1192" fmla="*/ 4189128 h 5504521"/>
              <a:gd name="connsiteX1193" fmla="*/ 1392930 w 6384854"/>
              <a:gd name="connsiteY1193" fmla="*/ 4146528 h 5504521"/>
              <a:gd name="connsiteX1194" fmla="*/ 1378169 w 6384854"/>
              <a:gd name="connsiteY1194" fmla="*/ 4150070 h 5504521"/>
              <a:gd name="connsiteX1195" fmla="*/ 1349205 w 6384854"/>
              <a:gd name="connsiteY1195" fmla="*/ 4189621 h 5504521"/>
              <a:gd name="connsiteX1196" fmla="*/ 1338376 w 6384854"/>
              <a:gd name="connsiteY1196" fmla="*/ 4193836 h 5504521"/>
              <a:gd name="connsiteX1197" fmla="*/ 1293131 w 6384854"/>
              <a:gd name="connsiteY1197" fmla="*/ 4198228 h 5504521"/>
              <a:gd name="connsiteX1198" fmla="*/ 1252966 w 6384854"/>
              <a:gd name="connsiteY1198" fmla="*/ 4202477 h 5504521"/>
              <a:gd name="connsiteX1199" fmla="*/ 1239355 w 6384854"/>
              <a:gd name="connsiteY1199" fmla="*/ 4205205 h 5504521"/>
              <a:gd name="connsiteX1200" fmla="*/ 1176976 w 6384854"/>
              <a:gd name="connsiteY1200" fmla="*/ 4239034 h 5504521"/>
              <a:gd name="connsiteX1201" fmla="*/ 1157765 w 6384854"/>
              <a:gd name="connsiteY1201" fmla="*/ 4250918 h 5504521"/>
              <a:gd name="connsiteX1202" fmla="*/ 1110481 w 6384854"/>
              <a:gd name="connsiteY1202" fmla="*/ 4279239 h 5504521"/>
              <a:gd name="connsiteX1203" fmla="*/ 1097352 w 6384854"/>
              <a:gd name="connsiteY1203" fmla="*/ 4285084 h 5504521"/>
              <a:gd name="connsiteX1204" fmla="*/ 1018617 w 6384854"/>
              <a:gd name="connsiteY1204" fmla="*/ 4308019 h 5504521"/>
              <a:gd name="connsiteX1205" fmla="*/ 992472 w 6384854"/>
              <a:gd name="connsiteY1205" fmla="*/ 4336925 h 5504521"/>
              <a:gd name="connsiteX1206" fmla="*/ 939624 w 6384854"/>
              <a:gd name="connsiteY1206" fmla="*/ 4362270 h 5504521"/>
              <a:gd name="connsiteX1207" fmla="*/ 875725 w 6384854"/>
              <a:gd name="connsiteY1207" fmla="*/ 4357397 h 5504521"/>
              <a:gd name="connsiteX1208" fmla="*/ 870495 w 6384854"/>
              <a:gd name="connsiteY1208" fmla="*/ 4352455 h 5504521"/>
              <a:gd name="connsiteX1209" fmla="*/ 855400 w 6384854"/>
              <a:gd name="connsiteY1209" fmla="*/ 4357963 h 5504521"/>
              <a:gd name="connsiteX1210" fmla="*/ 850246 w 6384854"/>
              <a:gd name="connsiteY1210" fmla="*/ 4382371 h 5504521"/>
              <a:gd name="connsiteX1211" fmla="*/ 784937 w 6384854"/>
              <a:gd name="connsiteY1211" fmla="*/ 4409628 h 5504521"/>
              <a:gd name="connsiteX1212" fmla="*/ 744327 w 6384854"/>
              <a:gd name="connsiteY1212" fmla="*/ 4398627 h 5504521"/>
              <a:gd name="connsiteX1213" fmla="*/ 703049 w 6384854"/>
              <a:gd name="connsiteY1213" fmla="*/ 4391559 h 5504521"/>
              <a:gd name="connsiteX1214" fmla="*/ 722261 w 6384854"/>
              <a:gd name="connsiteY1214" fmla="*/ 4433290 h 5504521"/>
              <a:gd name="connsiteX1215" fmla="*/ 690923 w 6384854"/>
              <a:gd name="connsiteY1215" fmla="*/ 4445121 h 5504521"/>
              <a:gd name="connsiteX1216" fmla="*/ 672529 w 6384854"/>
              <a:gd name="connsiteY1216" fmla="*/ 4458157 h 5504521"/>
              <a:gd name="connsiteX1217" fmla="*/ 603474 w 6384854"/>
              <a:gd name="connsiteY1217" fmla="*/ 4477691 h 5504521"/>
              <a:gd name="connsiteX1218" fmla="*/ 397756 w 6384854"/>
              <a:gd name="connsiteY1218" fmla="*/ 4545648 h 5504521"/>
              <a:gd name="connsiteX1219" fmla="*/ 381364 w 6384854"/>
              <a:gd name="connsiteY1219" fmla="*/ 4546887 h 5504521"/>
              <a:gd name="connsiteX1220" fmla="*/ 381251 w 6384854"/>
              <a:gd name="connsiteY1220" fmla="*/ 4529671 h 5504521"/>
              <a:gd name="connsiteX1221" fmla="*/ 380472 w 6384854"/>
              <a:gd name="connsiteY1221" fmla="*/ 4516386 h 5504521"/>
              <a:gd name="connsiteX1222" fmla="*/ 363598 w 6384854"/>
              <a:gd name="connsiteY1222" fmla="*/ 4514508 h 5504521"/>
              <a:gd name="connsiteX1223" fmla="*/ 353251 w 6384854"/>
              <a:gd name="connsiteY1223" fmla="*/ 4521841 h 5504521"/>
              <a:gd name="connsiteX1224" fmla="*/ 309192 w 6384854"/>
              <a:gd name="connsiteY1224" fmla="*/ 4513284 h 5504521"/>
              <a:gd name="connsiteX1225" fmla="*/ 299252 w 6384854"/>
              <a:gd name="connsiteY1225" fmla="*/ 4494385 h 5504521"/>
              <a:gd name="connsiteX1226" fmla="*/ 283194 w 6384854"/>
              <a:gd name="connsiteY1226" fmla="*/ 4493658 h 5504521"/>
              <a:gd name="connsiteX1227" fmla="*/ 286348 w 6384854"/>
              <a:gd name="connsiteY1227" fmla="*/ 4534662 h 5504521"/>
              <a:gd name="connsiteX1228" fmla="*/ 250336 w 6384854"/>
              <a:gd name="connsiteY1228" fmla="*/ 4520403 h 5504521"/>
              <a:gd name="connsiteX1229" fmla="*/ 232275 w 6384854"/>
              <a:gd name="connsiteY1229" fmla="*/ 4477857 h 5504521"/>
              <a:gd name="connsiteX1230" fmla="*/ 262648 w 6384854"/>
              <a:gd name="connsiteY1230" fmla="*/ 4459791 h 5504521"/>
              <a:gd name="connsiteX1231" fmla="*/ 308746 w 6384854"/>
              <a:gd name="connsiteY1231" fmla="*/ 4444418 h 5504521"/>
              <a:gd name="connsiteX1232" fmla="*/ 335188 w 6384854"/>
              <a:gd name="connsiteY1232" fmla="*/ 4425679 h 5504521"/>
              <a:gd name="connsiteX1233" fmla="*/ 463470 w 6384854"/>
              <a:gd name="connsiteY1233" fmla="*/ 4384927 h 5504521"/>
              <a:gd name="connsiteX1234" fmla="*/ 482719 w 6384854"/>
              <a:gd name="connsiteY1234" fmla="*/ 4360909 h 5504521"/>
              <a:gd name="connsiteX1235" fmla="*/ 480121 w 6384854"/>
              <a:gd name="connsiteY1235" fmla="*/ 4352372 h 5504521"/>
              <a:gd name="connsiteX1236" fmla="*/ 490283 w 6384854"/>
              <a:gd name="connsiteY1236" fmla="*/ 4352088 h 5504521"/>
              <a:gd name="connsiteX1237" fmla="*/ 497812 w 6384854"/>
              <a:gd name="connsiteY1237" fmla="*/ 4355401 h 5504521"/>
              <a:gd name="connsiteX1238" fmla="*/ 514872 w 6384854"/>
              <a:gd name="connsiteY1238" fmla="*/ 4350229 h 5504521"/>
              <a:gd name="connsiteX1239" fmla="*/ 502930 w 6384854"/>
              <a:gd name="connsiteY1239" fmla="*/ 4343126 h 5504521"/>
              <a:gd name="connsiteX1240" fmla="*/ 500148 w 6384854"/>
              <a:gd name="connsiteY1240" fmla="*/ 4341638 h 5504521"/>
              <a:gd name="connsiteX1241" fmla="*/ 493287 w 6384854"/>
              <a:gd name="connsiteY1241" fmla="*/ 4334394 h 5504521"/>
              <a:gd name="connsiteX1242" fmla="*/ 500519 w 6384854"/>
              <a:gd name="connsiteY1242" fmla="*/ 4327539 h 5504521"/>
              <a:gd name="connsiteX1243" fmla="*/ 528815 w 6384854"/>
              <a:gd name="connsiteY1243" fmla="*/ 4291920 h 5504521"/>
              <a:gd name="connsiteX1244" fmla="*/ 530003 w 6384854"/>
              <a:gd name="connsiteY1244" fmla="*/ 4278972 h 5504521"/>
              <a:gd name="connsiteX1245" fmla="*/ 489540 w 6384854"/>
              <a:gd name="connsiteY1245" fmla="*/ 4273055 h 5504521"/>
              <a:gd name="connsiteX1246" fmla="*/ 416332 w 6384854"/>
              <a:gd name="connsiteY1246" fmla="*/ 4311099 h 5504521"/>
              <a:gd name="connsiteX1247" fmla="*/ 394155 w 6384854"/>
              <a:gd name="connsiteY1247" fmla="*/ 4328545 h 5504521"/>
              <a:gd name="connsiteX1248" fmla="*/ 381694 w 6384854"/>
              <a:gd name="connsiteY1248" fmla="*/ 4330458 h 5504521"/>
              <a:gd name="connsiteX1249" fmla="*/ 353359 w 6384854"/>
              <a:gd name="connsiteY1249" fmla="*/ 4324594 h 5504521"/>
              <a:gd name="connsiteX1250" fmla="*/ 316125 w 6384854"/>
              <a:gd name="connsiteY1250" fmla="*/ 4335415 h 5504521"/>
              <a:gd name="connsiteX1251" fmla="*/ 291573 w 6384854"/>
              <a:gd name="connsiteY1251" fmla="*/ 4325141 h 5504521"/>
              <a:gd name="connsiteX1252" fmla="*/ 288644 w 6384854"/>
              <a:gd name="connsiteY1252" fmla="*/ 4318570 h 5504521"/>
              <a:gd name="connsiteX1253" fmla="*/ 272103 w 6384854"/>
              <a:gd name="connsiteY1253" fmla="*/ 4314726 h 5504521"/>
              <a:gd name="connsiteX1254" fmla="*/ 274031 w 6384854"/>
              <a:gd name="connsiteY1254" fmla="*/ 4327196 h 5504521"/>
              <a:gd name="connsiteX1255" fmla="*/ 273327 w 6384854"/>
              <a:gd name="connsiteY1255" fmla="*/ 4343261 h 5504521"/>
              <a:gd name="connsiteX1256" fmla="*/ 240579 w 6384854"/>
              <a:gd name="connsiteY1256" fmla="*/ 4333606 h 5504521"/>
              <a:gd name="connsiteX1257" fmla="*/ 234052 w 6384854"/>
              <a:gd name="connsiteY1257" fmla="*/ 4324396 h 5504521"/>
              <a:gd name="connsiteX1258" fmla="*/ 231567 w 6384854"/>
              <a:gd name="connsiteY1258" fmla="*/ 4333075 h 5504521"/>
              <a:gd name="connsiteX1259" fmla="*/ 215806 w 6384854"/>
              <a:gd name="connsiteY1259" fmla="*/ 4342515 h 5504521"/>
              <a:gd name="connsiteX1260" fmla="*/ 170449 w 6384854"/>
              <a:gd name="connsiteY1260" fmla="*/ 4329690 h 5504521"/>
              <a:gd name="connsiteX1261" fmla="*/ 122830 w 6384854"/>
              <a:gd name="connsiteY1261" fmla="*/ 4306361 h 5504521"/>
              <a:gd name="connsiteX1262" fmla="*/ 103025 w 6384854"/>
              <a:gd name="connsiteY1262" fmla="*/ 4297911 h 5504521"/>
              <a:gd name="connsiteX1263" fmla="*/ 13758 w 6384854"/>
              <a:gd name="connsiteY1263" fmla="*/ 4281613 h 5504521"/>
              <a:gd name="connsiteX1264" fmla="*/ 35 w 6384854"/>
              <a:gd name="connsiteY1264" fmla="*/ 4267124 h 5504521"/>
              <a:gd name="connsiteX1265" fmla="*/ 13497 w 6384854"/>
              <a:gd name="connsiteY1265" fmla="*/ 4259313 h 5504521"/>
              <a:gd name="connsiteX1266" fmla="*/ 34191 w 6384854"/>
              <a:gd name="connsiteY1266" fmla="*/ 4244648 h 5504521"/>
              <a:gd name="connsiteX1267" fmla="*/ 56073 w 6384854"/>
              <a:gd name="connsiteY1267" fmla="*/ 4217035 h 5504521"/>
              <a:gd name="connsiteX1268" fmla="*/ 99130 w 6384854"/>
              <a:gd name="connsiteY1268" fmla="*/ 4231489 h 5504521"/>
              <a:gd name="connsiteX1269" fmla="*/ 104990 w 6384854"/>
              <a:gd name="connsiteY1269" fmla="*/ 4244632 h 5504521"/>
              <a:gd name="connsiteX1270" fmla="*/ 105472 w 6384854"/>
              <a:gd name="connsiteY1270" fmla="*/ 4247750 h 5504521"/>
              <a:gd name="connsiteX1271" fmla="*/ 106955 w 6384854"/>
              <a:gd name="connsiteY1271" fmla="*/ 4244969 h 5504521"/>
              <a:gd name="connsiteX1272" fmla="*/ 120417 w 6384854"/>
              <a:gd name="connsiteY1272" fmla="*/ 4237158 h 5504521"/>
              <a:gd name="connsiteX1273" fmla="*/ 142187 w 6384854"/>
              <a:gd name="connsiteY1273" fmla="*/ 4192328 h 5504521"/>
              <a:gd name="connsiteX1274" fmla="*/ 154388 w 6384854"/>
              <a:gd name="connsiteY1274" fmla="*/ 4168116 h 5504521"/>
              <a:gd name="connsiteX1275" fmla="*/ 181424 w 6384854"/>
              <a:gd name="connsiteY1275" fmla="*/ 4169711 h 5504521"/>
              <a:gd name="connsiteX1276" fmla="*/ 271062 w 6384854"/>
              <a:gd name="connsiteY1276" fmla="*/ 4171910 h 5504521"/>
              <a:gd name="connsiteX1277" fmla="*/ 276884 w 6384854"/>
              <a:gd name="connsiteY1277" fmla="*/ 4143570 h 5504521"/>
              <a:gd name="connsiteX1278" fmla="*/ 270913 w 6384854"/>
              <a:gd name="connsiteY1278" fmla="*/ 4113211 h 5504521"/>
              <a:gd name="connsiteX1279" fmla="*/ 310558 w 6384854"/>
              <a:gd name="connsiteY1279" fmla="*/ 4117977 h 5504521"/>
              <a:gd name="connsiteX1280" fmla="*/ 348461 w 6384854"/>
              <a:gd name="connsiteY1280" fmla="*/ 4103223 h 5504521"/>
              <a:gd name="connsiteX1281" fmla="*/ 351576 w 6384854"/>
              <a:gd name="connsiteY1281" fmla="*/ 4102745 h 5504521"/>
              <a:gd name="connsiteX1282" fmla="*/ 352207 w 6384854"/>
              <a:gd name="connsiteY1282" fmla="*/ 4057330 h 5504521"/>
              <a:gd name="connsiteX1283" fmla="*/ 347532 w 6384854"/>
              <a:gd name="connsiteY1283" fmla="*/ 4031240 h 5504521"/>
              <a:gd name="connsiteX1284" fmla="*/ 352131 w 6384854"/>
              <a:gd name="connsiteY1284" fmla="*/ 4027981 h 5504521"/>
              <a:gd name="connsiteX1285" fmla="*/ 378019 w 6384854"/>
              <a:gd name="connsiteY1285" fmla="*/ 4030390 h 5504521"/>
              <a:gd name="connsiteX1286" fmla="*/ 402569 w 6384854"/>
              <a:gd name="connsiteY1286" fmla="*/ 4040664 h 5504521"/>
              <a:gd name="connsiteX1287" fmla="*/ 431535 w 6384854"/>
              <a:gd name="connsiteY1287" fmla="*/ 4054729 h 5504521"/>
              <a:gd name="connsiteX1288" fmla="*/ 453229 w 6384854"/>
              <a:gd name="connsiteY1288" fmla="*/ 4034166 h 5504521"/>
              <a:gd name="connsiteX1289" fmla="*/ 465690 w 6384854"/>
              <a:gd name="connsiteY1289" fmla="*/ 4032253 h 5504521"/>
              <a:gd name="connsiteX1290" fmla="*/ 488795 w 6384854"/>
              <a:gd name="connsiteY1290" fmla="*/ 4033175 h 5504521"/>
              <a:gd name="connsiteX1291" fmla="*/ 494877 w 6384854"/>
              <a:gd name="connsiteY1291" fmla="*/ 4027135 h 5504521"/>
              <a:gd name="connsiteX1292" fmla="*/ 525214 w 6384854"/>
              <a:gd name="connsiteY1292" fmla="*/ 4021202 h 5504521"/>
              <a:gd name="connsiteX1293" fmla="*/ 563895 w 6384854"/>
              <a:gd name="connsiteY1293" fmla="*/ 4019733 h 5504521"/>
              <a:gd name="connsiteX1294" fmla="*/ 571498 w 6384854"/>
              <a:gd name="connsiteY1294" fmla="*/ 3998780 h 5504521"/>
              <a:gd name="connsiteX1295" fmla="*/ 565638 w 6384854"/>
              <a:gd name="connsiteY1295" fmla="*/ 3985637 h 5504521"/>
              <a:gd name="connsiteX1296" fmla="*/ 548170 w 6384854"/>
              <a:gd name="connsiteY1296" fmla="*/ 3963425 h 5504521"/>
              <a:gd name="connsiteX1297" fmla="*/ 503220 w 6384854"/>
              <a:gd name="connsiteY1297" fmla="*/ 3924367 h 5504521"/>
              <a:gd name="connsiteX1298" fmla="*/ 535040 w 6384854"/>
              <a:gd name="connsiteY1298" fmla="*/ 3915654 h 5504521"/>
              <a:gd name="connsiteX1299" fmla="*/ 572609 w 6384854"/>
              <a:gd name="connsiteY1299" fmla="*/ 3902867 h 5504521"/>
              <a:gd name="connsiteX1300" fmla="*/ 609658 w 6384854"/>
              <a:gd name="connsiteY1300" fmla="*/ 3899095 h 5504521"/>
              <a:gd name="connsiteX1301" fmla="*/ 723254 w 6384854"/>
              <a:gd name="connsiteY1301" fmla="*/ 3891234 h 5504521"/>
              <a:gd name="connsiteX1302" fmla="*/ 732303 w 6384854"/>
              <a:gd name="connsiteY1302" fmla="*/ 3879633 h 5504521"/>
              <a:gd name="connsiteX1303" fmla="*/ 735122 w 6384854"/>
              <a:gd name="connsiteY1303" fmla="*/ 3868988 h 5504521"/>
              <a:gd name="connsiteX1304" fmla="*/ 744282 w 6384854"/>
              <a:gd name="connsiteY1304" fmla="*/ 3874603 h 5504521"/>
              <a:gd name="connsiteX1305" fmla="*/ 759339 w 6384854"/>
              <a:gd name="connsiteY1305" fmla="*/ 3881228 h 5504521"/>
              <a:gd name="connsiteX1306" fmla="*/ 780330 w 6384854"/>
              <a:gd name="connsiteY1306" fmla="*/ 3876729 h 5504521"/>
              <a:gd name="connsiteX1307" fmla="*/ 795870 w 6384854"/>
              <a:gd name="connsiteY1307" fmla="*/ 3886472 h 5504521"/>
              <a:gd name="connsiteX1308" fmla="*/ 816156 w 6384854"/>
              <a:gd name="connsiteY1308" fmla="*/ 3898039 h 5504521"/>
              <a:gd name="connsiteX1309" fmla="*/ 821941 w 6384854"/>
              <a:gd name="connsiteY1309" fmla="*/ 3881832 h 5504521"/>
              <a:gd name="connsiteX1310" fmla="*/ 823276 w 6384854"/>
              <a:gd name="connsiteY1310" fmla="*/ 3873968 h 5504521"/>
              <a:gd name="connsiteX1311" fmla="*/ 843229 w 6384854"/>
              <a:gd name="connsiteY1311" fmla="*/ 3887501 h 5504521"/>
              <a:gd name="connsiteX1312" fmla="*/ 859288 w 6384854"/>
              <a:gd name="connsiteY1312" fmla="*/ 3888227 h 5504521"/>
              <a:gd name="connsiteX1313" fmla="*/ 859658 w 6384854"/>
              <a:gd name="connsiteY1313" fmla="*/ 3874128 h 5504521"/>
              <a:gd name="connsiteX1314" fmla="*/ 891775 w 6384854"/>
              <a:gd name="connsiteY1314" fmla="*/ 3821966 h 5504521"/>
              <a:gd name="connsiteX1315" fmla="*/ 909316 w 6384854"/>
              <a:gd name="connsiteY1315" fmla="*/ 3819912 h 5504521"/>
              <a:gd name="connsiteX1316" fmla="*/ 958122 w 6384854"/>
              <a:gd name="connsiteY1316" fmla="*/ 3776677 h 5504521"/>
              <a:gd name="connsiteX1317" fmla="*/ 958455 w 6384854"/>
              <a:gd name="connsiteY1317" fmla="*/ 3774711 h 5504521"/>
              <a:gd name="connsiteX1318" fmla="*/ 974551 w 6384854"/>
              <a:gd name="connsiteY1318" fmla="*/ 3763305 h 5504521"/>
              <a:gd name="connsiteX1319" fmla="*/ 982895 w 6384854"/>
              <a:gd name="connsiteY1319" fmla="*/ 3767768 h 5504521"/>
              <a:gd name="connsiteX1320" fmla="*/ 977110 w 6384854"/>
              <a:gd name="connsiteY1320" fmla="*/ 3783975 h 5504521"/>
              <a:gd name="connsiteX1321" fmla="*/ 972326 w 6384854"/>
              <a:gd name="connsiteY1321" fmla="*/ 3794284 h 5504521"/>
              <a:gd name="connsiteX1322" fmla="*/ 983304 w 6384854"/>
              <a:gd name="connsiteY1322" fmla="*/ 3795152 h 5504521"/>
              <a:gd name="connsiteX1323" fmla="*/ 1004628 w 6384854"/>
              <a:gd name="connsiteY1323" fmla="*/ 3788688 h 5504521"/>
              <a:gd name="connsiteX1324" fmla="*/ 1033148 w 6384854"/>
              <a:gd name="connsiteY1324" fmla="*/ 3787502 h 5504521"/>
              <a:gd name="connsiteX1325" fmla="*/ 1047426 w 6384854"/>
              <a:gd name="connsiteY1325" fmla="*/ 3780842 h 5504521"/>
              <a:gd name="connsiteX1326" fmla="*/ 1092375 w 6384854"/>
              <a:gd name="connsiteY1326" fmla="*/ 3766284 h 5504521"/>
              <a:gd name="connsiteX1327" fmla="*/ 1122489 w 6384854"/>
              <a:gd name="connsiteY1327" fmla="*/ 3779534 h 5504521"/>
              <a:gd name="connsiteX1328" fmla="*/ 1159687 w 6384854"/>
              <a:gd name="connsiteY1328" fmla="*/ 3780846 h 5504521"/>
              <a:gd name="connsiteX1329" fmla="*/ 1174521 w 6384854"/>
              <a:gd name="connsiteY1329" fmla="*/ 3753038 h 5504521"/>
              <a:gd name="connsiteX1330" fmla="*/ 1196068 w 6384854"/>
              <a:gd name="connsiteY1330" fmla="*/ 3727391 h 5504521"/>
              <a:gd name="connsiteX1331" fmla="*/ 1211162 w 6384854"/>
              <a:gd name="connsiteY1331" fmla="*/ 3721883 h 5504521"/>
              <a:gd name="connsiteX1332" fmla="*/ 1232302 w 6384854"/>
              <a:gd name="connsiteY1332" fmla="*/ 3722468 h 5504521"/>
              <a:gd name="connsiteX1333" fmla="*/ 1236381 w 6384854"/>
              <a:gd name="connsiteY1333" fmla="*/ 3728225 h 5504521"/>
              <a:gd name="connsiteX1334" fmla="*/ 1256705 w 6384854"/>
              <a:gd name="connsiteY1334" fmla="*/ 3727658 h 5504521"/>
              <a:gd name="connsiteX1335" fmla="*/ 1271687 w 6384854"/>
              <a:gd name="connsiteY1335" fmla="*/ 3704934 h 5504521"/>
              <a:gd name="connsiteX1336" fmla="*/ 1364812 w 6384854"/>
              <a:gd name="connsiteY1336" fmla="*/ 3692556 h 5504521"/>
              <a:gd name="connsiteX1337" fmla="*/ 1383726 w 6384854"/>
              <a:gd name="connsiteY1337" fmla="*/ 3724120 h 5504521"/>
              <a:gd name="connsiteX1338" fmla="*/ 1420887 w 6384854"/>
              <a:gd name="connsiteY1338" fmla="*/ 3737565 h 5504521"/>
              <a:gd name="connsiteX1339" fmla="*/ 1445661 w 6384854"/>
              <a:gd name="connsiteY1339" fmla="*/ 3728656 h 5504521"/>
              <a:gd name="connsiteX1340" fmla="*/ 1465094 w 6384854"/>
              <a:gd name="connsiteY1340" fmla="*/ 3697589 h 5504521"/>
              <a:gd name="connsiteX1341" fmla="*/ 1478074 w 6384854"/>
              <a:gd name="connsiteY1341" fmla="*/ 3686661 h 5504521"/>
              <a:gd name="connsiteX1342" fmla="*/ 1501920 w 6384854"/>
              <a:gd name="connsiteY1342" fmla="*/ 3659385 h 5504521"/>
              <a:gd name="connsiteX1343" fmla="*/ 1490312 w 6384854"/>
              <a:gd name="connsiteY1343" fmla="*/ 3650315 h 5504521"/>
              <a:gd name="connsiteX1344" fmla="*/ 1487160 w 6384854"/>
              <a:gd name="connsiteY1344" fmla="*/ 3662926 h 5504521"/>
              <a:gd name="connsiteX1345" fmla="*/ 1484341 w 6384854"/>
              <a:gd name="connsiteY1345" fmla="*/ 3673572 h 5504521"/>
              <a:gd name="connsiteX1346" fmla="*/ 1471732 w 6384854"/>
              <a:gd name="connsiteY1346" fmla="*/ 3670401 h 5504521"/>
              <a:gd name="connsiteX1347" fmla="*/ 1445140 w 6384854"/>
              <a:gd name="connsiteY1347" fmla="*/ 3630440 h 5504521"/>
              <a:gd name="connsiteX1348" fmla="*/ 1455784 w 6384854"/>
              <a:gd name="connsiteY1348" fmla="*/ 3633275 h 5504521"/>
              <a:gd name="connsiteX1349" fmla="*/ 1486454 w 6384854"/>
              <a:gd name="connsiteY1349" fmla="*/ 3625376 h 5504521"/>
              <a:gd name="connsiteX1350" fmla="*/ 1489940 w 6384854"/>
              <a:gd name="connsiteY1350" fmla="*/ 3610799 h 5504521"/>
              <a:gd name="connsiteX1351" fmla="*/ 1507037 w 6384854"/>
              <a:gd name="connsiteY1351" fmla="*/ 3593494 h 5504521"/>
              <a:gd name="connsiteX1352" fmla="*/ 1532478 w 6384854"/>
              <a:gd name="connsiteY1352" fmla="*/ 3580653 h 5504521"/>
              <a:gd name="connsiteX1353" fmla="*/ 1511710 w 6384854"/>
              <a:gd name="connsiteY1353" fmla="*/ 3565969 h 5504521"/>
              <a:gd name="connsiteX1354" fmla="*/ 1528324 w 6384854"/>
              <a:gd name="connsiteY1354" fmla="*/ 3545547 h 5504521"/>
              <a:gd name="connsiteX1355" fmla="*/ 1528991 w 6384854"/>
              <a:gd name="connsiteY1355" fmla="*/ 3541615 h 5504521"/>
              <a:gd name="connsiteX1356" fmla="*/ 1515418 w 6384854"/>
              <a:gd name="connsiteY1356" fmla="*/ 3532209 h 5504521"/>
              <a:gd name="connsiteX1357" fmla="*/ 1483931 w 6384854"/>
              <a:gd name="connsiteY1357" fmla="*/ 3538957 h 5504521"/>
              <a:gd name="connsiteX1358" fmla="*/ 1465351 w 6384854"/>
              <a:gd name="connsiteY1358" fmla="*/ 3559042 h 5504521"/>
              <a:gd name="connsiteX1359" fmla="*/ 1452371 w 6384854"/>
              <a:gd name="connsiteY1359" fmla="*/ 3569970 h 5504521"/>
              <a:gd name="connsiteX1360" fmla="*/ 1406347 w 6384854"/>
              <a:gd name="connsiteY1360" fmla="*/ 3561077 h 5504521"/>
              <a:gd name="connsiteX1361" fmla="*/ 1387470 w 6384854"/>
              <a:gd name="connsiteY1361" fmla="*/ 3570995 h 5504521"/>
              <a:gd name="connsiteX1362" fmla="*/ 1374304 w 6384854"/>
              <a:gd name="connsiteY1362" fmla="*/ 3588973 h 5504521"/>
              <a:gd name="connsiteX1363" fmla="*/ 1353832 w 6384854"/>
              <a:gd name="connsiteY1363" fmla="*/ 3584456 h 5504521"/>
              <a:gd name="connsiteX1364" fmla="*/ 1332137 w 6384854"/>
              <a:gd name="connsiteY1364" fmla="*/ 3605019 h 5504521"/>
              <a:gd name="connsiteX1365" fmla="*/ 1310145 w 6384854"/>
              <a:gd name="connsiteY1365" fmla="*/ 3615416 h 5504521"/>
              <a:gd name="connsiteX1366" fmla="*/ 1272910 w 6384854"/>
              <a:gd name="connsiteY1366" fmla="*/ 3626237 h 5504521"/>
              <a:gd name="connsiteX1367" fmla="*/ 1243278 w 6384854"/>
              <a:gd name="connsiteY1367" fmla="*/ 3616105 h 5504521"/>
              <a:gd name="connsiteX1368" fmla="*/ 1210271 w 6384854"/>
              <a:gd name="connsiteY1368" fmla="*/ 3637766 h 5504521"/>
              <a:gd name="connsiteX1369" fmla="*/ 1208899 w 6384854"/>
              <a:gd name="connsiteY1369" fmla="*/ 3657763 h 5504521"/>
              <a:gd name="connsiteX1370" fmla="*/ 1184051 w 6384854"/>
              <a:gd name="connsiteY1370" fmla="*/ 3637322 h 5504521"/>
              <a:gd name="connsiteX1371" fmla="*/ 1183866 w 6384854"/>
              <a:gd name="connsiteY1371" fmla="*/ 3644372 h 5504521"/>
              <a:gd name="connsiteX1372" fmla="*/ 1151007 w 6384854"/>
              <a:gd name="connsiteY1372" fmla="*/ 3671117 h 5504521"/>
              <a:gd name="connsiteX1373" fmla="*/ 1135950 w 6384854"/>
              <a:gd name="connsiteY1373" fmla="*/ 3664492 h 5504521"/>
              <a:gd name="connsiteX1374" fmla="*/ 1130239 w 6384854"/>
              <a:gd name="connsiteY1374" fmla="*/ 3656432 h 5504521"/>
              <a:gd name="connsiteX1375" fmla="*/ 1112919 w 6384854"/>
              <a:gd name="connsiteY1375" fmla="*/ 3639304 h 5504521"/>
              <a:gd name="connsiteX1376" fmla="*/ 1036335 w 6384854"/>
              <a:gd name="connsiteY1376" fmla="*/ 3655526 h 5504521"/>
              <a:gd name="connsiteX1377" fmla="*/ 914469 w 6384854"/>
              <a:gd name="connsiteY1377" fmla="*/ 3688273 h 5504521"/>
              <a:gd name="connsiteX1378" fmla="*/ 877717 w 6384854"/>
              <a:gd name="connsiteY1378" fmla="*/ 3702211 h 5504521"/>
              <a:gd name="connsiteX1379" fmla="*/ 849012 w 6384854"/>
              <a:gd name="connsiteY1379" fmla="*/ 3710447 h 5504521"/>
              <a:gd name="connsiteX1380" fmla="*/ 796869 w 6384854"/>
              <a:gd name="connsiteY1380" fmla="*/ 3719726 h 5504521"/>
              <a:gd name="connsiteX1381" fmla="*/ 746505 w 6384854"/>
              <a:gd name="connsiteY1381" fmla="*/ 3736392 h 5504521"/>
              <a:gd name="connsiteX1382" fmla="*/ 711681 w 6384854"/>
              <a:gd name="connsiteY1382" fmla="*/ 3762800 h 5504521"/>
              <a:gd name="connsiteX1383" fmla="*/ 668587 w 6384854"/>
              <a:gd name="connsiteY1383" fmla="*/ 3760479 h 5504521"/>
              <a:gd name="connsiteX1384" fmla="*/ 633319 w 6384854"/>
              <a:gd name="connsiteY1384" fmla="*/ 3771636 h 5504521"/>
              <a:gd name="connsiteX1385" fmla="*/ 575945 w 6384854"/>
              <a:gd name="connsiteY1385" fmla="*/ 3775974 h 5504521"/>
              <a:gd name="connsiteX1386" fmla="*/ 475737 w 6384854"/>
              <a:gd name="connsiteY1386" fmla="*/ 3800290 h 5504521"/>
              <a:gd name="connsiteX1387" fmla="*/ 397003 w 6384854"/>
              <a:gd name="connsiteY1387" fmla="*/ 3823225 h 5504521"/>
              <a:gd name="connsiteX1388" fmla="*/ 375864 w 6384854"/>
              <a:gd name="connsiteY1388" fmla="*/ 3822640 h 5504521"/>
              <a:gd name="connsiteX1389" fmla="*/ 326687 w 6384854"/>
              <a:gd name="connsiteY1389" fmla="*/ 3826358 h 5504521"/>
              <a:gd name="connsiteX1390" fmla="*/ 318640 w 6384854"/>
              <a:gd name="connsiteY1390" fmla="*/ 3832062 h 5504521"/>
              <a:gd name="connsiteX1391" fmla="*/ 315116 w 6384854"/>
              <a:gd name="connsiteY1391" fmla="*/ 3805156 h 5504521"/>
              <a:gd name="connsiteX1392" fmla="*/ 329801 w 6384854"/>
              <a:gd name="connsiteY1392" fmla="*/ 3772264 h 5504521"/>
              <a:gd name="connsiteX1393" fmla="*/ 350162 w 6384854"/>
              <a:gd name="connsiteY1393" fmla="*/ 3759565 h 5504521"/>
              <a:gd name="connsiteX1394" fmla="*/ 375566 w 6384854"/>
              <a:gd name="connsiteY1394" fmla="*/ 3758858 h 5504521"/>
              <a:gd name="connsiteX1395" fmla="*/ 385357 w 6384854"/>
              <a:gd name="connsiteY1395" fmla="*/ 3772674 h 5504521"/>
              <a:gd name="connsiteX1396" fmla="*/ 399116 w 6384854"/>
              <a:gd name="connsiteY1396" fmla="*/ 3775030 h 5504521"/>
              <a:gd name="connsiteX1397" fmla="*/ 420033 w 6384854"/>
              <a:gd name="connsiteY1397" fmla="*/ 3741182 h 5504521"/>
              <a:gd name="connsiteX1398" fmla="*/ 424484 w 6384854"/>
              <a:gd name="connsiteY1398" fmla="*/ 3732839 h 5504521"/>
              <a:gd name="connsiteX1399" fmla="*/ 432827 w 6384854"/>
              <a:gd name="connsiteY1399" fmla="*/ 3737303 h 5504521"/>
              <a:gd name="connsiteX1400" fmla="*/ 436907 w 6384854"/>
              <a:gd name="connsiteY1400" fmla="*/ 3743060 h 5504521"/>
              <a:gd name="connsiteX1401" fmla="*/ 452965 w 6384854"/>
              <a:gd name="connsiteY1401" fmla="*/ 3743787 h 5504521"/>
              <a:gd name="connsiteX1402" fmla="*/ 470842 w 6384854"/>
              <a:gd name="connsiteY1402" fmla="*/ 3739767 h 5504521"/>
              <a:gd name="connsiteX1403" fmla="*/ 478667 w 6384854"/>
              <a:gd name="connsiteY1403" fmla="*/ 3753246 h 5504521"/>
              <a:gd name="connsiteX1404" fmla="*/ 464055 w 6384854"/>
              <a:gd name="connsiteY1404" fmla="*/ 3761871 h 5504521"/>
              <a:gd name="connsiteX1405" fmla="*/ 455673 w 6384854"/>
              <a:gd name="connsiteY1405" fmla="*/ 3769541 h 5504521"/>
              <a:gd name="connsiteX1406" fmla="*/ 464166 w 6384854"/>
              <a:gd name="connsiteY1406" fmla="*/ 3779088 h 5504521"/>
              <a:gd name="connsiteX1407" fmla="*/ 487196 w 6384854"/>
              <a:gd name="connsiteY1407" fmla="*/ 3750660 h 5504521"/>
              <a:gd name="connsiteX1408" fmla="*/ 505146 w 6384854"/>
              <a:gd name="connsiteY1408" fmla="*/ 3722374 h 5504521"/>
              <a:gd name="connsiteX1409" fmla="*/ 582248 w 6384854"/>
              <a:gd name="connsiteY1409" fmla="*/ 3697136 h 5504521"/>
              <a:gd name="connsiteX1410" fmla="*/ 593857 w 6384854"/>
              <a:gd name="connsiteY1410" fmla="*/ 3706205 h 5504521"/>
              <a:gd name="connsiteX1411" fmla="*/ 601164 w 6384854"/>
              <a:gd name="connsiteY1411" fmla="*/ 3728700 h 5504521"/>
              <a:gd name="connsiteX1412" fmla="*/ 618520 w 6384854"/>
              <a:gd name="connsiteY1412" fmla="*/ 3733696 h 5504521"/>
              <a:gd name="connsiteX1413" fmla="*/ 622154 w 6384854"/>
              <a:gd name="connsiteY1413" fmla="*/ 3724202 h 5504521"/>
              <a:gd name="connsiteX1414" fmla="*/ 623415 w 6384854"/>
              <a:gd name="connsiteY1414" fmla="*/ 3686988 h 5504521"/>
              <a:gd name="connsiteX1415" fmla="*/ 627828 w 6384854"/>
              <a:gd name="connsiteY1415" fmla="*/ 3690779 h 5504521"/>
              <a:gd name="connsiteX1416" fmla="*/ 646519 w 6384854"/>
              <a:gd name="connsiteY1416" fmla="*/ 3687910 h 5504521"/>
              <a:gd name="connsiteX1417" fmla="*/ 655049 w 6384854"/>
              <a:gd name="connsiteY1417" fmla="*/ 3685324 h 5504521"/>
              <a:gd name="connsiteX1418" fmla="*/ 680787 w 6384854"/>
              <a:gd name="connsiteY1418" fmla="*/ 3682650 h 5504521"/>
              <a:gd name="connsiteX1419" fmla="*/ 715463 w 6384854"/>
              <a:gd name="connsiteY1419" fmla="*/ 3651159 h 5504521"/>
              <a:gd name="connsiteX1420" fmla="*/ 715500 w 6384854"/>
              <a:gd name="connsiteY1420" fmla="*/ 3639026 h 5504521"/>
              <a:gd name="connsiteX1421" fmla="*/ 709825 w 6384854"/>
              <a:gd name="connsiteY1421" fmla="*/ 3618833 h 5504521"/>
              <a:gd name="connsiteX1422" fmla="*/ 672590 w 6384854"/>
              <a:gd name="connsiteY1422" fmla="*/ 3629654 h 5504521"/>
              <a:gd name="connsiteX1423" fmla="*/ 635875 w 6384854"/>
              <a:gd name="connsiteY1423" fmla="*/ 3631460 h 5504521"/>
              <a:gd name="connsiteX1424" fmla="*/ 677560 w 6384854"/>
              <a:gd name="connsiteY1424" fmla="*/ 3612296 h 5504521"/>
              <a:gd name="connsiteX1425" fmla="*/ 703038 w 6384854"/>
              <a:gd name="connsiteY1425" fmla="*/ 3587322 h 5504521"/>
              <a:gd name="connsiteX1426" fmla="*/ 718799 w 6384854"/>
              <a:gd name="connsiteY1426" fmla="*/ 3577882 h 5504521"/>
              <a:gd name="connsiteX1427" fmla="*/ 722397 w 6384854"/>
              <a:gd name="connsiteY1427" fmla="*/ 3580521 h 5504521"/>
              <a:gd name="connsiteX1428" fmla="*/ 780511 w 6384854"/>
              <a:gd name="connsiteY1428" fmla="*/ 3547985 h 5504521"/>
              <a:gd name="connsiteX1429" fmla="*/ 798831 w 6384854"/>
              <a:gd name="connsiteY1429" fmla="*/ 3505600 h 5504521"/>
              <a:gd name="connsiteX1430" fmla="*/ 842482 w 6384854"/>
              <a:gd name="connsiteY1430" fmla="*/ 3486773 h 5504521"/>
              <a:gd name="connsiteX1431" fmla="*/ 901041 w 6384854"/>
              <a:gd name="connsiteY1431" fmla="*/ 3469487 h 5504521"/>
              <a:gd name="connsiteX1432" fmla="*/ 944024 w 6384854"/>
              <a:gd name="connsiteY1432" fmla="*/ 3454592 h 5504521"/>
              <a:gd name="connsiteX1433" fmla="*/ 975696 w 6384854"/>
              <a:gd name="connsiteY1433" fmla="*/ 3440795 h 5504521"/>
              <a:gd name="connsiteX1434" fmla="*/ 1005217 w 6384854"/>
              <a:gd name="connsiteY1434" fmla="*/ 3433711 h 5504521"/>
              <a:gd name="connsiteX1435" fmla="*/ 1058029 w 6384854"/>
              <a:gd name="connsiteY1435" fmla="*/ 3474115 h 5504521"/>
              <a:gd name="connsiteX1436" fmla="*/ 1073086 w 6384854"/>
              <a:gd name="connsiteY1436" fmla="*/ 3480740 h 5504521"/>
              <a:gd name="connsiteX1437" fmla="*/ 1081652 w 6384854"/>
              <a:gd name="connsiteY1437" fmla="*/ 3466021 h 5504521"/>
              <a:gd name="connsiteX1438" fmla="*/ 1082023 w 6384854"/>
              <a:gd name="connsiteY1438" fmla="*/ 3451922 h 5504521"/>
              <a:gd name="connsiteX1439" fmla="*/ 1106722 w 6384854"/>
              <a:gd name="connsiteY1439" fmla="*/ 3413664 h 5504521"/>
              <a:gd name="connsiteX1440" fmla="*/ 1132275 w 6384854"/>
              <a:gd name="connsiteY1440" fmla="*/ 3418040 h 5504521"/>
              <a:gd name="connsiteX1441" fmla="*/ 1148593 w 6384854"/>
              <a:gd name="connsiteY1441" fmla="*/ 3387451 h 5504521"/>
              <a:gd name="connsiteX1442" fmla="*/ 1187348 w 6384854"/>
              <a:gd name="connsiteY1442" fmla="*/ 3361716 h 5504521"/>
              <a:gd name="connsiteX1443" fmla="*/ 1276578 w 6384854"/>
              <a:gd name="connsiteY1443" fmla="*/ 3336531 h 5504521"/>
              <a:gd name="connsiteX1444" fmla="*/ 1291338 w 6384854"/>
              <a:gd name="connsiteY1444" fmla="*/ 3332989 h 5504521"/>
              <a:gd name="connsiteX1445" fmla="*/ 1316482 w 6384854"/>
              <a:gd name="connsiteY1445" fmla="*/ 3309982 h 5504521"/>
              <a:gd name="connsiteX1446" fmla="*/ 1321266 w 6384854"/>
              <a:gd name="connsiteY1446" fmla="*/ 3299673 h 5504521"/>
              <a:gd name="connsiteX1447" fmla="*/ 1331131 w 6384854"/>
              <a:gd name="connsiteY1447" fmla="*/ 3289223 h 5504521"/>
              <a:gd name="connsiteX1448" fmla="*/ 1353420 w 6384854"/>
              <a:gd name="connsiteY1448" fmla="*/ 3288994 h 5504521"/>
              <a:gd name="connsiteX1449" fmla="*/ 1376674 w 6384854"/>
              <a:gd name="connsiteY1449" fmla="*/ 3294999 h 5504521"/>
              <a:gd name="connsiteX1450" fmla="*/ 1396515 w 6384854"/>
              <a:gd name="connsiteY1450" fmla="*/ 3291315 h 5504521"/>
              <a:gd name="connsiteX1451" fmla="*/ 1424070 w 6384854"/>
              <a:gd name="connsiteY1451" fmla="*/ 3283895 h 5504521"/>
              <a:gd name="connsiteX1452" fmla="*/ 1434417 w 6384854"/>
              <a:gd name="connsiteY1452" fmla="*/ 3276562 h 5504521"/>
              <a:gd name="connsiteX1453" fmla="*/ 1485151 w 6384854"/>
              <a:gd name="connsiteY1453" fmla="*/ 3245797 h 5504521"/>
              <a:gd name="connsiteX1454" fmla="*/ 1499466 w 6384854"/>
              <a:gd name="connsiteY1454" fmla="*/ 3227004 h 5504521"/>
              <a:gd name="connsiteX1455" fmla="*/ 1477029 w 6384854"/>
              <a:gd name="connsiteY1455" fmla="*/ 3222150 h 5504521"/>
              <a:gd name="connsiteX1456" fmla="*/ 1471948 w 6384854"/>
              <a:gd name="connsiteY1456" fmla="*/ 3222292 h 5504521"/>
              <a:gd name="connsiteX1457" fmla="*/ 1436010 w 6384854"/>
              <a:gd name="connsiteY1457" fmla="*/ 3183766 h 5504521"/>
              <a:gd name="connsiteX1458" fmla="*/ 1468758 w 6384854"/>
              <a:gd name="connsiteY1458" fmla="*/ 3193420 h 5504521"/>
              <a:gd name="connsiteX1459" fmla="*/ 1492270 w 6384854"/>
              <a:gd name="connsiteY1459" fmla="*/ 3168110 h 5504521"/>
              <a:gd name="connsiteX1460" fmla="*/ 1501282 w 6384854"/>
              <a:gd name="connsiteY1460" fmla="*/ 3168642 h 5504521"/>
              <a:gd name="connsiteX1461" fmla="*/ 1503879 w 6384854"/>
              <a:gd name="connsiteY1461" fmla="*/ 3177179 h 5504521"/>
              <a:gd name="connsiteX1462" fmla="*/ 1511222 w 6384854"/>
              <a:gd name="connsiteY1462" fmla="*/ 3187541 h 5504521"/>
              <a:gd name="connsiteX1463" fmla="*/ 1517304 w 6384854"/>
              <a:gd name="connsiteY1463" fmla="*/ 3181501 h 5504521"/>
              <a:gd name="connsiteX1464" fmla="*/ 1531397 w 6384854"/>
              <a:gd name="connsiteY1464" fmla="*/ 3181892 h 5504521"/>
              <a:gd name="connsiteX1465" fmla="*/ 1537442 w 6384854"/>
              <a:gd name="connsiteY1465" fmla="*/ 3187985 h 5504521"/>
              <a:gd name="connsiteX1466" fmla="*/ 1587434 w 6384854"/>
              <a:gd name="connsiteY1466" fmla="*/ 3131802 h 5504521"/>
              <a:gd name="connsiteX1467" fmla="*/ 1590549 w 6384854"/>
              <a:gd name="connsiteY1467" fmla="*/ 3131324 h 5504521"/>
              <a:gd name="connsiteX1468" fmla="*/ 1677034 w 6384854"/>
              <a:gd name="connsiteY1468" fmla="*/ 3092519 h 5504521"/>
              <a:gd name="connsiteX1469" fmla="*/ 1701957 w 6384854"/>
              <a:gd name="connsiteY1469" fmla="*/ 3088694 h 5504521"/>
              <a:gd name="connsiteX1470" fmla="*/ 1732442 w 6384854"/>
              <a:gd name="connsiteY1470" fmla="*/ 3087845 h 5504521"/>
              <a:gd name="connsiteX1471" fmla="*/ 1780209 w 6384854"/>
              <a:gd name="connsiteY1471" fmla="*/ 3062641 h 5504521"/>
              <a:gd name="connsiteX1472" fmla="*/ 1779133 w 6384854"/>
              <a:gd name="connsiteY1472" fmla="*/ 3039190 h 5504521"/>
              <a:gd name="connsiteX1473" fmla="*/ 1771456 w 6384854"/>
              <a:gd name="connsiteY1473" fmla="*/ 3030794 h 5504521"/>
              <a:gd name="connsiteX1474" fmla="*/ 1763000 w 6384854"/>
              <a:gd name="connsiteY1474" fmla="*/ 3009113 h 5504521"/>
              <a:gd name="connsiteX1475" fmla="*/ 1759922 w 6384854"/>
              <a:gd name="connsiteY1475" fmla="*/ 2997458 h 5504521"/>
              <a:gd name="connsiteX1476" fmla="*/ 1772865 w 6384854"/>
              <a:gd name="connsiteY1476" fmla="*/ 2998663 h 5504521"/>
              <a:gd name="connsiteX1477" fmla="*/ 1801162 w 6384854"/>
              <a:gd name="connsiteY1477" fmla="*/ 3016660 h 5504521"/>
              <a:gd name="connsiteX1478" fmla="*/ 1863616 w 6384854"/>
              <a:gd name="connsiteY1478" fmla="*/ 3012181 h 5504521"/>
              <a:gd name="connsiteX1479" fmla="*/ 1893841 w 6384854"/>
              <a:gd name="connsiteY1479" fmla="*/ 2989032 h 5504521"/>
              <a:gd name="connsiteX1480" fmla="*/ 1928257 w 6384854"/>
              <a:gd name="connsiteY1480" fmla="*/ 2988856 h 5504521"/>
              <a:gd name="connsiteX1481" fmla="*/ 1936602 w 6384854"/>
              <a:gd name="connsiteY1481" fmla="*/ 2993319 h 5504521"/>
              <a:gd name="connsiteX1482" fmla="*/ 1932781 w 6384854"/>
              <a:gd name="connsiteY1482" fmla="*/ 2956247 h 5504521"/>
              <a:gd name="connsiteX1483" fmla="*/ 1945428 w 6384854"/>
              <a:gd name="connsiteY1483" fmla="*/ 2947285 h 5504521"/>
              <a:gd name="connsiteX1484" fmla="*/ 1968236 w 6384854"/>
              <a:gd name="connsiteY1484" fmla="*/ 2938040 h 5504521"/>
              <a:gd name="connsiteX1485" fmla="*/ 1992564 w 6384854"/>
              <a:gd name="connsiteY1485" fmla="*/ 2913880 h 5504521"/>
              <a:gd name="connsiteX1486" fmla="*/ 2046525 w 6384854"/>
              <a:gd name="connsiteY1486" fmla="*/ 2899854 h 5504521"/>
              <a:gd name="connsiteX1487" fmla="*/ 2073153 w 6384854"/>
              <a:gd name="connsiteY1487" fmla="*/ 2874065 h 5504521"/>
              <a:gd name="connsiteX1488" fmla="*/ 2107791 w 6384854"/>
              <a:gd name="connsiteY1488" fmla="*/ 2854707 h 5504521"/>
              <a:gd name="connsiteX1489" fmla="*/ 2127002 w 6384854"/>
              <a:gd name="connsiteY1489" fmla="*/ 2842822 h 5504521"/>
              <a:gd name="connsiteX1490" fmla="*/ 2128485 w 6384854"/>
              <a:gd name="connsiteY1490" fmla="*/ 2840041 h 5504521"/>
              <a:gd name="connsiteX1491" fmla="*/ 2142764 w 6384854"/>
              <a:gd name="connsiteY1491" fmla="*/ 2833382 h 5504521"/>
              <a:gd name="connsiteX1492" fmla="*/ 2153556 w 6384854"/>
              <a:gd name="connsiteY1492" fmla="*/ 2841300 h 5504521"/>
              <a:gd name="connsiteX1493" fmla="*/ 2187490 w 6384854"/>
              <a:gd name="connsiteY1493" fmla="*/ 2838006 h 5504521"/>
              <a:gd name="connsiteX1494" fmla="*/ 2211767 w 6384854"/>
              <a:gd name="connsiteY1494" fmla="*/ 2810424 h 5504521"/>
              <a:gd name="connsiteX1495" fmla="*/ 5543500 w 6384854"/>
              <a:gd name="connsiteY1495" fmla="*/ 2701820 h 5504521"/>
              <a:gd name="connsiteX1496" fmla="*/ 5546294 w 6384854"/>
              <a:gd name="connsiteY1496" fmla="*/ 2702417 h 5504521"/>
              <a:gd name="connsiteX1497" fmla="*/ 5542903 w 6384854"/>
              <a:gd name="connsiteY1497" fmla="*/ 2704613 h 5504521"/>
              <a:gd name="connsiteX1498" fmla="*/ 5543500 w 6384854"/>
              <a:gd name="connsiteY1498" fmla="*/ 2701820 h 5504521"/>
              <a:gd name="connsiteX1499" fmla="*/ 2714268 w 6384854"/>
              <a:gd name="connsiteY1499" fmla="*/ 2668593 h 5504521"/>
              <a:gd name="connsiteX1500" fmla="*/ 2723111 w 6384854"/>
              <a:gd name="connsiteY1500" fmla="*/ 2727682 h 5504521"/>
              <a:gd name="connsiteX1501" fmla="*/ 2735850 w 6384854"/>
              <a:gd name="connsiteY1501" fmla="*/ 2768537 h 5504521"/>
              <a:gd name="connsiteX1502" fmla="*/ 2735363 w 6384854"/>
              <a:gd name="connsiteY1502" fmla="*/ 2770816 h 5504521"/>
              <a:gd name="connsiteX1503" fmla="*/ 2737157 w 6384854"/>
              <a:gd name="connsiteY1503" fmla="*/ 2773582 h 5504521"/>
              <a:gd name="connsiteX1504" fmla="*/ 2734388 w 6384854"/>
              <a:gd name="connsiteY1504" fmla="*/ 2775375 h 5504521"/>
              <a:gd name="connsiteX1505" fmla="*/ 2732594 w 6384854"/>
              <a:gd name="connsiteY1505" fmla="*/ 2772608 h 5504521"/>
              <a:gd name="connsiteX1506" fmla="*/ 2747128 w 6384854"/>
              <a:gd name="connsiteY1506" fmla="*/ 2816229 h 5504521"/>
              <a:gd name="connsiteX1507" fmla="*/ 2748434 w 6384854"/>
              <a:gd name="connsiteY1507" fmla="*/ 2821275 h 5504521"/>
              <a:gd name="connsiteX1508" fmla="*/ 2750229 w 6384854"/>
              <a:gd name="connsiteY1508" fmla="*/ 2824041 h 5504521"/>
              <a:gd name="connsiteX1509" fmla="*/ 2746973 w 6384854"/>
              <a:gd name="connsiteY1509" fmla="*/ 2828113 h 5504521"/>
              <a:gd name="connsiteX1510" fmla="*/ 2753663 w 6384854"/>
              <a:gd name="connsiteY1510" fmla="*/ 2841459 h 5504521"/>
              <a:gd name="connsiteX1511" fmla="*/ 2779807 w 6384854"/>
              <a:gd name="connsiteY1511" fmla="*/ 2942377 h 5504521"/>
              <a:gd name="connsiteX1512" fmla="*/ 2778191 w 6384854"/>
              <a:gd name="connsiteY1512" fmla="*/ 2938781 h 5504521"/>
              <a:gd name="connsiteX1513" fmla="*/ 2778501 w 6384854"/>
              <a:gd name="connsiteY1513" fmla="*/ 2937331 h 5504521"/>
              <a:gd name="connsiteX1514" fmla="*/ 2776707 w 6384854"/>
              <a:gd name="connsiteY1514" fmla="*/ 2934564 h 5504521"/>
              <a:gd name="connsiteX1515" fmla="*/ 2777584 w 6384854"/>
              <a:gd name="connsiteY1515" fmla="*/ 2937433 h 5504521"/>
              <a:gd name="connsiteX1516" fmla="*/ 2778191 w 6384854"/>
              <a:gd name="connsiteY1516" fmla="*/ 2938781 h 5504521"/>
              <a:gd name="connsiteX1517" fmla="*/ 2778013 w 6384854"/>
              <a:gd name="connsiteY1517" fmla="*/ 2939611 h 5504521"/>
              <a:gd name="connsiteX1518" fmla="*/ 2779321 w 6384854"/>
              <a:gd name="connsiteY1518" fmla="*/ 2944656 h 5504521"/>
              <a:gd name="connsiteX1519" fmla="*/ 2777039 w 6384854"/>
              <a:gd name="connsiteY1519" fmla="*/ 2944169 h 5504521"/>
              <a:gd name="connsiteX1520" fmla="*/ 2775733 w 6384854"/>
              <a:gd name="connsiteY1520" fmla="*/ 2939123 h 5504521"/>
              <a:gd name="connsiteX1521" fmla="*/ 2777707 w 6384854"/>
              <a:gd name="connsiteY1521" fmla="*/ 2963377 h 5504521"/>
              <a:gd name="connsiteX1522" fmla="*/ 2778193 w 6384854"/>
              <a:gd name="connsiteY1522" fmla="*/ 2961098 h 5504521"/>
              <a:gd name="connsiteX1523" fmla="*/ 2779501 w 6384854"/>
              <a:gd name="connsiteY1523" fmla="*/ 2966145 h 5504521"/>
              <a:gd name="connsiteX1524" fmla="*/ 2781294 w 6384854"/>
              <a:gd name="connsiteY1524" fmla="*/ 2968911 h 5504521"/>
              <a:gd name="connsiteX1525" fmla="*/ 2811155 w 6384854"/>
              <a:gd name="connsiteY1525" fmla="*/ 3030107 h 5504521"/>
              <a:gd name="connsiteX1526" fmla="*/ 2812949 w 6384854"/>
              <a:gd name="connsiteY1526" fmla="*/ 3032874 h 5504521"/>
              <a:gd name="connsiteX1527" fmla="*/ 2821920 w 6384854"/>
              <a:gd name="connsiteY1527" fmla="*/ 3046706 h 5504521"/>
              <a:gd name="connsiteX1528" fmla="*/ 2817845 w 6384854"/>
              <a:gd name="connsiteY1528" fmla="*/ 3043453 h 5504521"/>
              <a:gd name="connsiteX1529" fmla="*/ 2817358 w 6384854"/>
              <a:gd name="connsiteY1529" fmla="*/ 3045732 h 5504521"/>
              <a:gd name="connsiteX1530" fmla="*/ 2816871 w 6384854"/>
              <a:gd name="connsiteY1530" fmla="*/ 3048011 h 5504521"/>
              <a:gd name="connsiteX1531" fmla="*/ 2815076 w 6384854"/>
              <a:gd name="connsiteY1531" fmla="*/ 3045244 h 5504521"/>
              <a:gd name="connsiteX1532" fmla="*/ 2820793 w 6384854"/>
              <a:gd name="connsiteY1532" fmla="*/ 3063149 h 5504521"/>
              <a:gd name="connsiteX1533" fmla="*/ 2821279 w 6384854"/>
              <a:gd name="connsiteY1533" fmla="*/ 3060870 h 5504521"/>
              <a:gd name="connsiteX1534" fmla="*/ 2819485 w 6384854"/>
              <a:gd name="connsiteY1534" fmla="*/ 3058103 h 5504521"/>
              <a:gd name="connsiteX1535" fmla="*/ 2819972 w 6384854"/>
              <a:gd name="connsiteY1535" fmla="*/ 3055824 h 5504521"/>
              <a:gd name="connsiteX1536" fmla="*/ 2823561 w 6384854"/>
              <a:gd name="connsiteY1536" fmla="*/ 3061357 h 5504521"/>
              <a:gd name="connsiteX1537" fmla="*/ 2825355 w 6384854"/>
              <a:gd name="connsiteY1537" fmla="*/ 3064123 h 5504521"/>
              <a:gd name="connsiteX1538" fmla="*/ 2842476 w 6384854"/>
              <a:gd name="connsiteY1538" fmla="*/ 3084464 h 5504521"/>
              <a:gd name="connsiteX1539" fmla="*/ 2852601 w 6384854"/>
              <a:gd name="connsiteY1539" fmla="*/ 3115228 h 5504521"/>
              <a:gd name="connsiteX1540" fmla="*/ 2854881 w 6384854"/>
              <a:gd name="connsiteY1540" fmla="*/ 3115715 h 5504521"/>
              <a:gd name="connsiteX1541" fmla="*/ 2856189 w 6384854"/>
              <a:gd name="connsiteY1541" fmla="*/ 3120760 h 5504521"/>
              <a:gd name="connsiteX1542" fmla="*/ 2858470 w 6384854"/>
              <a:gd name="connsiteY1542" fmla="*/ 3121248 h 5504521"/>
              <a:gd name="connsiteX1543" fmla="*/ 2857983 w 6384854"/>
              <a:gd name="connsiteY1543" fmla="*/ 3123528 h 5504521"/>
              <a:gd name="connsiteX1544" fmla="*/ 2866467 w 6384854"/>
              <a:gd name="connsiteY1544" fmla="*/ 3139640 h 5504521"/>
              <a:gd name="connsiteX1545" fmla="*/ 2860110 w 6384854"/>
              <a:gd name="connsiteY1545" fmla="*/ 3135899 h 5504521"/>
              <a:gd name="connsiteX1546" fmla="*/ 2859623 w 6384854"/>
              <a:gd name="connsiteY1546" fmla="*/ 3138178 h 5504521"/>
              <a:gd name="connsiteX1547" fmla="*/ 2857829 w 6384854"/>
              <a:gd name="connsiteY1547" fmla="*/ 3135411 h 5504521"/>
              <a:gd name="connsiteX1548" fmla="*/ 2855549 w 6384854"/>
              <a:gd name="connsiteY1548" fmla="*/ 3134924 h 5504521"/>
              <a:gd name="connsiteX1549" fmla="*/ 2867621 w 6384854"/>
              <a:gd name="connsiteY1549" fmla="*/ 3156570 h 5504521"/>
              <a:gd name="connsiteX1550" fmla="*/ 2873157 w 6384854"/>
              <a:gd name="connsiteY1550" fmla="*/ 3152986 h 5504521"/>
              <a:gd name="connsiteX1551" fmla="*/ 2896148 w 6384854"/>
              <a:gd name="connsiteY1551" fmla="*/ 3179348 h 5504521"/>
              <a:gd name="connsiteX1552" fmla="*/ 2904965 w 6384854"/>
              <a:gd name="connsiteY1552" fmla="*/ 3205064 h 5504521"/>
              <a:gd name="connsiteX1553" fmla="*/ 2925674 w 6384854"/>
              <a:gd name="connsiteY1553" fmla="*/ 3230938 h 5504521"/>
              <a:gd name="connsiteX1554" fmla="*/ 2929596 w 6384854"/>
              <a:gd name="connsiteY1554" fmla="*/ 3246077 h 5504521"/>
              <a:gd name="connsiteX1555" fmla="*/ 2996467 w 6384854"/>
              <a:gd name="connsiteY1555" fmla="*/ 3346163 h 5504521"/>
              <a:gd name="connsiteX1556" fmla="*/ 2948204 w 6384854"/>
              <a:gd name="connsiteY1556" fmla="*/ 3292952 h 5504521"/>
              <a:gd name="connsiteX1557" fmla="*/ 2911501 w 6384854"/>
              <a:gd name="connsiteY1557" fmla="*/ 3230294 h 5504521"/>
              <a:gd name="connsiteX1558" fmla="*/ 2911013 w 6384854"/>
              <a:gd name="connsiteY1558" fmla="*/ 3232574 h 5504521"/>
              <a:gd name="connsiteX1559" fmla="*/ 2912321 w 6384854"/>
              <a:gd name="connsiteY1559" fmla="*/ 3237619 h 5504521"/>
              <a:gd name="connsiteX1560" fmla="*/ 2910527 w 6384854"/>
              <a:gd name="connsiteY1560" fmla="*/ 3234853 h 5504521"/>
              <a:gd name="connsiteX1561" fmla="*/ 2906452 w 6384854"/>
              <a:gd name="connsiteY1561" fmla="*/ 3231599 h 5504521"/>
              <a:gd name="connsiteX1562" fmla="*/ 2911834 w 6384854"/>
              <a:gd name="connsiteY1562" fmla="*/ 3239899 h 5504521"/>
              <a:gd name="connsiteX1563" fmla="*/ 2872696 w 6384854"/>
              <a:gd name="connsiteY1563" fmla="*/ 3188637 h 5504521"/>
              <a:gd name="connsiteX1564" fmla="*/ 2836145 w 6384854"/>
              <a:gd name="connsiteY1564" fmla="*/ 3114095 h 5504521"/>
              <a:gd name="connsiteX1565" fmla="*/ 2811181 w 6384854"/>
              <a:gd name="connsiteY1565" fmla="*/ 3063479 h 5504521"/>
              <a:gd name="connsiteX1566" fmla="*/ 2793546 w 6384854"/>
              <a:gd name="connsiteY1566" fmla="*/ 3012045 h 5504521"/>
              <a:gd name="connsiteX1567" fmla="*/ 2778527 w 6384854"/>
              <a:gd name="connsiteY1567" fmla="*/ 2970703 h 5504521"/>
              <a:gd name="connsiteX1568" fmla="*/ 2776733 w 6384854"/>
              <a:gd name="connsiteY1568" fmla="*/ 2967936 h 5504521"/>
              <a:gd name="connsiteX1569" fmla="*/ 2775425 w 6384854"/>
              <a:gd name="connsiteY1569" fmla="*/ 2962890 h 5504521"/>
              <a:gd name="connsiteX1570" fmla="*/ 2745205 w 6384854"/>
              <a:gd name="connsiteY1570" fmla="*/ 2858718 h 5504521"/>
              <a:gd name="connsiteX1571" fmla="*/ 2736901 w 6384854"/>
              <a:gd name="connsiteY1571" fmla="*/ 2864094 h 5504521"/>
              <a:gd name="connsiteX1572" fmla="*/ 2727930 w 6384854"/>
              <a:gd name="connsiteY1572" fmla="*/ 2850261 h 5504521"/>
              <a:gd name="connsiteX1573" fmla="*/ 2729237 w 6384854"/>
              <a:gd name="connsiteY1573" fmla="*/ 2855306 h 5504521"/>
              <a:gd name="connsiteX1574" fmla="*/ 2730545 w 6384854"/>
              <a:gd name="connsiteY1574" fmla="*/ 2860352 h 5504521"/>
              <a:gd name="connsiteX1575" fmla="*/ 2728750 w 6384854"/>
              <a:gd name="connsiteY1575" fmla="*/ 2857586 h 5504521"/>
              <a:gd name="connsiteX1576" fmla="*/ 2727443 w 6384854"/>
              <a:gd name="connsiteY1576" fmla="*/ 2852540 h 5504521"/>
              <a:gd name="connsiteX1577" fmla="*/ 2725649 w 6384854"/>
              <a:gd name="connsiteY1577" fmla="*/ 2849773 h 5504521"/>
              <a:gd name="connsiteX1578" fmla="*/ 2721241 w 6384854"/>
              <a:gd name="connsiteY1578" fmla="*/ 2836915 h 5504521"/>
              <a:gd name="connsiteX1579" fmla="*/ 2721727 w 6384854"/>
              <a:gd name="connsiteY1579" fmla="*/ 2834636 h 5504521"/>
              <a:gd name="connsiteX1580" fmla="*/ 2722215 w 6384854"/>
              <a:gd name="connsiteY1580" fmla="*/ 2832357 h 5504521"/>
              <a:gd name="connsiteX1581" fmla="*/ 2723925 w 6384854"/>
              <a:gd name="connsiteY1581" fmla="*/ 2832722 h 5504521"/>
              <a:gd name="connsiteX1582" fmla="*/ 2724009 w 6384854"/>
              <a:gd name="connsiteY1582" fmla="*/ 2835123 h 5504521"/>
              <a:gd name="connsiteX1583" fmla="*/ 2724495 w 6384854"/>
              <a:gd name="connsiteY1583" fmla="*/ 2832844 h 5504521"/>
              <a:gd name="connsiteX1584" fmla="*/ 2723925 w 6384854"/>
              <a:gd name="connsiteY1584" fmla="*/ 2832722 h 5504521"/>
              <a:gd name="connsiteX1585" fmla="*/ 2723842 w 6384854"/>
              <a:gd name="connsiteY1585" fmla="*/ 2830321 h 5504521"/>
              <a:gd name="connsiteX1586" fmla="*/ 2723675 w 6384854"/>
              <a:gd name="connsiteY1586" fmla="*/ 2825518 h 5504521"/>
              <a:gd name="connsiteX1587" fmla="*/ 2733620 w 6384854"/>
              <a:gd name="connsiteY1587" fmla="*/ 2834793 h 5504521"/>
              <a:gd name="connsiteX1588" fmla="*/ 2732953 w 6384854"/>
              <a:gd name="connsiteY1588" fmla="*/ 2815585 h 5504521"/>
              <a:gd name="connsiteX1589" fmla="*/ 2735721 w 6384854"/>
              <a:gd name="connsiteY1589" fmla="*/ 2813792 h 5504521"/>
              <a:gd name="connsiteX1590" fmla="*/ 2733441 w 6384854"/>
              <a:gd name="connsiteY1590" fmla="*/ 2813305 h 5504521"/>
              <a:gd name="connsiteX1591" fmla="*/ 2733927 w 6384854"/>
              <a:gd name="connsiteY1591" fmla="*/ 2811026 h 5504521"/>
              <a:gd name="connsiteX1592" fmla="*/ 2734415 w 6384854"/>
              <a:gd name="connsiteY1592" fmla="*/ 2808747 h 5504521"/>
              <a:gd name="connsiteX1593" fmla="*/ 2734902 w 6384854"/>
              <a:gd name="connsiteY1593" fmla="*/ 2806467 h 5504521"/>
              <a:gd name="connsiteX1594" fmla="*/ 2728519 w 6384854"/>
              <a:gd name="connsiteY1594" fmla="*/ 2769353 h 5504521"/>
              <a:gd name="connsiteX1595" fmla="*/ 2730801 w 6384854"/>
              <a:gd name="connsiteY1595" fmla="*/ 2769841 h 5504521"/>
              <a:gd name="connsiteX1596" fmla="*/ 2729007 w 6384854"/>
              <a:gd name="connsiteY1596" fmla="*/ 2767074 h 5504521"/>
              <a:gd name="connsiteX1597" fmla="*/ 2725905 w 6384854"/>
              <a:gd name="connsiteY1597" fmla="*/ 2759262 h 5504521"/>
              <a:gd name="connsiteX1598" fmla="*/ 2728673 w 6384854"/>
              <a:gd name="connsiteY1598" fmla="*/ 2757470 h 5504521"/>
              <a:gd name="connsiteX1599" fmla="*/ 2715447 w 6384854"/>
              <a:gd name="connsiteY1599" fmla="*/ 2718894 h 5504521"/>
              <a:gd name="connsiteX1600" fmla="*/ 2714268 w 6384854"/>
              <a:gd name="connsiteY1600" fmla="*/ 2668593 h 5504521"/>
              <a:gd name="connsiteX1601" fmla="*/ 2330673 w 6384854"/>
              <a:gd name="connsiteY1601" fmla="*/ 2656101 h 5504521"/>
              <a:gd name="connsiteX1602" fmla="*/ 2344030 w 6384854"/>
              <a:gd name="connsiteY1602" fmla="*/ 2666537 h 5504521"/>
              <a:gd name="connsiteX1603" fmla="*/ 2334054 w 6384854"/>
              <a:gd name="connsiteY1603" fmla="*/ 2713386 h 5504521"/>
              <a:gd name="connsiteX1604" fmla="*/ 2361473 w 6384854"/>
              <a:gd name="connsiteY1604" fmla="*/ 2707531 h 5504521"/>
              <a:gd name="connsiteX1605" fmla="*/ 2363699 w 6384854"/>
              <a:gd name="connsiteY1605" fmla="*/ 2778875 h 5504521"/>
              <a:gd name="connsiteX1606" fmla="*/ 3101701 w 6384854"/>
              <a:gd name="connsiteY1606" fmla="*/ 4011905 h 5504521"/>
              <a:gd name="connsiteX1607" fmla="*/ 3104495 w 6384854"/>
              <a:gd name="connsiteY1607" fmla="*/ 4012503 h 5504521"/>
              <a:gd name="connsiteX1608" fmla="*/ 3107289 w 6384854"/>
              <a:gd name="connsiteY1608" fmla="*/ 4013099 h 5504521"/>
              <a:gd name="connsiteX1609" fmla="*/ 3110681 w 6384854"/>
              <a:gd name="connsiteY1609" fmla="*/ 4010903 h 5504521"/>
              <a:gd name="connsiteX1610" fmla="*/ 3105689 w 6384854"/>
              <a:gd name="connsiteY1610" fmla="*/ 4006915 h 5504521"/>
              <a:gd name="connsiteX1611" fmla="*/ 3106883 w 6384854"/>
              <a:gd name="connsiteY1611" fmla="*/ 4001326 h 5504521"/>
              <a:gd name="connsiteX1612" fmla="*/ 3111874 w 6384854"/>
              <a:gd name="connsiteY1612" fmla="*/ 4005314 h 5504521"/>
              <a:gd name="connsiteX1613" fmla="*/ 3114071 w 6384854"/>
              <a:gd name="connsiteY1613" fmla="*/ 4008706 h 5504521"/>
              <a:gd name="connsiteX1614" fmla="*/ 3116865 w 6384854"/>
              <a:gd name="connsiteY1614" fmla="*/ 4009302 h 5504521"/>
              <a:gd name="connsiteX1615" fmla="*/ 3125844 w 6384854"/>
              <a:gd name="connsiteY1615" fmla="*/ 4008299 h 5504521"/>
              <a:gd name="connsiteX1616" fmla="*/ 3126847 w 6384854"/>
              <a:gd name="connsiteY1616" fmla="*/ 4017278 h 5504521"/>
              <a:gd name="connsiteX1617" fmla="*/ 3121856 w 6384854"/>
              <a:gd name="connsiteY1617" fmla="*/ 4013290 h 5504521"/>
              <a:gd name="connsiteX1618" fmla="*/ 3123456 w 6384854"/>
              <a:gd name="connsiteY1618" fmla="*/ 4019475 h 5504521"/>
              <a:gd name="connsiteX1619" fmla="*/ 3115671 w 6384854"/>
              <a:gd name="connsiteY1619" fmla="*/ 4014890 h 5504521"/>
              <a:gd name="connsiteX1620" fmla="*/ 3113474 w 6384854"/>
              <a:gd name="connsiteY1620" fmla="*/ 4011500 h 5504521"/>
              <a:gd name="connsiteX1621" fmla="*/ 3115075 w 6384854"/>
              <a:gd name="connsiteY1621" fmla="*/ 4017684 h 5504521"/>
              <a:gd name="connsiteX1622" fmla="*/ 3117868 w 6384854"/>
              <a:gd name="connsiteY1622" fmla="*/ 4018281 h 5504521"/>
              <a:gd name="connsiteX1623" fmla="*/ 3120065 w 6384854"/>
              <a:gd name="connsiteY1623" fmla="*/ 4021672 h 5504521"/>
              <a:gd name="connsiteX1624" fmla="*/ 3119468 w 6384854"/>
              <a:gd name="connsiteY1624" fmla="*/ 4024465 h 5504521"/>
              <a:gd name="connsiteX1625" fmla="*/ 3241235 w 6384854"/>
              <a:gd name="connsiteY1625" fmla="*/ 4097224 h 5504521"/>
              <a:gd name="connsiteX1626" fmla="*/ 3250213 w 6384854"/>
              <a:gd name="connsiteY1626" fmla="*/ 4096221 h 5504521"/>
              <a:gd name="connsiteX1627" fmla="*/ 3249617 w 6384854"/>
              <a:gd name="connsiteY1627" fmla="*/ 4099015 h 5504521"/>
              <a:gd name="connsiteX1628" fmla="*/ 3279164 w 6384854"/>
              <a:gd name="connsiteY1628" fmla="*/ 4112339 h 5504521"/>
              <a:gd name="connsiteX1629" fmla="*/ 3243102 w 6384854"/>
              <a:gd name="connsiteY1629" fmla="*/ 4137928 h 5504521"/>
              <a:gd name="connsiteX1630" fmla="*/ 3113882 w 6384854"/>
              <a:gd name="connsiteY1630" fmla="*/ 4065999 h 5504521"/>
              <a:gd name="connsiteX1631" fmla="*/ 2840999 w 6384854"/>
              <a:gd name="connsiteY1631" fmla="*/ 3851035 h 5504521"/>
              <a:gd name="connsiteX1632" fmla="*/ 2340106 w 6384854"/>
              <a:gd name="connsiteY1632" fmla="*/ 2830331 h 5504521"/>
              <a:gd name="connsiteX1633" fmla="*/ 5492105 w 6384854"/>
              <a:gd name="connsiteY1633" fmla="*/ 2589873 h 5504521"/>
              <a:gd name="connsiteX1634" fmla="*/ 5486219 w 6384854"/>
              <a:gd name="connsiteY1634" fmla="*/ 2596517 h 5504521"/>
              <a:gd name="connsiteX1635" fmla="*/ 5483071 w 6384854"/>
              <a:gd name="connsiteY1635" fmla="*/ 2614313 h 5504521"/>
              <a:gd name="connsiteX1636" fmla="*/ 5481421 w 6384854"/>
              <a:gd name="connsiteY1636" fmla="*/ 2624779 h 5504521"/>
              <a:gd name="connsiteX1637" fmla="*/ 5480168 w 6384854"/>
              <a:gd name="connsiteY1637" fmla="*/ 2624831 h 5504521"/>
              <a:gd name="connsiteX1638" fmla="*/ 5477376 w 6384854"/>
              <a:gd name="connsiteY1638" fmla="*/ 2667499 h 5504521"/>
              <a:gd name="connsiteX1639" fmla="*/ 5459315 w 6384854"/>
              <a:gd name="connsiteY1639" fmla="*/ 2788167 h 5504521"/>
              <a:gd name="connsiteX1640" fmla="*/ 5464304 w 6384854"/>
              <a:gd name="connsiteY1640" fmla="*/ 2815918 h 5504521"/>
              <a:gd name="connsiteX1641" fmla="*/ 5467030 w 6384854"/>
              <a:gd name="connsiteY1641" fmla="*/ 2803158 h 5504521"/>
              <a:gd name="connsiteX1642" fmla="*/ 5489753 w 6384854"/>
              <a:gd name="connsiteY1642" fmla="*/ 2637417 h 5504521"/>
              <a:gd name="connsiteX1643" fmla="*/ 5964047 w 6384854"/>
              <a:gd name="connsiteY1643" fmla="*/ 2577842 h 5504521"/>
              <a:gd name="connsiteX1644" fmla="*/ 5964126 w 6384854"/>
              <a:gd name="connsiteY1644" fmla="*/ 2581163 h 5504521"/>
              <a:gd name="connsiteX1645" fmla="*/ 5961260 w 6384854"/>
              <a:gd name="connsiteY1645" fmla="*/ 2581579 h 5504521"/>
              <a:gd name="connsiteX1646" fmla="*/ 5962653 w 6384854"/>
              <a:gd name="connsiteY1646" fmla="*/ 2579711 h 5504521"/>
              <a:gd name="connsiteX1647" fmla="*/ 5964047 w 6384854"/>
              <a:gd name="connsiteY1647" fmla="*/ 2577842 h 5504521"/>
              <a:gd name="connsiteX1648" fmla="*/ 5531587 w 6384854"/>
              <a:gd name="connsiteY1648" fmla="*/ 2551650 h 5504521"/>
              <a:gd name="connsiteX1649" fmla="*/ 5521410 w 6384854"/>
              <a:gd name="connsiteY1649" fmla="*/ 2561182 h 5504521"/>
              <a:gd name="connsiteX1650" fmla="*/ 5519306 w 6384854"/>
              <a:gd name="connsiteY1650" fmla="*/ 2580888 h 5504521"/>
              <a:gd name="connsiteX1651" fmla="*/ 5523486 w 6384854"/>
              <a:gd name="connsiteY1651" fmla="*/ 2604057 h 5504521"/>
              <a:gd name="connsiteX1652" fmla="*/ 5522292 w 6384854"/>
              <a:gd name="connsiteY1652" fmla="*/ 2609645 h 5504521"/>
              <a:gd name="connsiteX1653" fmla="*/ 5520501 w 6384854"/>
              <a:gd name="connsiteY1653" fmla="*/ 2618027 h 5504521"/>
              <a:gd name="connsiteX1654" fmla="*/ 5522698 w 6384854"/>
              <a:gd name="connsiteY1654" fmla="*/ 2621417 h 5504521"/>
              <a:gd name="connsiteX1655" fmla="*/ 5523296 w 6384854"/>
              <a:gd name="connsiteY1655" fmla="*/ 2618623 h 5504521"/>
              <a:gd name="connsiteX1656" fmla="*/ 5523445 w 6384854"/>
              <a:gd name="connsiteY1656" fmla="*/ 2617925 h 5504521"/>
              <a:gd name="connsiteX1657" fmla="*/ 5523893 w 6384854"/>
              <a:gd name="connsiteY1657" fmla="*/ 2615829 h 5504521"/>
              <a:gd name="connsiteX1658" fmla="*/ 5526495 w 6384854"/>
              <a:gd name="connsiteY1658" fmla="*/ 2630993 h 5504521"/>
              <a:gd name="connsiteX1659" fmla="*/ 5526305 w 6384854"/>
              <a:gd name="connsiteY1659" fmla="*/ 2645559 h 5504521"/>
              <a:gd name="connsiteX1660" fmla="*/ 5525708 w 6384854"/>
              <a:gd name="connsiteY1660" fmla="*/ 2648354 h 5504521"/>
              <a:gd name="connsiteX1661" fmla="*/ 5525111 w 6384854"/>
              <a:gd name="connsiteY1661" fmla="*/ 2651148 h 5504521"/>
              <a:gd name="connsiteX1662" fmla="*/ 5521123 w 6384854"/>
              <a:gd name="connsiteY1662" fmla="*/ 2656138 h 5504521"/>
              <a:gd name="connsiteX1663" fmla="*/ 5520527 w 6384854"/>
              <a:gd name="connsiteY1663" fmla="*/ 2658933 h 5504521"/>
              <a:gd name="connsiteX1664" fmla="*/ 5519929 w 6384854"/>
              <a:gd name="connsiteY1664" fmla="*/ 2661726 h 5504521"/>
              <a:gd name="connsiteX1665" fmla="*/ 5522724 w 6384854"/>
              <a:gd name="connsiteY1665" fmla="*/ 2662323 h 5504521"/>
              <a:gd name="connsiteX1666" fmla="*/ 5524920 w 6384854"/>
              <a:gd name="connsiteY1666" fmla="*/ 2665714 h 5504521"/>
              <a:gd name="connsiteX1667" fmla="*/ 5522532 w 6384854"/>
              <a:gd name="connsiteY1667" fmla="*/ 2676890 h 5504521"/>
              <a:gd name="connsiteX1668" fmla="*/ 5524133 w 6384854"/>
              <a:gd name="connsiteY1668" fmla="*/ 2683075 h 5504521"/>
              <a:gd name="connsiteX1669" fmla="*/ 5526330 w 6384854"/>
              <a:gd name="connsiteY1669" fmla="*/ 2686466 h 5504521"/>
              <a:gd name="connsiteX1670" fmla="*/ 5528121 w 6384854"/>
              <a:gd name="connsiteY1670" fmla="*/ 2678084 h 5504521"/>
              <a:gd name="connsiteX1671" fmla="*/ 5527118 w 6384854"/>
              <a:gd name="connsiteY1671" fmla="*/ 2669105 h 5504521"/>
              <a:gd name="connsiteX1672" fmla="*/ 5529315 w 6384854"/>
              <a:gd name="connsiteY1672" fmla="*/ 2672496 h 5504521"/>
              <a:gd name="connsiteX1673" fmla="*/ 5528311 w 6384854"/>
              <a:gd name="connsiteY1673" fmla="*/ 2663517 h 5504521"/>
              <a:gd name="connsiteX1674" fmla="*/ 5529505 w 6384854"/>
              <a:gd name="connsiteY1674" fmla="*/ 2657929 h 5504521"/>
              <a:gd name="connsiteX1675" fmla="*/ 5527308 w 6384854"/>
              <a:gd name="connsiteY1675" fmla="*/ 2654538 h 5504521"/>
              <a:gd name="connsiteX1676" fmla="*/ 5532439 w 6384854"/>
              <a:gd name="connsiteY1676" fmla="*/ 2562148 h 5504521"/>
              <a:gd name="connsiteX1677" fmla="*/ 2532998 w 6384854"/>
              <a:gd name="connsiteY1677" fmla="*/ 2516278 h 5504521"/>
              <a:gd name="connsiteX1678" fmla="*/ 2529710 w 6384854"/>
              <a:gd name="connsiteY1678" fmla="*/ 2545824 h 5504521"/>
              <a:gd name="connsiteX1679" fmla="*/ 2526319 w 6384854"/>
              <a:gd name="connsiteY1679" fmla="*/ 2548021 h 5504521"/>
              <a:gd name="connsiteX1680" fmla="*/ 2526129 w 6384854"/>
              <a:gd name="connsiteY1680" fmla="*/ 2562588 h 5504521"/>
              <a:gd name="connsiteX1681" fmla="*/ 2528326 w 6384854"/>
              <a:gd name="connsiteY1681" fmla="*/ 2565979 h 5504521"/>
              <a:gd name="connsiteX1682" fmla="*/ 2524338 w 6384854"/>
              <a:gd name="connsiteY1682" fmla="*/ 2570970 h 5504521"/>
              <a:gd name="connsiteX1683" fmla="*/ 2523551 w 6384854"/>
              <a:gd name="connsiteY1683" fmla="*/ 2588330 h 5504521"/>
              <a:gd name="connsiteX1684" fmla="*/ 2522954 w 6384854"/>
              <a:gd name="connsiteY1684" fmla="*/ 2591125 h 5504521"/>
              <a:gd name="connsiteX1685" fmla="*/ 2523956 w 6384854"/>
              <a:gd name="connsiteY1685" fmla="*/ 2600103 h 5504521"/>
              <a:gd name="connsiteX1686" fmla="*/ 2523359 w 6384854"/>
              <a:gd name="connsiteY1686" fmla="*/ 2602896 h 5504521"/>
              <a:gd name="connsiteX1687" fmla="*/ 2522763 w 6384854"/>
              <a:gd name="connsiteY1687" fmla="*/ 2605691 h 5504521"/>
              <a:gd name="connsiteX1688" fmla="*/ 2523791 w 6384854"/>
              <a:gd name="connsiteY1688" fmla="*/ 2655576 h 5504521"/>
              <a:gd name="connsiteX1689" fmla="*/ 2522001 w 6384854"/>
              <a:gd name="connsiteY1689" fmla="*/ 2663958 h 5504521"/>
              <a:gd name="connsiteX1690" fmla="*/ 2521403 w 6384854"/>
              <a:gd name="connsiteY1690" fmla="*/ 2666751 h 5504521"/>
              <a:gd name="connsiteX1691" fmla="*/ 2519015 w 6384854"/>
              <a:gd name="connsiteY1691" fmla="*/ 2677927 h 5504521"/>
              <a:gd name="connsiteX1692" fmla="*/ 2523626 w 6384854"/>
              <a:gd name="connsiteY1692" fmla="*/ 2711048 h 5504521"/>
              <a:gd name="connsiteX1693" fmla="*/ 2534877 w 6384854"/>
              <a:gd name="connsiteY1693" fmla="*/ 2836154 h 5504521"/>
              <a:gd name="connsiteX1694" fmla="*/ 2534280 w 6384854"/>
              <a:gd name="connsiteY1694" fmla="*/ 2838948 h 5504521"/>
              <a:gd name="connsiteX1695" fmla="*/ 2536477 w 6384854"/>
              <a:gd name="connsiteY1695" fmla="*/ 2842338 h 5504521"/>
              <a:gd name="connsiteX1696" fmla="*/ 2549523 w 6384854"/>
              <a:gd name="connsiteY1696" fmla="*/ 2883835 h 5504521"/>
              <a:gd name="connsiteX1697" fmla="*/ 2560367 w 6384854"/>
              <a:gd name="connsiteY1697" fmla="*/ 2924610 h 5504521"/>
              <a:gd name="connsiteX1698" fmla="*/ 2561189 w 6384854"/>
              <a:gd name="connsiteY1698" fmla="*/ 2929419 h 5504521"/>
              <a:gd name="connsiteX1699" fmla="*/ 2558879 w 6384854"/>
              <a:gd name="connsiteY1699" fmla="*/ 2928926 h 5504521"/>
              <a:gd name="connsiteX1700" fmla="*/ 2562676 w 6384854"/>
              <a:gd name="connsiteY1700" fmla="*/ 2938502 h 5504521"/>
              <a:gd name="connsiteX1701" fmla="*/ 2563565 w 6384854"/>
              <a:gd name="connsiteY1701" fmla="*/ 2939874 h 5504521"/>
              <a:gd name="connsiteX1702" fmla="*/ 2565205 w 6384854"/>
              <a:gd name="connsiteY1702" fmla="*/ 2945250 h 5504521"/>
              <a:gd name="connsiteX1703" fmla="*/ 2565891 w 6384854"/>
              <a:gd name="connsiteY1703" fmla="*/ 2945828 h 5504521"/>
              <a:gd name="connsiteX1704" fmla="*/ 2566473 w 6384854"/>
              <a:gd name="connsiteY1704" fmla="*/ 2948077 h 5504521"/>
              <a:gd name="connsiteX1705" fmla="*/ 2565876 w 6384854"/>
              <a:gd name="connsiteY1705" fmla="*/ 2950871 h 5504521"/>
              <a:gd name="connsiteX1706" fmla="*/ 2568073 w 6384854"/>
              <a:gd name="connsiteY1706" fmla="*/ 2954262 h 5504521"/>
              <a:gd name="connsiteX1707" fmla="*/ 2569267 w 6384854"/>
              <a:gd name="connsiteY1707" fmla="*/ 2948674 h 5504521"/>
              <a:gd name="connsiteX1708" fmla="*/ 2565891 w 6384854"/>
              <a:gd name="connsiteY1708" fmla="*/ 2945828 h 5504521"/>
              <a:gd name="connsiteX1709" fmla="*/ 2564873 w 6384854"/>
              <a:gd name="connsiteY1709" fmla="*/ 2941893 h 5504521"/>
              <a:gd name="connsiteX1710" fmla="*/ 2563565 w 6384854"/>
              <a:gd name="connsiteY1710" fmla="*/ 2939874 h 5504521"/>
              <a:gd name="connsiteX1711" fmla="*/ 2562225 w 6384854"/>
              <a:gd name="connsiteY1711" fmla="*/ 2935484 h 5504521"/>
              <a:gd name="connsiteX1712" fmla="*/ 2561189 w 6384854"/>
              <a:gd name="connsiteY1712" fmla="*/ 2929419 h 5504521"/>
              <a:gd name="connsiteX1713" fmla="*/ 2561673 w 6384854"/>
              <a:gd name="connsiteY1713" fmla="*/ 2929523 h 5504521"/>
              <a:gd name="connsiteX1714" fmla="*/ 2560367 w 6384854"/>
              <a:gd name="connsiteY1714" fmla="*/ 2924610 h 5504521"/>
              <a:gd name="connsiteX1715" fmla="*/ 2560217 w 6384854"/>
              <a:gd name="connsiteY1715" fmla="*/ 2923734 h 5504521"/>
              <a:gd name="connsiteX1716" fmla="*/ 2559070 w 6384854"/>
              <a:gd name="connsiteY1716" fmla="*/ 2914359 h 5504521"/>
              <a:gd name="connsiteX1717" fmla="*/ 2557470 w 6384854"/>
              <a:gd name="connsiteY1717" fmla="*/ 2908175 h 5504521"/>
              <a:gd name="connsiteX1718" fmla="*/ 2553266 w 6384854"/>
              <a:gd name="connsiteY1718" fmla="*/ 2886826 h 5504521"/>
              <a:gd name="connsiteX1719" fmla="*/ 2546459 w 6384854"/>
              <a:gd name="connsiteY1719" fmla="*/ 2850314 h 5504521"/>
              <a:gd name="connsiteX1720" fmla="*/ 2544859 w 6384854"/>
              <a:gd name="connsiteY1720" fmla="*/ 2844129 h 5504521"/>
              <a:gd name="connsiteX1721" fmla="*/ 2543259 w 6384854"/>
              <a:gd name="connsiteY1721" fmla="*/ 2837945 h 5504521"/>
              <a:gd name="connsiteX1722" fmla="*/ 2546650 w 6384854"/>
              <a:gd name="connsiteY1722" fmla="*/ 2835747 h 5504521"/>
              <a:gd name="connsiteX1723" fmla="*/ 2552644 w 6384854"/>
              <a:gd name="connsiteY1723" fmla="*/ 2848714 h 5504521"/>
              <a:gd name="connsiteX1724" fmla="*/ 2552047 w 6384854"/>
              <a:gd name="connsiteY1724" fmla="*/ 2851508 h 5504521"/>
              <a:gd name="connsiteX1725" fmla="*/ 2563655 w 6384854"/>
              <a:gd name="connsiteY1725" fmla="*/ 2906574 h 5504521"/>
              <a:gd name="connsiteX1726" fmla="*/ 2563057 w 6384854"/>
              <a:gd name="connsiteY1726" fmla="*/ 2909369 h 5504521"/>
              <a:gd name="connsiteX1727" fmla="*/ 2571249 w 6384854"/>
              <a:gd name="connsiteY1727" fmla="*/ 2925725 h 5504521"/>
              <a:gd name="connsiteX1728" fmla="*/ 2576049 w 6384854"/>
              <a:gd name="connsiteY1728" fmla="*/ 2944280 h 5504521"/>
              <a:gd name="connsiteX1729" fmla="*/ 2583903 w 6384854"/>
              <a:gd name="connsiteY1729" fmla="*/ 2981016 h 5504521"/>
              <a:gd name="connsiteX1730" fmla="*/ 2595755 w 6384854"/>
              <a:gd name="connsiteY1730" fmla="*/ 3012929 h 5504521"/>
              <a:gd name="connsiteX1731" fmla="*/ 2595671 w 6384854"/>
              <a:gd name="connsiteY1731" fmla="*/ 3013110 h 5504521"/>
              <a:gd name="connsiteX1732" fmla="*/ 2598045 w 6384854"/>
              <a:gd name="connsiteY1732" fmla="*/ 3019094 h 5504521"/>
              <a:gd name="connsiteX1733" fmla="*/ 2595755 w 6384854"/>
              <a:gd name="connsiteY1733" fmla="*/ 3012929 h 5504521"/>
              <a:gd name="connsiteX1734" fmla="*/ 2597042 w 6384854"/>
              <a:gd name="connsiteY1734" fmla="*/ 3010116 h 5504521"/>
              <a:gd name="connsiteX1735" fmla="*/ 2647815 w 6384854"/>
              <a:gd name="connsiteY1735" fmla="*/ 3155351 h 5504521"/>
              <a:gd name="connsiteX1736" fmla="*/ 2650608 w 6384854"/>
              <a:gd name="connsiteY1736" fmla="*/ 3155948 h 5504521"/>
              <a:gd name="connsiteX1737" fmla="*/ 2650011 w 6384854"/>
              <a:gd name="connsiteY1737" fmla="*/ 3158743 h 5504521"/>
              <a:gd name="connsiteX1738" fmla="*/ 2649415 w 6384854"/>
              <a:gd name="connsiteY1738" fmla="*/ 3161536 h 5504521"/>
              <a:gd name="connsiteX1739" fmla="*/ 2658800 w 6384854"/>
              <a:gd name="connsiteY1739" fmla="*/ 3172305 h 5504521"/>
              <a:gd name="connsiteX1740" fmla="*/ 2672795 w 6384854"/>
              <a:gd name="connsiteY1740" fmla="*/ 3216196 h 5504521"/>
              <a:gd name="connsiteX1741" fmla="*/ 2674585 w 6384854"/>
              <a:gd name="connsiteY1741" fmla="*/ 3207814 h 5504521"/>
              <a:gd name="connsiteX1742" fmla="*/ 2678789 w 6384854"/>
              <a:gd name="connsiteY1742" fmla="*/ 3229163 h 5504521"/>
              <a:gd name="connsiteX1743" fmla="*/ 2682180 w 6384854"/>
              <a:gd name="connsiteY1743" fmla="*/ 3226966 h 5504521"/>
              <a:gd name="connsiteX1744" fmla="*/ 2705560 w 6384854"/>
              <a:gd name="connsiteY1744" fmla="*/ 3281626 h 5504521"/>
              <a:gd name="connsiteX1745" fmla="*/ 2708353 w 6384854"/>
              <a:gd name="connsiteY1745" fmla="*/ 3282223 h 5504521"/>
              <a:gd name="connsiteX1746" fmla="*/ 2731925 w 6384854"/>
              <a:gd name="connsiteY1746" fmla="*/ 3322316 h 5504521"/>
              <a:gd name="connsiteX1747" fmla="*/ 2759292 w 6384854"/>
              <a:gd name="connsiteY1747" fmla="*/ 3371985 h 5504521"/>
              <a:gd name="connsiteX1748" fmla="*/ 2776791 w 6384854"/>
              <a:gd name="connsiteY1748" fmla="*/ 3394348 h 5504521"/>
              <a:gd name="connsiteX1749" fmla="*/ 2792863 w 6384854"/>
              <a:gd name="connsiteY1749" fmla="*/ 3419971 h 5504521"/>
              <a:gd name="connsiteX1750" fmla="*/ 2792845 w 6384854"/>
              <a:gd name="connsiteY1750" fmla="*/ 3420054 h 5504521"/>
              <a:gd name="connsiteX1751" fmla="*/ 2795042 w 6384854"/>
              <a:gd name="connsiteY1751" fmla="*/ 3423445 h 5504521"/>
              <a:gd name="connsiteX1752" fmla="*/ 2792863 w 6384854"/>
              <a:gd name="connsiteY1752" fmla="*/ 3419971 h 5504521"/>
              <a:gd name="connsiteX1753" fmla="*/ 2793441 w 6384854"/>
              <a:gd name="connsiteY1753" fmla="*/ 3417261 h 5504521"/>
              <a:gd name="connsiteX1754" fmla="*/ 2795639 w 6384854"/>
              <a:gd name="connsiteY1754" fmla="*/ 3420652 h 5504521"/>
              <a:gd name="connsiteX1755" fmla="*/ 2797239 w 6384854"/>
              <a:gd name="connsiteY1755" fmla="*/ 3426836 h 5504521"/>
              <a:gd name="connsiteX1756" fmla="*/ 2797837 w 6384854"/>
              <a:gd name="connsiteY1756" fmla="*/ 3424042 h 5504521"/>
              <a:gd name="connsiteX1757" fmla="*/ 2811018 w 6384854"/>
              <a:gd name="connsiteY1757" fmla="*/ 3444387 h 5504521"/>
              <a:gd name="connsiteX1758" fmla="*/ 2810421 w 6384854"/>
              <a:gd name="connsiteY1758" fmla="*/ 3447182 h 5504521"/>
              <a:gd name="connsiteX1759" fmla="*/ 2812022 w 6384854"/>
              <a:gd name="connsiteY1759" fmla="*/ 3453366 h 5504521"/>
              <a:gd name="connsiteX1760" fmla="*/ 2813215 w 6384854"/>
              <a:gd name="connsiteY1760" fmla="*/ 3447778 h 5504521"/>
              <a:gd name="connsiteX1761" fmla="*/ 2819806 w 6384854"/>
              <a:gd name="connsiteY1761" fmla="*/ 3457951 h 5504521"/>
              <a:gd name="connsiteX1762" fmla="*/ 2820403 w 6384854"/>
              <a:gd name="connsiteY1762" fmla="*/ 3455156 h 5504521"/>
              <a:gd name="connsiteX1763" fmla="*/ 2821000 w 6384854"/>
              <a:gd name="connsiteY1763" fmla="*/ 3452363 h 5504521"/>
              <a:gd name="connsiteX1764" fmla="*/ 2823794 w 6384854"/>
              <a:gd name="connsiteY1764" fmla="*/ 3452960 h 5504521"/>
              <a:gd name="connsiteX1765" fmla="*/ 2822601 w 6384854"/>
              <a:gd name="connsiteY1765" fmla="*/ 3458548 h 5504521"/>
              <a:gd name="connsiteX1766" fmla="*/ 2822003 w 6384854"/>
              <a:gd name="connsiteY1766" fmla="*/ 3461342 h 5504521"/>
              <a:gd name="connsiteX1767" fmla="*/ 2824201 w 6384854"/>
              <a:gd name="connsiteY1767" fmla="*/ 3464733 h 5504521"/>
              <a:gd name="connsiteX1768" fmla="*/ 2826995 w 6384854"/>
              <a:gd name="connsiteY1768" fmla="*/ 3465330 h 5504521"/>
              <a:gd name="connsiteX1769" fmla="*/ 2829789 w 6384854"/>
              <a:gd name="connsiteY1769" fmla="*/ 3465927 h 5504521"/>
              <a:gd name="connsiteX1770" fmla="*/ 2829192 w 6384854"/>
              <a:gd name="connsiteY1770" fmla="*/ 3468720 h 5504521"/>
              <a:gd name="connsiteX1771" fmla="*/ 2828595 w 6384854"/>
              <a:gd name="connsiteY1771" fmla="*/ 3471514 h 5504521"/>
              <a:gd name="connsiteX1772" fmla="*/ 2835783 w 6384854"/>
              <a:gd name="connsiteY1772" fmla="*/ 3478893 h 5504521"/>
              <a:gd name="connsiteX1773" fmla="*/ 2836379 w 6384854"/>
              <a:gd name="connsiteY1773" fmla="*/ 3476099 h 5504521"/>
              <a:gd name="connsiteX1774" fmla="*/ 2838577 w 6384854"/>
              <a:gd name="connsiteY1774" fmla="*/ 3479490 h 5504521"/>
              <a:gd name="connsiteX1775" fmla="*/ 2840774 w 6384854"/>
              <a:gd name="connsiteY1775" fmla="*/ 3482881 h 5504521"/>
              <a:gd name="connsiteX1776" fmla="*/ 2842374 w 6384854"/>
              <a:gd name="connsiteY1776" fmla="*/ 3489066 h 5504521"/>
              <a:gd name="connsiteX1777" fmla="*/ 2842971 w 6384854"/>
              <a:gd name="connsiteY1777" fmla="*/ 3486272 h 5504521"/>
              <a:gd name="connsiteX1778" fmla="*/ 2852953 w 6384854"/>
              <a:gd name="connsiteY1778" fmla="*/ 3494247 h 5504521"/>
              <a:gd name="connsiteX1779" fmla="*/ 2854147 w 6384854"/>
              <a:gd name="connsiteY1779" fmla="*/ 3488659 h 5504521"/>
              <a:gd name="connsiteX1780" fmla="*/ 2863532 w 6384854"/>
              <a:gd name="connsiteY1780" fmla="*/ 3499429 h 5504521"/>
              <a:gd name="connsiteX1781" fmla="*/ 2864129 w 6384854"/>
              <a:gd name="connsiteY1781" fmla="*/ 3496635 h 5504521"/>
              <a:gd name="connsiteX1782" fmla="*/ 2861931 w 6384854"/>
              <a:gd name="connsiteY1782" fmla="*/ 3493244 h 5504521"/>
              <a:gd name="connsiteX1783" fmla="*/ 2862528 w 6384854"/>
              <a:gd name="connsiteY1783" fmla="*/ 3490450 h 5504521"/>
              <a:gd name="connsiteX1784" fmla="*/ 2864725 w 6384854"/>
              <a:gd name="connsiteY1784" fmla="*/ 3493841 h 5504521"/>
              <a:gd name="connsiteX1785" fmla="*/ 2866923 w 6384854"/>
              <a:gd name="connsiteY1785" fmla="*/ 3497232 h 5504521"/>
              <a:gd name="connsiteX1786" fmla="*/ 2868523 w 6384854"/>
              <a:gd name="connsiteY1786" fmla="*/ 3503417 h 5504521"/>
              <a:gd name="connsiteX1787" fmla="*/ 2862935 w 6384854"/>
              <a:gd name="connsiteY1787" fmla="*/ 3502223 h 5504521"/>
              <a:gd name="connsiteX1788" fmla="*/ 2865132 w 6384854"/>
              <a:gd name="connsiteY1788" fmla="*/ 3505614 h 5504521"/>
              <a:gd name="connsiteX1789" fmla="*/ 2875521 w 6384854"/>
              <a:gd name="connsiteY1789" fmla="*/ 3525362 h 5504521"/>
              <a:gd name="connsiteX1790" fmla="*/ 2864942 w 6384854"/>
              <a:gd name="connsiteY1790" fmla="*/ 3520181 h 5504521"/>
              <a:gd name="connsiteX1791" fmla="*/ 2874327 w 6384854"/>
              <a:gd name="connsiteY1791" fmla="*/ 3530950 h 5504521"/>
              <a:gd name="connsiteX1792" fmla="*/ 2880917 w 6384854"/>
              <a:gd name="connsiteY1792" fmla="*/ 3541123 h 5504521"/>
              <a:gd name="connsiteX1793" fmla="*/ 2885909 w 6384854"/>
              <a:gd name="connsiteY1793" fmla="*/ 3545110 h 5504521"/>
              <a:gd name="connsiteX1794" fmla="*/ 2887102 w 6384854"/>
              <a:gd name="connsiteY1794" fmla="*/ 3539522 h 5504521"/>
              <a:gd name="connsiteX1795" fmla="*/ 2895891 w 6384854"/>
              <a:gd name="connsiteY1795" fmla="*/ 3553086 h 5504521"/>
              <a:gd name="connsiteX1796" fmla="*/ 2899281 w 6384854"/>
              <a:gd name="connsiteY1796" fmla="*/ 3550888 h 5504521"/>
              <a:gd name="connsiteX1797" fmla="*/ 2897084 w 6384854"/>
              <a:gd name="connsiteY1797" fmla="*/ 3547498 h 5504521"/>
              <a:gd name="connsiteX1798" fmla="*/ 2897682 w 6384854"/>
              <a:gd name="connsiteY1798" fmla="*/ 3544704 h 5504521"/>
              <a:gd name="connsiteX1799" fmla="*/ 2900476 w 6384854"/>
              <a:gd name="connsiteY1799" fmla="*/ 3545301 h 5504521"/>
              <a:gd name="connsiteX1800" fmla="*/ 2902672 w 6384854"/>
              <a:gd name="connsiteY1800" fmla="*/ 3548691 h 5504521"/>
              <a:gd name="connsiteX1801" fmla="*/ 2902075 w 6384854"/>
              <a:gd name="connsiteY1801" fmla="*/ 3551486 h 5504521"/>
              <a:gd name="connsiteX1802" fmla="*/ 2904273 w 6384854"/>
              <a:gd name="connsiteY1802" fmla="*/ 3554876 h 5504521"/>
              <a:gd name="connsiteX1803" fmla="*/ 2906470 w 6384854"/>
              <a:gd name="connsiteY1803" fmla="*/ 3558268 h 5504521"/>
              <a:gd name="connsiteX1804" fmla="*/ 2909264 w 6384854"/>
              <a:gd name="connsiteY1804" fmla="*/ 3558865 h 5504521"/>
              <a:gd name="connsiteX1805" fmla="*/ 2908667 w 6384854"/>
              <a:gd name="connsiteY1805" fmla="*/ 3561658 h 5504521"/>
              <a:gd name="connsiteX1806" fmla="*/ 2911461 w 6384854"/>
              <a:gd name="connsiteY1806" fmla="*/ 3562255 h 5504521"/>
              <a:gd name="connsiteX1807" fmla="*/ 2912058 w 6384854"/>
              <a:gd name="connsiteY1807" fmla="*/ 3559462 h 5504521"/>
              <a:gd name="connsiteX1808" fmla="*/ 2910458 w 6384854"/>
              <a:gd name="connsiteY1808" fmla="*/ 3553277 h 5504521"/>
              <a:gd name="connsiteX1809" fmla="*/ 2906063 w 6384854"/>
              <a:gd name="connsiteY1809" fmla="*/ 3546495 h 5504521"/>
              <a:gd name="connsiteX1810" fmla="*/ 2908857 w 6384854"/>
              <a:gd name="connsiteY1810" fmla="*/ 3547091 h 5504521"/>
              <a:gd name="connsiteX1811" fmla="*/ 2911055 w 6384854"/>
              <a:gd name="connsiteY1811" fmla="*/ 3550482 h 5504521"/>
              <a:gd name="connsiteX1812" fmla="*/ 2917645 w 6384854"/>
              <a:gd name="connsiteY1812" fmla="*/ 3560655 h 5504521"/>
              <a:gd name="connsiteX1813" fmla="*/ 2917049 w 6384854"/>
              <a:gd name="connsiteY1813" fmla="*/ 3563449 h 5504521"/>
              <a:gd name="connsiteX1814" fmla="*/ 2920846 w 6384854"/>
              <a:gd name="connsiteY1814" fmla="*/ 3573025 h 5504521"/>
              <a:gd name="connsiteX1815" fmla="*/ 2951199 w 6384854"/>
              <a:gd name="connsiteY1815" fmla="*/ 3608724 h 5504521"/>
              <a:gd name="connsiteX1816" fmla="*/ 2953993 w 6384854"/>
              <a:gd name="connsiteY1816" fmla="*/ 3609321 h 5504521"/>
              <a:gd name="connsiteX1817" fmla="*/ 2956189 w 6384854"/>
              <a:gd name="connsiteY1817" fmla="*/ 3612712 h 5504521"/>
              <a:gd name="connsiteX1818" fmla="*/ 2963377 w 6384854"/>
              <a:gd name="connsiteY1818" fmla="*/ 3620090 h 5504521"/>
              <a:gd name="connsiteX1819" fmla="*/ 2965575 w 6384854"/>
              <a:gd name="connsiteY1819" fmla="*/ 3623481 h 5504521"/>
              <a:gd name="connsiteX1820" fmla="*/ 2972763 w 6384854"/>
              <a:gd name="connsiteY1820" fmla="*/ 3630860 h 5504521"/>
              <a:gd name="connsiteX1821" fmla="*/ 2979950 w 6384854"/>
              <a:gd name="connsiteY1821" fmla="*/ 3638239 h 5504521"/>
              <a:gd name="connsiteX1822" fmla="*/ 3002112 w 6384854"/>
              <a:gd name="connsiteY1822" fmla="*/ 3657580 h 5504521"/>
              <a:gd name="connsiteX1823" fmla="*/ 3024679 w 6384854"/>
              <a:gd name="connsiteY1823" fmla="*/ 3688695 h 5504521"/>
              <a:gd name="connsiteX1824" fmla="*/ 3031867 w 6384854"/>
              <a:gd name="connsiteY1824" fmla="*/ 3696074 h 5504521"/>
              <a:gd name="connsiteX1825" fmla="*/ 3025085 w 6384854"/>
              <a:gd name="connsiteY1825" fmla="*/ 3700468 h 5504521"/>
              <a:gd name="connsiteX1826" fmla="*/ 3005718 w 6384854"/>
              <a:gd name="connsiteY1826" fmla="*/ 3681723 h 5504521"/>
              <a:gd name="connsiteX1827" fmla="*/ 2985348 w 6384854"/>
              <a:gd name="connsiteY1827" fmla="*/ 3653999 h 5504521"/>
              <a:gd name="connsiteX1828" fmla="*/ 2975963 w 6384854"/>
              <a:gd name="connsiteY1828" fmla="*/ 3643230 h 5504521"/>
              <a:gd name="connsiteX1829" fmla="*/ 2975366 w 6384854"/>
              <a:gd name="connsiteY1829" fmla="*/ 3646024 h 5504521"/>
              <a:gd name="connsiteX1830" fmla="*/ 2978159 w 6384854"/>
              <a:gd name="connsiteY1830" fmla="*/ 3646620 h 5504521"/>
              <a:gd name="connsiteX1831" fmla="*/ 2977563 w 6384854"/>
              <a:gd name="connsiteY1831" fmla="*/ 3649415 h 5504521"/>
              <a:gd name="connsiteX1832" fmla="*/ 2974769 w 6384854"/>
              <a:gd name="connsiteY1832" fmla="*/ 3648818 h 5504521"/>
              <a:gd name="connsiteX1833" fmla="*/ 2972571 w 6384854"/>
              <a:gd name="connsiteY1833" fmla="*/ 3645427 h 5504521"/>
              <a:gd name="connsiteX1834" fmla="*/ 2974363 w 6384854"/>
              <a:gd name="connsiteY1834" fmla="*/ 3637045 h 5504521"/>
              <a:gd name="connsiteX1835" fmla="*/ 2967175 w 6384854"/>
              <a:gd name="connsiteY1835" fmla="*/ 3629666 h 5504521"/>
              <a:gd name="connsiteX1836" fmla="*/ 2961586 w 6384854"/>
              <a:gd name="connsiteY1836" fmla="*/ 3628472 h 5504521"/>
              <a:gd name="connsiteX1837" fmla="*/ 2960989 w 6384854"/>
              <a:gd name="connsiteY1837" fmla="*/ 3631266 h 5504521"/>
              <a:gd name="connsiteX1838" fmla="*/ 2958793 w 6384854"/>
              <a:gd name="connsiteY1838" fmla="*/ 3627875 h 5504521"/>
              <a:gd name="connsiteX1839" fmla="*/ 2959390 w 6384854"/>
              <a:gd name="connsiteY1839" fmla="*/ 3625082 h 5504521"/>
              <a:gd name="connsiteX1840" fmla="*/ 2957789 w 6384854"/>
              <a:gd name="connsiteY1840" fmla="*/ 3618897 h 5504521"/>
              <a:gd name="connsiteX1841" fmla="*/ 2952799 w 6384854"/>
              <a:gd name="connsiteY1841" fmla="*/ 3614909 h 5504521"/>
              <a:gd name="connsiteX1842" fmla="*/ 2950005 w 6384854"/>
              <a:gd name="connsiteY1842" fmla="*/ 3614312 h 5504521"/>
              <a:gd name="connsiteX1843" fmla="*/ 2950602 w 6384854"/>
              <a:gd name="connsiteY1843" fmla="*/ 3611518 h 5504521"/>
              <a:gd name="connsiteX1844" fmla="*/ 2948405 w 6384854"/>
              <a:gd name="connsiteY1844" fmla="*/ 3608127 h 5504521"/>
              <a:gd name="connsiteX1845" fmla="*/ 2917455 w 6384854"/>
              <a:gd name="connsiteY1845" fmla="*/ 3575222 h 5504521"/>
              <a:gd name="connsiteX1846" fmla="*/ 2915258 w 6384854"/>
              <a:gd name="connsiteY1846" fmla="*/ 3571830 h 5504521"/>
              <a:gd name="connsiteX1847" fmla="*/ 2915855 w 6384854"/>
              <a:gd name="connsiteY1847" fmla="*/ 3569037 h 5504521"/>
              <a:gd name="connsiteX1848" fmla="*/ 2913061 w 6384854"/>
              <a:gd name="connsiteY1848" fmla="*/ 3568440 h 5504521"/>
              <a:gd name="connsiteX1849" fmla="*/ 2912464 w 6384854"/>
              <a:gd name="connsiteY1849" fmla="*/ 3571234 h 5504521"/>
              <a:gd name="connsiteX1850" fmla="*/ 2899688 w 6384854"/>
              <a:gd name="connsiteY1850" fmla="*/ 3562661 h 5504521"/>
              <a:gd name="connsiteX1851" fmla="*/ 2900285 w 6384854"/>
              <a:gd name="connsiteY1851" fmla="*/ 3559868 h 5504521"/>
              <a:gd name="connsiteX1852" fmla="*/ 2901288 w 6384854"/>
              <a:gd name="connsiteY1852" fmla="*/ 3568846 h 5504521"/>
              <a:gd name="connsiteX1853" fmla="*/ 2882517 w 6384854"/>
              <a:gd name="connsiteY1853" fmla="*/ 3547307 h 5504521"/>
              <a:gd name="connsiteX1854" fmla="*/ 2870936 w 6384854"/>
              <a:gd name="connsiteY1854" fmla="*/ 3533147 h 5504521"/>
              <a:gd name="connsiteX1855" fmla="*/ 2859353 w 6384854"/>
              <a:gd name="connsiteY1855" fmla="*/ 3518987 h 5504521"/>
              <a:gd name="connsiteX1856" fmla="*/ 2838983 w 6384854"/>
              <a:gd name="connsiteY1856" fmla="*/ 3491263 h 5504521"/>
              <a:gd name="connsiteX1857" fmla="*/ 2831795 w 6384854"/>
              <a:gd name="connsiteY1857" fmla="*/ 3483884 h 5504521"/>
              <a:gd name="connsiteX1858" fmla="*/ 2827401 w 6384854"/>
              <a:gd name="connsiteY1858" fmla="*/ 3477102 h 5504521"/>
              <a:gd name="connsiteX1859" fmla="*/ 2822410 w 6384854"/>
              <a:gd name="connsiteY1859" fmla="*/ 3473115 h 5504521"/>
              <a:gd name="connsiteX1860" fmla="*/ 2815818 w 6384854"/>
              <a:gd name="connsiteY1860" fmla="*/ 3462942 h 5504521"/>
              <a:gd name="connsiteX1861" fmla="*/ 2808631 w 6384854"/>
              <a:gd name="connsiteY1861" fmla="*/ 3455563 h 5504521"/>
              <a:gd name="connsiteX1862" fmla="*/ 2804833 w 6384854"/>
              <a:gd name="connsiteY1862" fmla="*/ 3445988 h 5504521"/>
              <a:gd name="connsiteX1863" fmla="*/ 2802040 w 6384854"/>
              <a:gd name="connsiteY1863" fmla="*/ 3445391 h 5504521"/>
              <a:gd name="connsiteX1864" fmla="*/ 2733740 w 6384854"/>
              <a:gd name="connsiteY1864" fmla="*/ 3354840 h 5504521"/>
              <a:gd name="connsiteX1865" fmla="*/ 2730947 w 6384854"/>
              <a:gd name="connsiteY1865" fmla="*/ 3354244 h 5504521"/>
              <a:gd name="connsiteX1866" fmla="*/ 2728152 w 6384854"/>
              <a:gd name="connsiteY1866" fmla="*/ 3353647 h 5504521"/>
              <a:gd name="connsiteX1867" fmla="*/ 2732547 w 6384854"/>
              <a:gd name="connsiteY1867" fmla="*/ 3360428 h 5504521"/>
              <a:gd name="connsiteX1868" fmla="*/ 2736941 w 6384854"/>
              <a:gd name="connsiteY1868" fmla="*/ 3367210 h 5504521"/>
              <a:gd name="connsiteX1869" fmla="*/ 2741335 w 6384854"/>
              <a:gd name="connsiteY1869" fmla="*/ 3373991 h 5504521"/>
              <a:gd name="connsiteX1870" fmla="*/ 2740738 w 6384854"/>
              <a:gd name="connsiteY1870" fmla="*/ 3376786 h 5504521"/>
              <a:gd name="connsiteX1871" fmla="*/ 2751723 w 6384854"/>
              <a:gd name="connsiteY1871" fmla="*/ 3393740 h 5504521"/>
              <a:gd name="connsiteX1872" fmla="*/ 2751127 w 6384854"/>
              <a:gd name="connsiteY1872" fmla="*/ 3396534 h 5504521"/>
              <a:gd name="connsiteX1873" fmla="*/ 2748332 w 6384854"/>
              <a:gd name="connsiteY1873" fmla="*/ 3395937 h 5504521"/>
              <a:gd name="connsiteX1874" fmla="*/ 2746135 w 6384854"/>
              <a:gd name="connsiteY1874" fmla="*/ 3392546 h 5504521"/>
              <a:gd name="connsiteX1875" fmla="*/ 2743938 w 6384854"/>
              <a:gd name="connsiteY1875" fmla="*/ 3389156 h 5504521"/>
              <a:gd name="connsiteX1876" fmla="*/ 2741741 w 6384854"/>
              <a:gd name="connsiteY1876" fmla="*/ 3385764 h 5504521"/>
              <a:gd name="connsiteX1877" fmla="*/ 2737347 w 6384854"/>
              <a:gd name="connsiteY1877" fmla="*/ 3378983 h 5504521"/>
              <a:gd name="connsiteX1878" fmla="*/ 2744363 w 6384854"/>
              <a:gd name="connsiteY1878" fmla="*/ 3390159 h 5504521"/>
              <a:gd name="connsiteX1879" fmla="*/ 2750484 w 6384854"/>
              <a:gd name="connsiteY1879" fmla="*/ 3399291 h 5504521"/>
              <a:gd name="connsiteX1880" fmla="*/ 2741869 w 6384854"/>
              <a:gd name="connsiteY1880" fmla="*/ 3392000 h 5504521"/>
              <a:gd name="connsiteX1881" fmla="*/ 2734553 w 6384854"/>
              <a:gd name="connsiteY1881" fmla="*/ 3378386 h 5504521"/>
              <a:gd name="connsiteX1882" fmla="*/ 2731759 w 6384854"/>
              <a:gd name="connsiteY1882" fmla="*/ 3377789 h 5504521"/>
              <a:gd name="connsiteX1883" fmla="*/ 2732355 w 6384854"/>
              <a:gd name="connsiteY1883" fmla="*/ 3374995 h 5504521"/>
              <a:gd name="connsiteX1884" fmla="*/ 2732953 w 6384854"/>
              <a:gd name="connsiteY1884" fmla="*/ 3372201 h 5504521"/>
              <a:gd name="connsiteX1885" fmla="*/ 2725168 w 6384854"/>
              <a:gd name="connsiteY1885" fmla="*/ 3367616 h 5504521"/>
              <a:gd name="connsiteX1886" fmla="*/ 2727365 w 6384854"/>
              <a:gd name="connsiteY1886" fmla="*/ 3371007 h 5504521"/>
              <a:gd name="connsiteX1887" fmla="*/ 2728965 w 6384854"/>
              <a:gd name="connsiteY1887" fmla="*/ 3377192 h 5504521"/>
              <a:gd name="connsiteX1888" fmla="*/ 2723974 w 6384854"/>
              <a:gd name="connsiteY1888" fmla="*/ 3373204 h 5504521"/>
              <a:gd name="connsiteX1889" fmla="*/ 2721180 w 6384854"/>
              <a:gd name="connsiteY1889" fmla="*/ 3372608 h 5504521"/>
              <a:gd name="connsiteX1890" fmla="*/ 2729371 w 6384854"/>
              <a:gd name="connsiteY1890" fmla="*/ 3388965 h 5504521"/>
              <a:gd name="connsiteX1891" fmla="*/ 2661860 w 6384854"/>
              <a:gd name="connsiteY1891" fmla="*/ 3281054 h 5504521"/>
              <a:gd name="connsiteX1892" fmla="*/ 2655865 w 6384854"/>
              <a:gd name="connsiteY1892" fmla="*/ 3268087 h 5504521"/>
              <a:gd name="connsiteX1893" fmla="*/ 2653669 w 6384854"/>
              <a:gd name="connsiteY1893" fmla="*/ 3264697 h 5504521"/>
              <a:gd name="connsiteX1894" fmla="*/ 2604115 w 6384854"/>
              <a:gd name="connsiteY1894" fmla="*/ 3154779 h 5504521"/>
              <a:gd name="connsiteX1895" fmla="*/ 2599720 w 6384854"/>
              <a:gd name="connsiteY1895" fmla="*/ 3147998 h 5504521"/>
              <a:gd name="connsiteX1896" fmla="*/ 2603518 w 6384854"/>
              <a:gd name="connsiteY1896" fmla="*/ 3157573 h 5504521"/>
              <a:gd name="connsiteX1897" fmla="*/ 2602324 w 6384854"/>
              <a:gd name="connsiteY1897" fmla="*/ 3163161 h 5504521"/>
              <a:gd name="connsiteX1898" fmla="*/ 2605524 w 6384854"/>
              <a:gd name="connsiteY1898" fmla="*/ 3175531 h 5504521"/>
              <a:gd name="connsiteX1899" fmla="*/ 2607721 w 6384854"/>
              <a:gd name="connsiteY1899" fmla="*/ 3178922 h 5504521"/>
              <a:gd name="connsiteX1900" fmla="*/ 2607124 w 6384854"/>
              <a:gd name="connsiteY1900" fmla="*/ 3181715 h 5504521"/>
              <a:gd name="connsiteX1901" fmla="*/ 2612928 w 6384854"/>
              <a:gd name="connsiteY1901" fmla="*/ 3209249 h 5504521"/>
              <a:gd name="connsiteX1902" fmla="*/ 2611327 w 6384854"/>
              <a:gd name="connsiteY1902" fmla="*/ 3203064 h 5504521"/>
              <a:gd name="connsiteX1903" fmla="*/ 2610133 w 6384854"/>
              <a:gd name="connsiteY1903" fmla="*/ 3208652 h 5504521"/>
              <a:gd name="connsiteX1904" fmla="*/ 2605143 w 6384854"/>
              <a:gd name="connsiteY1904" fmla="*/ 3204664 h 5504521"/>
              <a:gd name="connsiteX1905" fmla="*/ 2604546 w 6384854"/>
              <a:gd name="connsiteY1905" fmla="*/ 3207459 h 5504521"/>
              <a:gd name="connsiteX1906" fmla="*/ 2606743 w 6384854"/>
              <a:gd name="connsiteY1906" fmla="*/ 3210849 h 5504521"/>
              <a:gd name="connsiteX1907" fmla="*/ 2606145 w 6384854"/>
              <a:gd name="connsiteY1907" fmla="*/ 3213643 h 5504521"/>
              <a:gd name="connsiteX1908" fmla="*/ 2610946 w 6384854"/>
              <a:gd name="connsiteY1908" fmla="*/ 3232197 h 5504521"/>
              <a:gd name="connsiteX1909" fmla="*/ 2610349 w 6384854"/>
              <a:gd name="connsiteY1909" fmla="*/ 3234992 h 5504521"/>
              <a:gd name="connsiteX1910" fmla="*/ 2608152 w 6384854"/>
              <a:gd name="connsiteY1910" fmla="*/ 3231600 h 5504521"/>
              <a:gd name="connsiteX1911" fmla="*/ 2605358 w 6384854"/>
              <a:gd name="connsiteY1911" fmla="*/ 3231004 h 5504521"/>
              <a:gd name="connsiteX1912" fmla="*/ 2622553 w 6384854"/>
              <a:gd name="connsiteY1912" fmla="*/ 3287264 h 5504521"/>
              <a:gd name="connsiteX1913" fmla="*/ 2643139 w 6384854"/>
              <a:gd name="connsiteY1913" fmla="*/ 3341327 h 5504521"/>
              <a:gd name="connsiteX1914" fmla="*/ 2642543 w 6384854"/>
              <a:gd name="connsiteY1914" fmla="*/ 3344121 h 5504521"/>
              <a:gd name="connsiteX1915" fmla="*/ 2645337 w 6384854"/>
              <a:gd name="connsiteY1915" fmla="*/ 3344718 h 5504521"/>
              <a:gd name="connsiteX1916" fmla="*/ 2644740 w 6384854"/>
              <a:gd name="connsiteY1916" fmla="*/ 3347512 h 5504521"/>
              <a:gd name="connsiteX1917" fmla="*/ 2646937 w 6384854"/>
              <a:gd name="connsiteY1917" fmla="*/ 3350903 h 5504521"/>
              <a:gd name="connsiteX1918" fmla="*/ 2650734 w 6384854"/>
              <a:gd name="connsiteY1918" fmla="*/ 3360478 h 5504521"/>
              <a:gd name="connsiteX1919" fmla="*/ 2649540 w 6384854"/>
              <a:gd name="connsiteY1919" fmla="*/ 3366066 h 5504521"/>
              <a:gd name="connsiteX1920" fmla="*/ 2646340 w 6384854"/>
              <a:gd name="connsiteY1920" fmla="*/ 3353696 h 5504521"/>
              <a:gd name="connsiteX1921" fmla="*/ 2643546 w 6384854"/>
              <a:gd name="connsiteY1921" fmla="*/ 3353100 h 5504521"/>
              <a:gd name="connsiteX1922" fmla="*/ 2642949 w 6384854"/>
              <a:gd name="connsiteY1922" fmla="*/ 3355894 h 5504521"/>
              <a:gd name="connsiteX1923" fmla="*/ 2640752 w 6384854"/>
              <a:gd name="connsiteY1923" fmla="*/ 3352502 h 5504521"/>
              <a:gd name="connsiteX1924" fmla="*/ 2641349 w 6384854"/>
              <a:gd name="connsiteY1924" fmla="*/ 3349709 h 5504521"/>
              <a:gd name="connsiteX1925" fmla="*/ 2639151 w 6384854"/>
              <a:gd name="connsiteY1925" fmla="*/ 3346318 h 5504521"/>
              <a:gd name="connsiteX1926" fmla="*/ 2635355 w 6384854"/>
              <a:gd name="connsiteY1926" fmla="*/ 3336743 h 5504521"/>
              <a:gd name="connsiteX1927" fmla="*/ 2636549 w 6384854"/>
              <a:gd name="connsiteY1927" fmla="*/ 3331154 h 5504521"/>
              <a:gd name="connsiteX1928" fmla="*/ 2630961 w 6384854"/>
              <a:gd name="connsiteY1928" fmla="*/ 3329961 h 5504521"/>
              <a:gd name="connsiteX1929" fmla="*/ 2626757 w 6384854"/>
              <a:gd name="connsiteY1929" fmla="*/ 3308612 h 5504521"/>
              <a:gd name="connsiteX1930" fmla="*/ 2611568 w 6384854"/>
              <a:gd name="connsiteY1930" fmla="*/ 3270309 h 5504521"/>
              <a:gd name="connsiteX1931" fmla="*/ 2614362 w 6384854"/>
              <a:gd name="connsiteY1931" fmla="*/ 3270906 h 5504521"/>
              <a:gd name="connsiteX1932" fmla="*/ 2609969 w 6384854"/>
              <a:gd name="connsiteY1932" fmla="*/ 3264125 h 5504521"/>
              <a:gd name="connsiteX1933" fmla="*/ 2611162 w 6384854"/>
              <a:gd name="connsiteY1933" fmla="*/ 3258536 h 5504521"/>
              <a:gd name="connsiteX1934" fmla="*/ 2608368 w 6384854"/>
              <a:gd name="connsiteY1934" fmla="*/ 3257940 h 5504521"/>
              <a:gd name="connsiteX1935" fmla="*/ 2603974 w 6384854"/>
              <a:gd name="connsiteY1935" fmla="*/ 3251158 h 5504521"/>
              <a:gd name="connsiteX1936" fmla="*/ 2592773 w 6384854"/>
              <a:gd name="connsiteY1936" fmla="*/ 3207864 h 5504521"/>
              <a:gd name="connsiteX1937" fmla="*/ 2598361 w 6384854"/>
              <a:gd name="connsiteY1937" fmla="*/ 3209058 h 5504521"/>
              <a:gd name="connsiteX1938" fmla="*/ 2577965 w 6384854"/>
              <a:gd name="connsiteY1938" fmla="*/ 3140428 h 5504521"/>
              <a:gd name="connsiteX1939" fmla="*/ 2563564 w 6384854"/>
              <a:gd name="connsiteY1939" fmla="*/ 3084765 h 5504521"/>
              <a:gd name="connsiteX1940" fmla="*/ 2560770 w 6384854"/>
              <a:gd name="connsiteY1940" fmla="*/ 3084168 h 5504521"/>
              <a:gd name="connsiteX1941" fmla="*/ 2551170 w 6384854"/>
              <a:gd name="connsiteY1941" fmla="*/ 3047059 h 5504521"/>
              <a:gd name="connsiteX1942" fmla="*/ 2549379 w 6384854"/>
              <a:gd name="connsiteY1942" fmla="*/ 3055441 h 5504521"/>
              <a:gd name="connsiteX1943" fmla="*/ 2554560 w 6384854"/>
              <a:gd name="connsiteY1943" fmla="*/ 3044863 h 5504521"/>
              <a:gd name="connsiteX1944" fmla="*/ 2539969 w 6384854"/>
              <a:gd name="connsiteY1944" fmla="*/ 3003766 h 5504521"/>
              <a:gd name="connsiteX1945" fmla="*/ 2537771 w 6384854"/>
              <a:gd name="connsiteY1945" fmla="*/ 3000375 h 5504521"/>
              <a:gd name="connsiteX1946" fmla="*/ 2538368 w 6384854"/>
              <a:gd name="connsiteY1946" fmla="*/ 2997581 h 5504521"/>
              <a:gd name="connsiteX1947" fmla="*/ 2541162 w 6384854"/>
              <a:gd name="connsiteY1947" fmla="*/ 2998178 h 5504521"/>
              <a:gd name="connsiteX1948" fmla="*/ 2539562 w 6384854"/>
              <a:gd name="connsiteY1948" fmla="*/ 2991993 h 5504521"/>
              <a:gd name="connsiteX1949" fmla="*/ 2538965 w 6384854"/>
              <a:gd name="connsiteY1949" fmla="*/ 2994787 h 5504521"/>
              <a:gd name="connsiteX1950" fmla="*/ 2536171 w 6384854"/>
              <a:gd name="connsiteY1950" fmla="*/ 2994190 h 5504521"/>
              <a:gd name="connsiteX1951" fmla="*/ 2537365 w 6384854"/>
              <a:gd name="connsiteY1951" fmla="*/ 2988602 h 5504521"/>
              <a:gd name="connsiteX1952" fmla="*/ 2535168 w 6384854"/>
              <a:gd name="connsiteY1952" fmla="*/ 2985211 h 5504521"/>
              <a:gd name="connsiteX1953" fmla="*/ 2536959 w 6384854"/>
              <a:gd name="connsiteY1953" fmla="*/ 2976829 h 5504521"/>
              <a:gd name="connsiteX1954" fmla="*/ 2539155 w 6384854"/>
              <a:gd name="connsiteY1954" fmla="*/ 2980220 h 5504521"/>
              <a:gd name="connsiteX1955" fmla="*/ 2536959 w 6384854"/>
              <a:gd name="connsiteY1955" fmla="*/ 2976829 h 5504521"/>
              <a:gd name="connsiteX1956" fmla="*/ 2535358 w 6384854"/>
              <a:gd name="connsiteY1956" fmla="*/ 2970644 h 5504521"/>
              <a:gd name="connsiteX1957" fmla="*/ 2537555 w 6384854"/>
              <a:gd name="connsiteY1957" fmla="*/ 2974036 h 5504521"/>
              <a:gd name="connsiteX1958" fmla="*/ 2539753 w 6384854"/>
              <a:gd name="connsiteY1958" fmla="*/ 2977426 h 5504521"/>
              <a:gd name="connsiteX1959" fmla="*/ 2540946 w 6384854"/>
              <a:gd name="connsiteY1959" fmla="*/ 2971839 h 5504521"/>
              <a:gd name="connsiteX1960" fmla="*/ 2536146 w 6384854"/>
              <a:gd name="connsiteY1960" fmla="*/ 2953284 h 5504521"/>
              <a:gd name="connsiteX1961" fmla="*/ 2528743 w 6384854"/>
              <a:gd name="connsiteY1961" fmla="*/ 2919566 h 5504521"/>
              <a:gd name="connsiteX1962" fmla="*/ 2526545 w 6384854"/>
              <a:gd name="connsiteY1962" fmla="*/ 2916175 h 5504521"/>
              <a:gd name="connsiteX1963" fmla="*/ 2527142 w 6384854"/>
              <a:gd name="connsiteY1963" fmla="*/ 2913382 h 5504521"/>
              <a:gd name="connsiteX1964" fmla="*/ 2524539 w 6384854"/>
              <a:gd name="connsiteY1964" fmla="*/ 2898217 h 5504521"/>
              <a:gd name="connsiteX1965" fmla="*/ 2524133 w 6384854"/>
              <a:gd name="connsiteY1965" fmla="*/ 2886445 h 5504521"/>
              <a:gd name="connsiteX1966" fmla="*/ 2517135 w 6384854"/>
              <a:gd name="connsiteY1966" fmla="*/ 2864500 h 5504521"/>
              <a:gd name="connsiteX1967" fmla="*/ 2514341 w 6384854"/>
              <a:gd name="connsiteY1967" fmla="*/ 2863903 h 5504521"/>
              <a:gd name="connsiteX1968" fmla="*/ 2515535 w 6384854"/>
              <a:gd name="connsiteY1968" fmla="*/ 2858315 h 5504521"/>
              <a:gd name="connsiteX1969" fmla="*/ 2516131 w 6384854"/>
              <a:gd name="connsiteY1969" fmla="*/ 2855521 h 5504521"/>
              <a:gd name="connsiteX1970" fmla="*/ 2518329 w 6384854"/>
              <a:gd name="connsiteY1970" fmla="*/ 2858911 h 5504521"/>
              <a:gd name="connsiteX1971" fmla="*/ 2514125 w 6384854"/>
              <a:gd name="connsiteY1971" fmla="*/ 2837563 h 5504521"/>
              <a:gd name="connsiteX1972" fmla="*/ 2511928 w 6384854"/>
              <a:gd name="connsiteY1972" fmla="*/ 2834172 h 5504521"/>
              <a:gd name="connsiteX1973" fmla="*/ 2512525 w 6384854"/>
              <a:gd name="connsiteY1973" fmla="*/ 2831378 h 5504521"/>
              <a:gd name="connsiteX1974" fmla="*/ 2511116 w 6384854"/>
              <a:gd name="connsiteY1974" fmla="*/ 2810627 h 5504521"/>
              <a:gd name="connsiteX1975" fmla="*/ 2510518 w 6384854"/>
              <a:gd name="connsiteY1975" fmla="*/ 2813421 h 5504521"/>
              <a:gd name="connsiteX1976" fmla="*/ 2508727 w 6384854"/>
              <a:gd name="connsiteY1976" fmla="*/ 2821803 h 5504521"/>
              <a:gd name="connsiteX1977" fmla="*/ 2507128 w 6384854"/>
              <a:gd name="connsiteY1977" fmla="*/ 2815618 h 5504521"/>
              <a:gd name="connsiteX1978" fmla="*/ 2504931 w 6384854"/>
              <a:gd name="connsiteY1978" fmla="*/ 2812227 h 5504521"/>
              <a:gd name="connsiteX1979" fmla="*/ 2505337 w 6384854"/>
              <a:gd name="connsiteY1979" fmla="*/ 2824000 h 5504521"/>
              <a:gd name="connsiteX1980" fmla="*/ 2499152 w 6384854"/>
              <a:gd name="connsiteY1980" fmla="*/ 2825600 h 5504521"/>
              <a:gd name="connsiteX1981" fmla="*/ 2494949 w 6384854"/>
              <a:gd name="connsiteY1981" fmla="*/ 2804251 h 5504521"/>
              <a:gd name="connsiteX1982" fmla="*/ 2492752 w 6384854"/>
              <a:gd name="connsiteY1982" fmla="*/ 2800861 h 5504521"/>
              <a:gd name="connsiteX1983" fmla="*/ 2493349 w 6384854"/>
              <a:gd name="connsiteY1983" fmla="*/ 2798067 h 5504521"/>
              <a:gd name="connsiteX1984" fmla="*/ 2493945 w 6384854"/>
              <a:gd name="connsiteY1984" fmla="*/ 2795273 h 5504521"/>
              <a:gd name="connsiteX1985" fmla="*/ 2496143 w 6384854"/>
              <a:gd name="connsiteY1985" fmla="*/ 2798664 h 5504521"/>
              <a:gd name="connsiteX1986" fmla="*/ 2497933 w 6384854"/>
              <a:gd name="connsiteY1986" fmla="*/ 2790282 h 5504521"/>
              <a:gd name="connsiteX1987" fmla="*/ 2501325 w 6384854"/>
              <a:gd name="connsiteY1987" fmla="*/ 2788085 h 5504521"/>
              <a:gd name="connsiteX1988" fmla="*/ 2503927 w 6384854"/>
              <a:gd name="connsiteY1988" fmla="*/ 2803248 h 5504521"/>
              <a:gd name="connsiteX1989" fmla="*/ 2504524 w 6384854"/>
              <a:gd name="connsiteY1989" fmla="*/ 2800454 h 5504521"/>
              <a:gd name="connsiteX1990" fmla="*/ 2508512 w 6384854"/>
              <a:gd name="connsiteY1990" fmla="*/ 2795464 h 5504521"/>
              <a:gd name="connsiteX1991" fmla="*/ 2509892 w 6384854"/>
              <a:gd name="connsiteY1991" fmla="*/ 2800795 h 5504521"/>
              <a:gd name="connsiteX1992" fmla="*/ 2508919 w 6384854"/>
              <a:gd name="connsiteY1992" fmla="*/ 2807236 h 5504521"/>
              <a:gd name="connsiteX1993" fmla="*/ 2509516 w 6384854"/>
              <a:gd name="connsiteY1993" fmla="*/ 2804442 h 5504521"/>
              <a:gd name="connsiteX1994" fmla="*/ 2510113 w 6384854"/>
              <a:gd name="connsiteY1994" fmla="*/ 2801649 h 5504521"/>
              <a:gd name="connsiteX1995" fmla="*/ 2509892 w 6384854"/>
              <a:gd name="connsiteY1995" fmla="*/ 2800795 h 5504521"/>
              <a:gd name="connsiteX1996" fmla="*/ 2510682 w 6384854"/>
              <a:gd name="connsiteY1996" fmla="*/ 2795562 h 5504521"/>
              <a:gd name="connsiteX1997" fmla="*/ 2508703 w 6384854"/>
              <a:gd name="connsiteY1997" fmla="*/ 2780897 h 5504521"/>
              <a:gd name="connsiteX1998" fmla="*/ 2518875 w 6384854"/>
              <a:gd name="connsiteY1998" fmla="*/ 2774305 h 5504521"/>
              <a:gd name="connsiteX1999" fmla="*/ 2515485 w 6384854"/>
              <a:gd name="connsiteY1999" fmla="*/ 2776503 h 5504521"/>
              <a:gd name="connsiteX2000" fmla="*/ 2512691 w 6384854"/>
              <a:gd name="connsiteY2000" fmla="*/ 2775906 h 5504521"/>
              <a:gd name="connsiteX2001" fmla="*/ 2509897 w 6384854"/>
              <a:gd name="connsiteY2001" fmla="*/ 2775309 h 5504521"/>
              <a:gd name="connsiteX2002" fmla="*/ 2511090 w 6384854"/>
              <a:gd name="connsiteY2002" fmla="*/ 2769721 h 5504521"/>
              <a:gd name="connsiteX2003" fmla="*/ 2511687 w 6384854"/>
              <a:gd name="connsiteY2003" fmla="*/ 2766927 h 5504521"/>
              <a:gd name="connsiteX2004" fmla="*/ 2507293 w 6384854"/>
              <a:gd name="connsiteY2004" fmla="*/ 2760145 h 5504521"/>
              <a:gd name="connsiteX2005" fmla="*/ 2506100 w 6384854"/>
              <a:gd name="connsiteY2005" fmla="*/ 2765733 h 5504521"/>
              <a:gd name="connsiteX2006" fmla="*/ 2503305 w 6384854"/>
              <a:gd name="connsiteY2006" fmla="*/ 2765137 h 5504521"/>
              <a:gd name="connsiteX2007" fmla="*/ 2501705 w 6384854"/>
              <a:gd name="connsiteY2007" fmla="*/ 2758951 h 5504521"/>
              <a:gd name="connsiteX2008" fmla="*/ 2502899 w 6384854"/>
              <a:gd name="connsiteY2008" fmla="*/ 2753364 h 5504521"/>
              <a:gd name="connsiteX2009" fmla="*/ 2509681 w 6384854"/>
              <a:gd name="connsiteY2009" fmla="*/ 2748970 h 5504521"/>
              <a:gd name="connsiteX2010" fmla="*/ 2513072 w 6384854"/>
              <a:gd name="connsiteY2010" fmla="*/ 2746773 h 5504521"/>
              <a:gd name="connsiteX2011" fmla="*/ 2515269 w 6384854"/>
              <a:gd name="connsiteY2011" fmla="*/ 2750164 h 5504521"/>
              <a:gd name="connsiteX2012" fmla="*/ 2515460 w 6384854"/>
              <a:gd name="connsiteY2012" fmla="*/ 2735597 h 5504521"/>
              <a:gd name="connsiteX2013" fmla="*/ 2513669 w 6384854"/>
              <a:gd name="connsiteY2013" fmla="*/ 2743979 h 5504521"/>
              <a:gd name="connsiteX2014" fmla="*/ 2510469 w 6384854"/>
              <a:gd name="connsiteY2014" fmla="*/ 2731609 h 5504521"/>
              <a:gd name="connsiteX2015" fmla="*/ 2507674 w 6384854"/>
              <a:gd name="connsiteY2015" fmla="*/ 2731012 h 5504521"/>
              <a:gd name="connsiteX2016" fmla="*/ 2508271 w 6384854"/>
              <a:gd name="connsiteY2016" fmla="*/ 2728218 h 5504521"/>
              <a:gd name="connsiteX2017" fmla="*/ 2508868 w 6384854"/>
              <a:gd name="connsiteY2017" fmla="*/ 2725424 h 5504521"/>
              <a:gd name="connsiteX2018" fmla="*/ 2511662 w 6384854"/>
              <a:gd name="connsiteY2018" fmla="*/ 2726021 h 5504521"/>
              <a:gd name="connsiteX2019" fmla="*/ 2507269 w 6384854"/>
              <a:gd name="connsiteY2019" fmla="*/ 2719240 h 5504521"/>
              <a:gd name="connsiteX2020" fmla="*/ 2510850 w 6384854"/>
              <a:gd name="connsiteY2020" fmla="*/ 2702476 h 5504521"/>
              <a:gd name="connsiteX2021" fmla="*/ 2509656 w 6384854"/>
              <a:gd name="connsiteY2021" fmla="*/ 2708063 h 5504521"/>
              <a:gd name="connsiteX2022" fmla="*/ 2507649 w 6384854"/>
              <a:gd name="connsiteY2022" fmla="*/ 2690106 h 5504521"/>
              <a:gd name="connsiteX2023" fmla="*/ 2504258 w 6384854"/>
              <a:gd name="connsiteY2023" fmla="*/ 2692303 h 5504521"/>
              <a:gd name="connsiteX2024" fmla="*/ 2504855 w 6384854"/>
              <a:gd name="connsiteY2024" fmla="*/ 2689509 h 5504521"/>
              <a:gd name="connsiteX2025" fmla="*/ 2502061 w 6384854"/>
              <a:gd name="connsiteY2025" fmla="*/ 2688912 h 5504521"/>
              <a:gd name="connsiteX2026" fmla="*/ 2498671 w 6384854"/>
              <a:gd name="connsiteY2026" fmla="*/ 2691109 h 5504521"/>
              <a:gd name="connsiteX2027" fmla="*/ 2498886 w 6384854"/>
              <a:gd name="connsiteY2027" fmla="*/ 2717449 h 5504521"/>
              <a:gd name="connsiteX2028" fmla="*/ 2501680 w 6384854"/>
              <a:gd name="connsiteY2028" fmla="*/ 2718046 h 5504521"/>
              <a:gd name="connsiteX2029" fmla="*/ 2502087 w 6384854"/>
              <a:gd name="connsiteY2029" fmla="*/ 2729818 h 5504521"/>
              <a:gd name="connsiteX2030" fmla="*/ 2498289 w 6384854"/>
              <a:gd name="connsiteY2030" fmla="*/ 2720242 h 5504521"/>
              <a:gd name="connsiteX2031" fmla="*/ 2498099 w 6384854"/>
              <a:gd name="connsiteY2031" fmla="*/ 2734809 h 5504521"/>
              <a:gd name="connsiteX2032" fmla="*/ 2500296 w 6384854"/>
              <a:gd name="connsiteY2032" fmla="*/ 2738200 h 5504521"/>
              <a:gd name="connsiteX2033" fmla="*/ 2499699 w 6384854"/>
              <a:gd name="connsiteY2033" fmla="*/ 2740994 h 5504521"/>
              <a:gd name="connsiteX2034" fmla="*/ 2496308 w 6384854"/>
              <a:gd name="connsiteY2034" fmla="*/ 2743191 h 5504521"/>
              <a:gd name="connsiteX2035" fmla="*/ 2494111 w 6384854"/>
              <a:gd name="connsiteY2035" fmla="*/ 2739800 h 5504521"/>
              <a:gd name="connsiteX2036" fmla="*/ 2492511 w 6384854"/>
              <a:gd name="connsiteY2036" fmla="*/ 2733616 h 5504521"/>
              <a:gd name="connsiteX2037" fmla="*/ 2493108 w 6384854"/>
              <a:gd name="connsiteY2037" fmla="*/ 2730822 h 5504521"/>
              <a:gd name="connsiteX2038" fmla="*/ 2495902 w 6384854"/>
              <a:gd name="connsiteY2038" fmla="*/ 2731418 h 5504521"/>
              <a:gd name="connsiteX2039" fmla="*/ 2495876 w 6384854"/>
              <a:gd name="connsiteY2039" fmla="*/ 2690512 h 5504521"/>
              <a:gd name="connsiteX2040" fmla="*/ 2493680 w 6384854"/>
              <a:gd name="connsiteY2040" fmla="*/ 2687121 h 5504521"/>
              <a:gd name="connsiteX2041" fmla="*/ 2494277 w 6384854"/>
              <a:gd name="connsiteY2041" fmla="*/ 2684328 h 5504521"/>
              <a:gd name="connsiteX2042" fmla="*/ 2494874 w 6384854"/>
              <a:gd name="connsiteY2042" fmla="*/ 2681534 h 5504521"/>
              <a:gd name="connsiteX2043" fmla="*/ 2492867 w 6384854"/>
              <a:gd name="connsiteY2043" fmla="*/ 2663576 h 5504521"/>
              <a:gd name="connsiteX2044" fmla="*/ 2495661 w 6384854"/>
              <a:gd name="connsiteY2044" fmla="*/ 2664173 h 5504521"/>
              <a:gd name="connsiteX2045" fmla="*/ 2493464 w 6384854"/>
              <a:gd name="connsiteY2045" fmla="*/ 2660783 h 5504521"/>
              <a:gd name="connsiteX2046" fmla="*/ 2491863 w 6384854"/>
              <a:gd name="connsiteY2046" fmla="*/ 2654597 h 5504521"/>
              <a:gd name="connsiteX2047" fmla="*/ 2495255 w 6384854"/>
              <a:gd name="connsiteY2047" fmla="*/ 2652400 h 5504521"/>
              <a:gd name="connsiteX2048" fmla="*/ 2500005 w 6384854"/>
              <a:gd name="connsiteY2048" fmla="*/ 2589143 h 5504521"/>
              <a:gd name="connsiteX2049" fmla="*/ 2498405 w 6384854"/>
              <a:gd name="connsiteY2049" fmla="*/ 2582958 h 5504521"/>
              <a:gd name="connsiteX2050" fmla="*/ 2499001 w 6384854"/>
              <a:gd name="connsiteY2050" fmla="*/ 2580164 h 5504521"/>
              <a:gd name="connsiteX2051" fmla="*/ 2501795 w 6384854"/>
              <a:gd name="connsiteY2051" fmla="*/ 2580761 h 5504521"/>
              <a:gd name="connsiteX2052" fmla="*/ 2499789 w 6384854"/>
              <a:gd name="connsiteY2052" fmla="*/ 2562803 h 5504521"/>
              <a:gd name="connsiteX2053" fmla="*/ 2500387 w 6384854"/>
              <a:gd name="connsiteY2053" fmla="*/ 2560009 h 5504521"/>
              <a:gd name="connsiteX2054" fmla="*/ 2501580 w 6384854"/>
              <a:gd name="connsiteY2054" fmla="*/ 2554422 h 5504521"/>
              <a:gd name="connsiteX2055" fmla="*/ 2502177 w 6384854"/>
              <a:gd name="connsiteY2055" fmla="*/ 2551628 h 5504521"/>
              <a:gd name="connsiteX2056" fmla="*/ 2499980 w 6384854"/>
              <a:gd name="connsiteY2056" fmla="*/ 2548237 h 5504521"/>
              <a:gd name="connsiteX2057" fmla="*/ 2500577 w 6384854"/>
              <a:gd name="connsiteY2057" fmla="*/ 2545443 h 5504521"/>
              <a:gd name="connsiteX2058" fmla="*/ 2504158 w 6384854"/>
              <a:gd name="connsiteY2058" fmla="*/ 2528680 h 5504521"/>
              <a:gd name="connsiteX2059" fmla="*/ 2504755 w 6384854"/>
              <a:gd name="connsiteY2059" fmla="*/ 2525885 h 5504521"/>
              <a:gd name="connsiteX2060" fmla="*/ 2505154 w 6384854"/>
              <a:gd name="connsiteY2060" fmla="*/ 2524021 h 5504521"/>
              <a:gd name="connsiteX2061" fmla="*/ 2516063 w 6384854"/>
              <a:gd name="connsiteY2061" fmla="*/ 2519975 h 5504521"/>
              <a:gd name="connsiteX2062" fmla="*/ 2504921 w 6384854"/>
              <a:gd name="connsiteY2062" fmla="*/ 2470412 h 5504521"/>
              <a:gd name="connsiteX2063" fmla="*/ 2504530 w 6384854"/>
              <a:gd name="connsiteY2063" fmla="*/ 2473073 h 5504521"/>
              <a:gd name="connsiteX2064" fmla="*/ 2504324 w 6384854"/>
              <a:gd name="connsiteY2064" fmla="*/ 2473207 h 5504521"/>
              <a:gd name="connsiteX2065" fmla="*/ 2504921 w 6384854"/>
              <a:gd name="connsiteY2065" fmla="*/ 2470412 h 5504521"/>
              <a:gd name="connsiteX2066" fmla="*/ 2511180 w 6384854"/>
              <a:gd name="connsiteY2066" fmla="*/ 2468464 h 5504521"/>
              <a:gd name="connsiteX2067" fmla="*/ 2513302 w 6384854"/>
              <a:gd name="connsiteY2067" fmla="*/ 2472203 h 5504521"/>
              <a:gd name="connsiteX2068" fmla="*/ 2508121 w 6384854"/>
              <a:gd name="connsiteY2068" fmla="*/ 2482782 h 5504521"/>
              <a:gd name="connsiteX2069" fmla="*/ 2508717 w 6384854"/>
              <a:gd name="connsiteY2069" fmla="*/ 2479988 h 5504521"/>
              <a:gd name="connsiteX2070" fmla="*/ 2505924 w 6384854"/>
              <a:gd name="connsiteY2070" fmla="*/ 2479392 h 5504521"/>
              <a:gd name="connsiteX2071" fmla="*/ 2505327 w 6384854"/>
              <a:gd name="connsiteY2071" fmla="*/ 2482185 h 5504521"/>
              <a:gd name="connsiteX2072" fmla="*/ 2507524 w 6384854"/>
              <a:gd name="connsiteY2072" fmla="*/ 2485576 h 5504521"/>
              <a:gd name="connsiteX2073" fmla="*/ 2510724 w 6384854"/>
              <a:gd name="connsiteY2073" fmla="*/ 2497946 h 5504521"/>
              <a:gd name="connsiteX2074" fmla="*/ 2506546 w 6384854"/>
              <a:gd name="connsiteY2074" fmla="*/ 2517503 h 5504521"/>
              <a:gd name="connsiteX2075" fmla="*/ 2505949 w 6384854"/>
              <a:gd name="connsiteY2075" fmla="*/ 2520298 h 5504521"/>
              <a:gd name="connsiteX2076" fmla="*/ 2505153 w 6384854"/>
              <a:gd name="connsiteY2076" fmla="*/ 2524021 h 5504521"/>
              <a:gd name="connsiteX2077" fmla="*/ 2492478 w 6384854"/>
              <a:gd name="connsiteY2077" fmla="*/ 2528720 h 5504521"/>
              <a:gd name="connsiteX2078" fmla="*/ 2497351 w 6384854"/>
              <a:gd name="connsiteY2078" fmla="*/ 2509451 h 5504521"/>
              <a:gd name="connsiteX2079" fmla="*/ 2502210 w 6384854"/>
              <a:gd name="connsiteY2079" fmla="*/ 2488869 h 5504521"/>
              <a:gd name="connsiteX2080" fmla="*/ 2504530 w 6384854"/>
              <a:gd name="connsiteY2080" fmla="*/ 2473073 h 5504521"/>
              <a:gd name="connsiteX2081" fmla="*/ 2507715 w 6384854"/>
              <a:gd name="connsiteY2081" fmla="*/ 2471010 h 5504521"/>
              <a:gd name="connsiteX2082" fmla="*/ 2511180 w 6384854"/>
              <a:gd name="connsiteY2082" fmla="*/ 2468464 h 5504521"/>
              <a:gd name="connsiteX2083" fmla="*/ 2508180 w 6384854"/>
              <a:gd name="connsiteY2083" fmla="*/ 2468187 h 5504521"/>
              <a:gd name="connsiteX2084" fmla="*/ 2508312 w 6384854"/>
              <a:gd name="connsiteY2084" fmla="*/ 2468215 h 5504521"/>
              <a:gd name="connsiteX2085" fmla="*/ 2507715 w 6384854"/>
              <a:gd name="connsiteY2085" fmla="*/ 2471010 h 5504521"/>
              <a:gd name="connsiteX2086" fmla="*/ 5612194 w 6384854"/>
              <a:gd name="connsiteY2086" fmla="*/ 2459847 h 5504521"/>
              <a:gd name="connsiteX2087" fmla="*/ 5603823 w 6384854"/>
              <a:gd name="connsiteY2087" fmla="*/ 2463017 h 5504521"/>
              <a:gd name="connsiteX2088" fmla="*/ 5593618 w 6384854"/>
              <a:gd name="connsiteY2088" fmla="*/ 2471137 h 5504521"/>
              <a:gd name="connsiteX2089" fmla="*/ 5596612 w 6384854"/>
              <a:gd name="connsiteY2089" fmla="*/ 2537303 h 5504521"/>
              <a:gd name="connsiteX2090" fmla="*/ 5583304 w 6384854"/>
              <a:gd name="connsiteY2090" fmla="*/ 2718832 h 5504521"/>
              <a:gd name="connsiteX2091" fmla="*/ 5593112 w 6384854"/>
              <a:gd name="connsiteY2091" fmla="*/ 2769445 h 5504521"/>
              <a:gd name="connsiteX2092" fmla="*/ 5613202 w 6384854"/>
              <a:gd name="connsiteY2092" fmla="*/ 2567533 h 5504521"/>
              <a:gd name="connsiteX2093" fmla="*/ 5612907 w 6384854"/>
              <a:gd name="connsiteY2093" fmla="*/ 2536042 h 5504521"/>
              <a:gd name="connsiteX2094" fmla="*/ 5608833 w 6384854"/>
              <a:gd name="connsiteY2094" fmla="*/ 2533108 h 5504521"/>
              <a:gd name="connsiteX2095" fmla="*/ 5612020 w 6384854"/>
              <a:gd name="connsiteY2095" fmla="*/ 2516013 h 5504521"/>
              <a:gd name="connsiteX2096" fmla="*/ 5612691 w 6384854"/>
              <a:gd name="connsiteY2096" fmla="*/ 2512990 h 5504521"/>
              <a:gd name="connsiteX2097" fmla="*/ 2541954 w 6384854"/>
              <a:gd name="connsiteY2097" fmla="*/ 2338094 h 5504521"/>
              <a:gd name="connsiteX2098" fmla="*/ 2541357 w 6384854"/>
              <a:gd name="connsiteY2098" fmla="*/ 2340888 h 5504521"/>
              <a:gd name="connsiteX2099" fmla="*/ 2538563 w 6384854"/>
              <a:gd name="connsiteY2099" fmla="*/ 2340291 h 5504521"/>
              <a:gd name="connsiteX2100" fmla="*/ 2541954 w 6384854"/>
              <a:gd name="connsiteY2100" fmla="*/ 2338094 h 5504521"/>
              <a:gd name="connsiteX2101" fmla="*/ 2542933 w 6384854"/>
              <a:gd name="connsiteY2101" fmla="*/ 2306167 h 5504521"/>
              <a:gd name="connsiteX2102" fmla="*/ 2542145 w 6384854"/>
              <a:gd name="connsiteY2102" fmla="*/ 2323527 h 5504521"/>
              <a:gd name="connsiteX2103" fmla="*/ 2538157 w 6384854"/>
              <a:gd name="connsiteY2103" fmla="*/ 2328519 h 5504521"/>
              <a:gd name="connsiteX2104" fmla="*/ 2539757 w 6384854"/>
              <a:gd name="connsiteY2104" fmla="*/ 2334703 h 5504521"/>
              <a:gd name="connsiteX2105" fmla="*/ 2539160 w 6384854"/>
              <a:gd name="connsiteY2105" fmla="*/ 2337497 h 5504521"/>
              <a:gd name="connsiteX2106" fmla="*/ 2538563 w 6384854"/>
              <a:gd name="connsiteY2106" fmla="*/ 2340291 h 5504521"/>
              <a:gd name="connsiteX2107" fmla="*/ 2537966 w 6384854"/>
              <a:gd name="connsiteY2107" fmla="*/ 2343085 h 5504521"/>
              <a:gd name="connsiteX2108" fmla="*/ 2537369 w 6384854"/>
              <a:gd name="connsiteY2108" fmla="*/ 2345879 h 5504521"/>
              <a:gd name="connsiteX2109" fmla="*/ 2540163 w 6384854"/>
              <a:gd name="connsiteY2109" fmla="*/ 2346476 h 5504521"/>
              <a:gd name="connsiteX2110" fmla="*/ 2533979 w 6384854"/>
              <a:gd name="connsiteY2110" fmla="*/ 2348076 h 5504521"/>
              <a:gd name="connsiteX2111" fmla="*/ 2536175 w 6384854"/>
              <a:gd name="connsiteY2111" fmla="*/ 2351467 h 5504521"/>
              <a:gd name="connsiteX2112" fmla="*/ 2531591 w 6384854"/>
              <a:gd name="connsiteY2112" fmla="*/ 2359252 h 5504521"/>
              <a:gd name="connsiteX2113" fmla="*/ 2528010 w 6384854"/>
              <a:gd name="connsiteY2113" fmla="*/ 2376015 h 5504521"/>
              <a:gd name="connsiteX2114" fmla="*/ 2524619 w 6384854"/>
              <a:gd name="connsiteY2114" fmla="*/ 2378213 h 5504521"/>
              <a:gd name="connsiteX2115" fmla="*/ 2526816 w 6384854"/>
              <a:gd name="connsiteY2115" fmla="*/ 2381603 h 5504521"/>
              <a:gd name="connsiteX2116" fmla="*/ 2524022 w 6384854"/>
              <a:gd name="connsiteY2116" fmla="*/ 2381006 h 5504521"/>
              <a:gd name="connsiteX2117" fmla="*/ 2520847 w 6384854"/>
              <a:gd name="connsiteY2117" fmla="*/ 2409543 h 5504521"/>
              <a:gd name="connsiteX2118" fmla="*/ 2520250 w 6384854"/>
              <a:gd name="connsiteY2118" fmla="*/ 2412336 h 5504521"/>
              <a:gd name="connsiteX2119" fmla="*/ 2519056 w 6384854"/>
              <a:gd name="connsiteY2119" fmla="*/ 2417925 h 5504521"/>
              <a:gd name="connsiteX2120" fmla="*/ 2521850 w 6384854"/>
              <a:gd name="connsiteY2120" fmla="*/ 2418521 h 5504521"/>
              <a:gd name="connsiteX2121" fmla="*/ 2514281 w 6384854"/>
              <a:gd name="connsiteY2121" fmla="*/ 2440276 h 5504521"/>
              <a:gd name="connsiteX2122" fmla="*/ 2511487 w 6384854"/>
              <a:gd name="connsiteY2122" fmla="*/ 2439679 h 5504521"/>
              <a:gd name="connsiteX2123" fmla="*/ 2510890 w 6384854"/>
              <a:gd name="connsiteY2123" fmla="*/ 2442473 h 5504521"/>
              <a:gd name="connsiteX2124" fmla="*/ 2513087 w 6384854"/>
              <a:gd name="connsiteY2124" fmla="*/ 2445865 h 5504521"/>
              <a:gd name="connsiteX2125" fmla="*/ 2512490 w 6384854"/>
              <a:gd name="connsiteY2125" fmla="*/ 2448658 h 5504521"/>
              <a:gd name="connsiteX2126" fmla="*/ 2514687 w 6384854"/>
              <a:gd name="connsiteY2126" fmla="*/ 2452048 h 5504521"/>
              <a:gd name="connsiteX2127" fmla="*/ 2508941 w 6384854"/>
              <a:gd name="connsiteY2127" fmla="*/ 2463557 h 5504521"/>
              <a:gd name="connsiteX2128" fmla="*/ 2508180 w 6384854"/>
              <a:gd name="connsiteY2128" fmla="*/ 2468187 h 5504521"/>
              <a:gd name="connsiteX2129" fmla="*/ 2505517 w 6384854"/>
              <a:gd name="connsiteY2129" fmla="*/ 2467618 h 5504521"/>
              <a:gd name="connsiteX2130" fmla="*/ 2506115 w 6384854"/>
              <a:gd name="connsiteY2130" fmla="*/ 2464825 h 5504521"/>
              <a:gd name="connsiteX2131" fmla="*/ 2505708 w 6384854"/>
              <a:gd name="connsiteY2131" fmla="*/ 2453052 h 5504521"/>
              <a:gd name="connsiteX2132" fmla="*/ 2506305 w 6384854"/>
              <a:gd name="connsiteY2132" fmla="*/ 2450258 h 5504521"/>
              <a:gd name="connsiteX2133" fmla="*/ 2502914 w 6384854"/>
              <a:gd name="connsiteY2133" fmla="*/ 2452455 h 5504521"/>
              <a:gd name="connsiteX2134" fmla="*/ 2507474 w 6384854"/>
              <a:gd name="connsiteY2134" fmla="*/ 2403764 h 5504521"/>
              <a:gd name="connsiteX2135" fmla="*/ 2516237 w 6384854"/>
              <a:gd name="connsiteY2135" fmla="*/ 2376422 h 5504521"/>
              <a:gd name="connsiteX2136" fmla="*/ 2529394 w 6384854"/>
              <a:gd name="connsiteY2136" fmla="*/ 2355861 h 5504521"/>
              <a:gd name="connsiteX2137" fmla="*/ 2542933 w 6384854"/>
              <a:gd name="connsiteY2137" fmla="*/ 2306167 h 5504521"/>
              <a:gd name="connsiteX2138" fmla="*/ 2415414 w 6384854"/>
              <a:gd name="connsiteY2138" fmla="*/ 2287687 h 5504521"/>
              <a:gd name="connsiteX2139" fmla="*/ 2424798 w 6384854"/>
              <a:gd name="connsiteY2139" fmla="*/ 2298457 h 5504521"/>
              <a:gd name="connsiteX2140" fmla="*/ 2437219 w 6384854"/>
              <a:gd name="connsiteY2140" fmla="*/ 2377069 h 5504521"/>
              <a:gd name="connsiteX2141" fmla="*/ 2446769 w 6384854"/>
              <a:gd name="connsiteY2141" fmla="*/ 2332365 h 5504521"/>
              <a:gd name="connsiteX2142" fmla="*/ 2445576 w 6384854"/>
              <a:gd name="connsiteY2142" fmla="*/ 2337953 h 5504521"/>
              <a:gd name="connsiteX2143" fmla="*/ 2447773 w 6384854"/>
              <a:gd name="connsiteY2143" fmla="*/ 2341344 h 5504521"/>
              <a:gd name="connsiteX2144" fmla="*/ 2448369 w 6384854"/>
              <a:gd name="connsiteY2144" fmla="*/ 2338550 h 5504521"/>
              <a:gd name="connsiteX2145" fmla="*/ 2449563 w 6384854"/>
              <a:gd name="connsiteY2145" fmla="*/ 2332962 h 5504521"/>
              <a:gd name="connsiteX2146" fmla="*/ 2459164 w 6384854"/>
              <a:gd name="connsiteY2146" fmla="*/ 2370071 h 5504521"/>
              <a:gd name="connsiteX2147" fmla="*/ 2463151 w 6384854"/>
              <a:gd name="connsiteY2147" fmla="*/ 2365080 h 5504521"/>
              <a:gd name="connsiteX2148" fmla="*/ 2462986 w 6384854"/>
              <a:gd name="connsiteY2148" fmla="*/ 2420552 h 5504521"/>
              <a:gd name="connsiteX2149" fmla="*/ 2461195 w 6384854"/>
              <a:gd name="connsiteY2149" fmla="*/ 2428935 h 5504521"/>
              <a:gd name="connsiteX2150" fmla="*/ 2464586 w 6384854"/>
              <a:gd name="connsiteY2150" fmla="*/ 2426738 h 5504521"/>
              <a:gd name="connsiteX2151" fmla="*/ 2466783 w 6384854"/>
              <a:gd name="connsiteY2151" fmla="*/ 2430128 h 5504521"/>
              <a:gd name="connsiteX2152" fmla="*/ 2468981 w 6384854"/>
              <a:gd name="connsiteY2152" fmla="*/ 2433520 h 5504521"/>
              <a:gd name="connsiteX2153" fmla="*/ 2480994 w 6384854"/>
              <a:gd name="connsiteY2153" fmla="*/ 2500358 h 5504521"/>
              <a:gd name="connsiteX2154" fmla="*/ 2482827 w 6384854"/>
              <a:gd name="connsiteY2154" fmla="*/ 2520836 h 5504521"/>
              <a:gd name="connsiteX2155" fmla="*/ 2488380 w 6384854"/>
              <a:gd name="connsiteY2155" fmla="*/ 2530240 h 5504521"/>
              <a:gd name="connsiteX2156" fmla="*/ 2492478 w 6384854"/>
              <a:gd name="connsiteY2156" fmla="*/ 2528721 h 5504521"/>
              <a:gd name="connsiteX2157" fmla="*/ 2492386 w 6384854"/>
              <a:gd name="connsiteY2157" fmla="*/ 2529085 h 5504521"/>
              <a:gd name="connsiteX2158" fmla="*/ 2494583 w 6384854"/>
              <a:gd name="connsiteY2158" fmla="*/ 2532477 h 5504521"/>
              <a:gd name="connsiteX2159" fmla="*/ 2493985 w 6384854"/>
              <a:gd name="connsiteY2159" fmla="*/ 2535270 h 5504521"/>
              <a:gd name="connsiteX2160" fmla="*/ 2488207 w 6384854"/>
              <a:gd name="connsiteY2160" fmla="*/ 2548643 h 5504521"/>
              <a:gd name="connsiteX2161" fmla="*/ 2490595 w 6384854"/>
              <a:gd name="connsiteY2161" fmla="*/ 2537467 h 5504521"/>
              <a:gd name="connsiteX2162" fmla="*/ 2487203 w 6384854"/>
              <a:gd name="connsiteY2162" fmla="*/ 2539664 h 5504521"/>
              <a:gd name="connsiteX2163" fmla="*/ 2487800 w 6384854"/>
              <a:gd name="connsiteY2163" fmla="*/ 2536870 h 5504521"/>
              <a:gd name="connsiteX2164" fmla="*/ 2488398 w 6384854"/>
              <a:gd name="connsiteY2164" fmla="*/ 2534076 h 5504521"/>
              <a:gd name="connsiteX2165" fmla="*/ 2488995 w 6384854"/>
              <a:gd name="connsiteY2165" fmla="*/ 2531282 h 5504521"/>
              <a:gd name="connsiteX2166" fmla="*/ 2488379 w 6384854"/>
              <a:gd name="connsiteY2166" fmla="*/ 2530240 h 5504521"/>
              <a:gd name="connsiteX2167" fmla="*/ 2471272 w 6384854"/>
              <a:gd name="connsiteY2167" fmla="*/ 2536583 h 5504521"/>
              <a:gd name="connsiteX2168" fmla="*/ 2441901 w 6384854"/>
              <a:gd name="connsiteY2168" fmla="*/ 2548751 h 5504521"/>
              <a:gd name="connsiteX2169" fmla="*/ 2412640 w 6384854"/>
              <a:gd name="connsiteY2169" fmla="*/ 2578135 h 5504521"/>
              <a:gd name="connsiteX2170" fmla="*/ 2382451 w 6384854"/>
              <a:gd name="connsiteY2170" fmla="*/ 2589151 h 5504521"/>
              <a:gd name="connsiteX2171" fmla="*/ 2372475 w 6384854"/>
              <a:gd name="connsiteY2171" fmla="*/ 2582385 h 5504521"/>
              <a:gd name="connsiteX2172" fmla="*/ 2380746 w 6384854"/>
              <a:gd name="connsiteY2172" fmla="*/ 2611114 h 5504521"/>
              <a:gd name="connsiteX2173" fmla="*/ 2381525 w 6384854"/>
              <a:gd name="connsiteY2173" fmla="*/ 2624398 h 5504521"/>
              <a:gd name="connsiteX2174" fmla="*/ 2372402 w 6384854"/>
              <a:gd name="connsiteY2174" fmla="*/ 2660267 h 5504521"/>
              <a:gd name="connsiteX2175" fmla="*/ 2372514 w 6384854"/>
              <a:gd name="connsiteY2175" fmla="*/ 2677483 h 5504521"/>
              <a:gd name="connsiteX2176" fmla="*/ 2364620 w 6384854"/>
              <a:gd name="connsiteY2176" fmla="*/ 2706859 h 5504521"/>
              <a:gd name="connsiteX2177" fmla="*/ 2361473 w 6384854"/>
              <a:gd name="connsiteY2177" fmla="*/ 2707531 h 5504521"/>
              <a:gd name="connsiteX2178" fmla="*/ 2356916 w 6384854"/>
              <a:gd name="connsiteY2178" fmla="*/ 2561494 h 5504521"/>
              <a:gd name="connsiteX2179" fmla="*/ 2357107 w 6384854"/>
              <a:gd name="connsiteY2179" fmla="*/ 2546927 h 5504521"/>
              <a:gd name="connsiteX2180" fmla="*/ 2367991 w 6384854"/>
              <a:gd name="connsiteY2180" fmla="*/ 2400257 h 5504521"/>
              <a:gd name="connsiteX2181" fmla="*/ 2373985 w 6384854"/>
              <a:gd name="connsiteY2181" fmla="*/ 2413224 h 5504521"/>
              <a:gd name="connsiteX2182" fmla="*/ 2378761 w 6384854"/>
              <a:gd name="connsiteY2182" fmla="*/ 2390872 h 5504521"/>
              <a:gd name="connsiteX2183" fmla="*/ 2380767 w 6384854"/>
              <a:gd name="connsiteY2183" fmla="*/ 2408830 h 5504521"/>
              <a:gd name="connsiteX2184" fmla="*/ 2385733 w 6384854"/>
              <a:gd name="connsiteY2184" fmla="*/ 2371912 h 5504521"/>
              <a:gd name="connsiteX2185" fmla="*/ 2399297 w 6384854"/>
              <a:gd name="connsiteY2185" fmla="*/ 2363124 h 5504521"/>
              <a:gd name="connsiteX2186" fmla="*/ 2410829 w 6384854"/>
              <a:gd name="connsiteY2186" fmla="*/ 2295472 h 5504521"/>
              <a:gd name="connsiteX2187" fmla="*/ 2415414 w 6384854"/>
              <a:gd name="connsiteY2187" fmla="*/ 2287687 h 5504521"/>
              <a:gd name="connsiteX2188" fmla="*/ 5794995 w 6384854"/>
              <a:gd name="connsiteY2188" fmla="*/ 2277183 h 5504521"/>
              <a:gd name="connsiteX2189" fmla="*/ 5774270 w 6384854"/>
              <a:gd name="connsiteY2189" fmla="*/ 2298987 h 5504521"/>
              <a:gd name="connsiteX2190" fmla="*/ 5757607 w 6384854"/>
              <a:gd name="connsiteY2190" fmla="*/ 2318790 h 5504521"/>
              <a:gd name="connsiteX2191" fmla="*/ 5770564 w 6384854"/>
              <a:gd name="connsiteY2191" fmla="*/ 2460334 h 5504521"/>
              <a:gd name="connsiteX2192" fmla="*/ 5769579 w 6384854"/>
              <a:gd name="connsiteY2192" fmla="*/ 2619136 h 5504521"/>
              <a:gd name="connsiteX2193" fmla="*/ 5721236 w 6384854"/>
              <a:gd name="connsiteY2193" fmla="*/ 2953292 h 5504521"/>
              <a:gd name="connsiteX2194" fmla="*/ 5705533 w 6384854"/>
              <a:gd name="connsiteY2194" fmla="*/ 3015437 h 5504521"/>
              <a:gd name="connsiteX2195" fmla="*/ 5725876 w 6384854"/>
              <a:gd name="connsiteY2195" fmla="*/ 2954283 h 5504521"/>
              <a:gd name="connsiteX2196" fmla="*/ 5789754 w 6384854"/>
              <a:gd name="connsiteY2196" fmla="*/ 2553095 h 5504521"/>
              <a:gd name="connsiteX2197" fmla="*/ 5798797 w 6384854"/>
              <a:gd name="connsiteY2197" fmla="*/ 2573222 h 5504521"/>
              <a:gd name="connsiteX2198" fmla="*/ 5809824 w 6384854"/>
              <a:gd name="connsiteY2198" fmla="*/ 2584067 h 5504521"/>
              <a:gd name="connsiteX2199" fmla="*/ 5817190 w 6384854"/>
              <a:gd name="connsiteY2199" fmla="*/ 2572299 h 5504521"/>
              <a:gd name="connsiteX2200" fmla="*/ 5821214 w 6384854"/>
              <a:gd name="connsiteY2200" fmla="*/ 2513723 h 5504521"/>
              <a:gd name="connsiteX2201" fmla="*/ 5927408 w 6384854"/>
              <a:gd name="connsiteY2201" fmla="*/ 2213302 h 5504521"/>
              <a:gd name="connsiteX2202" fmla="*/ 5949086 w 6384854"/>
              <a:gd name="connsiteY2202" fmla="*/ 2281791 h 5504521"/>
              <a:gd name="connsiteX2203" fmla="*/ 5956318 w 6384854"/>
              <a:gd name="connsiteY2203" fmla="*/ 2354046 h 5504521"/>
              <a:gd name="connsiteX2204" fmla="*/ 5957711 w 6384854"/>
              <a:gd name="connsiteY2204" fmla="*/ 2352178 h 5504521"/>
              <a:gd name="connsiteX2205" fmla="*/ 5958627 w 6384854"/>
              <a:gd name="connsiteY2205" fmla="*/ 2347046 h 5504521"/>
              <a:gd name="connsiteX2206" fmla="*/ 5959104 w 6384854"/>
              <a:gd name="connsiteY2206" fmla="*/ 2350309 h 5504521"/>
              <a:gd name="connsiteX2207" fmla="*/ 5961451 w 6384854"/>
              <a:gd name="connsiteY2207" fmla="*/ 2354966 h 5504521"/>
              <a:gd name="connsiteX2208" fmla="*/ 5960020 w 6384854"/>
              <a:gd name="connsiteY2208" fmla="*/ 2345178 h 5504521"/>
              <a:gd name="connsiteX2209" fmla="*/ 5974217 w 6384854"/>
              <a:gd name="connsiteY2209" fmla="*/ 2408090 h 5504521"/>
              <a:gd name="connsiteX2210" fmla="*/ 5976355 w 6384854"/>
              <a:gd name="connsiteY2210" fmla="*/ 2491083 h 5504521"/>
              <a:gd name="connsiteX2211" fmla="*/ 5977939 w 6384854"/>
              <a:gd name="connsiteY2211" fmla="*/ 2547499 h 5504521"/>
              <a:gd name="connsiteX2212" fmla="*/ 5972519 w 6384854"/>
              <a:gd name="connsiteY2212" fmla="*/ 2601601 h 5504521"/>
              <a:gd name="connsiteX2213" fmla="*/ 5968932 w 6384854"/>
              <a:gd name="connsiteY2213" fmla="*/ 2645440 h 5504521"/>
              <a:gd name="connsiteX2214" fmla="*/ 5969409 w 6384854"/>
              <a:gd name="connsiteY2214" fmla="*/ 2648703 h 5504521"/>
              <a:gd name="connsiteX2215" fmla="*/ 5968493 w 6384854"/>
              <a:gd name="connsiteY2215" fmla="*/ 2653835 h 5504521"/>
              <a:gd name="connsiteX2216" fmla="*/ 5952520 w 6384854"/>
              <a:gd name="connsiteY2216" fmla="*/ 2761119 h 5504521"/>
              <a:gd name="connsiteX2217" fmla="*/ 5962310 w 6384854"/>
              <a:gd name="connsiteY2217" fmla="*/ 2759696 h 5504521"/>
              <a:gd name="connsiteX2218" fmla="*/ 5964695 w 6384854"/>
              <a:gd name="connsiteY2218" fmla="*/ 2776009 h 5504521"/>
              <a:gd name="connsiteX2219" fmla="*/ 5965611 w 6384854"/>
              <a:gd name="connsiteY2219" fmla="*/ 2770878 h 5504521"/>
              <a:gd name="connsiteX2220" fmla="*/ 5966527 w 6384854"/>
              <a:gd name="connsiteY2220" fmla="*/ 2765747 h 5504521"/>
              <a:gd name="connsiteX2221" fmla="*/ 5967004 w 6384854"/>
              <a:gd name="connsiteY2221" fmla="*/ 2769010 h 5504521"/>
              <a:gd name="connsiteX2222" fmla="*/ 5966088 w 6384854"/>
              <a:gd name="connsiteY2222" fmla="*/ 2774141 h 5504521"/>
              <a:gd name="connsiteX2223" fmla="*/ 5966565 w 6384854"/>
              <a:gd name="connsiteY2223" fmla="*/ 2777404 h 5504521"/>
              <a:gd name="connsiteX2224" fmla="*/ 5965210 w 6384854"/>
              <a:gd name="connsiteY2224" fmla="*/ 2790929 h 5504521"/>
              <a:gd name="connsiteX2225" fmla="*/ 5963817 w 6384854"/>
              <a:gd name="connsiteY2225" fmla="*/ 2792798 h 5504521"/>
              <a:gd name="connsiteX2226" fmla="*/ 5962424 w 6384854"/>
              <a:gd name="connsiteY2226" fmla="*/ 2794667 h 5504521"/>
              <a:gd name="connsiteX2227" fmla="*/ 5961021 w 6384854"/>
              <a:gd name="connsiteY2227" fmla="*/ 2793621 h 5504521"/>
              <a:gd name="connsiteX2228" fmla="*/ 5961947 w 6384854"/>
              <a:gd name="connsiteY2228" fmla="*/ 2791404 h 5504521"/>
              <a:gd name="connsiteX2229" fmla="*/ 5960554 w 6384854"/>
              <a:gd name="connsiteY2229" fmla="*/ 2793272 h 5504521"/>
              <a:gd name="connsiteX2230" fmla="*/ 5961021 w 6384854"/>
              <a:gd name="connsiteY2230" fmla="*/ 2793621 h 5504521"/>
              <a:gd name="connsiteX2231" fmla="*/ 5960096 w 6384854"/>
              <a:gd name="connsiteY2231" fmla="*/ 2795838 h 5504521"/>
              <a:gd name="connsiteX2232" fmla="*/ 5958245 w 6384854"/>
              <a:gd name="connsiteY2232" fmla="*/ 2800273 h 5504521"/>
              <a:gd name="connsiteX2233" fmla="*/ 5953073 w 6384854"/>
              <a:gd name="connsiteY2233" fmla="*/ 2787696 h 5504521"/>
              <a:gd name="connsiteX2234" fmla="*/ 5945669 w 6384854"/>
              <a:gd name="connsiteY2234" fmla="*/ 2805433 h 5504521"/>
              <a:gd name="connsiteX2235" fmla="*/ 5942406 w 6384854"/>
              <a:gd name="connsiteY2235" fmla="*/ 2805908 h 5504521"/>
              <a:gd name="connsiteX2236" fmla="*/ 5944276 w 6384854"/>
              <a:gd name="connsiteY2236" fmla="*/ 2807301 h 5504521"/>
              <a:gd name="connsiteX2237" fmla="*/ 5942883 w 6384854"/>
              <a:gd name="connsiteY2237" fmla="*/ 2809171 h 5504521"/>
              <a:gd name="connsiteX2238" fmla="*/ 5941490 w 6384854"/>
              <a:gd name="connsiteY2238" fmla="*/ 2811039 h 5504521"/>
              <a:gd name="connsiteX2239" fmla="*/ 5940097 w 6384854"/>
              <a:gd name="connsiteY2239" fmla="*/ 2812907 h 5504521"/>
              <a:gd name="connsiteX2240" fmla="*/ 5930422 w 6384854"/>
              <a:gd name="connsiteY2240" fmla="*/ 2849301 h 5504521"/>
              <a:gd name="connsiteX2241" fmla="*/ 5928552 w 6384854"/>
              <a:gd name="connsiteY2241" fmla="*/ 2847908 h 5504521"/>
              <a:gd name="connsiteX2242" fmla="*/ 5929029 w 6384854"/>
              <a:gd name="connsiteY2242" fmla="*/ 2851170 h 5504521"/>
              <a:gd name="connsiteX2243" fmla="*/ 5928590 w 6384854"/>
              <a:gd name="connsiteY2243" fmla="*/ 2859564 h 5504521"/>
              <a:gd name="connsiteX2244" fmla="*/ 5925327 w 6384854"/>
              <a:gd name="connsiteY2244" fmla="*/ 2860038 h 5504521"/>
              <a:gd name="connsiteX2245" fmla="*/ 5921262 w 6384854"/>
              <a:gd name="connsiteY2245" fmla="*/ 2900615 h 5504521"/>
              <a:gd name="connsiteX2246" fmla="*/ 5901359 w 6384854"/>
              <a:gd name="connsiteY2246" fmla="*/ 2946827 h 5504521"/>
              <a:gd name="connsiteX2247" fmla="*/ 5917961 w 6384854"/>
              <a:gd name="connsiteY2247" fmla="*/ 2889433 h 5504521"/>
              <a:gd name="connsiteX2248" fmla="*/ 5923419 w 6384854"/>
              <a:gd name="connsiteY2248" fmla="*/ 2846988 h 5504521"/>
              <a:gd name="connsiteX2249" fmla="*/ 5924812 w 6384854"/>
              <a:gd name="connsiteY2249" fmla="*/ 2845119 h 5504521"/>
              <a:gd name="connsiteX2250" fmla="*/ 5924335 w 6384854"/>
              <a:gd name="connsiteY2250" fmla="*/ 2841856 h 5504521"/>
              <a:gd name="connsiteX2251" fmla="*/ 5927598 w 6384854"/>
              <a:gd name="connsiteY2251" fmla="*/ 2841382 h 5504521"/>
              <a:gd name="connsiteX2252" fmla="*/ 5928074 w 6384854"/>
              <a:gd name="connsiteY2252" fmla="*/ 2844645 h 5504521"/>
              <a:gd name="connsiteX2253" fmla="*/ 5933056 w 6384854"/>
              <a:gd name="connsiteY2253" fmla="*/ 2798936 h 5504521"/>
              <a:gd name="connsiteX2254" fmla="*/ 5933972 w 6384854"/>
              <a:gd name="connsiteY2254" fmla="*/ 2793805 h 5504521"/>
              <a:gd name="connsiteX2255" fmla="*/ 5933495 w 6384854"/>
              <a:gd name="connsiteY2255" fmla="*/ 2790542 h 5504521"/>
              <a:gd name="connsiteX2256" fmla="*/ 5938151 w 6384854"/>
              <a:gd name="connsiteY2256" fmla="*/ 2788199 h 5504521"/>
              <a:gd name="connsiteX2257" fmla="*/ 5937635 w 6384854"/>
              <a:gd name="connsiteY2257" fmla="*/ 2773279 h 5504521"/>
              <a:gd name="connsiteX2258" fmla="*/ 5955955 w 6384854"/>
              <a:gd name="connsiteY2258" fmla="*/ 2670652 h 5504521"/>
              <a:gd name="connsiteX2259" fmla="*/ 5955925 w 6384854"/>
              <a:gd name="connsiteY2259" fmla="*/ 2674594 h 5504521"/>
              <a:gd name="connsiteX2260" fmla="*/ 5955039 w 6384854"/>
              <a:gd name="connsiteY2260" fmla="*/ 2675783 h 5504521"/>
              <a:gd name="connsiteX2261" fmla="*/ 5955516 w 6384854"/>
              <a:gd name="connsiteY2261" fmla="*/ 2679046 h 5504521"/>
              <a:gd name="connsiteX2262" fmla="*/ 5955914 w 6384854"/>
              <a:gd name="connsiteY2262" fmla="*/ 2676073 h 5504521"/>
              <a:gd name="connsiteX2263" fmla="*/ 5955925 w 6384854"/>
              <a:gd name="connsiteY2263" fmla="*/ 2674594 h 5504521"/>
              <a:gd name="connsiteX2264" fmla="*/ 5956432 w 6384854"/>
              <a:gd name="connsiteY2264" fmla="*/ 2673915 h 5504521"/>
              <a:gd name="connsiteX2265" fmla="*/ 5957348 w 6384854"/>
              <a:gd name="connsiteY2265" fmla="*/ 2668784 h 5504521"/>
              <a:gd name="connsiteX2266" fmla="*/ 5959218 w 6384854"/>
              <a:gd name="connsiteY2266" fmla="*/ 2670177 h 5504521"/>
              <a:gd name="connsiteX2267" fmla="*/ 5958303 w 6384854"/>
              <a:gd name="connsiteY2267" fmla="*/ 2675309 h 5504521"/>
              <a:gd name="connsiteX2268" fmla="*/ 5966622 w 6384854"/>
              <a:gd name="connsiteY2268" fmla="*/ 2652441 h 5504521"/>
              <a:gd name="connsiteX2269" fmla="*/ 5965230 w 6384854"/>
              <a:gd name="connsiteY2269" fmla="*/ 2654309 h 5504521"/>
              <a:gd name="connsiteX2270" fmla="*/ 5966145 w 6384854"/>
              <a:gd name="connsiteY2270" fmla="*/ 2649178 h 5504521"/>
              <a:gd name="connsiteX2271" fmla="*/ 5965668 w 6384854"/>
              <a:gd name="connsiteY2271" fmla="*/ 2645915 h 5504521"/>
              <a:gd name="connsiteX2272" fmla="*/ 5964126 w 6384854"/>
              <a:gd name="connsiteY2272" fmla="*/ 2581163 h 5504521"/>
              <a:gd name="connsiteX2273" fmla="*/ 5964524 w 6384854"/>
              <a:gd name="connsiteY2273" fmla="*/ 2581105 h 5504521"/>
              <a:gd name="connsiteX2274" fmla="*/ 5964047 w 6384854"/>
              <a:gd name="connsiteY2274" fmla="*/ 2577842 h 5504521"/>
              <a:gd name="connsiteX2275" fmla="*/ 5963569 w 6384854"/>
              <a:gd name="connsiteY2275" fmla="*/ 2574579 h 5504521"/>
              <a:gd name="connsiteX2276" fmla="*/ 5961184 w 6384854"/>
              <a:gd name="connsiteY2276" fmla="*/ 2558265 h 5504521"/>
              <a:gd name="connsiteX2277" fmla="*/ 5963531 w 6384854"/>
              <a:gd name="connsiteY2277" fmla="*/ 2562922 h 5504521"/>
              <a:gd name="connsiteX2278" fmla="*/ 5964924 w 6384854"/>
              <a:gd name="connsiteY2278" fmla="*/ 2561053 h 5504521"/>
              <a:gd name="connsiteX2279" fmla="*/ 5966317 w 6384854"/>
              <a:gd name="connsiteY2279" fmla="*/ 2559185 h 5504521"/>
              <a:gd name="connsiteX2280" fmla="*/ 5966794 w 6384854"/>
              <a:gd name="connsiteY2280" fmla="*/ 2562448 h 5504521"/>
              <a:gd name="connsiteX2281" fmla="*/ 5969065 w 6384854"/>
              <a:gd name="connsiteY2281" fmla="*/ 2543791 h 5504521"/>
              <a:gd name="connsiteX2282" fmla="*/ 5967672 w 6384854"/>
              <a:gd name="connsiteY2282" fmla="*/ 2545660 h 5504521"/>
              <a:gd name="connsiteX2283" fmla="*/ 5968149 w 6384854"/>
              <a:gd name="connsiteY2283" fmla="*/ 2548922 h 5504521"/>
              <a:gd name="connsiteX2284" fmla="*/ 5966756 w 6384854"/>
              <a:gd name="connsiteY2284" fmla="*/ 2550791 h 5504521"/>
              <a:gd name="connsiteX2285" fmla="*/ 5965802 w 6384854"/>
              <a:gd name="connsiteY2285" fmla="*/ 2544266 h 5504521"/>
              <a:gd name="connsiteX2286" fmla="*/ 5965325 w 6384854"/>
              <a:gd name="connsiteY2286" fmla="*/ 2541003 h 5504521"/>
              <a:gd name="connsiteX2287" fmla="*/ 5958245 w 6384854"/>
              <a:gd name="connsiteY2287" fmla="*/ 2515375 h 5504521"/>
              <a:gd name="connsiteX2288" fmla="*/ 5961871 w 6384854"/>
              <a:gd name="connsiteY2288" fmla="*/ 2483192 h 5504521"/>
              <a:gd name="connsiteX2289" fmla="*/ 5960001 w 6384854"/>
              <a:gd name="connsiteY2289" fmla="*/ 2481798 h 5504521"/>
              <a:gd name="connsiteX2290" fmla="*/ 5960917 w 6384854"/>
              <a:gd name="connsiteY2290" fmla="*/ 2476667 h 5504521"/>
              <a:gd name="connsiteX2291" fmla="*/ 5959047 w 6384854"/>
              <a:gd name="connsiteY2291" fmla="*/ 2475273 h 5504521"/>
              <a:gd name="connsiteX2292" fmla="*/ 5960440 w 6384854"/>
              <a:gd name="connsiteY2292" fmla="*/ 2473404 h 5504521"/>
              <a:gd name="connsiteX2293" fmla="*/ 5959448 w 6384854"/>
              <a:gd name="connsiteY2293" fmla="*/ 2455222 h 5504521"/>
              <a:gd name="connsiteX2294" fmla="*/ 5963665 w 6384854"/>
              <a:gd name="connsiteY2294" fmla="*/ 2461273 h 5504521"/>
              <a:gd name="connsiteX2295" fmla="*/ 5965058 w 6384854"/>
              <a:gd name="connsiteY2295" fmla="*/ 2459404 h 5504521"/>
              <a:gd name="connsiteX2296" fmla="*/ 5965535 w 6384854"/>
              <a:gd name="connsiteY2296" fmla="*/ 2462667 h 5504521"/>
              <a:gd name="connsiteX2297" fmla="*/ 5967405 w 6384854"/>
              <a:gd name="connsiteY2297" fmla="*/ 2464061 h 5504521"/>
              <a:gd name="connsiteX2298" fmla="*/ 5965459 w 6384854"/>
              <a:gd name="connsiteY2298" fmla="*/ 2439353 h 5504521"/>
              <a:gd name="connsiteX2299" fmla="*/ 5958932 w 6384854"/>
              <a:gd name="connsiteY2299" fmla="*/ 2440302 h 5504521"/>
              <a:gd name="connsiteX2300" fmla="*/ 5949028 w 6384854"/>
              <a:gd name="connsiteY2300" fmla="*/ 2406755 h 5504521"/>
              <a:gd name="connsiteX2301" fmla="*/ 5951738 w 6384854"/>
              <a:gd name="connsiteY2301" fmla="*/ 2379703 h 5504521"/>
              <a:gd name="connsiteX2302" fmla="*/ 5943705 w 6384854"/>
              <a:gd name="connsiteY2302" fmla="*/ 2347550 h 5504521"/>
              <a:gd name="connsiteX2303" fmla="*/ 5946453 w 6384854"/>
              <a:gd name="connsiteY2303" fmla="*/ 2332156 h 5504521"/>
              <a:gd name="connsiteX2304" fmla="*/ 5927408 w 6384854"/>
              <a:gd name="connsiteY2304" fmla="*/ 2213302 h 5504521"/>
              <a:gd name="connsiteX2305" fmla="*/ 2613253 w 6384854"/>
              <a:gd name="connsiteY2305" fmla="*/ 2113766 h 5504521"/>
              <a:gd name="connsiteX2306" fmla="*/ 2610865 w 6384854"/>
              <a:gd name="connsiteY2306" fmla="*/ 2124942 h 5504521"/>
              <a:gd name="connsiteX2307" fmla="*/ 2606877 w 6384854"/>
              <a:gd name="connsiteY2307" fmla="*/ 2129932 h 5504521"/>
              <a:gd name="connsiteX2308" fmla="*/ 2607474 w 6384854"/>
              <a:gd name="connsiteY2308" fmla="*/ 2127138 h 5504521"/>
              <a:gd name="connsiteX2309" fmla="*/ 2608071 w 6384854"/>
              <a:gd name="connsiteY2309" fmla="*/ 2124344 h 5504521"/>
              <a:gd name="connsiteX2310" fmla="*/ 2608668 w 6384854"/>
              <a:gd name="connsiteY2310" fmla="*/ 2121551 h 5504521"/>
              <a:gd name="connsiteX2311" fmla="*/ 2613253 w 6384854"/>
              <a:gd name="connsiteY2311" fmla="*/ 2113766 h 5504521"/>
              <a:gd name="connsiteX2312" fmla="*/ 2787447 w 6384854"/>
              <a:gd name="connsiteY2312" fmla="*/ 1777032 h 5504521"/>
              <a:gd name="connsiteX2313" fmla="*/ 2789644 w 6384854"/>
              <a:gd name="connsiteY2313" fmla="*/ 1780423 h 5504521"/>
              <a:gd name="connsiteX2314" fmla="*/ 2785656 w 6384854"/>
              <a:gd name="connsiteY2314" fmla="*/ 1785414 h 5504521"/>
              <a:gd name="connsiteX2315" fmla="*/ 2782265 w 6384854"/>
              <a:gd name="connsiteY2315" fmla="*/ 1787612 h 5504521"/>
              <a:gd name="connsiteX2316" fmla="*/ 2774289 w 6384854"/>
              <a:gd name="connsiteY2316" fmla="*/ 1797593 h 5504521"/>
              <a:gd name="connsiteX2317" fmla="*/ 2769107 w 6384854"/>
              <a:gd name="connsiteY2317" fmla="*/ 1808172 h 5504521"/>
              <a:gd name="connsiteX2318" fmla="*/ 2766314 w 6384854"/>
              <a:gd name="connsiteY2318" fmla="*/ 1807575 h 5504521"/>
              <a:gd name="connsiteX2319" fmla="*/ 2787447 w 6384854"/>
              <a:gd name="connsiteY2319" fmla="*/ 1777032 h 5504521"/>
              <a:gd name="connsiteX2320" fmla="*/ 2919668 w 6384854"/>
              <a:gd name="connsiteY2320" fmla="*/ 1445312 h 5504521"/>
              <a:gd name="connsiteX2321" fmla="*/ 2919540 w 6384854"/>
              <a:gd name="connsiteY2321" fmla="*/ 1445913 h 5504521"/>
              <a:gd name="connsiteX2322" fmla="*/ 2916149 w 6384854"/>
              <a:gd name="connsiteY2322" fmla="*/ 1448110 h 5504521"/>
              <a:gd name="connsiteX2323" fmla="*/ 3284264 w 6384854"/>
              <a:gd name="connsiteY2323" fmla="*/ 1420645 h 5504521"/>
              <a:gd name="connsiteX2324" fmla="*/ 3244708 w 6384854"/>
              <a:gd name="connsiteY2324" fmla="*/ 1441713 h 5504521"/>
              <a:gd name="connsiteX2325" fmla="*/ 3248877 w 6384854"/>
              <a:gd name="connsiteY2325" fmla="*/ 1442923 h 5504521"/>
              <a:gd name="connsiteX2326" fmla="*/ 3230483 w 6384854"/>
              <a:gd name="connsiteY2326" fmla="*/ 1450243 h 5504521"/>
              <a:gd name="connsiteX2327" fmla="*/ 3228065 w 6384854"/>
              <a:gd name="connsiteY2327" fmla="*/ 1458581 h 5504521"/>
              <a:gd name="connsiteX2328" fmla="*/ 3193029 w 6384854"/>
              <a:gd name="connsiteY2328" fmla="*/ 1482770 h 5504521"/>
              <a:gd name="connsiteX2329" fmla="*/ 3184182 w 6384854"/>
              <a:gd name="connsiteY2329" fmla="*/ 1488339 h 5504521"/>
              <a:gd name="connsiteX2330" fmla="*/ 3107713 w 6384854"/>
              <a:gd name="connsiteY2330" fmla="*/ 1555655 h 5504521"/>
              <a:gd name="connsiteX2331" fmla="*/ 3086042 w 6384854"/>
              <a:gd name="connsiteY2331" fmla="*/ 1577392 h 5504521"/>
              <a:gd name="connsiteX2332" fmla="*/ 3070257 w 6384854"/>
              <a:gd name="connsiteY2332" fmla="*/ 1588182 h 5504521"/>
              <a:gd name="connsiteX2333" fmla="*/ 3071309 w 6384854"/>
              <a:gd name="connsiteY2333" fmla="*/ 1593911 h 5504521"/>
              <a:gd name="connsiteX2334" fmla="*/ 3123847 w 6384854"/>
              <a:gd name="connsiteY2334" fmla="*/ 1546775 h 5504521"/>
              <a:gd name="connsiteX2335" fmla="*/ 3127665 w 6384854"/>
              <a:gd name="connsiteY2335" fmla="*/ 1546075 h 5504521"/>
              <a:gd name="connsiteX2336" fmla="*/ 3124197 w 6384854"/>
              <a:gd name="connsiteY2336" fmla="*/ 1548685 h 5504521"/>
              <a:gd name="connsiteX2337" fmla="*/ 3121079 w 6384854"/>
              <a:gd name="connsiteY2337" fmla="*/ 1553204 h 5504521"/>
              <a:gd name="connsiteX2338" fmla="*/ 3124547 w 6384854"/>
              <a:gd name="connsiteY2338" fmla="*/ 1550595 h 5504521"/>
              <a:gd name="connsiteX2339" fmla="*/ 3126457 w 6384854"/>
              <a:gd name="connsiteY2339" fmla="*/ 1550244 h 5504521"/>
              <a:gd name="connsiteX2340" fmla="*/ 3071499 w 6384854"/>
              <a:gd name="connsiteY2340" fmla="*/ 1605720 h 5504521"/>
              <a:gd name="connsiteX2341" fmla="*/ 3016893 w 6384854"/>
              <a:gd name="connsiteY2341" fmla="*/ 1663104 h 5504521"/>
              <a:gd name="connsiteX2342" fmla="*/ 3004927 w 6384854"/>
              <a:gd name="connsiteY2342" fmla="*/ 1673194 h 5504521"/>
              <a:gd name="connsiteX2343" fmla="*/ 2966105 w 6384854"/>
              <a:gd name="connsiteY2343" fmla="*/ 1719790 h 5504521"/>
              <a:gd name="connsiteX2344" fmla="*/ 2957767 w 6384854"/>
              <a:gd name="connsiteY2344" fmla="*/ 1717370 h 5504521"/>
              <a:gd name="connsiteX2345" fmla="*/ 2947361 w 6384854"/>
              <a:gd name="connsiteY2345" fmla="*/ 1725200 h 5504521"/>
              <a:gd name="connsiteX2346" fmla="*/ 2948921 w 6384854"/>
              <a:gd name="connsiteY2346" fmla="*/ 1722940 h 5504521"/>
              <a:gd name="connsiteX2347" fmla="*/ 2948569 w 6384854"/>
              <a:gd name="connsiteY2347" fmla="*/ 1721030 h 5504521"/>
              <a:gd name="connsiteX2348" fmla="*/ 2945451 w 6384854"/>
              <a:gd name="connsiteY2348" fmla="*/ 1725549 h 5504521"/>
              <a:gd name="connsiteX2349" fmla="*/ 2943893 w 6384854"/>
              <a:gd name="connsiteY2349" fmla="*/ 1727809 h 5504521"/>
              <a:gd name="connsiteX2350" fmla="*/ 2924990 w 6384854"/>
              <a:gd name="connsiteY2350" fmla="*/ 1743119 h 5504521"/>
              <a:gd name="connsiteX2351" fmla="*/ 2900041 w 6384854"/>
              <a:gd name="connsiteY2351" fmla="*/ 1779275 h 5504521"/>
              <a:gd name="connsiteX2352" fmla="*/ 2906979 w 6384854"/>
              <a:gd name="connsiteY2352" fmla="*/ 1774055 h 5504521"/>
              <a:gd name="connsiteX2353" fmla="*/ 2905419 w 6384854"/>
              <a:gd name="connsiteY2353" fmla="*/ 1776314 h 5504521"/>
              <a:gd name="connsiteX2354" fmla="*/ 2904210 w 6384854"/>
              <a:gd name="connsiteY2354" fmla="*/ 1780484 h 5504521"/>
              <a:gd name="connsiteX2355" fmla="*/ 2905769 w 6384854"/>
              <a:gd name="connsiteY2355" fmla="*/ 1778224 h 5504521"/>
              <a:gd name="connsiteX2356" fmla="*/ 2907679 w 6384854"/>
              <a:gd name="connsiteY2356" fmla="*/ 1777875 h 5504521"/>
              <a:gd name="connsiteX2357" fmla="*/ 2900583 w 6384854"/>
              <a:gd name="connsiteY2357" fmla="*/ 1792993 h 5504521"/>
              <a:gd name="connsiteX2358" fmla="*/ 2917226 w 6384854"/>
              <a:gd name="connsiteY2358" fmla="*/ 1776124 h 5504521"/>
              <a:gd name="connsiteX2359" fmla="*/ 2915667 w 6384854"/>
              <a:gd name="connsiteY2359" fmla="*/ 1778384 h 5504521"/>
              <a:gd name="connsiteX2360" fmla="*/ 2912548 w 6384854"/>
              <a:gd name="connsiteY2360" fmla="*/ 1782903 h 5504521"/>
              <a:gd name="connsiteX2361" fmla="*/ 2914458 w 6384854"/>
              <a:gd name="connsiteY2361" fmla="*/ 1782553 h 5504521"/>
              <a:gd name="connsiteX2362" fmla="*/ 2916017 w 6384854"/>
              <a:gd name="connsiteY2362" fmla="*/ 1780293 h 5504521"/>
              <a:gd name="connsiteX2363" fmla="*/ 2908571 w 6384854"/>
              <a:gd name="connsiteY2363" fmla="*/ 1793502 h 5504521"/>
              <a:gd name="connsiteX2364" fmla="*/ 2863001 w 6384854"/>
              <a:gd name="connsiteY2364" fmla="*/ 1857126 h 5504521"/>
              <a:gd name="connsiteX2365" fmla="*/ 2852787 w 6384854"/>
              <a:gd name="connsiteY2365" fmla="*/ 1876764 h 5504521"/>
              <a:gd name="connsiteX2366" fmla="*/ 2815206 w 6384854"/>
              <a:gd name="connsiteY2366" fmla="*/ 1940897 h 5504521"/>
              <a:gd name="connsiteX2367" fmla="*/ 2797036 w 6384854"/>
              <a:gd name="connsiteY2367" fmla="*/ 1981732 h 5504521"/>
              <a:gd name="connsiteX2368" fmla="*/ 2797386 w 6384854"/>
              <a:gd name="connsiteY2368" fmla="*/ 1983642 h 5504521"/>
              <a:gd name="connsiteX2369" fmla="*/ 2795827 w 6384854"/>
              <a:gd name="connsiteY2369" fmla="*/ 1985902 h 5504521"/>
              <a:gd name="connsiteX2370" fmla="*/ 2794617 w 6384854"/>
              <a:gd name="connsiteY2370" fmla="*/ 1990071 h 5504521"/>
              <a:gd name="connsiteX2371" fmla="*/ 2796177 w 6384854"/>
              <a:gd name="connsiteY2371" fmla="*/ 1987812 h 5504521"/>
              <a:gd name="connsiteX2372" fmla="*/ 2797736 w 6384854"/>
              <a:gd name="connsiteY2372" fmla="*/ 1985552 h 5504521"/>
              <a:gd name="connsiteX2373" fmla="*/ 2788221 w 6384854"/>
              <a:gd name="connsiteY2373" fmla="*/ 2009009 h 5504521"/>
              <a:gd name="connsiteX2374" fmla="*/ 2791881 w 6384854"/>
              <a:gd name="connsiteY2374" fmla="*/ 2018208 h 5504521"/>
              <a:gd name="connsiteX2375" fmla="*/ 2749146 w 6384854"/>
              <a:gd name="connsiteY2375" fmla="*/ 2118816 h 5504521"/>
              <a:gd name="connsiteX2376" fmla="*/ 2734668 w 6384854"/>
              <a:gd name="connsiteY2376" fmla="*/ 2190557 h 5504521"/>
              <a:gd name="connsiteX2377" fmla="*/ 2732601 w 6384854"/>
              <a:gd name="connsiteY2377" fmla="*/ 2200806 h 5504521"/>
              <a:gd name="connsiteX2378" fmla="*/ 2720859 w 6384854"/>
              <a:gd name="connsiteY2378" fmla="*/ 2244411 h 5504521"/>
              <a:gd name="connsiteX2379" fmla="*/ 2717964 w 6384854"/>
              <a:gd name="connsiteY2379" fmla="*/ 2282446 h 5504521"/>
              <a:gd name="connsiteX2380" fmla="*/ 2725919 w 6384854"/>
              <a:gd name="connsiteY2380" fmla="*/ 2261249 h 5504521"/>
              <a:gd name="connsiteX2381" fmla="*/ 2731265 w 6384854"/>
              <a:gd name="connsiteY2381" fmla="*/ 2236581 h 5504521"/>
              <a:gd name="connsiteX2382" fmla="*/ 2730373 w 6384854"/>
              <a:gd name="connsiteY2382" fmla="*/ 2220954 h 5504521"/>
              <a:gd name="connsiteX2383" fmla="*/ 2742815 w 6384854"/>
              <a:gd name="connsiteY2383" fmla="*/ 2181168 h 5504521"/>
              <a:gd name="connsiteX2384" fmla="*/ 2744183 w 6384854"/>
              <a:gd name="connsiteY2384" fmla="*/ 2167100 h 5504521"/>
              <a:gd name="connsiteX2385" fmla="*/ 2748002 w 6384854"/>
              <a:gd name="connsiteY2385" fmla="*/ 2166400 h 5504521"/>
              <a:gd name="connsiteX2386" fmla="*/ 2765630 w 6384854"/>
              <a:gd name="connsiteY2386" fmla="*/ 2111846 h 5504521"/>
              <a:gd name="connsiteX2387" fmla="*/ 2784468 w 6384854"/>
              <a:gd name="connsiteY2387" fmla="*/ 2053124 h 5504521"/>
              <a:gd name="connsiteX2388" fmla="*/ 2781858 w 6384854"/>
              <a:gd name="connsiteY2388" fmla="*/ 2049654 h 5504521"/>
              <a:gd name="connsiteX2389" fmla="*/ 2805056 w 6384854"/>
              <a:gd name="connsiteY2389" fmla="*/ 2003949 h 5504521"/>
              <a:gd name="connsiteX2390" fmla="*/ 2815780 w 6384854"/>
              <a:gd name="connsiteY2390" fmla="*/ 1976323 h 5504521"/>
              <a:gd name="connsiteX2391" fmla="*/ 2818039 w 6384854"/>
              <a:gd name="connsiteY2391" fmla="*/ 1977882 h 5504521"/>
              <a:gd name="connsiteX2392" fmla="*/ 2831021 w 6384854"/>
              <a:gd name="connsiteY2392" fmla="*/ 1951815 h 5504521"/>
              <a:gd name="connsiteX2393" fmla="*/ 2831181 w 6384854"/>
              <a:gd name="connsiteY2393" fmla="*/ 1941916 h 5504521"/>
              <a:gd name="connsiteX2394" fmla="*/ 2815047 w 6384854"/>
              <a:gd name="connsiteY2394" fmla="*/ 1950796 h 5504521"/>
              <a:gd name="connsiteX2395" fmla="*/ 2842063 w 6384854"/>
              <a:gd name="connsiteY2395" fmla="*/ 1904390 h 5504521"/>
              <a:gd name="connsiteX2396" fmla="*/ 2842413 w 6384854"/>
              <a:gd name="connsiteY2396" fmla="*/ 1906300 h 5504521"/>
              <a:gd name="connsiteX2397" fmla="*/ 2841204 w 6384854"/>
              <a:gd name="connsiteY2397" fmla="*/ 1910470 h 5504521"/>
              <a:gd name="connsiteX2398" fmla="*/ 2844323 w 6384854"/>
              <a:gd name="connsiteY2398" fmla="*/ 1905950 h 5504521"/>
              <a:gd name="connsiteX2399" fmla="*/ 2851769 w 6384854"/>
              <a:gd name="connsiteY2399" fmla="*/ 1892742 h 5504521"/>
              <a:gd name="connsiteX2400" fmla="*/ 2855238 w 6384854"/>
              <a:gd name="connsiteY2400" fmla="*/ 1890132 h 5504521"/>
              <a:gd name="connsiteX2401" fmla="*/ 2854888 w 6384854"/>
              <a:gd name="connsiteY2401" fmla="*/ 1888222 h 5504521"/>
              <a:gd name="connsiteX2402" fmla="*/ 2854537 w 6384854"/>
              <a:gd name="connsiteY2402" fmla="*/ 1886313 h 5504521"/>
              <a:gd name="connsiteX2403" fmla="*/ 2852978 w 6384854"/>
              <a:gd name="connsiteY2403" fmla="*/ 1888572 h 5504521"/>
              <a:gd name="connsiteX2404" fmla="*/ 2858707 w 6384854"/>
              <a:gd name="connsiteY2404" fmla="*/ 1887522 h 5504521"/>
              <a:gd name="connsiteX2405" fmla="*/ 2864085 w 6384854"/>
              <a:gd name="connsiteY2405" fmla="*/ 1884563 h 5504521"/>
              <a:gd name="connsiteX2406" fmla="*/ 2863925 w 6384854"/>
              <a:gd name="connsiteY2406" fmla="*/ 1894461 h 5504521"/>
              <a:gd name="connsiteX2407" fmla="*/ 2878659 w 6384854"/>
              <a:gd name="connsiteY2407" fmla="*/ 1877943 h 5504521"/>
              <a:gd name="connsiteX2408" fmla="*/ 2890783 w 6384854"/>
              <a:gd name="connsiteY2408" fmla="*/ 1857955 h 5504521"/>
              <a:gd name="connsiteX2409" fmla="*/ 2876909 w 6384854"/>
              <a:gd name="connsiteY2409" fmla="*/ 1868394 h 5504521"/>
              <a:gd name="connsiteX2410" fmla="*/ 2878977 w 6384854"/>
              <a:gd name="connsiteY2410" fmla="*/ 1858145 h 5504521"/>
              <a:gd name="connsiteX2411" fmla="*/ 2887123 w 6384854"/>
              <a:gd name="connsiteY2411" fmla="*/ 1848756 h 5504521"/>
              <a:gd name="connsiteX2412" fmla="*/ 2948285 w 6384854"/>
              <a:gd name="connsiteY2412" fmla="*/ 1762535 h 5504521"/>
              <a:gd name="connsiteX2413" fmla="*/ 2959550 w 6384854"/>
              <a:gd name="connsiteY2413" fmla="*/ 1748626 h 5504521"/>
              <a:gd name="connsiteX2414" fmla="*/ 2975493 w 6384854"/>
              <a:gd name="connsiteY2414" fmla="*/ 1727938 h 5504521"/>
              <a:gd name="connsiteX2415" fmla="*/ 2979311 w 6384854"/>
              <a:gd name="connsiteY2415" fmla="*/ 1727238 h 5504521"/>
              <a:gd name="connsiteX2416" fmla="*/ 3008779 w 6384854"/>
              <a:gd name="connsiteY2416" fmla="*/ 1694201 h 5504521"/>
              <a:gd name="connsiteX2417" fmla="*/ 3032868 w 6384854"/>
              <a:gd name="connsiteY2417" fmla="*/ 1664124 h 5504521"/>
              <a:gd name="connsiteX2418" fmla="*/ 3036178 w 6384854"/>
              <a:gd name="connsiteY2418" fmla="*/ 1671412 h 5504521"/>
              <a:gd name="connsiteX2419" fmla="*/ 3041555 w 6384854"/>
              <a:gd name="connsiteY2419" fmla="*/ 1668452 h 5504521"/>
              <a:gd name="connsiteX2420" fmla="*/ 3062877 w 6384854"/>
              <a:gd name="connsiteY2420" fmla="*/ 1644805 h 5504521"/>
              <a:gd name="connsiteX2421" fmla="*/ 3062176 w 6384854"/>
              <a:gd name="connsiteY2421" fmla="*/ 1640986 h 5504521"/>
              <a:gd name="connsiteX2422" fmla="*/ 3051420 w 6384854"/>
              <a:gd name="connsiteY2422" fmla="*/ 1646905 h 5504521"/>
              <a:gd name="connsiteX2423" fmla="*/ 3079329 w 6384854"/>
              <a:gd name="connsiteY2423" fmla="*/ 1616128 h 5504521"/>
              <a:gd name="connsiteX2424" fmla="*/ 3105677 w 6384854"/>
              <a:gd name="connsiteY2424" fmla="*/ 1587610 h 5504521"/>
              <a:gd name="connsiteX2425" fmla="*/ 3160125 w 6384854"/>
              <a:gd name="connsiteY2425" fmla="*/ 1540124 h 5504521"/>
              <a:gd name="connsiteX2426" fmla="*/ 3164994 w 6384854"/>
              <a:gd name="connsiteY2426" fmla="*/ 1545153 h 5504521"/>
              <a:gd name="connsiteX2427" fmla="*/ 3175401 w 6384854"/>
              <a:gd name="connsiteY2427" fmla="*/ 1537323 h 5504521"/>
              <a:gd name="connsiteX2428" fmla="*/ 3170181 w 6384854"/>
              <a:gd name="connsiteY2428" fmla="*/ 1530385 h 5504521"/>
              <a:gd name="connsiteX2429" fmla="*/ 3203308 w 6384854"/>
              <a:gd name="connsiteY2429" fmla="*/ 1506546 h 5504521"/>
              <a:gd name="connsiteX2430" fmla="*/ 3309627 w 6384854"/>
              <a:gd name="connsiteY2430" fmla="*/ 1429812 h 5504521"/>
              <a:gd name="connsiteX2431" fmla="*/ 3269021 w 6384854"/>
              <a:gd name="connsiteY2431" fmla="*/ 1445151 h 5504521"/>
              <a:gd name="connsiteX2432" fmla="*/ 3207444 w 6384854"/>
              <a:gd name="connsiteY2432" fmla="*/ 1486049 h 5504521"/>
              <a:gd name="connsiteX2433" fmla="*/ 3210913 w 6384854"/>
              <a:gd name="connsiteY2433" fmla="*/ 1483439 h 5504521"/>
              <a:gd name="connsiteX2434" fmla="*/ 3205185 w 6384854"/>
              <a:gd name="connsiteY2434" fmla="*/ 1484489 h 5504521"/>
              <a:gd name="connsiteX2435" fmla="*/ 3203276 w 6384854"/>
              <a:gd name="connsiteY2435" fmla="*/ 1484840 h 5504521"/>
              <a:gd name="connsiteX2436" fmla="*/ 3256514 w 6384854"/>
              <a:gd name="connsiteY2436" fmla="*/ 1441523 h 5504521"/>
              <a:gd name="connsiteX2437" fmla="*/ 3284264 w 6384854"/>
              <a:gd name="connsiteY2437" fmla="*/ 1420645 h 5504521"/>
              <a:gd name="connsiteX2438" fmla="*/ 4308425 w 6384854"/>
              <a:gd name="connsiteY2438" fmla="*/ 1248046 h 5504521"/>
              <a:gd name="connsiteX2439" fmla="*/ 4464312 w 6384854"/>
              <a:gd name="connsiteY2439" fmla="*/ 1292096 h 5504521"/>
              <a:gd name="connsiteX2440" fmla="*/ 4494295 w 6384854"/>
              <a:gd name="connsiteY2440" fmla="*/ 1306748 h 5504521"/>
              <a:gd name="connsiteX2441" fmla="*/ 4494891 w 6384854"/>
              <a:gd name="connsiteY2441" fmla="*/ 1304511 h 5504521"/>
              <a:gd name="connsiteX2442" fmla="*/ 4503439 w 6384854"/>
              <a:gd name="connsiteY2442" fmla="*/ 1291670 h 5504521"/>
              <a:gd name="connsiteX2443" fmla="*/ 4510402 w 6384854"/>
              <a:gd name="connsiteY2443" fmla="*/ 1288344 h 5504521"/>
              <a:gd name="connsiteX2444" fmla="*/ 4411337 w 6384854"/>
              <a:gd name="connsiteY2444" fmla="*/ 1260328 h 5504521"/>
              <a:gd name="connsiteX2445" fmla="*/ 4308425 w 6384854"/>
              <a:gd name="connsiteY2445" fmla="*/ 1248046 h 5504521"/>
              <a:gd name="connsiteX2446" fmla="*/ 3221925 w 6384854"/>
              <a:gd name="connsiteY2446" fmla="*/ 1247583 h 5504521"/>
              <a:gd name="connsiteX2447" fmla="*/ 3224719 w 6384854"/>
              <a:gd name="connsiteY2447" fmla="*/ 1248180 h 5504521"/>
              <a:gd name="connsiteX2448" fmla="*/ 3221329 w 6384854"/>
              <a:gd name="connsiteY2448" fmla="*/ 1250377 h 5504521"/>
              <a:gd name="connsiteX2449" fmla="*/ 3221925 w 6384854"/>
              <a:gd name="connsiteY2449" fmla="*/ 1247583 h 5504521"/>
              <a:gd name="connsiteX2450" fmla="*/ 3224910 w 6384854"/>
              <a:gd name="connsiteY2450" fmla="*/ 1233613 h 5504521"/>
              <a:gd name="connsiteX2451" fmla="*/ 3224313 w 6384854"/>
              <a:gd name="connsiteY2451" fmla="*/ 1236407 h 5504521"/>
              <a:gd name="connsiteX2452" fmla="*/ 3221519 w 6384854"/>
              <a:gd name="connsiteY2452" fmla="*/ 1235811 h 5504521"/>
              <a:gd name="connsiteX2453" fmla="*/ 3224910 w 6384854"/>
              <a:gd name="connsiteY2453" fmla="*/ 1233613 h 5504521"/>
              <a:gd name="connsiteX2454" fmla="*/ 3226104 w 6384854"/>
              <a:gd name="connsiteY2454" fmla="*/ 1228026 h 5504521"/>
              <a:gd name="connsiteX2455" fmla="*/ 3228898 w 6384854"/>
              <a:gd name="connsiteY2455" fmla="*/ 1228622 h 5504521"/>
              <a:gd name="connsiteX2456" fmla="*/ 3222713 w 6384854"/>
              <a:gd name="connsiteY2456" fmla="*/ 1230222 h 5504521"/>
              <a:gd name="connsiteX2457" fmla="*/ 3226104 w 6384854"/>
              <a:gd name="connsiteY2457" fmla="*/ 1228026 h 5504521"/>
              <a:gd name="connsiteX2458" fmla="*/ 3573129 w 6384854"/>
              <a:gd name="connsiteY2458" fmla="*/ 1197634 h 5504521"/>
              <a:gd name="connsiteX2459" fmla="*/ 3571096 w 6384854"/>
              <a:gd name="connsiteY2459" fmla="*/ 1199480 h 5504521"/>
              <a:gd name="connsiteX2460" fmla="*/ 3568302 w 6384854"/>
              <a:gd name="connsiteY2460" fmla="*/ 1198883 h 5504521"/>
              <a:gd name="connsiteX2461" fmla="*/ 4439703 w 6384854"/>
              <a:gd name="connsiteY2461" fmla="*/ 1195157 h 5504521"/>
              <a:gd name="connsiteX2462" fmla="*/ 4472633 w 6384854"/>
              <a:gd name="connsiteY2462" fmla="*/ 1205114 h 5504521"/>
              <a:gd name="connsiteX2463" fmla="*/ 4469840 w 6384854"/>
              <a:gd name="connsiteY2463" fmla="*/ 1204517 h 5504521"/>
              <a:gd name="connsiteX2464" fmla="*/ 4455870 w 6384854"/>
              <a:gd name="connsiteY2464" fmla="*/ 1201533 h 5504521"/>
              <a:gd name="connsiteX2465" fmla="*/ 4444693 w 6384854"/>
              <a:gd name="connsiteY2465" fmla="*/ 1199145 h 5504521"/>
              <a:gd name="connsiteX2466" fmla="*/ 4441900 w 6384854"/>
              <a:gd name="connsiteY2466" fmla="*/ 1198548 h 5504521"/>
              <a:gd name="connsiteX2467" fmla="*/ 4439703 w 6384854"/>
              <a:gd name="connsiteY2467" fmla="*/ 1195157 h 5504521"/>
              <a:gd name="connsiteX2468" fmla="*/ 3992096 w 6384854"/>
              <a:gd name="connsiteY2468" fmla="*/ 1143351 h 5504521"/>
              <a:gd name="connsiteX2469" fmla="*/ 3994363 w 6384854"/>
              <a:gd name="connsiteY2469" fmla="*/ 1143424 h 5504521"/>
              <a:gd name="connsiteX2470" fmla="*/ 3994308 w 6384854"/>
              <a:gd name="connsiteY2470" fmla="*/ 1143433 h 5504521"/>
              <a:gd name="connsiteX2471" fmla="*/ 3616545 w 6384854"/>
              <a:gd name="connsiteY2471" fmla="*/ 1088255 h 5504521"/>
              <a:gd name="connsiteX2472" fmla="*/ 3609562 w 6384854"/>
              <a:gd name="connsiteY2472" fmla="*/ 1090467 h 5504521"/>
              <a:gd name="connsiteX2473" fmla="*/ 3612439 w 6384854"/>
              <a:gd name="connsiteY2473" fmla="*/ 1089041 h 5504521"/>
              <a:gd name="connsiteX2474" fmla="*/ 4483122 w 6384854"/>
              <a:gd name="connsiteY2474" fmla="*/ 1080366 h 5504521"/>
              <a:gd name="connsiteX2475" fmla="*/ 4497996 w 6384854"/>
              <a:gd name="connsiteY2475" fmla="*/ 1083952 h 5504521"/>
              <a:gd name="connsiteX2476" fmla="*/ 4566778 w 6384854"/>
              <a:gd name="connsiteY2476" fmla="*/ 1104799 h 5504521"/>
              <a:gd name="connsiteX2477" fmla="*/ 4566956 w 6384854"/>
              <a:gd name="connsiteY2477" fmla="*/ 1105486 h 5504521"/>
              <a:gd name="connsiteX2478" fmla="*/ 4528437 w 6384854"/>
              <a:gd name="connsiteY2478" fmla="*/ 1094334 h 5504521"/>
              <a:gd name="connsiteX2479" fmla="*/ 4506086 w 6384854"/>
              <a:gd name="connsiteY2479" fmla="*/ 1089559 h 5504521"/>
              <a:gd name="connsiteX2480" fmla="*/ 4494910 w 6384854"/>
              <a:gd name="connsiteY2480" fmla="*/ 1087172 h 5504521"/>
              <a:gd name="connsiteX2481" fmla="*/ 4481536 w 6384854"/>
              <a:gd name="connsiteY2481" fmla="*/ 1081393 h 5504521"/>
              <a:gd name="connsiteX2482" fmla="*/ 4402600 w 6384854"/>
              <a:gd name="connsiteY2482" fmla="*/ 1061608 h 5504521"/>
              <a:gd name="connsiteX2483" fmla="*/ 4413745 w 6384854"/>
              <a:gd name="connsiteY2483" fmla="*/ 1063638 h 5504521"/>
              <a:gd name="connsiteX2484" fmla="*/ 4426502 w 6384854"/>
              <a:gd name="connsiteY2484" fmla="*/ 1066714 h 5504521"/>
              <a:gd name="connsiteX2485" fmla="*/ 4077218 w 6384854"/>
              <a:gd name="connsiteY2485" fmla="*/ 847779 h 5504521"/>
              <a:gd name="connsiteX2486" fmla="*/ 3713638 w 6384854"/>
              <a:gd name="connsiteY2486" fmla="*/ 880804 h 5504521"/>
              <a:gd name="connsiteX2487" fmla="*/ 3541162 w 6384854"/>
              <a:gd name="connsiteY2487" fmla="*/ 921585 h 5504521"/>
              <a:gd name="connsiteX2488" fmla="*/ 3424699 w 6384854"/>
              <a:gd name="connsiteY2488" fmla="*/ 967055 h 5504521"/>
              <a:gd name="connsiteX2489" fmla="*/ 3545971 w 6384854"/>
              <a:gd name="connsiteY2489" fmla="*/ 927464 h 5504521"/>
              <a:gd name="connsiteX2490" fmla="*/ 3758307 w 6384854"/>
              <a:gd name="connsiteY2490" fmla="*/ 898838 h 5504521"/>
              <a:gd name="connsiteX2491" fmla="*/ 3719955 w 6384854"/>
              <a:gd name="connsiteY2491" fmla="*/ 913691 h 5504521"/>
              <a:gd name="connsiteX2492" fmla="*/ 3696268 w 6384854"/>
              <a:gd name="connsiteY2492" fmla="*/ 928037 h 5504521"/>
              <a:gd name="connsiteX2493" fmla="*/ 3720968 w 6384854"/>
              <a:gd name="connsiteY2493" fmla="*/ 943019 h 5504521"/>
              <a:gd name="connsiteX2494" fmla="*/ 3839683 w 6384854"/>
              <a:gd name="connsiteY2494" fmla="*/ 921075 h 5504521"/>
              <a:gd name="connsiteX2495" fmla="*/ 4241016 w 6384854"/>
              <a:gd name="connsiteY2495" fmla="*/ 904929 h 5504521"/>
              <a:gd name="connsiteX2496" fmla="*/ 4656933 w 6384854"/>
              <a:gd name="connsiteY2496" fmla="*/ 1000611 h 5504521"/>
              <a:gd name="connsiteX2497" fmla="*/ 4781288 w 6384854"/>
              <a:gd name="connsiteY2497" fmla="*/ 1049057 h 5504521"/>
              <a:gd name="connsiteX2498" fmla="*/ 4782484 w 6384854"/>
              <a:gd name="connsiteY2498" fmla="*/ 1045707 h 5504521"/>
              <a:gd name="connsiteX2499" fmla="*/ 4787044 w 6384854"/>
              <a:gd name="connsiteY2499" fmla="*/ 1037509 h 5504521"/>
              <a:gd name="connsiteX2500" fmla="*/ 4754542 w 6384854"/>
              <a:gd name="connsiteY2500" fmla="*/ 1020858 h 5504521"/>
              <a:gd name="connsiteX2501" fmla="*/ 4541382 w 6384854"/>
              <a:gd name="connsiteY2501" fmla="*/ 941202 h 5504521"/>
              <a:gd name="connsiteX2502" fmla="*/ 3964436 w 6384854"/>
              <a:gd name="connsiteY2502" fmla="*/ 882227 h 5504521"/>
              <a:gd name="connsiteX2503" fmla="*/ 3832295 w 6384854"/>
              <a:gd name="connsiteY2503" fmla="*/ 898876 h 5504521"/>
              <a:gd name="connsiteX2504" fmla="*/ 3808925 w 6384854"/>
              <a:gd name="connsiteY2504" fmla="*/ 889032 h 5504521"/>
              <a:gd name="connsiteX2505" fmla="*/ 3829052 w 6384854"/>
              <a:gd name="connsiteY2505" fmla="*/ 879989 h 5504521"/>
              <a:gd name="connsiteX2506" fmla="*/ 4241985 w 6384854"/>
              <a:gd name="connsiteY2506" fmla="*/ 866321 h 5504521"/>
              <a:gd name="connsiteX2507" fmla="*/ 4261865 w 6384854"/>
              <a:gd name="connsiteY2507" fmla="*/ 858439 h 5504521"/>
              <a:gd name="connsiteX2508" fmla="*/ 4199389 w 6384854"/>
              <a:gd name="connsiteY2508" fmla="*/ 849943 h 5504521"/>
              <a:gd name="connsiteX2509" fmla="*/ 4077218 w 6384854"/>
              <a:gd name="connsiteY2509" fmla="*/ 847779 h 5504521"/>
              <a:gd name="connsiteX2510" fmla="*/ 3049485 w 6384854"/>
              <a:gd name="connsiteY2510" fmla="*/ 831722 h 5504521"/>
              <a:gd name="connsiteX2511" fmla="*/ 3010121 w 6384854"/>
              <a:gd name="connsiteY2511" fmla="*/ 851408 h 5504521"/>
              <a:gd name="connsiteX2512" fmla="*/ 2933855 w 6384854"/>
              <a:gd name="connsiteY2512" fmla="*/ 893239 h 5504521"/>
              <a:gd name="connsiteX2513" fmla="*/ 2936315 w 6384854"/>
              <a:gd name="connsiteY2513" fmla="*/ 893239 h 5504521"/>
              <a:gd name="connsiteX2514" fmla="*/ 2943696 w 6384854"/>
              <a:gd name="connsiteY2514" fmla="*/ 893239 h 5504521"/>
              <a:gd name="connsiteX2515" fmla="*/ 2938775 w 6384854"/>
              <a:gd name="connsiteY2515" fmla="*/ 895700 h 5504521"/>
              <a:gd name="connsiteX2516" fmla="*/ 3024883 w 6384854"/>
              <a:gd name="connsiteY2516" fmla="*/ 858790 h 5504521"/>
              <a:gd name="connsiteX2517" fmla="*/ 3079008 w 6384854"/>
              <a:gd name="connsiteY2517" fmla="*/ 848947 h 5504521"/>
              <a:gd name="connsiteX2518" fmla="*/ 2928935 w 6384854"/>
              <a:gd name="connsiteY2518" fmla="*/ 920306 h 5504521"/>
              <a:gd name="connsiteX2519" fmla="*/ 2882191 w 6384854"/>
              <a:gd name="connsiteY2519" fmla="*/ 942452 h 5504521"/>
              <a:gd name="connsiteX2520" fmla="*/ 2887111 w 6384854"/>
              <a:gd name="connsiteY2520" fmla="*/ 952296 h 5504521"/>
              <a:gd name="connsiteX2521" fmla="*/ 2872349 w 6384854"/>
              <a:gd name="connsiteY2521" fmla="*/ 959677 h 5504521"/>
              <a:gd name="connsiteX2522" fmla="*/ 2867429 w 6384854"/>
              <a:gd name="connsiteY2522" fmla="*/ 952295 h 5504521"/>
              <a:gd name="connsiteX2523" fmla="*/ 2788702 w 6384854"/>
              <a:gd name="connsiteY2523" fmla="*/ 999048 h 5504521"/>
              <a:gd name="connsiteX2524" fmla="*/ 2749339 w 6384854"/>
              <a:gd name="connsiteY2524" fmla="*/ 1028576 h 5504521"/>
              <a:gd name="connsiteX2525" fmla="*/ 2707515 w 6384854"/>
              <a:gd name="connsiteY2525" fmla="*/ 1060565 h 5504521"/>
              <a:gd name="connsiteX2526" fmla="*/ 2722277 w 6384854"/>
              <a:gd name="connsiteY2526" fmla="*/ 1055643 h 5504521"/>
              <a:gd name="connsiteX2527" fmla="*/ 2722276 w 6384854"/>
              <a:gd name="connsiteY2527" fmla="*/ 1060565 h 5504521"/>
              <a:gd name="connsiteX2528" fmla="*/ 2690293 w 6384854"/>
              <a:gd name="connsiteY2528" fmla="*/ 1085171 h 5504521"/>
              <a:gd name="connsiteX2529" fmla="*/ 2682913 w 6384854"/>
              <a:gd name="connsiteY2529" fmla="*/ 1087632 h 5504521"/>
              <a:gd name="connsiteX2530" fmla="*/ 2680453 w 6384854"/>
              <a:gd name="connsiteY2530" fmla="*/ 1077789 h 5504521"/>
              <a:gd name="connsiteX2531" fmla="*/ 2643549 w 6384854"/>
              <a:gd name="connsiteY2531" fmla="*/ 1109778 h 5504521"/>
              <a:gd name="connsiteX2532" fmla="*/ 2599265 w 6384854"/>
              <a:gd name="connsiteY2532" fmla="*/ 1144227 h 5504521"/>
              <a:gd name="connsiteX2533" fmla="*/ 2594345 w 6384854"/>
              <a:gd name="connsiteY2533" fmla="*/ 1144227 h 5504521"/>
              <a:gd name="connsiteX2534" fmla="*/ 2569743 w 6384854"/>
              <a:gd name="connsiteY2534" fmla="*/ 1166373 h 5504521"/>
              <a:gd name="connsiteX2535" fmla="*/ 2552521 w 6384854"/>
              <a:gd name="connsiteY2535" fmla="*/ 1181137 h 5504521"/>
              <a:gd name="connsiteX2536" fmla="*/ 2456572 w 6384854"/>
              <a:gd name="connsiteY2536" fmla="*/ 1274643 h 5504521"/>
              <a:gd name="connsiteX2537" fmla="*/ 2444271 w 6384854"/>
              <a:gd name="connsiteY2537" fmla="*/ 1284486 h 5504521"/>
              <a:gd name="connsiteX2538" fmla="*/ 2439351 w 6384854"/>
              <a:gd name="connsiteY2538" fmla="*/ 1296789 h 5504521"/>
              <a:gd name="connsiteX2539" fmla="*/ 2459033 w 6384854"/>
              <a:gd name="connsiteY2539" fmla="*/ 1286946 h 5504521"/>
              <a:gd name="connsiteX2540" fmla="*/ 2439351 w 6384854"/>
              <a:gd name="connsiteY2540" fmla="*/ 1309092 h 5504521"/>
              <a:gd name="connsiteX2541" fmla="*/ 2417209 w 6384854"/>
              <a:gd name="connsiteY2541" fmla="*/ 1326317 h 5504521"/>
              <a:gd name="connsiteX2542" fmla="*/ 2419669 w 6384854"/>
              <a:gd name="connsiteY2542" fmla="*/ 1314014 h 5504521"/>
              <a:gd name="connsiteX2543" fmla="*/ 2412288 w 6384854"/>
              <a:gd name="connsiteY2543" fmla="*/ 1316474 h 5504521"/>
              <a:gd name="connsiteX2544" fmla="*/ 2404908 w 6384854"/>
              <a:gd name="connsiteY2544" fmla="*/ 1316474 h 5504521"/>
              <a:gd name="connsiteX2545" fmla="*/ 2407368 w 6384854"/>
              <a:gd name="connsiteY2545" fmla="*/ 1314014 h 5504521"/>
              <a:gd name="connsiteX2546" fmla="*/ 2407368 w 6384854"/>
              <a:gd name="connsiteY2546" fmla="*/ 1316474 h 5504521"/>
              <a:gd name="connsiteX2547" fmla="*/ 2407369 w 6384854"/>
              <a:gd name="connsiteY2547" fmla="*/ 1318935 h 5504521"/>
              <a:gd name="connsiteX2548" fmla="*/ 2402448 w 6384854"/>
              <a:gd name="connsiteY2548" fmla="*/ 1321395 h 5504521"/>
              <a:gd name="connsiteX2549" fmla="*/ 2390147 w 6384854"/>
              <a:gd name="connsiteY2549" fmla="*/ 1336160 h 5504521"/>
              <a:gd name="connsiteX2550" fmla="*/ 2385226 w 6384854"/>
              <a:gd name="connsiteY2550" fmla="*/ 1341081 h 5504521"/>
              <a:gd name="connsiteX2551" fmla="*/ 2387687 w 6384854"/>
              <a:gd name="connsiteY2551" fmla="*/ 1336160 h 5504521"/>
              <a:gd name="connsiteX2552" fmla="*/ 2387687 w 6384854"/>
              <a:gd name="connsiteY2552" fmla="*/ 1333699 h 5504521"/>
              <a:gd name="connsiteX2553" fmla="*/ 2343403 w 6384854"/>
              <a:gd name="connsiteY2553" fmla="*/ 1385373 h 5504521"/>
              <a:gd name="connsiteX2554" fmla="*/ 2365545 w 6384854"/>
              <a:gd name="connsiteY2554" fmla="*/ 1377991 h 5504521"/>
              <a:gd name="connsiteX2555" fmla="*/ 2363084 w 6384854"/>
              <a:gd name="connsiteY2555" fmla="*/ 1390294 h 5504521"/>
              <a:gd name="connsiteX2556" fmla="*/ 2340942 w 6384854"/>
              <a:gd name="connsiteY2556" fmla="*/ 1419823 h 5504521"/>
              <a:gd name="connsiteX2557" fmla="*/ 2338482 w 6384854"/>
              <a:gd name="connsiteY2557" fmla="*/ 1417362 h 5504521"/>
              <a:gd name="connsiteX2558" fmla="*/ 2318800 w 6384854"/>
              <a:gd name="connsiteY2558" fmla="*/ 1449350 h 5504521"/>
              <a:gd name="connsiteX2559" fmla="*/ 2279437 w 6384854"/>
              <a:gd name="connsiteY2559" fmla="*/ 1501024 h 5504521"/>
              <a:gd name="connsiteX2560" fmla="*/ 2281897 w 6384854"/>
              <a:gd name="connsiteY2560" fmla="*/ 1505945 h 5504521"/>
              <a:gd name="connsiteX2561" fmla="*/ 2244994 w 6384854"/>
              <a:gd name="connsiteY2561" fmla="*/ 1574844 h 5504521"/>
              <a:gd name="connsiteX2562" fmla="*/ 2210551 w 6384854"/>
              <a:gd name="connsiteY2562" fmla="*/ 1638821 h 5504521"/>
              <a:gd name="connsiteX2563" fmla="*/ 2205630 w 6384854"/>
              <a:gd name="connsiteY2563" fmla="*/ 1638821 h 5504521"/>
              <a:gd name="connsiteX2564" fmla="*/ 2200710 w 6384854"/>
              <a:gd name="connsiteY2564" fmla="*/ 1656046 h 5504521"/>
              <a:gd name="connsiteX2565" fmla="*/ 2176107 w 6384854"/>
              <a:gd name="connsiteY2565" fmla="*/ 1702799 h 5504521"/>
              <a:gd name="connsiteX2566" fmla="*/ 2173647 w 6384854"/>
              <a:gd name="connsiteY2566" fmla="*/ 1722484 h 5504521"/>
              <a:gd name="connsiteX2567" fmla="*/ 2161346 w 6384854"/>
              <a:gd name="connsiteY2567" fmla="*/ 1752012 h 5504521"/>
              <a:gd name="connsiteX2568" fmla="*/ 2146585 w 6384854"/>
              <a:gd name="connsiteY2568" fmla="*/ 1776619 h 5504521"/>
              <a:gd name="connsiteX2569" fmla="*/ 2158886 w 6384854"/>
              <a:gd name="connsiteY2569" fmla="*/ 1729867 h 5504521"/>
              <a:gd name="connsiteX2570" fmla="*/ 2183489 w 6384854"/>
              <a:gd name="connsiteY2570" fmla="*/ 1678192 h 5504521"/>
              <a:gd name="connsiteX2571" fmla="*/ 2188409 w 6384854"/>
              <a:gd name="connsiteY2571" fmla="*/ 1665889 h 5504521"/>
              <a:gd name="connsiteX2572" fmla="*/ 2222851 w 6384854"/>
              <a:gd name="connsiteY2572" fmla="*/ 1579766 h 5504521"/>
              <a:gd name="connsiteX2573" fmla="*/ 2299119 w 6384854"/>
              <a:gd name="connsiteY2573" fmla="*/ 1464114 h 5504521"/>
              <a:gd name="connsiteX2574" fmla="*/ 2296658 w 6384854"/>
              <a:gd name="connsiteY2574" fmla="*/ 1451811 h 5504521"/>
              <a:gd name="connsiteX2575" fmla="*/ 2313880 w 6384854"/>
              <a:gd name="connsiteY2575" fmla="*/ 1424744 h 5504521"/>
              <a:gd name="connsiteX2576" fmla="*/ 2311420 w 6384854"/>
              <a:gd name="connsiteY2576" fmla="*/ 1427204 h 5504521"/>
              <a:gd name="connsiteX2577" fmla="*/ 2308959 w 6384854"/>
              <a:gd name="connsiteY2577" fmla="*/ 1429665 h 5504521"/>
              <a:gd name="connsiteX2578" fmla="*/ 2311419 w 6384854"/>
              <a:gd name="connsiteY2578" fmla="*/ 1424744 h 5504521"/>
              <a:gd name="connsiteX2579" fmla="*/ 2313880 w 6384854"/>
              <a:gd name="connsiteY2579" fmla="*/ 1422283 h 5504521"/>
              <a:gd name="connsiteX2580" fmla="*/ 2313880 w 6384854"/>
              <a:gd name="connsiteY2580" fmla="*/ 1419823 h 5504521"/>
              <a:gd name="connsiteX2581" fmla="*/ 2345863 w 6384854"/>
              <a:gd name="connsiteY2581" fmla="*/ 1373069 h 5504521"/>
              <a:gd name="connsiteX2582" fmla="*/ 2407368 w 6384854"/>
              <a:gd name="connsiteY2582" fmla="*/ 1301710 h 5504521"/>
              <a:gd name="connsiteX2583" fmla="*/ 2424590 w 6384854"/>
              <a:gd name="connsiteY2583" fmla="*/ 1279564 h 5504521"/>
              <a:gd name="connsiteX2584" fmla="*/ 2495936 w 6384854"/>
              <a:gd name="connsiteY2584" fmla="*/ 1210665 h 5504521"/>
              <a:gd name="connsiteX2585" fmla="*/ 2508237 w 6384854"/>
              <a:gd name="connsiteY2585" fmla="*/ 1195902 h 5504521"/>
              <a:gd name="connsiteX2586" fmla="*/ 2505777 w 6384854"/>
              <a:gd name="connsiteY2586" fmla="*/ 1198362 h 5504521"/>
              <a:gd name="connsiteX2587" fmla="*/ 2503317 w 6384854"/>
              <a:gd name="connsiteY2587" fmla="*/ 1198362 h 5504521"/>
              <a:gd name="connsiteX2588" fmla="*/ 2508237 w 6384854"/>
              <a:gd name="connsiteY2588" fmla="*/ 1193441 h 5504521"/>
              <a:gd name="connsiteX2589" fmla="*/ 2510697 w 6384854"/>
              <a:gd name="connsiteY2589" fmla="*/ 1190980 h 5504521"/>
              <a:gd name="connsiteX2590" fmla="*/ 2486096 w 6384854"/>
              <a:gd name="connsiteY2590" fmla="*/ 1208205 h 5504521"/>
              <a:gd name="connsiteX2591" fmla="*/ 2498397 w 6384854"/>
              <a:gd name="connsiteY2591" fmla="*/ 1190980 h 5504521"/>
              <a:gd name="connsiteX2592" fmla="*/ 2495936 w 6384854"/>
              <a:gd name="connsiteY2592" fmla="*/ 1190980 h 5504521"/>
              <a:gd name="connsiteX2593" fmla="*/ 2493476 w 6384854"/>
              <a:gd name="connsiteY2593" fmla="*/ 1193441 h 5504521"/>
              <a:gd name="connsiteX2594" fmla="*/ 2495936 w 6384854"/>
              <a:gd name="connsiteY2594" fmla="*/ 1188519 h 5504521"/>
              <a:gd name="connsiteX2595" fmla="*/ 2498396 w 6384854"/>
              <a:gd name="connsiteY2595" fmla="*/ 1186059 h 5504521"/>
              <a:gd name="connsiteX2596" fmla="*/ 2488556 w 6384854"/>
              <a:gd name="connsiteY2596" fmla="*/ 1190980 h 5504521"/>
              <a:gd name="connsiteX2597" fmla="*/ 2527919 w 6384854"/>
              <a:gd name="connsiteY2597" fmla="*/ 1151610 h 5504521"/>
              <a:gd name="connsiteX2598" fmla="*/ 2554981 w 6384854"/>
              <a:gd name="connsiteY2598" fmla="*/ 1136845 h 5504521"/>
              <a:gd name="connsiteX2599" fmla="*/ 2557441 w 6384854"/>
              <a:gd name="connsiteY2599" fmla="*/ 1134385 h 5504521"/>
              <a:gd name="connsiteX2600" fmla="*/ 2562362 w 6384854"/>
              <a:gd name="connsiteY2600" fmla="*/ 1129463 h 5504521"/>
              <a:gd name="connsiteX2601" fmla="*/ 2562362 w 6384854"/>
              <a:gd name="connsiteY2601" fmla="*/ 1131924 h 5504521"/>
              <a:gd name="connsiteX2602" fmla="*/ 2559902 w 6384854"/>
              <a:gd name="connsiteY2602" fmla="*/ 1134385 h 5504521"/>
              <a:gd name="connsiteX2603" fmla="*/ 2574663 w 6384854"/>
              <a:gd name="connsiteY2603" fmla="*/ 1127003 h 5504521"/>
              <a:gd name="connsiteX2604" fmla="*/ 2584504 w 6384854"/>
              <a:gd name="connsiteY2604" fmla="*/ 1131924 h 5504521"/>
              <a:gd name="connsiteX2605" fmla="*/ 2643549 w 6384854"/>
              <a:gd name="connsiteY2605" fmla="*/ 1082711 h 5504521"/>
              <a:gd name="connsiteX2606" fmla="*/ 2660771 w 6384854"/>
              <a:gd name="connsiteY2606" fmla="*/ 1072868 h 5504521"/>
              <a:gd name="connsiteX2607" fmla="*/ 2741957 w 6384854"/>
              <a:gd name="connsiteY2607" fmla="*/ 1013812 h 5504521"/>
              <a:gd name="connsiteX2608" fmla="*/ 2823145 w 6384854"/>
              <a:gd name="connsiteY2608" fmla="*/ 957217 h 5504521"/>
              <a:gd name="connsiteX2609" fmla="*/ 2820685 w 6384854"/>
              <a:gd name="connsiteY2609" fmla="*/ 957217 h 5504521"/>
              <a:gd name="connsiteX2610" fmla="*/ 2815764 w 6384854"/>
              <a:gd name="connsiteY2610" fmla="*/ 959677 h 5504521"/>
              <a:gd name="connsiteX2611" fmla="*/ 2820685 w 6384854"/>
              <a:gd name="connsiteY2611" fmla="*/ 954756 h 5504521"/>
              <a:gd name="connsiteX2612" fmla="*/ 2825605 w 6384854"/>
              <a:gd name="connsiteY2612" fmla="*/ 952296 h 5504521"/>
              <a:gd name="connsiteX2613" fmla="*/ 2820685 w 6384854"/>
              <a:gd name="connsiteY2613" fmla="*/ 952296 h 5504521"/>
              <a:gd name="connsiteX2614" fmla="*/ 2744418 w 6384854"/>
              <a:gd name="connsiteY2614" fmla="*/ 999048 h 5504521"/>
              <a:gd name="connsiteX2615" fmla="*/ 2744418 w 6384854"/>
              <a:gd name="connsiteY2615" fmla="*/ 991666 h 5504521"/>
              <a:gd name="connsiteX2616" fmla="*/ 2766561 w 6384854"/>
              <a:gd name="connsiteY2616" fmla="*/ 981823 h 5504521"/>
              <a:gd name="connsiteX2617" fmla="*/ 2798543 w 6384854"/>
              <a:gd name="connsiteY2617" fmla="*/ 959677 h 5504521"/>
              <a:gd name="connsiteX2618" fmla="*/ 2909253 w 6384854"/>
              <a:gd name="connsiteY2618" fmla="*/ 893239 h 5504521"/>
              <a:gd name="connsiteX2619" fmla="*/ 2921554 w 6384854"/>
              <a:gd name="connsiteY2619" fmla="*/ 888318 h 5504521"/>
              <a:gd name="connsiteX2620" fmla="*/ 2970759 w 6384854"/>
              <a:gd name="connsiteY2620" fmla="*/ 866172 h 5504521"/>
              <a:gd name="connsiteX2621" fmla="*/ 2975679 w 6384854"/>
              <a:gd name="connsiteY2621" fmla="*/ 856329 h 5504521"/>
              <a:gd name="connsiteX2622" fmla="*/ 3000281 w 6384854"/>
              <a:gd name="connsiteY2622" fmla="*/ 851408 h 5504521"/>
              <a:gd name="connsiteX2623" fmla="*/ 2995360 w 6384854"/>
              <a:gd name="connsiteY2623" fmla="*/ 848947 h 5504521"/>
              <a:gd name="connsiteX2624" fmla="*/ 3049485 w 6384854"/>
              <a:gd name="connsiteY2624" fmla="*/ 831722 h 5504521"/>
              <a:gd name="connsiteX2625" fmla="*/ 4155294 w 6384854"/>
              <a:gd name="connsiteY2625" fmla="*/ 823540 h 5504521"/>
              <a:gd name="connsiteX2626" fmla="*/ 4143118 w 6384854"/>
              <a:gd name="connsiteY2626" fmla="*/ 829430 h 5504521"/>
              <a:gd name="connsiteX2627" fmla="*/ 4155384 w 6384854"/>
              <a:gd name="connsiteY2627" fmla="*/ 834477 h 5504521"/>
              <a:gd name="connsiteX2628" fmla="*/ 4316876 w 6384854"/>
              <a:gd name="connsiteY2628" fmla="*/ 850783 h 5504521"/>
              <a:gd name="connsiteX2629" fmla="*/ 4430150 w 6384854"/>
              <a:gd name="connsiteY2629" fmla="*/ 871345 h 5504521"/>
              <a:gd name="connsiteX2630" fmla="*/ 4389308 w 6384854"/>
              <a:gd name="connsiteY2630" fmla="*/ 880814 h 5504521"/>
              <a:gd name="connsiteX2631" fmla="*/ 4731707 w 6384854"/>
              <a:gd name="connsiteY2631" fmla="*/ 990052 h 5504521"/>
              <a:gd name="connsiteX2632" fmla="*/ 4795547 w 6384854"/>
              <a:gd name="connsiteY2632" fmla="*/ 1022221 h 5504521"/>
              <a:gd name="connsiteX2633" fmla="*/ 4797768 w 6384854"/>
              <a:gd name="connsiteY2633" fmla="*/ 1018229 h 5504521"/>
              <a:gd name="connsiteX2634" fmla="*/ 4807405 w 6384854"/>
              <a:gd name="connsiteY2634" fmla="*/ 988266 h 5504521"/>
              <a:gd name="connsiteX2635" fmla="*/ 4812753 w 6384854"/>
              <a:gd name="connsiteY2635" fmla="*/ 976649 h 5504521"/>
              <a:gd name="connsiteX2636" fmla="*/ 4603411 w 6384854"/>
              <a:gd name="connsiteY2636" fmla="*/ 895019 h 5504521"/>
              <a:gd name="connsiteX2637" fmla="*/ 4404696 w 6384854"/>
              <a:gd name="connsiteY2637" fmla="*/ 842861 h 5504521"/>
              <a:gd name="connsiteX2638" fmla="*/ 4355396 w 6384854"/>
              <a:gd name="connsiteY2638" fmla="*/ 840819 h 5504521"/>
              <a:gd name="connsiteX2639" fmla="*/ 4155294 w 6384854"/>
              <a:gd name="connsiteY2639" fmla="*/ 823540 h 5504521"/>
              <a:gd name="connsiteX2640" fmla="*/ 6018898 w 6384854"/>
              <a:gd name="connsiteY2640" fmla="*/ 0 h 5504521"/>
              <a:gd name="connsiteX2641" fmla="*/ 6111726 w 6384854"/>
              <a:gd name="connsiteY2641" fmla="*/ 31070 h 5504521"/>
              <a:gd name="connsiteX2642" fmla="*/ 6178371 w 6384854"/>
              <a:gd name="connsiteY2642" fmla="*/ 103180 h 5504521"/>
              <a:gd name="connsiteX2643" fmla="*/ 6186531 w 6384854"/>
              <a:gd name="connsiteY2643" fmla="*/ 168309 h 5504521"/>
              <a:gd name="connsiteX2644" fmla="*/ 6172142 w 6384854"/>
              <a:gd name="connsiteY2644" fmla="*/ 211368 h 5504521"/>
              <a:gd name="connsiteX2645" fmla="*/ 6157604 w 6384854"/>
              <a:gd name="connsiteY2645" fmla="*/ 195727 h 5504521"/>
              <a:gd name="connsiteX2646" fmla="*/ 6152672 w 6384854"/>
              <a:gd name="connsiteY2646" fmla="*/ 254568 h 5504521"/>
              <a:gd name="connsiteX2647" fmla="*/ 6144699 w 6384854"/>
              <a:gd name="connsiteY2647" fmla="*/ 289621 h 5504521"/>
              <a:gd name="connsiteX2648" fmla="*/ 6117552 w 6384854"/>
              <a:gd name="connsiteY2648" fmla="*/ 324425 h 5504521"/>
              <a:gd name="connsiteX2649" fmla="*/ 6086660 w 6384854"/>
              <a:gd name="connsiteY2649" fmla="*/ 351507 h 5504521"/>
              <a:gd name="connsiteX2650" fmla="*/ 6067857 w 6384854"/>
              <a:gd name="connsiteY2650" fmla="*/ 390775 h 5504521"/>
              <a:gd name="connsiteX2651" fmla="*/ 6065929 w 6384854"/>
              <a:gd name="connsiteY2651" fmla="*/ 431921 h 5504521"/>
              <a:gd name="connsiteX2652" fmla="*/ 6054396 w 6384854"/>
              <a:gd name="connsiteY2652" fmla="*/ 452201 h 5504521"/>
              <a:gd name="connsiteX2653" fmla="*/ 5972658 w 6384854"/>
              <a:gd name="connsiteY2653" fmla="*/ 546447 h 5504521"/>
              <a:gd name="connsiteX2654" fmla="*/ 5945548 w 6384854"/>
              <a:gd name="connsiteY2654" fmla="*/ 569118 h 5504521"/>
              <a:gd name="connsiteX2655" fmla="*/ 5922073 w 6384854"/>
              <a:gd name="connsiteY2655" fmla="*/ 635911 h 5504521"/>
              <a:gd name="connsiteX2656" fmla="*/ 5923261 w 6384854"/>
              <a:gd name="connsiteY2656" fmla="*/ 676579 h 5504521"/>
              <a:gd name="connsiteX2657" fmla="*/ 5940284 w 6384854"/>
              <a:gd name="connsiteY2657" fmla="*/ 737157 h 5504521"/>
              <a:gd name="connsiteX2658" fmla="*/ 5950112 w 6384854"/>
              <a:gd name="connsiteY2658" fmla="*/ 738840 h 5504521"/>
              <a:gd name="connsiteX2659" fmla="*/ 5953746 w 6384854"/>
              <a:gd name="connsiteY2659" fmla="*/ 729346 h 5504521"/>
              <a:gd name="connsiteX2660" fmla="*/ 5948369 w 6384854"/>
              <a:gd name="connsiteY2660" fmla="*/ 719320 h 5504521"/>
              <a:gd name="connsiteX2661" fmla="*/ 5951929 w 6384854"/>
              <a:gd name="connsiteY2661" fmla="*/ 680477 h 5504521"/>
              <a:gd name="connsiteX2662" fmla="*/ 6002329 w 6384854"/>
              <a:gd name="connsiteY2662" fmla="*/ 651678 h 5504521"/>
              <a:gd name="connsiteX2663" fmla="*/ 6005816 w 6384854"/>
              <a:gd name="connsiteY2663" fmla="*/ 690716 h 5504521"/>
              <a:gd name="connsiteX2664" fmla="*/ 6013159 w 6384854"/>
              <a:gd name="connsiteY2664" fmla="*/ 701078 h 5504521"/>
              <a:gd name="connsiteX2665" fmla="*/ 6021058 w 6384854"/>
              <a:gd name="connsiteY2665" fmla="*/ 690292 h 5504521"/>
              <a:gd name="connsiteX2666" fmla="*/ 6025545 w 6384854"/>
              <a:gd name="connsiteY2666" fmla="*/ 669816 h 5504521"/>
              <a:gd name="connsiteX2667" fmla="*/ 6047352 w 6384854"/>
              <a:gd name="connsiteY2667" fmla="*/ 666469 h 5504521"/>
              <a:gd name="connsiteX2668" fmla="*/ 6078320 w 6384854"/>
              <a:gd name="connsiteY2668" fmla="*/ 668737 h 5504521"/>
              <a:gd name="connsiteX2669" fmla="*/ 6096826 w 6384854"/>
              <a:gd name="connsiteY2669" fmla="*/ 672918 h 5504521"/>
              <a:gd name="connsiteX2670" fmla="*/ 6099088 w 6384854"/>
              <a:gd name="connsiteY2670" fmla="*/ 683422 h 5504521"/>
              <a:gd name="connsiteX2671" fmla="*/ 6118893 w 6384854"/>
              <a:gd name="connsiteY2671" fmla="*/ 691871 h 5504521"/>
              <a:gd name="connsiteX2672" fmla="*/ 6191397 w 6384854"/>
              <a:gd name="connsiteY2672" fmla="*/ 669892 h 5504521"/>
              <a:gd name="connsiteX2673" fmla="*/ 6210237 w 6384854"/>
              <a:gd name="connsiteY2673" fmla="*/ 672107 h 5504521"/>
              <a:gd name="connsiteX2674" fmla="*/ 6226852 w 6384854"/>
              <a:gd name="connsiteY2674" fmla="*/ 705301 h 5504521"/>
              <a:gd name="connsiteX2675" fmla="*/ 6203451 w 6384854"/>
              <a:gd name="connsiteY2675" fmla="*/ 747828 h 5504521"/>
              <a:gd name="connsiteX2676" fmla="*/ 6125015 w 6384854"/>
              <a:gd name="connsiteY2676" fmla="*/ 888161 h 5504521"/>
              <a:gd name="connsiteX2677" fmla="*/ 6110811 w 6384854"/>
              <a:gd name="connsiteY2677" fmla="*/ 924171 h 5504521"/>
              <a:gd name="connsiteX2678" fmla="*/ 6054701 w 6384854"/>
              <a:gd name="connsiteY2678" fmla="*/ 1052142 h 5504521"/>
              <a:gd name="connsiteX2679" fmla="*/ 6050733 w 6384854"/>
              <a:gd name="connsiteY2679" fmla="*/ 1063602 h 5504521"/>
              <a:gd name="connsiteX2680" fmla="*/ 6064863 w 6384854"/>
              <a:gd name="connsiteY2680" fmla="*/ 1105474 h 5504521"/>
              <a:gd name="connsiteX2681" fmla="*/ 6080885 w 6384854"/>
              <a:gd name="connsiteY2681" fmla="*/ 1118334 h 5504521"/>
              <a:gd name="connsiteX2682" fmla="*/ 6091900 w 6384854"/>
              <a:gd name="connsiteY2682" fmla="*/ 1107069 h 5504521"/>
              <a:gd name="connsiteX2683" fmla="*/ 6148641 w 6384854"/>
              <a:gd name="connsiteY2683" fmla="*/ 987299 h 5504521"/>
              <a:gd name="connsiteX2684" fmla="*/ 6232566 w 6384854"/>
              <a:gd name="connsiteY2684" fmla="*/ 874208 h 5504521"/>
              <a:gd name="connsiteX2685" fmla="*/ 6247178 w 6384854"/>
              <a:gd name="connsiteY2685" fmla="*/ 865582 h 5504521"/>
              <a:gd name="connsiteX2686" fmla="*/ 6254336 w 6384854"/>
              <a:gd name="connsiteY2686" fmla="*/ 882994 h 5504521"/>
              <a:gd name="connsiteX2687" fmla="*/ 6253483 w 6384854"/>
              <a:gd name="connsiteY2687" fmla="*/ 893975 h 5504521"/>
              <a:gd name="connsiteX2688" fmla="*/ 6257822 w 6384854"/>
              <a:gd name="connsiteY2688" fmla="*/ 922032 h 5504521"/>
              <a:gd name="connsiteX2689" fmla="*/ 6341378 w 6384854"/>
              <a:gd name="connsiteY2689" fmla="*/ 876655 h 5504521"/>
              <a:gd name="connsiteX2690" fmla="*/ 6352504 w 6384854"/>
              <a:gd name="connsiteY2690" fmla="*/ 882607 h 5504521"/>
              <a:gd name="connsiteX2691" fmla="*/ 6361294 w 6384854"/>
              <a:gd name="connsiteY2691" fmla="*/ 902321 h 5504521"/>
              <a:gd name="connsiteX2692" fmla="*/ 6383695 w 6384854"/>
              <a:gd name="connsiteY2692" fmla="*/ 972924 h 5504521"/>
              <a:gd name="connsiteX2693" fmla="*/ 6366897 w 6384854"/>
              <a:gd name="connsiteY2693" fmla="*/ 1107627 h 5504521"/>
              <a:gd name="connsiteX2694" fmla="*/ 6345796 w 6384854"/>
              <a:gd name="connsiteY2694" fmla="*/ 1202141 h 5504521"/>
              <a:gd name="connsiteX2695" fmla="*/ 6315757 w 6384854"/>
              <a:gd name="connsiteY2695" fmla="*/ 1271856 h 5504521"/>
              <a:gd name="connsiteX2696" fmla="*/ 6294136 w 6384854"/>
              <a:gd name="connsiteY2696" fmla="*/ 1321769 h 5504521"/>
              <a:gd name="connsiteX2697" fmla="*/ 6233389 w 6384854"/>
              <a:gd name="connsiteY2697" fmla="*/ 1411516 h 5504521"/>
              <a:gd name="connsiteX2698" fmla="*/ 6194486 w 6384854"/>
              <a:gd name="connsiteY2698" fmla="*/ 1485784 h 5504521"/>
              <a:gd name="connsiteX2699" fmla="*/ 6194784 w 6384854"/>
              <a:gd name="connsiteY2699" fmla="*/ 1549566 h 5504521"/>
              <a:gd name="connsiteX2700" fmla="*/ 6183548 w 6384854"/>
              <a:gd name="connsiteY2700" fmla="*/ 1633630 h 5504521"/>
              <a:gd name="connsiteX2701" fmla="*/ 6172385 w 6384854"/>
              <a:gd name="connsiteY2701" fmla="*/ 1639811 h 5504521"/>
              <a:gd name="connsiteX2702" fmla="*/ 6130589 w 6384854"/>
              <a:gd name="connsiteY2702" fmla="*/ 1641758 h 5504521"/>
              <a:gd name="connsiteX2703" fmla="*/ 6096693 w 6384854"/>
              <a:gd name="connsiteY2703" fmla="*/ 1686534 h 5504521"/>
              <a:gd name="connsiteX2704" fmla="*/ 6102330 w 6384854"/>
              <a:gd name="connsiteY2704" fmla="*/ 1718860 h 5504521"/>
              <a:gd name="connsiteX2705" fmla="*/ 6074849 w 6384854"/>
              <a:gd name="connsiteY2705" fmla="*/ 1755630 h 5504521"/>
              <a:gd name="connsiteX2706" fmla="*/ 6073366 w 6384854"/>
              <a:gd name="connsiteY2706" fmla="*/ 1758411 h 5504521"/>
              <a:gd name="connsiteX2707" fmla="*/ 6076444 w 6384854"/>
              <a:gd name="connsiteY2707" fmla="*/ 1770066 h 5504521"/>
              <a:gd name="connsiteX2708" fmla="*/ 6060460 w 6384854"/>
              <a:gd name="connsiteY2708" fmla="*/ 1798689 h 5504521"/>
              <a:gd name="connsiteX2709" fmla="*/ 5979019 w 6384854"/>
              <a:gd name="connsiteY2709" fmla="*/ 1849486 h 5504521"/>
              <a:gd name="connsiteX2710" fmla="*/ 5951353 w 6384854"/>
              <a:gd name="connsiteY2710" fmla="*/ 1946921 h 5504521"/>
              <a:gd name="connsiteX2711" fmla="*/ 5954024 w 6384854"/>
              <a:gd name="connsiteY2711" fmla="*/ 1984808 h 5504521"/>
              <a:gd name="connsiteX2712" fmla="*/ 5916011 w 6384854"/>
              <a:gd name="connsiteY2712" fmla="*/ 2035961 h 5504521"/>
              <a:gd name="connsiteX2713" fmla="*/ 5892832 w 6384854"/>
              <a:gd name="connsiteY2713" fmla="*/ 2059305 h 5504521"/>
              <a:gd name="connsiteX2714" fmla="*/ 5871212 w 6384854"/>
              <a:gd name="connsiteY2714" fmla="*/ 2109218 h 5504521"/>
              <a:gd name="connsiteX2715" fmla="*/ 5834131 w 6384854"/>
              <a:gd name="connsiteY2715" fmla="*/ 2177222 h 5504521"/>
              <a:gd name="connsiteX2716" fmla="*/ 5812471 w 6384854"/>
              <a:gd name="connsiteY2716" fmla="*/ 2234996 h 5504521"/>
              <a:gd name="connsiteX2717" fmla="*/ 5827932 w 6384854"/>
              <a:gd name="connsiteY2717" fmla="*/ 2325037 h 5504521"/>
              <a:gd name="connsiteX2718" fmla="*/ 5788027 w 6384854"/>
              <a:gd name="connsiteY2718" fmla="*/ 2969987 h 5504521"/>
              <a:gd name="connsiteX2719" fmla="*/ 5751733 w 6384854"/>
              <a:gd name="connsiteY2719" fmla="*/ 3094447 h 5504521"/>
              <a:gd name="connsiteX2720" fmla="*/ 5757791 w 6384854"/>
              <a:gd name="connsiteY2720" fmla="*/ 3111510 h 5504521"/>
              <a:gd name="connsiteX2721" fmla="*/ 5767726 w 6384854"/>
              <a:gd name="connsiteY2721" fmla="*/ 3099077 h 5504521"/>
              <a:gd name="connsiteX2722" fmla="*/ 5775825 w 6384854"/>
              <a:gd name="connsiteY2722" fmla="*/ 3066844 h 5504521"/>
              <a:gd name="connsiteX2723" fmla="*/ 5837715 w 6384854"/>
              <a:gd name="connsiteY2723" fmla="*/ 2799870 h 5504521"/>
              <a:gd name="connsiteX2724" fmla="*/ 5852466 w 6384854"/>
              <a:gd name="connsiteY2724" fmla="*/ 2276592 h 5504521"/>
              <a:gd name="connsiteX2725" fmla="*/ 5857682 w 6384854"/>
              <a:gd name="connsiteY2725" fmla="*/ 2269216 h 5504521"/>
              <a:gd name="connsiteX2726" fmla="*/ 5864484 w 6384854"/>
              <a:gd name="connsiteY2726" fmla="*/ 2282799 h 5504521"/>
              <a:gd name="connsiteX2727" fmla="*/ 5877013 w 6384854"/>
              <a:gd name="connsiteY2727" fmla="*/ 2445588 h 5504521"/>
              <a:gd name="connsiteX2728" fmla="*/ 5725088 w 6384854"/>
              <a:gd name="connsiteY2728" fmla="*/ 3281616 h 5504521"/>
              <a:gd name="connsiteX2729" fmla="*/ 5513044 w 6384854"/>
              <a:gd name="connsiteY2729" fmla="*/ 3643872 h 5504521"/>
              <a:gd name="connsiteX2730" fmla="*/ 5439605 w 6384854"/>
              <a:gd name="connsiteY2730" fmla="*/ 3726433 h 5504521"/>
              <a:gd name="connsiteX2731" fmla="*/ 5445822 w 6384854"/>
              <a:gd name="connsiteY2731" fmla="*/ 3731400 h 5504521"/>
              <a:gd name="connsiteX2732" fmla="*/ 5516941 w 6384854"/>
              <a:gd name="connsiteY2732" fmla="*/ 3648344 h 5504521"/>
              <a:gd name="connsiteX2733" fmla="*/ 5545258 w 6384854"/>
              <a:gd name="connsiteY2733" fmla="*/ 3618004 h 5504521"/>
              <a:gd name="connsiteX2734" fmla="*/ 5576976 w 6384854"/>
              <a:gd name="connsiteY2734" fmla="*/ 3594457 h 5504521"/>
              <a:gd name="connsiteX2735" fmla="*/ 5210017 w 6384854"/>
              <a:gd name="connsiteY2735" fmla="*/ 3989115 h 5504521"/>
              <a:gd name="connsiteX2736" fmla="*/ 5287669 w 6384854"/>
              <a:gd name="connsiteY2736" fmla="*/ 3886835 h 5504521"/>
              <a:gd name="connsiteX2737" fmla="*/ 5267790 w 6384854"/>
              <a:gd name="connsiteY2737" fmla="*/ 3894717 h 5504521"/>
              <a:gd name="connsiteX2738" fmla="*/ 5206426 w 6384854"/>
              <a:gd name="connsiteY2738" fmla="*/ 3943469 h 5504521"/>
              <a:gd name="connsiteX2739" fmla="*/ 5002781 w 6384854"/>
              <a:gd name="connsiteY2739" fmla="*/ 4090397 h 5504521"/>
              <a:gd name="connsiteX2740" fmla="*/ 4999717 w 6384854"/>
              <a:gd name="connsiteY2740" fmla="*/ 4093382 h 5504521"/>
              <a:gd name="connsiteX2741" fmla="*/ 5004357 w 6384854"/>
              <a:gd name="connsiteY2741" fmla="*/ 4094373 h 5504521"/>
              <a:gd name="connsiteX2742" fmla="*/ 5026557 w 6384854"/>
              <a:gd name="connsiteY2742" fmla="*/ 4086986 h 5504521"/>
              <a:gd name="connsiteX2743" fmla="*/ 5139440 w 6384854"/>
              <a:gd name="connsiteY2743" fmla="*/ 4012852 h 5504521"/>
              <a:gd name="connsiteX2744" fmla="*/ 5157169 w 6384854"/>
              <a:gd name="connsiteY2744" fmla="*/ 4009363 h 5504521"/>
              <a:gd name="connsiteX2745" fmla="*/ 5155940 w 6384854"/>
              <a:gd name="connsiteY2745" fmla="*/ 4032146 h 5504521"/>
              <a:gd name="connsiteX2746" fmla="*/ 5141365 w 6384854"/>
              <a:gd name="connsiteY2746" fmla="*/ 4043588 h 5504521"/>
              <a:gd name="connsiteX2747" fmla="*/ 4921389 w 6384854"/>
              <a:gd name="connsiteY2747" fmla="*/ 4176111 h 5504521"/>
              <a:gd name="connsiteX2748" fmla="*/ 4549561 w 6384854"/>
              <a:gd name="connsiteY2748" fmla="*/ 4338052 h 5504521"/>
              <a:gd name="connsiteX2749" fmla="*/ 4412712 w 6384854"/>
              <a:gd name="connsiteY2749" fmla="*/ 4376742 h 5504521"/>
              <a:gd name="connsiteX2750" fmla="*/ 4333756 w 6384854"/>
              <a:gd name="connsiteY2750" fmla="*/ 4382919 h 5504521"/>
              <a:gd name="connsiteX2751" fmla="*/ 4291676 w 6384854"/>
              <a:gd name="connsiteY2751" fmla="*/ 4398188 h 5504521"/>
              <a:gd name="connsiteX2752" fmla="*/ 4258291 w 6384854"/>
              <a:gd name="connsiteY2752" fmla="*/ 4406825 h 5504521"/>
              <a:gd name="connsiteX2753" fmla="*/ 4187119 w 6384854"/>
              <a:gd name="connsiteY2753" fmla="*/ 4404962 h 5504521"/>
              <a:gd name="connsiteX2754" fmla="*/ 4134925 w 6384854"/>
              <a:gd name="connsiteY2754" fmla="*/ 4410792 h 5504521"/>
              <a:gd name="connsiteX2755" fmla="*/ 4012381 w 6384854"/>
              <a:gd name="connsiteY2755" fmla="*/ 4405232 h 5504521"/>
              <a:gd name="connsiteX2756" fmla="*/ 3658233 w 6384854"/>
              <a:gd name="connsiteY2756" fmla="*/ 4353829 h 5504521"/>
              <a:gd name="connsiteX2757" fmla="*/ 3519858 w 6384854"/>
              <a:gd name="connsiteY2757" fmla="*/ 4311868 h 5504521"/>
              <a:gd name="connsiteX2758" fmla="*/ 3525891 w 6384854"/>
              <a:gd name="connsiteY2758" fmla="*/ 4307442 h 5504521"/>
              <a:gd name="connsiteX2759" fmla="*/ 3577312 w 6384854"/>
              <a:gd name="connsiteY2759" fmla="*/ 4267716 h 5504521"/>
              <a:gd name="connsiteX2760" fmla="*/ 3652153 w 6384854"/>
              <a:gd name="connsiteY2760" fmla="*/ 4286998 h 5504521"/>
              <a:gd name="connsiteX2761" fmla="*/ 5066967 w 6384854"/>
              <a:gd name="connsiteY2761" fmla="*/ 3961418 h 5504521"/>
              <a:gd name="connsiteX2762" fmla="*/ 5086715 w 6384854"/>
              <a:gd name="connsiteY2762" fmla="*/ 3951030 h 5504521"/>
              <a:gd name="connsiteX2763" fmla="*/ 5116230 w 6384854"/>
              <a:gd name="connsiteY2763" fmla="*/ 3922278 h 5504521"/>
              <a:gd name="connsiteX2764" fmla="*/ 5159905 w 6384854"/>
              <a:gd name="connsiteY2764" fmla="*/ 3881943 h 5504521"/>
              <a:gd name="connsiteX2765" fmla="*/ 5234289 w 6384854"/>
              <a:gd name="connsiteY2765" fmla="*/ 3807270 h 5504521"/>
              <a:gd name="connsiteX2766" fmla="*/ 5207568 w 6384854"/>
              <a:gd name="connsiteY2766" fmla="*/ 3836619 h 5504521"/>
              <a:gd name="connsiteX2767" fmla="*/ 5238086 w 6384854"/>
              <a:gd name="connsiteY2767" fmla="*/ 3816845 h 5504521"/>
              <a:gd name="connsiteX2768" fmla="*/ 5269391 w 6384854"/>
              <a:gd name="connsiteY2768" fmla="*/ 3779711 h 5504521"/>
              <a:gd name="connsiteX2769" fmla="*/ 5237680 w 6384854"/>
              <a:gd name="connsiteY2769" fmla="*/ 3805073 h 5504521"/>
              <a:gd name="connsiteX2770" fmla="*/ 5330999 w 6384854"/>
              <a:gd name="connsiteY2770" fmla="*/ 3696465 h 5504521"/>
              <a:gd name="connsiteX2771" fmla="*/ 5406829 w 6384854"/>
              <a:gd name="connsiteY2771" fmla="*/ 3595578 h 5504521"/>
              <a:gd name="connsiteX2772" fmla="*/ 5413364 w 6384854"/>
              <a:gd name="connsiteY2772" fmla="*/ 3585142 h 5504521"/>
              <a:gd name="connsiteX2773" fmla="*/ 5469118 w 6384854"/>
              <a:gd name="connsiteY2773" fmla="*/ 3509784 h 5504521"/>
              <a:gd name="connsiteX2774" fmla="*/ 5579385 w 6384854"/>
              <a:gd name="connsiteY2774" fmla="*/ 3299624 h 5504521"/>
              <a:gd name="connsiteX2775" fmla="*/ 5582180 w 6384854"/>
              <a:gd name="connsiteY2775" fmla="*/ 3300221 h 5504521"/>
              <a:gd name="connsiteX2776" fmla="*/ 5585164 w 6384854"/>
              <a:gd name="connsiteY2776" fmla="*/ 3286252 h 5504521"/>
              <a:gd name="connsiteX2777" fmla="*/ 5607084 w 6384854"/>
              <a:gd name="connsiteY2777" fmla="*/ 3238348 h 5504521"/>
              <a:gd name="connsiteX2778" fmla="*/ 5674802 w 6384854"/>
              <a:gd name="connsiteY2778" fmla="*/ 3030784 h 5504521"/>
              <a:gd name="connsiteX2779" fmla="*/ 5689128 w 6384854"/>
              <a:gd name="connsiteY2779" fmla="*/ 2963729 h 5504521"/>
              <a:gd name="connsiteX2780" fmla="*/ 5712718 w 6384854"/>
              <a:gd name="connsiteY2780" fmla="*/ 2817250 h 5504521"/>
              <a:gd name="connsiteX2781" fmla="*/ 5711633 w 6384854"/>
              <a:gd name="connsiteY2781" fmla="*/ 2833582 h 5504521"/>
              <a:gd name="connsiteX2782" fmla="*/ 5747864 w 6384854"/>
              <a:gd name="connsiteY2782" fmla="*/ 2409202 h 5504521"/>
              <a:gd name="connsiteX2783" fmla="*/ 5739894 w 6384854"/>
              <a:gd name="connsiteY2783" fmla="*/ 2343648 h 5504521"/>
              <a:gd name="connsiteX2784" fmla="*/ 5727369 w 6384854"/>
              <a:gd name="connsiteY2784" fmla="*/ 2378509 h 5504521"/>
              <a:gd name="connsiteX2785" fmla="*/ 5727579 w 6384854"/>
              <a:gd name="connsiteY2785" fmla="*/ 2383490 h 5504521"/>
              <a:gd name="connsiteX2786" fmla="*/ 5728700 w 6384854"/>
              <a:gd name="connsiteY2786" fmla="*/ 2435735 h 5504521"/>
              <a:gd name="connsiteX2787" fmla="*/ 5724241 w 6384854"/>
              <a:gd name="connsiteY2787" fmla="*/ 2723470 h 5504521"/>
              <a:gd name="connsiteX2788" fmla="*/ 5721718 w 6384854"/>
              <a:gd name="connsiteY2788" fmla="*/ 2738895 h 5504521"/>
              <a:gd name="connsiteX2789" fmla="*/ 5727802 w 6384854"/>
              <a:gd name="connsiteY2789" fmla="*/ 2622845 h 5504521"/>
              <a:gd name="connsiteX2790" fmla="*/ 5721462 w 6384854"/>
              <a:gd name="connsiteY2790" fmla="*/ 2467396 h 5504521"/>
              <a:gd name="connsiteX2791" fmla="*/ 5713500 w 6384854"/>
              <a:gd name="connsiteY2791" fmla="*/ 2407881 h 5504521"/>
              <a:gd name="connsiteX2792" fmla="*/ 5705736 w 6384854"/>
              <a:gd name="connsiteY2792" fmla="*/ 2416737 h 5504521"/>
              <a:gd name="connsiteX2793" fmla="*/ 5697503 w 6384854"/>
              <a:gd name="connsiteY2793" fmla="*/ 2429490 h 5504521"/>
              <a:gd name="connsiteX2794" fmla="*/ 5689124 w 6384854"/>
              <a:gd name="connsiteY2794" fmla="*/ 2450936 h 5504521"/>
              <a:gd name="connsiteX2795" fmla="*/ 5698271 w 6384854"/>
              <a:gd name="connsiteY2795" fmla="*/ 2517655 h 5504521"/>
              <a:gd name="connsiteX2796" fmla="*/ 5679527 w 6384854"/>
              <a:gd name="connsiteY2796" fmla="*/ 2926620 h 5504521"/>
              <a:gd name="connsiteX2797" fmla="*/ 5675946 w 6384854"/>
              <a:gd name="connsiteY2797" fmla="*/ 2943383 h 5504521"/>
              <a:gd name="connsiteX2798" fmla="*/ 5642709 w 6384854"/>
              <a:gd name="connsiteY2798" fmla="*/ 3085278 h 5504521"/>
              <a:gd name="connsiteX2799" fmla="*/ 5642112 w 6384854"/>
              <a:gd name="connsiteY2799" fmla="*/ 3088072 h 5504521"/>
              <a:gd name="connsiteX2800" fmla="*/ 5639508 w 6384854"/>
              <a:gd name="connsiteY2800" fmla="*/ 3072908 h 5504521"/>
              <a:gd name="connsiteX2801" fmla="*/ 5632536 w 6384854"/>
              <a:gd name="connsiteY2801" fmla="*/ 3091869 h 5504521"/>
              <a:gd name="connsiteX2802" fmla="*/ 5633324 w 6384854"/>
              <a:gd name="connsiteY2802" fmla="*/ 3074509 h 5504521"/>
              <a:gd name="connsiteX2803" fmla="*/ 5619378 w 6384854"/>
              <a:gd name="connsiteY2803" fmla="*/ 3112430 h 5504521"/>
              <a:gd name="connsiteX2804" fmla="*/ 5606412 w 6384854"/>
              <a:gd name="connsiteY2804" fmla="*/ 3118424 h 5504521"/>
              <a:gd name="connsiteX2805" fmla="*/ 5598246 w 6384854"/>
              <a:gd name="connsiteY2805" fmla="*/ 3142973 h 5504521"/>
              <a:gd name="connsiteX2806" fmla="*/ 5598437 w 6384854"/>
              <a:gd name="connsiteY2806" fmla="*/ 3128406 h 5504521"/>
              <a:gd name="connsiteX2807" fmla="*/ 5597765 w 6384854"/>
              <a:gd name="connsiteY2807" fmla="*/ 3131550 h 5504521"/>
              <a:gd name="connsiteX2808" fmla="*/ 5594855 w 6384854"/>
              <a:gd name="connsiteY2808" fmla="*/ 3145169 h 5504521"/>
              <a:gd name="connsiteX2809" fmla="*/ 5594258 w 6384854"/>
              <a:gd name="connsiteY2809" fmla="*/ 3147964 h 5504521"/>
              <a:gd name="connsiteX2810" fmla="*/ 5593661 w 6384854"/>
              <a:gd name="connsiteY2810" fmla="*/ 3150758 h 5504521"/>
              <a:gd name="connsiteX2811" fmla="*/ 5589673 w 6384854"/>
              <a:gd name="connsiteY2811" fmla="*/ 3155748 h 5504521"/>
              <a:gd name="connsiteX2812" fmla="*/ 5586880 w 6384854"/>
              <a:gd name="connsiteY2812" fmla="*/ 3155152 h 5504521"/>
              <a:gd name="connsiteX2813" fmla="*/ 5586283 w 6384854"/>
              <a:gd name="connsiteY2813" fmla="*/ 3157946 h 5504521"/>
              <a:gd name="connsiteX2814" fmla="*/ 5585686 w 6384854"/>
              <a:gd name="connsiteY2814" fmla="*/ 3160739 h 5504521"/>
              <a:gd name="connsiteX2815" fmla="*/ 5588480 w 6384854"/>
              <a:gd name="connsiteY2815" fmla="*/ 3161336 h 5504521"/>
              <a:gd name="connsiteX2816" fmla="*/ 5588256 w 6384854"/>
              <a:gd name="connsiteY2816" fmla="*/ 3162384 h 5504521"/>
              <a:gd name="connsiteX2817" fmla="*/ 5587226 w 6384854"/>
              <a:gd name="connsiteY2817" fmla="*/ 3167204 h 5504521"/>
              <a:gd name="connsiteX2818" fmla="*/ 5586065 w 6384854"/>
              <a:gd name="connsiteY2818" fmla="*/ 3169220 h 5504521"/>
              <a:gd name="connsiteX2819" fmla="*/ 5586689 w 6384854"/>
              <a:gd name="connsiteY2819" fmla="*/ 3169719 h 5504521"/>
              <a:gd name="connsiteX2820" fmla="*/ 5587226 w 6384854"/>
              <a:gd name="connsiteY2820" fmla="*/ 3167204 h 5504521"/>
              <a:gd name="connsiteX2821" fmla="*/ 5591871 w 6384854"/>
              <a:gd name="connsiteY2821" fmla="*/ 3159140 h 5504521"/>
              <a:gd name="connsiteX2822" fmla="*/ 5588886 w 6384854"/>
              <a:gd name="connsiteY2822" fmla="*/ 3173109 h 5504521"/>
              <a:gd name="connsiteX2823" fmla="*/ 5584898 w 6384854"/>
              <a:gd name="connsiteY2823" fmla="*/ 3178100 h 5504521"/>
              <a:gd name="connsiteX2824" fmla="*/ 5585495 w 6384854"/>
              <a:gd name="connsiteY2824" fmla="*/ 3175306 h 5504521"/>
              <a:gd name="connsiteX2825" fmla="*/ 5586092 w 6384854"/>
              <a:gd name="connsiteY2825" fmla="*/ 3172512 h 5504521"/>
              <a:gd name="connsiteX2826" fmla="*/ 5582701 w 6384854"/>
              <a:gd name="connsiteY2826" fmla="*/ 3174710 h 5504521"/>
              <a:gd name="connsiteX2827" fmla="*/ 5582105 w 6384854"/>
              <a:gd name="connsiteY2827" fmla="*/ 3177504 h 5504521"/>
              <a:gd name="connsiteX2828" fmla="*/ 5577520 w 6384854"/>
              <a:gd name="connsiteY2828" fmla="*/ 3185289 h 5504521"/>
              <a:gd name="connsiteX2829" fmla="*/ 5573126 w 6384854"/>
              <a:gd name="connsiteY2829" fmla="*/ 3178507 h 5504521"/>
              <a:gd name="connsiteX2830" fmla="*/ 5580860 w 6384854"/>
              <a:gd name="connsiteY2830" fmla="*/ 3101279 h 5504521"/>
              <a:gd name="connsiteX2831" fmla="*/ 5587236 w 6384854"/>
              <a:gd name="connsiteY2831" fmla="*/ 3085112 h 5504521"/>
              <a:gd name="connsiteX2832" fmla="*/ 5589027 w 6384854"/>
              <a:gd name="connsiteY2832" fmla="*/ 3076730 h 5504521"/>
              <a:gd name="connsiteX2833" fmla="*/ 5583439 w 6384854"/>
              <a:gd name="connsiteY2833" fmla="*/ 3075537 h 5504521"/>
              <a:gd name="connsiteX2834" fmla="*/ 5580454 w 6384854"/>
              <a:gd name="connsiteY2834" fmla="*/ 3089507 h 5504521"/>
              <a:gd name="connsiteX2835" fmla="*/ 5577660 w 6384854"/>
              <a:gd name="connsiteY2835" fmla="*/ 3088910 h 5504521"/>
              <a:gd name="connsiteX2836" fmla="*/ 5577063 w 6384854"/>
              <a:gd name="connsiteY2836" fmla="*/ 3091704 h 5504521"/>
              <a:gd name="connsiteX2837" fmla="*/ 5571881 w 6384854"/>
              <a:gd name="connsiteY2837" fmla="*/ 3102282 h 5504521"/>
              <a:gd name="connsiteX2838" fmla="*/ 5555143 w 6384854"/>
              <a:gd name="connsiteY2838" fmla="*/ 3139607 h 5504521"/>
              <a:gd name="connsiteX2839" fmla="*/ 5556336 w 6384854"/>
              <a:gd name="connsiteY2839" fmla="*/ 3134019 h 5504521"/>
              <a:gd name="connsiteX2840" fmla="*/ 5552348 w 6384854"/>
              <a:gd name="connsiteY2840" fmla="*/ 3139010 h 5504521"/>
              <a:gd name="connsiteX2841" fmla="*/ 5548336 w 6384854"/>
              <a:gd name="connsiteY2841" fmla="*/ 3103095 h 5504521"/>
              <a:gd name="connsiteX2842" fmla="*/ 5544348 w 6384854"/>
              <a:gd name="connsiteY2842" fmla="*/ 3108086 h 5504521"/>
              <a:gd name="connsiteX2843" fmla="*/ 5551295 w 6384854"/>
              <a:gd name="connsiteY2843" fmla="*/ 3048220 h 5504521"/>
              <a:gd name="connsiteX2844" fmla="*/ 5547498 w 6384854"/>
              <a:gd name="connsiteY2844" fmla="*/ 3038643 h 5504521"/>
              <a:gd name="connsiteX2845" fmla="*/ 5550077 w 6384854"/>
              <a:gd name="connsiteY2845" fmla="*/ 3012901 h 5504521"/>
              <a:gd name="connsiteX2846" fmla="*/ 5562421 w 6384854"/>
              <a:gd name="connsiteY2846" fmla="*/ 2968795 h 5504521"/>
              <a:gd name="connsiteX2847" fmla="*/ 5571972 w 6384854"/>
              <a:gd name="connsiteY2847" fmla="*/ 2924092 h 5504521"/>
              <a:gd name="connsiteX2848" fmla="*/ 5574360 w 6384854"/>
              <a:gd name="connsiteY2848" fmla="*/ 2912916 h 5504521"/>
              <a:gd name="connsiteX2849" fmla="*/ 5575553 w 6384854"/>
              <a:gd name="connsiteY2849" fmla="*/ 2907328 h 5504521"/>
              <a:gd name="connsiteX2850" fmla="*/ 5572759 w 6384854"/>
              <a:gd name="connsiteY2850" fmla="*/ 2906731 h 5504521"/>
              <a:gd name="connsiteX2851" fmla="*/ 5589282 w 6384854"/>
              <a:gd name="connsiteY2851" fmla="*/ 2843067 h 5504521"/>
              <a:gd name="connsiteX2852" fmla="*/ 5589880 w 6384854"/>
              <a:gd name="connsiteY2852" fmla="*/ 2840273 h 5504521"/>
              <a:gd name="connsiteX2853" fmla="*/ 5590476 w 6384854"/>
              <a:gd name="connsiteY2853" fmla="*/ 2837480 h 5504521"/>
              <a:gd name="connsiteX2854" fmla="*/ 5587682 w 6384854"/>
              <a:gd name="connsiteY2854" fmla="*/ 2836883 h 5504521"/>
              <a:gd name="connsiteX2855" fmla="*/ 5588279 w 6384854"/>
              <a:gd name="connsiteY2855" fmla="*/ 2834089 h 5504521"/>
              <a:gd name="connsiteX2856" fmla="*/ 5590667 w 6384854"/>
              <a:gd name="connsiteY2856" fmla="*/ 2822912 h 5504521"/>
              <a:gd name="connsiteX2857" fmla="*/ 5593461 w 6384854"/>
              <a:gd name="connsiteY2857" fmla="*/ 2823510 h 5504521"/>
              <a:gd name="connsiteX2858" fmla="*/ 5594057 w 6384854"/>
              <a:gd name="connsiteY2858" fmla="*/ 2820716 h 5504521"/>
              <a:gd name="connsiteX2859" fmla="*/ 5594654 w 6384854"/>
              <a:gd name="connsiteY2859" fmla="*/ 2817922 h 5504521"/>
              <a:gd name="connsiteX2860" fmla="*/ 5591860 w 6384854"/>
              <a:gd name="connsiteY2860" fmla="*/ 2817325 h 5504521"/>
              <a:gd name="connsiteX2861" fmla="*/ 5595252 w 6384854"/>
              <a:gd name="connsiteY2861" fmla="*/ 2815128 h 5504521"/>
              <a:gd name="connsiteX2862" fmla="*/ 5596636 w 6384854"/>
              <a:gd name="connsiteY2862" fmla="*/ 2794973 h 5504521"/>
              <a:gd name="connsiteX2863" fmla="*/ 5589257 w 6384854"/>
              <a:gd name="connsiteY2863" fmla="*/ 2802162 h 5504521"/>
              <a:gd name="connsiteX2864" fmla="*/ 5591860 w 6384854"/>
              <a:gd name="connsiteY2864" fmla="*/ 2817325 h 5504521"/>
              <a:gd name="connsiteX2865" fmla="*/ 5589066 w 6384854"/>
              <a:gd name="connsiteY2865" fmla="*/ 2816728 h 5504521"/>
              <a:gd name="connsiteX2866" fmla="*/ 5588469 w 6384854"/>
              <a:gd name="connsiteY2866" fmla="*/ 2819522 h 5504521"/>
              <a:gd name="connsiteX2867" fmla="*/ 5587872 w 6384854"/>
              <a:gd name="connsiteY2867" fmla="*/ 2822316 h 5504521"/>
              <a:gd name="connsiteX2868" fmla="*/ 5590667 w 6384854"/>
              <a:gd name="connsiteY2868" fmla="*/ 2822912 h 5504521"/>
              <a:gd name="connsiteX2869" fmla="*/ 5589174 w 6384854"/>
              <a:gd name="connsiteY2869" fmla="*/ 2829897 h 5504521"/>
              <a:gd name="connsiteX2870" fmla="*/ 5588279 w 6384854"/>
              <a:gd name="connsiteY2870" fmla="*/ 2834089 h 5504521"/>
              <a:gd name="connsiteX2871" fmla="*/ 5586081 w 6384854"/>
              <a:gd name="connsiteY2871" fmla="*/ 2830697 h 5504521"/>
              <a:gd name="connsiteX2872" fmla="*/ 5584482 w 6384854"/>
              <a:gd name="connsiteY2872" fmla="*/ 2824513 h 5504521"/>
              <a:gd name="connsiteX2873" fmla="*/ 5583288 w 6384854"/>
              <a:gd name="connsiteY2873" fmla="*/ 2830101 h 5504521"/>
              <a:gd name="connsiteX2874" fmla="*/ 5582691 w 6384854"/>
              <a:gd name="connsiteY2874" fmla="*/ 2832895 h 5504521"/>
              <a:gd name="connsiteX2875" fmla="*/ 5582095 w 6384854"/>
              <a:gd name="connsiteY2875" fmla="*/ 2835689 h 5504521"/>
              <a:gd name="connsiteX2876" fmla="*/ 5573331 w 6384854"/>
              <a:gd name="connsiteY2876" fmla="*/ 2863031 h 5504521"/>
              <a:gd name="connsiteX2877" fmla="*/ 5572734 w 6384854"/>
              <a:gd name="connsiteY2877" fmla="*/ 2865825 h 5504521"/>
              <a:gd name="connsiteX2878" fmla="*/ 5572137 w 6384854"/>
              <a:gd name="connsiteY2878" fmla="*/ 2868619 h 5504521"/>
              <a:gd name="connsiteX2879" fmla="*/ 5567959 w 6384854"/>
              <a:gd name="connsiteY2879" fmla="*/ 2888177 h 5504521"/>
              <a:gd name="connsiteX2880" fmla="*/ 5566765 w 6384854"/>
              <a:gd name="connsiteY2880" fmla="*/ 2893765 h 5504521"/>
              <a:gd name="connsiteX2881" fmla="*/ 5566168 w 6384854"/>
              <a:gd name="connsiteY2881" fmla="*/ 2896559 h 5504521"/>
              <a:gd name="connsiteX2882" fmla="*/ 5568962 w 6384854"/>
              <a:gd name="connsiteY2882" fmla="*/ 2897156 h 5504521"/>
              <a:gd name="connsiteX2883" fmla="*/ 5562396 w 6384854"/>
              <a:gd name="connsiteY2883" fmla="*/ 2927888 h 5504521"/>
              <a:gd name="connsiteX2884" fmla="*/ 5563590 w 6384854"/>
              <a:gd name="connsiteY2884" fmla="*/ 2922301 h 5504521"/>
              <a:gd name="connsiteX2885" fmla="*/ 5565786 w 6384854"/>
              <a:gd name="connsiteY2885" fmla="*/ 2925692 h 5504521"/>
              <a:gd name="connsiteX2886" fmla="*/ 5569178 w 6384854"/>
              <a:gd name="connsiteY2886" fmla="*/ 2923495 h 5504521"/>
              <a:gd name="connsiteX2887" fmla="*/ 5555639 w 6384854"/>
              <a:gd name="connsiteY2887" fmla="*/ 2973189 h 5504521"/>
              <a:gd name="connsiteX2888" fmla="*/ 5556236 w 6384854"/>
              <a:gd name="connsiteY2888" fmla="*/ 2970395 h 5504521"/>
              <a:gd name="connsiteX2889" fmla="*/ 5553443 w 6384854"/>
              <a:gd name="connsiteY2889" fmla="*/ 2969798 h 5504521"/>
              <a:gd name="connsiteX2890" fmla="*/ 5552249 w 6384854"/>
              <a:gd name="connsiteY2890" fmla="*/ 2975386 h 5504521"/>
              <a:gd name="connsiteX2891" fmla="*/ 5546063 w 6384854"/>
              <a:gd name="connsiteY2891" fmla="*/ 2976986 h 5504521"/>
              <a:gd name="connsiteX2892" fmla="*/ 5547257 w 6384854"/>
              <a:gd name="connsiteY2892" fmla="*/ 2971398 h 5504521"/>
              <a:gd name="connsiteX2893" fmla="*/ 5542647 w 6384854"/>
              <a:gd name="connsiteY2893" fmla="*/ 2938277 h 5504521"/>
              <a:gd name="connsiteX2894" fmla="*/ 5543245 w 6384854"/>
              <a:gd name="connsiteY2894" fmla="*/ 2935483 h 5504521"/>
              <a:gd name="connsiteX2895" fmla="*/ 5544438 w 6384854"/>
              <a:gd name="connsiteY2895" fmla="*/ 2929895 h 5504521"/>
              <a:gd name="connsiteX2896" fmla="*/ 5541047 w 6384854"/>
              <a:gd name="connsiteY2896" fmla="*/ 2932093 h 5504521"/>
              <a:gd name="connsiteX2897" fmla="*/ 5542838 w 6384854"/>
              <a:gd name="connsiteY2897" fmla="*/ 2923711 h 5504521"/>
              <a:gd name="connsiteX2898" fmla="*/ 5538254 w 6384854"/>
              <a:gd name="connsiteY2898" fmla="*/ 2931496 h 5504521"/>
              <a:gd name="connsiteX2899" fmla="*/ 5540044 w 6384854"/>
              <a:gd name="connsiteY2899" fmla="*/ 2923113 h 5504521"/>
              <a:gd name="connsiteX2900" fmla="*/ 5533478 w 6384854"/>
              <a:gd name="connsiteY2900" fmla="*/ 2953847 h 5504521"/>
              <a:gd name="connsiteX2901" fmla="*/ 5531281 w 6384854"/>
              <a:gd name="connsiteY2901" fmla="*/ 2950456 h 5504521"/>
              <a:gd name="connsiteX2902" fmla="*/ 5530684 w 6384854"/>
              <a:gd name="connsiteY2902" fmla="*/ 2953250 h 5504521"/>
              <a:gd name="connsiteX2903" fmla="*/ 5530087 w 6384854"/>
              <a:gd name="connsiteY2903" fmla="*/ 2956044 h 5504521"/>
              <a:gd name="connsiteX2904" fmla="*/ 5526506 w 6384854"/>
              <a:gd name="connsiteY2904" fmla="*/ 2972808 h 5504521"/>
              <a:gd name="connsiteX2905" fmla="*/ 5523115 w 6384854"/>
              <a:gd name="connsiteY2905" fmla="*/ 2975005 h 5504521"/>
              <a:gd name="connsiteX2906" fmla="*/ 5519534 w 6384854"/>
              <a:gd name="connsiteY2906" fmla="*/ 2991768 h 5504521"/>
              <a:gd name="connsiteX2907" fmla="*/ 5516143 w 6384854"/>
              <a:gd name="connsiteY2907" fmla="*/ 2993965 h 5504521"/>
              <a:gd name="connsiteX2908" fmla="*/ 5515546 w 6384854"/>
              <a:gd name="connsiteY2908" fmla="*/ 2996759 h 5504521"/>
              <a:gd name="connsiteX2909" fmla="*/ 5514949 w 6384854"/>
              <a:gd name="connsiteY2909" fmla="*/ 2999553 h 5504521"/>
              <a:gd name="connsiteX2910" fmla="*/ 5517145 w 6384854"/>
              <a:gd name="connsiteY2910" fmla="*/ 3002944 h 5504521"/>
              <a:gd name="connsiteX2911" fmla="*/ 5511964 w 6384854"/>
              <a:gd name="connsiteY2911" fmla="*/ 3013523 h 5504521"/>
              <a:gd name="connsiteX2912" fmla="*/ 5515355 w 6384854"/>
              <a:gd name="connsiteY2912" fmla="*/ 3011326 h 5504521"/>
              <a:gd name="connsiteX2913" fmla="*/ 5514758 w 6384854"/>
              <a:gd name="connsiteY2913" fmla="*/ 3014120 h 5504521"/>
              <a:gd name="connsiteX2914" fmla="*/ 5514161 w 6384854"/>
              <a:gd name="connsiteY2914" fmla="*/ 3016914 h 5504521"/>
              <a:gd name="connsiteX2915" fmla="*/ 5512370 w 6384854"/>
              <a:gd name="connsiteY2915" fmla="*/ 3025296 h 5504521"/>
              <a:gd name="connsiteX2916" fmla="*/ 5513374 w 6384854"/>
              <a:gd name="connsiteY2916" fmla="*/ 3034274 h 5504521"/>
              <a:gd name="connsiteX2917" fmla="*/ 5509195 w 6384854"/>
              <a:gd name="connsiteY2917" fmla="*/ 3053832 h 5504521"/>
              <a:gd name="connsiteX2918" fmla="*/ 5501220 w 6384854"/>
              <a:gd name="connsiteY2918" fmla="*/ 3063815 h 5504521"/>
              <a:gd name="connsiteX2919" fmla="*/ 5498832 w 6384854"/>
              <a:gd name="connsiteY2919" fmla="*/ 3074990 h 5504521"/>
              <a:gd name="connsiteX2920" fmla="*/ 5493053 w 6384854"/>
              <a:gd name="connsiteY2920" fmla="*/ 3088362 h 5504521"/>
              <a:gd name="connsiteX2921" fmla="*/ 5477103 w 6384854"/>
              <a:gd name="connsiteY2921" fmla="*/ 3108327 h 5504521"/>
              <a:gd name="connsiteX2922" fmla="*/ 5458573 w 6384854"/>
              <a:gd name="connsiteY2922" fmla="*/ 3154033 h 5504521"/>
              <a:gd name="connsiteX2923" fmla="*/ 5450191 w 6384854"/>
              <a:gd name="connsiteY2923" fmla="*/ 3152242 h 5504521"/>
              <a:gd name="connsiteX2924" fmla="*/ 5454248 w 6384854"/>
              <a:gd name="connsiteY2924" fmla="*/ 3141954 h 5504521"/>
              <a:gd name="connsiteX2925" fmla="*/ 5455099 w 6384854"/>
              <a:gd name="connsiteY2925" fmla="*/ 3141240 h 5504521"/>
              <a:gd name="connsiteX2926" fmla="*/ 5456566 w 6384854"/>
              <a:gd name="connsiteY2926" fmla="*/ 3136076 h 5504521"/>
              <a:gd name="connsiteX2927" fmla="*/ 5454248 w 6384854"/>
              <a:gd name="connsiteY2927" fmla="*/ 3141954 h 5504521"/>
              <a:gd name="connsiteX2928" fmla="*/ 5451982 w 6384854"/>
              <a:gd name="connsiteY2928" fmla="*/ 3143861 h 5504521"/>
              <a:gd name="connsiteX2929" fmla="*/ 5461151 w 6384854"/>
              <a:gd name="connsiteY2929" fmla="*/ 3128290 h 5504521"/>
              <a:gd name="connsiteX2930" fmla="*/ 5460745 w 6384854"/>
              <a:gd name="connsiteY2930" fmla="*/ 3116517 h 5504521"/>
              <a:gd name="connsiteX2931" fmla="*/ 5468124 w 6384854"/>
              <a:gd name="connsiteY2931" fmla="*/ 3109330 h 5504521"/>
              <a:gd name="connsiteX2932" fmla="*/ 5462536 w 6384854"/>
              <a:gd name="connsiteY2932" fmla="*/ 3108136 h 5504521"/>
              <a:gd name="connsiteX2933" fmla="*/ 5473090 w 6384854"/>
              <a:gd name="connsiteY2933" fmla="*/ 3072412 h 5504521"/>
              <a:gd name="connsiteX2934" fmla="*/ 5480468 w 6384854"/>
              <a:gd name="connsiteY2934" fmla="*/ 3065223 h 5504521"/>
              <a:gd name="connsiteX2935" fmla="*/ 5486247 w 6384854"/>
              <a:gd name="connsiteY2935" fmla="*/ 3051851 h 5504521"/>
              <a:gd name="connsiteX2936" fmla="*/ 5483644 w 6384854"/>
              <a:gd name="connsiteY2936" fmla="*/ 3036687 h 5504521"/>
              <a:gd name="connsiteX2937" fmla="*/ 5495010 w 6384854"/>
              <a:gd name="connsiteY2937" fmla="*/ 3024508 h 5504521"/>
              <a:gd name="connsiteX2938" fmla="*/ 5501982 w 6384854"/>
              <a:gd name="connsiteY2938" fmla="*/ 3005547 h 5504521"/>
              <a:gd name="connsiteX2939" fmla="*/ 5498782 w 6384854"/>
              <a:gd name="connsiteY2939" fmla="*/ 2993178 h 5504521"/>
              <a:gd name="connsiteX2940" fmla="*/ 5499379 w 6384854"/>
              <a:gd name="connsiteY2940" fmla="*/ 2990384 h 5504521"/>
              <a:gd name="connsiteX2941" fmla="*/ 5499976 w 6384854"/>
              <a:gd name="connsiteY2941" fmla="*/ 2987590 h 5504521"/>
              <a:gd name="connsiteX2942" fmla="*/ 5500572 w 6384854"/>
              <a:gd name="connsiteY2942" fmla="*/ 2984796 h 5504521"/>
              <a:gd name="connsiteX2943" fmla="*/ 5498972 w 6384854"/>
              <a:gd name="connsiteY2943" fmla="*/ 2978611 h 5504521"/>
              <a:gd name="connsiteX2944" fmla="*/ 5506948 w 6384854"/>
              <a:gd name="connsiteY2944" fmla="*/ 2968629 h 5504521"/>
              <a:gd name="connsiteX2945" fmla="*/ 5507545 w 6384854"/>
              <a:gd name="connsiteY2945" fmla="*/ 2965835 h 5504521"/>
              <a:gd name="connsiteX2946" fmla="*/ 5508142 w 6384854"/>
              <a:gd name="connsiteY2946" fmla="*/ 2963042 h 5504521"/>
              <a:gd name="connsiteX2947" fmla="*/ 5515305 w 6384854"/>
              <a:gd name="connsiteY2947" fmla="*/ 2929514 h 5504521"/>
              <a:gd name="connsiteX2948" fmla="*/ 5516498 w 6384854"/>
              <a:gd name="connsiteY2948" fmla="*/ 2923926 h 5504521"/>
              <a:gd name="connsiteX2949" fmla="*/ 5513704 w 6384854"/>
              <a:gd name="connsiteY2949" fmla="*/ 2923329 h 5504521"/>
              <a:gd name="connsiteX2950" fmla="*/ 5526049 w 6384854"/>
              <a:gd name="connsiteY2950" fmla="*/ 2879223 h 5504521"/>
              <a:gd name="connsiteX2951" fmla="*/ 5534024 w 6384854"/>
              <a:gd name="connsiteY2951" fmla="*/ 2869241 h 5504521"/>
              <a:gd name="connsiteX2952" fmla="*/ 5527840 w 6384854"/>
              <a:gd name="connsiteY2952" fmla="*/ 2870841 h 5504521"/>
              <a:gd name="connsiteX2953" fmla="*/ 5525643 w 6384854"/>
              <a:gd name="connsiteY2953" fmla="*/ 2867450 h 5504521"/>
              <a:gd name="connsiteX2954" fmla="*/ 5528031 w 6384854"/>
              <a:gd name="connsiteY2954" fmla="*/ 2856274 h 5504521"/>
              <a:gd name="connsiteX2955" fmla="*/ 5530825 w 6384854"/>
              <a:gd name="connsiteY2955" fmla="*/ 2856871 h 5504521"/>
              <a:gd name="connsiteX2956" fmla="*/ 5532209 w 6384854"/>
              <a:gd name="connsiteY2956" fmla="*/ 2836716 h 5504521"/>
              <a:gd name="connsiteX2957" fmla="*/ 5535600 w 6384854"/>
              <a:gd name="connsiteY2957" fmla="*/ 2834520 h 5504521"/>
              <a:gd name="connsiteX2958" fmla="*/ 5536197 w 6384854"/>
              <a:gd name="connsiteY2958" fmla="*/ 2831726 h 5504521"/>
              <a:gd name="connsiteX2959" fmla="*/ 5536388 w 6384854"/>
              <a:gd name="connsiteY2959" fmla="*/ 2817159 h 5504521"/>
              <a:gd name="connsiteX2960" fmla="*/ 5539182 w 6384854"/>
              <a:gd name="connsiteY2960" fmla="*/ 2817756 h 5504521"/>
              <a:gd name="connsiteX2961" fmla="*/ 5539778 w 6384854"/>
              <a:gd name="connsiteY2961" fmla="*/ 2814962 h 5504521"/>
              <a:gd name="connsiteX2962" fmla="*/ 5537581 w 6384854"/>
              <a:gd name="connsiteY2962" fmla="*/ 2811571 h 5504521"/>
              <a:gd name="connsiteX2963" fmla="*/ 5542953 w 6384854"/>
              <a:gd name="connsiteY2963" fmla="*/ 2786426 h 5504521"/>
              <a:gd name="connsiteX2964" fmla="*/ 5544147 w 6384854"/>
              <a:gd name="connsiteY2964" fmla="*/ 2780838 h 5504521"/>
              <a:gd name="connsiteX2965" fmla="*/ 5541951 w 6384854"/>
              <a:gd name="connsiteY2965" fmla="*/ 2777447 h 5504521"/>
              <a:gd name="connsiteX2966" fmla="*/ 5544744 w 6384854"/>
              <a:gd name="connsiteY2966" fmla="*/ 2778044 h 5504521"/>
              <a:gd name="connsiteX2967" fmla="*/ 5545938 w 6384854"/>
              <a:gd name="connsiteY2967" fmla="*/ 2772456 h 5504521"/>
              <a:gd name="connsiteX2968" fmla="*/ 5546535 w 6384854"/>
              <a:gd name="connsiteY2968" fmla="*/ 2769662 h 5504521"/>
              <a:gd name="connsiteX2969" fmla="*/ 5545532 w 6384854"/>
              <a:gd name="connsiteY2969" fmla="*/ 2760684 h 5504521"/>
              <a:gd name="connsiteX2970" fmla="*/ 5547323 w 6384854"/>
              <a:gd name="connsiteY2970" fmla="*/ 2752302 h 5504521"/>
              <a:gd name="connsiteX2971" fmla="*/ 5547919 w 6384854"/>
              <a:gd name="connsiteY2971" fmla="*/ 2749508 h 5504521"/>
              <a:gd name="connsiteX2972" fmla="*/ 5548517 w 6384854"/>
              <a:gd name="connsiteY2972" fmla="*/ 2746714 h 5504521"/>
              <a:gd name="connsiteX2973" fmla="*/ 5551907 w 6384854"/>
              <a:gd name="connsiteY2973" fmla="*/ 2744517 h 5504521"/>
              <a:gd name="connsiteX2974" fmla="*/ 5552504 w 6384854"/>
              <a:gd name="connsiteY2974" fmla="*/ 2741723 h 5504521"/>
              <a:gd name="connsiteX2975" fmla="*/ 5550307 w 6384854"/>
              <a:gd name="connsiteY2975" fmla="*/ 2738332 h 5504521"/>
              <a:gd name="connsiteX2976" fmla="*/ 5547513 w 6384854"/>
              <a:gd name="connsiteY2976" fmla="*/ 2737735 h 5504521"/>
              <a:gd name="connsiteX2977" fmla="*/ 5548110 w 6384854"/>
              <a:gd name="connsiteY2977" fmla="*/ 2734941 h 5504521"/>
              <a:gd name="connsiteX2978" fmla="*/ 5548707 w 6384854"/>
              <a:gd name="connsiteY2978" fmla="*/ 2732147 h 5504521"/>
              <a:gd name="connsiteX2979" fmla="*/ 5547107 w 6384854"/>
              <a:gd name="connsiteY2979" fmla="*/ 2725962 h 5504521"/>
              <a:gd name="connsiteX2980" fmla="*/ 5545506 w 6384854"/>
              <a:gd name="connsiteY2980" fmla="*/ 2719778 h 5504521"/>
              <a:gd name="connsiteX2981" fmla="*/ 5546700 w 6384854"/>
              <a:gd name="connsiteY2981" fmla="*/ 2714190 h 5504521"/>
              <a:gd name="connsiteX2982" fmla="*/ 5547894 w 6384854"/>
              <a:gd name="connsiteY2982" fmla="*/ 2708601 h 5504521"/>
              <a:gd name="connsiteX2983" fmla="*/ 5548491 w 6384854"/>
              <a:gd name="connsiteY2983" fmla="*/ 2705807 h 5504521"/>
              <a:gd name="connsiteX2984" fmla="*/ 5546294 w 6384854"/>
              <a:gd name="connsiteY2984" fmla="*/ 2702417 h 5504521"/>
              <a:gd name="connsiteX2985" fmla="*/ 5546891 w 6384854"/>
              <a:gd name="connsiteY2985" fmla="*/ 2699623 h 5504521"/>
              <a:gd name="connsiteX2986" fmla="*/ 5544694 w 6384854"/>
              <a:gd name="connsiteY2986" fmla="*/ 2696232 h 5504521"/>
              <a:gd name="connsiteX2987" fmla="*/ 5545264 w 6384854"/>
              <a:gd name="connsiteY2987" fmla="*/ 2690146 h 5504521"/>
              <a:gd name="connsiteX2988" fmla="*/ 5545947 w 6384854"/>
              <a:gd name="connsiteY2988" fmla="*/ 2690481 h 5504521"/>
              <a:gd name="connsiteX2989" fmla="*/ 5545888 w 6384854"/>
              <a:gd name="connsiteY2989" fmla="*/ 2690644 h 5504521"/>
              <a:gd name="connsiteX2990" fmla="*/ 5546308 w 6384854"/>
              <a:gd name="connsiteY2990" fmla="*/ 2690657 h 5504521"/>
              <a:gd name="connsiteX2991" fmla="*/ 5546586 w 6384854"/>
              <a:gd name="connsiteY2991" fmla="*/ 2690793 h 5504521"/>
              <a:gd name="connsiteX2992" fmla="*/ 5550878 w 6384854"/>
              <a:gd name="connsiteY2992" fmla="*/ 2694632 h 5504521"/>
              <a:gd name="connsiteX2993" fmla="*/ 5549879 w 6384854"/>
              <a:gd name="connsiteY2993" fmla="*/ 2690766 h 5504521"/>
              <a:gd name="connsiteX2994" fmla="*/ 5546308 w 6384854"/>
              <a:gd name="connsiteY2994" fmla="*/ 2690657 h 5504521"/>
              <a:gd name="connsiteX2995" fmla="*/ 5545947 w 6384854"/>
              <a:gd name="connsiteY2995" fmla="*/ 2690481 h 5504521"/>
              <a:gd name="connsiteX2996" fmla="*/ 5548004 w 6384854"/>
              <a:gd name="connsiteY2996" fmla="*/ 2684797 h 5504521"/>
              <a:gd name="connsiteX2997" fmla="*/ 5550473 w 6384854"/>
              <a:gd name="connsiteY2997" fmla="*/ 2682859 h 5504521"/>
              <a:gd name="connsiteX2998" fmla="*/ 5554054 w 6384854"/>
              <a:gd name="connsiteY2998" fmla="*/ 2666096 h 5504521"/>
              <a:gd name="connsiteX2999" fmla="*/ 5554651 w 6384854"/>
              <a:gd name="connsiteY2999" fmla="*/ 2663301 h 5504521"/>
              <a:gd name="connsiteX3000" fmla="*/ 5552454 w 6384854"/>
              <a:gd name="connsiteY3000" fmla="*/ 2659911 h 5504521"/>
              <a:gd name="connsiteX3001" fmla="*/ 5555248 w 6384854"/>
              <a:gd name="connsiteY3001" fmla="*/ 2660507 h 5504521"/>
              <a:gd name="connsiteX3002" fmla="*/ 5555629 w 6384854"/>
              <a:gd name="connsiteY3002" fmla="*/ 2631374 h 5504521"/>
              <a:gd name="connsiteX3003" fmla="*/ 5556225 w 6384854"/>
              <a:gd name="connsiteY3003" fmla="*/ 2628580 h 5504521"/>
              <a:gd name="connsiteX3004" fmla="*/ 5557420 w 6384854"/>
              <a:gd name="connsiteY3004" fmla="*/ 2622992 h 5504521"/>
              <a:gd name="connsiteX3005" fmla="*/ 5554626 w 6384854"/>
              <a:gd name="connsiteY3005" fmla="*/ 2622396 h 5504521"/>
              <a:gd name="connsiteX3006" fmla="*/ 5551235 w 6384854"/>
              <a:gd name="connsiteY3006" fmla="*/ 2624593 h 5504521"/>
              <a:gd name="connsiteX3007" fmla="*/ 5556607 w 6384854"/>
              <a:gd name="connsiteY3007" fmla="*/ 2599447 h 5504521"/>
              <a:gd name="connsiteX3008" fmla="*/ 5559401 w 6384854"/>
              <a:gd name="connsiteY3008" fmla="*/ 2600044 h 5504521"/>
              <a:gd name="connsiteX3009" fmla="*/ 5559998 w 6384854"/>
              <a:gd name="connsiteY3009" fmla="*/ 2597250 h 5504521"/>
              <a:gd name="connsiteX3010" fmla="*/ 5557801 w 6384854"/>
              <a:gd name="connsiteY3010" fmla="*/ 2593859 h 5504521"/>
              <a:gd name="connsiteX3011" fmla="*/ 5558398 w 6384854"/>
              <a:gd name="connsiteY3011" fmla="*/ 2591066 h 5504521"/>
              <a:gd name="connsiteX3012" fmla="*/ 5556201 w 6384854"/>
              <a:gd name="connsiteY3012" fmla="*/ 2587674 h 5504521"/>
              <a:gd name="connsiteX3013" fmla="*/ 5557991 w 6384854"/>
              <a:gd name="connsiteY3013" fmla="*/ 2579293 h 5504521"/>
              <a:gd name="connsiteX3014" fmla="*/ 5557585 w 6384854"/>
              <a:gd name="connsiteY3014" fmla="*/ 2567520 h 5504521"/>
              <a:gd name="connsiteX3015" fmla="*/ 5556988 w 6384854"/>
              <a:gd name="connsiteY3015" fmla="*/ 2570314 h 5504521"/>
              <a:gd name="connsiteX3016" fmla="*/ 5555985 w 6384854"/>
              <a:gd name="connsiteY3016" fmla="*/ 2561335 h 5504521"/>
              <a:gd name="connsiteX3017" fmla="*/ 5558779 w 6384854"/>
              <a:gd name="connsiteY3017" fmla="*/ 2561932 h 5504521"/>
              <a:gd name="connsiteX3018" fmla="*/ 5559376 w 6384854"/>
              <a:gd name="connsiteY3018" fmla="*/ 2559138 h 5504521"/>
              <a:gd name="connsiteX3019" fmla="*/ 5559973 w 6384854"/>
              <a:gd name="connsiteY3019" fmla="*/ 2556344 h 5504521"/>
              <a:gd name="connsiteX3020" fmla="*/ 5557179 w 6384854"/>
              <a:gd name="connsiteY3020" fmla="*/ 2555747 h 5504521"/>
              <a:gd name="connsiteX3021" fmla="*/ 5557776 w 6384854"/>
              <a:gd name="connsiteY3021" fmla="*/ 2552953 h 5504521"/>
              <a:gd name="connsiteX3022" fmla="*/ 5554169 w 6384854"/>
              <a:gd name="connsiteY3022" fmla="*/ 2528810 h 5504521"/>
              <a:gd name="connsiteX3023" fmla="*/ 5554766 w 6384854"/>
              <a:gd name="connsiteY3023" fmla="*/ 2526017 h 5504521"/>
              <a:gd name="connsiteX3024" fmla="*/ 5554707 w 6384854"/>
              <a:gd name="connsiteY3024" fmla="*/ 2525493 h 5504521"/>
              <a:gd name="connsiteX3025" fmla="*/ 5547879 w 6384854"/>
              <a:gd name="connsiteY3025" fmla="*/ 2536389 h 5504521"/>
              <a:gd name="connsiteX3026" fmla="*/ 5536518 w 6384854"/>
              <a:gd name="connsiteY3026" fmla="*/ 2547031 h 5504521"/>
              <a:gd name="connsiteX3027" fmla="*/ 5537126 w 6384854"/>
              <a:gd name="connsiteY3027" fmla="*/ 2557306 h 5504521"/>
              <a:gd name="connsiteX3028" fmla="*/ 5538052 w 6384854"/>
              <a:gd name="connsiteY3028" fmla="*/ 2604247 h 5504521"/>
              <a:gd name="connsiteX3029" fmla="*/ 5540846 w 6384854"/>
              <a:gd name="connsiteY3029" fmla="*/ 2604844 h 5504521"/>
              <a:gd name="connsiteX3030" fmla="*/ 5539056 w 6384854"/>
              <a:gd name="connsiteY3030" fmla="*/ 2613226 h 5504521"/>
              <a:gd name="connsiteX3031" fmla="*/ 5538459 w 6384854"/>
              <a:gd name="connsiteY3031" fmla="*/ 2616021 h 5504521"/>
              <a:gd name="connsiteX3032" fmla="*/ 5538865 w 6384854"/>
              <a:gd name="connsiteY3032" fmla="*/ 2627793 h 5504521"/>
              <a:gd name="connsiteX3033" fmla="*/ 5540466 w 6384854"/>
              <a:gd name="connsiteY3033" fmla="*/ 2633978 h 5504521"/>
              <a:gd name="connsiteX3034" fmla="*/ 5537074 w 6384854"/>
              <a:gd name="connsiteY3034" fmla="*/ 2636175 h 5504521"/>
              <a:gd name="connsiteX3035" fmla="*/ 5539272 w 6384854"/>
              <a:gd name="connsiteY3035" fmla="*/ 2639565 h 5504521"/>
              <a:gd name="connsiteX3036" fmla="*/ 5539081 w 6384854"/>
              <a:gd name="connsiteY3036" fmla="*/ 2654132 h 5504521"/>
              <a:gd name="connsiteX3037" fmla="*/ 5536884 w 6384854"/>
              <a:gd name="connsiteY3037" fmla="*/ 2650742 h 5504521"/>
              <a:gd name="connsiteX3038" fmla="*/ 5536287 w 6384854"/>
              <a:gd name="connsiteY3038" fmla="*/ 2653536 h 5504521"/>
              <a:gd name="connsiteX3039" fmla="*/ 5537887 w 6384854"/>
              <a:gd name="connsiteY3039" fmla="*/ 2659720 h 5504521"/>
              <a:gd name="connsiteX3040" fmla="*/ 5537125 w 6384854"/>
              <a:gd name="connsiteY3040" fmla="*/ 2717987 h 5504521"/>
              <a:gd name="connsiteX3041" fmla="*/ 5534331 w 6384854"/>
              <a:gd name="connsiteY3041" fmla="*/ 2717390 h 5504521"/>
              <a:gd name="connsiteX3042" fmla="*/ 5533352 w 6384854"/>
              <a:gd name="connsiteY3042" fmla="*/ 2749317 h 5504521"/>
              <a:gd name="connsiteX3043" fmla="*/ 5534356 w 6384854"/>
              <a:gd name="connsiteY3043" fmla="*/ 2758296 h 5504521"/>
              <a:gd name="connsiteX3044" fmla="*/ 5532565 w 6384854"/>
              <a:gd name="connsiteY3044" fmla="*/ 2766678 h 5504521"/>
              <a:gd name="connsiteX3045" fmla="*/ 5530178 w 6384854"/>
              <a:gd name="connsiteY3045" fmla="*/ 2777854 h 5504521"/>
              <a:gd name="connsiteX3046" fmla="*/ 5529581 w 6384854"/>
              <a:gd name="connsiteY3046" fmla="*/ 2780647 h 5504521"/>
              <a:gd name="connsiteX3047" fmla="*/ 5528984 w 6384854"/>
              <a:gd name="connsiteY3047" fmla="*/ 2783442 h 5504521"/>
              <a:gd name="connsiteX3048" fmla="*/ 5527790 w 6384854"/>
              <a:gd name="connsiteY3048" fmla="*/ 2789029 h 5504521"/>
              <a:gd name="connsiteX3049" fmla="*/ 5527193 w 6384854"/>
              <a:gd name="connsiteY3049" fmla="*/ 2791823 h 5504521"/>
              <a:gd name="connsiteX3050" fmla="*/ 5530583 w 6384854"/>
              <a:gd name="connsiteY3050" fmla="*/ 2789626 h 5504521"/>
              <a:gd name="connsiteX3051" fmla="*/ 5530393 w 6384854"/>
              <a:gd name="connsiteY3051" fmla="*/ 2804193 h 5504521"/>
              <a:gd name="connsiteX3052" fmla="*/ 5525808 w 6384854"/>
              <a:gd name="connsiteY3052" fmla="*/ 2811977 h 5504521"/>
              <a:gd name="connsiteX3053" fmla="*/ 5523612 w 6384854"/>
              <a:gd name="connsiteY3053" fmla="*/ 2808587 h 5504521"/>
              <a:gd name="connsiteX3054" fmla="*/ 5516830 w 6384854"/>
              <a:gd name="connsiteY3054" fmla="*/ 2812981 h 5504521"/>
              <a:gd name="connsiteX3055" fmla="*/ 5512842 w 6384854"/>
              <a:gd name="connsiteY3055" fmla="*/ 2817972 h 5504521"/>
              <a:gd name="connsiteX3056" fmla="*/ 5515635 w 6384854"/>
              <a:gd name="connsiteY3056" fmla="*/ 2818569 h 5504521"/>
              <a:gd name="connsiteX3057" fmla="*/ 5515039 w 6384854"/>
              <a:gd name="connsiteY3057" fmla="*/ 2821363 h 5504521"/>
              <a:gd name="connsiteX3058" fmla="*/ 5518430 w 6384854"/>
              <a:gd name="connsiteY3058" fmla="*/ 2819166 h 5504521"/>
              <a:gd name="connsiteX3059" fmla="*/ 5521821 w 6384854"/>
              <a:gd name="connsiteY3059" fmla="*/ 2816968 h 5504521"/>
              <a:gd name="connsiteX3060" fmla="*/ 5523420 w 6384854"/>
              <a:gd name="connsiteY3060" fmla="*/ 2823154 h 5504521"/>
              <a:gd name="connsiteX3061" fmla="*/ 5522227 w 6384854"/>
              <a:gd name="connsiteY3061" fmla="*/ 2828742 h 5504521"/>
              <a:gd name="connsiteX3062" fmla="*/ 5522633 w 6384854"/>
              <a:gd name="connsiteY3062" fmla="*/ 2840514 h 5504521"/>
              <a:gd name="connsiteX3063" fmla="*/ 5517668 w 6384854"/>
              <a:gd name="connsiteY3063" fmla="*/ 2877432 h 5504521"/>
              <a:gd name="connsiteX3064" fmla="*/ 5516474 w 6384854"/>
              <a:gd name="connsiteY3064" fmla="*/ 2883020 h 5504521"/>
              <a:gd name="connsiteX3065" fmla="*/ 5514276 w 6384854"/>
              <a:gd name="connsiteY3065" fmla="*/ 2879629 h 5504521"/>
              <a:gd name="connsiteX3066" fmla="*/ 5509692 w 6384854"/>
              <a:gd name="connsiteY3066" fmla="*/ 2887414 h 5504521"/>
              <a:gd name="connsiteX3067" fmla="*/ 5514683 w 6384854"/>
              <a:gd name="connsiteY3067" fmla="*/ 2891402 h 5504521"/>
              <a:gd name="connsiteX3068" fmla="*/ 5511889 w 6384854"/>
              <a:gd name="connsiteY3068" fmla="*/ 2890805 h 5504521"/>
              <a:gd name="connsiteX3069" fmla="*/ 5511292 w 6384854"/>
              <a:gd name="connsiteY3069" fmla="*/ 2893599 h 5504521"/>
              <a:gd name="connsiteX3070" fmla="*/ 5510695 w 6384854"/>
              <a:gd name="connsiteY3070" fmla="*/ 2896393 h 5504521"/>
              <a:gd name="connsiteX3071" fmla="*/ 5507114 w 6384854"/>
              <a:gd name="connsiteY3071" fmla="*/ 2913156 h 5504521"/>
              <a:gd name="connsiteX3072" fmla="*/ 5505323 w 6384854"/>
              <a:gd name="connsiteY3072" fmla="*/ 2921539 h 5504521"/>
              <a:gd name="connsiteX3073" fmla="*/ 5504129 w 6384854"/>
              <a:gd name="connsiteY3073" fmla="*/ 2927126 h 5504521"/>
              <a:gd name="connsiteX3074" fmla="*/ 5492978 w 6384854"/>
              <a:gd name="connsiteY3074" fmla="*/ 2965645 h 5504521"/>
              <a:gd name="connsiteX3075" fmla="*/ 5491784 w 6384854"/>
              <a:gd name="connsiteY3075" fmla="*/ 2971233 h 5504521"/>
              <a:gd name="connsiteX3076" fmla="*/ 5491187 w 6384854"/>
              <a:gd name="connsiteY3076" fmla="*/ 2974026 h 5504521"/>
              <a:gd name="connsiteX3077" fmla="*/ 5490590 w 6384854"/>
              <a:gd name="connsiteY3077" fmla="*/ 2976820 h 5504521"/>
              <a:gd name="connsiteX3078" fmla="*/ 5488991 w 6384854"/>
              <a:gd name="connsiteY3078" fmla="*/ 2970636 h 5504521"/>
              <a:gd name="connsiteX3079" fmla="*/ 5474665 w 6384854"/>
              <a:gd name="connsiteY3079" fmla="*/ 3037690 h 5504521"/>
              <a:gd name="connsiteX3080" fmla="*/ 5468289 w 6384854"/>
              <a:gd name="connsiteY3080" fmla="*/ 3053857 h 5504521"/>
              <a:gd name="connsiteX3081" fmla="*/ 5462320 w 6384854"/>
              <a:gd name="connsiteY3081" fmla="*/ 3081796 h 5504521"/>
              <a:gd name="connsiteX3082" fmla="*/ 5452553 w 6384854"/>
              <a:gd name="connsiteY3082" fmla="*/ 3100160 h 5504521"/>
              <a:gd name="connsiteX3083" fmla="*/ 5451550 w 6384854"/>
              <a:gd name="connsiteY3083" fmla="*/ 3091182 h 5504521"/>
              <a:gd name="connsiteX3084" fmla="*/ 5442190 w 6384854"/>
              <a:gd name="connsiteY3084" fmla="*/ 3121318 h 5504521"/>
              <a:gd name="connsiteX3085" fmla="*/ 5439993 w 6384854"/>
              <a:gd name="connsiteY3085" fmla="*/ 3117927 h 5504521"/>
              <a:gd name="connsiteX3086" fmla="*/ 5444578 w 6384854"/>
              <a:gd name="connsiteY3086" fmla="*/ 3110142 h 5504521"/>
              <a:gd name="connsiteX3087" fmla="*/ 5440590 w 6384854"/>
              <a:gd name="connsiteY3087" fmla="*/ 3115134 h 5504521"/>
              <a:gd name="connsiteX3088" fmla="*/ 5437797 w 6384854"/>
              <a:gd name="connsiteY3088" fmla="*/ 3114536 h 5504521"/>
              <a:gd name="connsiteX3089" fmla="*/ 5455487 w 6384854"/>
              <a:gd name="connsiteY3089" fmla="*/ 3004379 h 5504521"/>
              <a:gd name="connsiteX3090" fmla="*/ 5453290 w 6384854"/>
              <a:gd name="connsiteY3090" fmla="*/ 3000987 h 5504521"/>
              <a:gd name="connsiteX3091" fmla="*/ 5449900 w 6384854"/>
              <a:gd name="connsiteY3091" fmla="*/ 3003185 h 5504521"/>
              <a:gd name="connsiteX3092" fmla="*/ 5433212 w 6384854"/>
              <a:gd name="connsiteY3092" fmla="*/ 3122321 h 5504521"/>
              <a:gd name="connsiteX3093" fmla="*/ 5426646 w 6384854"/>
              <a:gd name="connsiteY3093" fmla="*/ 3153055 h 5504521"/>
              <a:gd name="connsiteX3094" fmla="*/ 5433833 w 6384854"/>
              <a:gd name="connsiteY3094" fmla="*/ 3160434 h 5504521"/>
              <a:gd name="connsiteX3095" fmla="*/ 5429655 w 6384854"/>
              <a:gd name="connsiteY3095" fmla="*/ 3179991 h 5504521"/>
              <a:gd name="connsiteX3096" fmla="*/ 5426264 w 6384854"/>
              <a:gd name="connsiteY3096" fmla="*/ 3182188 h 5504521"/>
              <a:gd name="connsiteX3097" fmla="*/ 5425668 w 6384854"/>
              <a:gd name="connsiteY3097" fmla="*/ 3184981 h 5504521"/>
              <a:gd name="connsiteX3098" fmla="*/ 5422277 w 6384854"/>
              <a:gd name="connsiteY3098" fmla="*/ 3187179 h 5504521"/>
              <a:gd name="connsiteX3099" fmla="*/ 5422086 w 6384854"/>
              <a:gd name="connsiteY3099" fmla="*/ 3201746 h 5504521"/>
              <a:gd name="connsiteX3100" fmla="*/ 5424880 w 6384854"/>
              <a:gd name="connsiteY3100" fmla="*/ 3202342 h 5504521"/>
              <a:gd name="connsiteX3101" fmla="*/ 5425477 w 6384854"/>
              <a:gd name="connsiteY3101" fmla="*/ 3199549 h 5504521"/>
              <a:gd name="connsiteX3102" fmla="*/ 5426074 w 6384854"/>
              <a:gd name="connsiteY3102" fmla="*/ 3196754 h 5504521"/>
              <a:gd name="connsiteX3103" fmla="*/ 5435840 w 6384854"/>
              <a:gd name="connsiteY3103" fmla="*/ 3178391 h 5504521"/>
              <a:gd name="connsiteX3104" fmla="*/ 5443816 w 6384854"/>
              <a:gd name="connsiteY3104" fmla="*/ 3168408 h 5504521"/>
              <a:gd name="connsiteX3105" fmla="*/ 5439900 w 6384854"/>
              <a:gd name="connsiteY3105" fmla="*/ 3167938 h 5504521"/>
              <a:gd name="connsiteX3106" fmla="*/ 5439540 w 6384854"/>
              <a:gd name="connsiteY3106" fmla="*/ 3163205 h 5504521"/>
              <a:gd name="connsiteX3107" fmla="*/ 5443409 w 6384854"/>
              <a:gd name="connsiteY3107" fmla="*/ 3156637 h 5504521"/>
              <a:gd name="connsiteX3108" fmla="*/ 5450191 w 6384854"/>
              <a:gd name="connsiteY3108" fmla="*/ 3152242 h 5504521"/>
              <a:gd name="connsiteX3109" fmla="*/ 5436843 w 6384854"/>
              <a:gd name="connsiteY3109" fmla="*/ 3187369 h 5504521"/>
              <a:gd name="connsiteX3110" fmla="*/ 5439637 w 6384854"/>
              <a:gd name="connsiteY3110" fmla="*/ 3187966 h 5504521"/>
              <a:gd name="connsiteX3111" fmla="*/ 5425883 w 6384854"/>
              <a:gd name="connsiteY3111" fmla="*/ 3211321 h 5504521"/>
              <a:gd name="connsiteX3112" fmla="*/ 5425096 w 6384854"/>
              <a:gd name="connsiteY3112" fmla="*/ 3228682 h 5504521"/>
              <a:gd name="connsiteX3113" fmla="*/ 5413729 w 6384854"/>
              <a:gd name="connsiteY3113" fmla="*/ 3240861 h 5504521"/>
              <a:gd name="connsiteX3114" fmla="*/ 5408954 w 6384854"/>
              <a:gd name="connsiteY3114" fmla="*/ 3263212 h 5504521"/>
              <a:gd name="connsiteX3115" fmla="*/ 5391212 w 6384854"/>
              <a:gd name="connsiteY3115" fmla="*/ 3291558 h 5504521"/>
              <a:gd name="connsiteX3116" fmla="*/ 5393409 w 6384854"/>
              <a:gd name="connsiteY3116" fmla="*/ 3294949 h 5504521"/>
              <a:gd name="connsiteX3117" fmla="*/ 5387225 w 6384854"/>
              <a:gd name="connsiteY3117" fmla="*/ 3296550 h 5504521"/>
              <a:gd name="connsiteX3118" fmla="*/ 5376861 w 6384854"/>
              <a:gd name="connsiteY3118" fmla="*/ 3317707 h 5504521"/>
              <a:gd name="connsiteX3119" fmla="*/ 5370079 w 6384854"/>
              <a:gd name="connsiteY3119" fmla="*/ 3322101 h 5504521"/>
              <a:gd name="connsiteX3120" fmla="*/ 5365304 w 6384854"/>
              <a:gd name="connsiteY3120" fmla="*/ 3344452 h 5504521"/>
              <a:gd name="connsiteX3121" fmla="*/ 5328626 w 6384854"/>
              <a:gd name="connsiteY3121" fmla="*/ 3406732 h 5504521"/>
              <a:gd name="connsiteX3122" fmla="*/ 5326835 w 6384854"/>
              <a:gd name="connsiteY3122" fmla="*/ 3415114 h 5504521"/>
              <a:gd name="connsiteX3123" fmla="*/ 5321845 w 6384854"/>
              <a:gd name="connsiteY3123" fmla="*/ 3411126 h 5504521"/>
              <a:gd name="connsiteX3124" fmla="*/ 5318860 w 6384854"/>
              <a:gd name="connsiteY3124" fmla="*/ 3425096 h 5504521"/>
              <a:gd name="connsiteX3125" fmla="*/ 5312675 w 6384854"/>
              <a:gd name="connsiteY3125" fmla="*/ 3426696 h 5504521"/>
              <a:gd name="connsiteX3126" fmla="*/ 5301715 w 6384854"/>
              <a:gd name="connsiteY3126" fmla="*/ 3450648 h 5504521"/>
              <a:gd name="connsiteX3127" fmla="*/ 5286958 w 6384854"/>
              <a:gd name="connsiteY3127" fmla="*/ 3465024 h 5504521"/>
              <a:gd name="connsiteX3128" fmla="*/ 5283567 w 6384854"/>
              <a:gd name="connsiteY3128" fmla="*/ 3467221 h 5504521"/>
              <a:gd name="connsiteX3129" fmla="*/ 5284760 w 6384854"/>
              <a:gd name="connsiteY3129" fmla="*/ 3461633 h 5504521"/>
              <a:gd name="connsiteX3130" fmla="*/ 5278576 w 6384854"/>
              <a:gd name="connsiteY3130" fmla="*/ 3463233 h 5504521"/>
              <a:gd name="connsiteX3131" fmla="*/ 5277979 w 6384854"/>
              <a:gd name="connsiteY3131" fmla="*/ 3466026 h 5504521"/>
              <a:gd name="connsiteX3132" fmla="*/ 5275185 w 6384854"/>
              <a:gd name="connsiteY3132" fmla="*/ 3465430 h 5504521"/>
              <a:gd name="connsiteX3133" fmla="*/ 5272391 w 6384854"/>
              <a:gd name="connsiteY3133" fmla="*/ 3464833 h 5504521"/>
              <a:gd name="connsiteX3134" fmla="*/ 5271794 w 6384854"/>
              <a:gd name="connsiteY3134" fmla="*/ 3467627 h 5504521"/>
              <a:gd name="connsiteX3135" fmla="*/ 5253049 w 6384854"/>
              <a:gd name="connsiteY3135" fmla="*/ 3486994 h 5504521"/>
              <a:gd name="connsiteX3136" fmla="*/ 5255246 w 6384854"/>
              <a:gd name="connsiteY3136" fmla="*/ 3490384 h 5504521"/>
              <a:gd name="connsiteX3137" fmla="*/ 5247867 w 6384854"/>
              <a:gd name="connsiteY3137" fmla="*/ 3497573 h 5504521"/>
              <a:gd name="connsiteX3138" fmla="*/ 5248464 w 6384854"/>
              <a:gd name="connsiteY3138" fmla="*/ 3494779 h 5504521"/>
              <a:gd name="connsiteX3139" fmla="*/ 5245073 w 6384854"/>
              <a:gd name="connsiteY3139" fmla="*/ 3496975 h 5504521"/>
              <a:gd name="connsiteX3140" fmla="*/ 5241085 w 6384854"/>
              <a:gd name="connsiteY3140" fmla="*/ 3501967 h 5504521"/>
              <a:gd name="connsiteX3141" fmla="*/ 5243283 w 6384854"/>
              <a:gd name="connsiteY3141" fmla="*/ 3505358 h 5504521"/>
              <a:gd name="connsiteX3142" fmla="*/ 5218353 w 6384854"/>
              <a:gd name="connsiteY3142" fmla="*/ 3526325 h 5504521"/>
              <a:gd name="connsiteX3143" fmla="*/ 5179477 w 6384854"/>
              <a:gd name="connsiteY3143" fmla="*/ 3585213 h 5504521"/>
              <a:gd name="connsiteX3144" fmla="*/ 5172099 w 6384854"/>
              <a:gd name="connsiteY3144" fmla="*/ 3592401 h 5504521"/>
              <a:gd name="connsiteX3145" fmla="*/ 5170308 w 6384854"/>
              <a:gd name="connsiteY3145" fmla="*/ 3600783 h 5504521"/>
              <a:gd name="connsiteX3146" fmla="*/ 5181675 w 6384854"/>
              <a:gd name="connsiteY3146" fmla="*/ 3588604 h 5504521"/>
              <a:gd name="connsiteX3147" fmla="*/ 5179287 w 6384854"/>
              <a:gd name="connsiteY3147" fmla="*/ 3599780 h 5504521"/>
              <a:gd name="connsiteX3148" fmla="*/ 5175896 w 6384854"/>
              <a:gd name="connsiteY3148" fmla="*/ 3601977 h 5504521"/>
              <a:gd name="connsiteX3149" fmla="*/ 5171312 w 6384854"/>
              <a:gd name="connsiteY3149" fmla="*/ 3609762 h 5504521"/>
              <a:gd name="connsiteX3150" fmla="*/ 5167921 w 6384854"/>
              <a:gd name="connsiteY3150" fmla="*/ 3611959 h 5504521"/>
              <a:gd name="connsiteX3151" fmla="*/ 5167324 w 6384854"/>
              <a:gd name="connsiteY3151" fmla="*/ 3614753 h 5504521"/>
              <a:gd name="connsiteX3152" fmla="*/ 5170118 w 6384854"/>
              <a:gd name="connsiteY3152" fmla="*/ 3615350 h 5504521"/>
              <a:gd name="connsiteX3153" fmla="*/ 5160948 w 6384854"/>
              <a:gd name="connsiteY3153" fmla="*/ 3630920 h 5504521"/>
              <a:gd name="connsiteX3154" fmla="*/ 5148578 w 6384854"/>
              <a:gd name="connsiteY3154" fmla="*/ 3634120 h 5504521"/>
              <a:gd name="connsiteX3155" fmla="*/ 5138406 w 6384854"/>
              <a:gd name="connsiteY3155" fmla="*/ 3640711 h 5504521"/>
              <a:gd name="connsiteX3156" fmla="*/ 5142394 w 6384854"/>
              <a:gd name="connsiteY3156" fmla="*/ 3635720 h 5504521"/>
              <a:gd name="connsiteX3157" fmla="*/ 5142991 w 6384854"/>
              <a:gd name="connsiteY3157" fmla="*/ 3632926 h 5504521"/>
              <a:gd name="connsiteX3158" fmla="*/ 5136209 w 6384854"/>
              <a:gd name="connsiteY3158" fmla="*/ 3637320 h 5504521"/>
              <a:gd name="connsiteX3159" fmla="*/ 5133415 w 6384854"/>
              <a:gd name="connsiteY3159" fmla="*/ 3636723 h 5504521"/>
              <a:gd name="connsiteX3160" fmla="*/ 5132818 w 6384854"/>
              <a:gd name="connsiteY3160" fmla="*/ 3639517 h 5504521"/>
              <a:gd name="connsiteX3161" fmla="*/ 5115863 w 6384854"/>
              <a:gd name="connsiteY3161" fmla="*/ 3650502 h 5504521"/>
              <a:gd name="connsiteX3162" fmla="*/ 5092534 w 6384854"/>
              <a:gd name="connsiteY3162" fmla="*/ 3677654 h 5504521"/>
              <a:gd name="connsiteX3163" fmla="*/ 5091937 w 6384854"/>
              <a:gd name="connsiteY3163" fmla="*/ 3680448 h 5504521"/>
              <a:gd name="connsiteX3164" fmla="*/ 5088546 w 6384854"/>
              <a:gd name="connsiteY3164" fmla="*/ 3682645 h 5504521"/>
              <a:gd name="connsiteX3165" fmla="*/ 5072405 w 6384854"/>
              <a:gd name="connsiteY3165" fmla="*/ 3717176 h 5504521"/>
              <a:gd name="connsiteX3166" fmla="*/ 5071807 w 6384854"/>
              <a:gd name="connsiteY3166" fmla="*/ 3719969 h 5504521"/>
              <a:gd name="connsiteX3167" fmla="*/ 5057240 w 6384854"/>
              <a:gd name="connsiteY3167" fmla="*/ 3719779 h 5504521"/>
              <a:gd name="connsiteX3168" fmla="*/ 5061228 w 6384854"/>
              <a:gd name="connsiteY3168" fmla="*/ 3714788 h 5504521"/>
              <a:gd name="connsiteX3169" fmla="*/ 5061826 w 6384854"/>
              <a:gd name="connsiteY3169" fmla="*/ 3711994 h 5504521"/>
              <a:gd name="connsiteX3170" fmla="*/ 5058434 w 6384854"/>
              <a:gd name="connsiteY3170" fmla="*/ 3714191 h 5504521"/>
              <a:gd name="connsiteX3171" fmla="*/ 5044274 w 6384854"/>
              <a:gd name="connsiteY3171" fmla="*/ 3725773 h 5504521"/>
              <a:gd name="connsiteX3172" fmla="*/ 5040883 w 6384854"/>
              <a:gd name="connsiteY3172" fmla="*/ 3727970 h 5504521"/>
              <a:gd name="connsiteX3173" fmla="*/ 5037492 w 6384854"/>
              <a:gd name="connsiteY3173" fmla="*/ 3730167 h 5504521"/>
              <a:gd name="connsiteX3174" fmla="*/ 5033504 w 6384854"/>
              <a:gd name="connsiteY3174" fmla="*/ 3735159 h 5504521"/>
              <a:gd name="connsiteX3175" fmla="*/ 5022545 w 6384854"/>
              <a:gd name="connsiteY3175" fmla="*/ 3759110 h 5504521"/>
              <a:gd name="connsiteX3176" fmla="*/ 5019751 w 6384854"/>
              <a:gd name="connsiteY3176" fmla="*/ 3758513 h 5504521"/>
              <a:gd name="connsiteX3177" fmla="*/ 5018557 w 6384854"/>
              <a:gd name="connsiteY3177" fmla="*/ 3764101 h 5504521"/>
              <a:gd name="connsiteX3178" fmla="*/ 5008384 w 6384854"/>
              <a:gd name="connsiteY3178" fmla="*/ 3770692 h 5504521"/>
              <a:gd name="connsiteX3179" fmla="*/ 4987441 w 6384854"/>
              <a:gd name="connsiteY3179" fmla="*/ 3786668 h 5504521"/>
              <a:gd name="connsiteX3180" fmla="*/ 4993220 w 6384854"/>
              <a:gd name="connsiteY3180" fmla="*/ 3773295 h 5504521"/>
              <a:gd name="connsiteX3181" fmla="*/ 4914633 w 6384854"/>
              <a:gd name="connsiteY3181" fmla="*/ 3826621 h 5504521"/>
              <a:gd name="connsiteX3182" fmla="*/ 4821289 w 6384854"/>
              <a:gd name="connsiteY3182" fmla="*/ 3894323 h 5504521"/>
              <a:gd name="connsiteX3183" fmla="*/ 4803140 w 6384854"/>
              <a:gd name="connsiteY3183" fmla="*/ 3910896 h 5504521"/>
              <a:gd name="connsiteX3184" fmla="*/ 4752278 w 6384854"/>
              <a:gd name="connsiteY3184" fmla="*/ 3943851 h 5504521"/>
              <a:gd name="connsiteX3185" fmla="*/ 4749483 w 6384854"/>
              <a:gd name="connsiteY3185" fmla="*/ 3943254 h 5504521"/>
              <a:gd name="connsiteX3186" fmla="*/ 4746093 w 6384854"/>
              <a:gd name="connsiteY3186" fmla="*/ 3945451 h 5504521"/>
              <a:gd name="connsiteX3187" fmla="*/ 4729139 w 6384854"/>
              <a:gd name="connsiteY3187" fmla="*/ 3956436 h 5504521"/>
              <a:gd name="connsiteX3188" fmla="*/ 4701008 w 6384854"/>
              <a:gd name="connsiteY3188" fmla="*/ 3965034 h 5504521"/>
              <a:gd name="connsiteX3189" fmla="*/ 4687445 w 6384854"/>
              <a:gd name="connsiteY3189" fmla="*/ 3973822 h 5504521"/>
              <a:gd name="connsiteX3190" fmla="*/ 4677869 w 6384854"/>
              <a:gd name="connsiteY3190" fmla="*/ 3977619 h 5504521"/>
              <a:gd name="connsiteX3191" fmla="*/ 4677272 w 6384854"/>
              <a:gd name="connsiteY3191" fmla="*/ 3980413 h 5504521"/>
              <a:gd name="connsiteX3192" fmla="*/ 4680663 w 6384854"/>
              <a:gd name="connsiteY3192" fmla="*/ 3978216 h 5504521"/>
              <a:gd name="connsiteX3193" fmla="*/ 4686847 w 6384854"/>
              <a:gd name="connsiteY3193" fmla="*/ 3976616 h 5504521"/>
              <a:gd name="connsiteX3194" fmla="*/ 4686250 w 6384854"/>
              <a:gd name="connsiteY3194" fmla="*/ 3979410 h 5504521"/>
              <a:gd name="connsiteX3195" fmla="*/ 4666503 w 6384854"/>
              <a:gd name="connsiteY3195" fmla="*/ 3989798 h 5504521"/>
              <a:gd name="connsiteX3196" fmla="*/ 4663708 w 6384854"/>
              <a:gd name="connsiteY3196" fmla="*/ 3989202 h 5504521"/>
              <a:gd name="connsiteX3197" fmla="*/ 4665499 w 6384854"/>
              <a:gd name="connsiteY3197" fmla="*/ 3980819 h 5504521"/>
              <a:gd name="connsiteX3198" fmla="*/ 4655923 w 6384854"/>
              <a:gd name="connsiteY3198" fmla="*/ 3984616 h 5504521"/>
              <a:gd name="connsiteX3199" fmla="*/ 4632187 w 6384854"/>
              <a:gd name="connsiteY3199" fmla="*/ 3999996 h 5504521"/>
              <a:gd name="connsiteX3200" fmla="*/ 4638968 w 6384854"/>
              <a:gd name="connsiteY3200" fmla="*/ 3995601 h 5504521"/>
              <a:gd name="connsiteX3201" fmla="*/ 4636175 w 6384854"/>
              <a:gd name="connsiteY3201" fmla="*/ 3995005 h 5504521"/>
              <a:gd name="connsiteX3202" fmla="*/ 4626002 w 6384854"/>
              <a:gd name="connsiteY3202" fmla="*/ 4001596 h 5504521"/>
              <a:gd name="connsiteX3203" fmla="*/ 4604654 w 6384854"/>
              <a:gd name="connsiteY3203" fmla="*/ 4005799 h 5504521"/>
              <a:gd name="connsiteX3204" fmla="*/ 4594481 w 6384854"/>
              <a:gd name="connsiteY3204" fmla="*/ 4012390 h 5504521"/>
              <a:gd name="connsiteX3205" fmla="*/ 4592284 w 6384854"/>
              <a:gd name="connsiteY3205" fmla="*/ 4008999 h 5504521"/>
              <a:gd name="connsiteX3206" fmla="*/ 4556775 w 6384854"/>
              <a:gd name="connsiteY3206" fmla="*/ 4024785 h 5504521"/>
              <a:gd name="connsiteX3207" fmla="*/ 4568547 w 6384854"/>
              <a:gd name="connsiteY3207" fmla="*/ 4024379 h 5504521"/>
              <a:gd name="connsiteX3208" fmla="*/ 4525254 w 6384854"/>
              <a:gd name="connsiteY3208" fmla="*/ 4035580 h 5504521"/>
              <a:gd name="connsiteX3209" fmla="*/ 4524657 w 6384854"/>
              <a:gd name="connsiteY3209" fmla="*/ 4038373 h 5504521"/>
              <a:gd name="connsiteX3210" fmla="*/ 4507296 w 6384854"/>
              <a:gd name="connsiteY3210" fmla="*/ 4037586 h 5504521"/>
              <a:gd name="connsiteX3211" fmla="*/ 4499320 w 6384854"/>
              <a:gd name="connsiteY3211" fmla="*/ 4047568 h 5504521"/>
              <a:gd name="connsiteX3212" fmla="*/ 4471788 w 6384854"/>
              <a:gd name="connsiteY3212" fmla="*/ 4053372 h 5504521"/>
              <a:gd name="connsiteX3213" fmla="*/ 4463406 w 6384854"/>
              <a:gd name="connsiteY3213" fmla="*/ 4051581 h 5504521"/>
              <a:gd name="connsiteX3214" fmla="*/ 4460014 w 6384854"/>
              <a:gd name="connsiteY3214" fmla="*/ 4053777 h 5504521"/>
              <a:gd name="connsiteX3215" fmla="*/ 4410535 w 6384854"/>
              <a:gd name="connsiteY3215" fmla="*/ 4066578 h 5504521"/>
              <a:gd name="connsiteX3216" fmla="*/ 4365045 w 6384854"/>
              <a:gd name="connsiteY3216" fmla="*/ 4074388 h 5504521"/>
              <a:gd name="connsiteX3217" fmla="*/ 4370633 w 6384854"/>
              <a:gd name="connsiteY3217" fmla="*/ 4075582 h 5504521"/>
              <a:gd name="connsiteX3218" fmla="*/ 4349881 w 6384854"/>
              <a:gd name="connsiteY3218" fmla="*/ 4076992 h 5504521"/>
              <a:gd name="connsiteX3219" fmla="*/ 4304390 w 6384854"/>
              <a:gd name="connsiteY3219" fmla="*/ 4084802 h 5504521"/>
              <a:gd name="connsiteX3220" fmla="*/ 4306587 w 6384854"/>
              <a:gd name="connsiteY3220" fmla="*/ 4088192 h 5504521"/>
              <a:gd name="connsiteX3221" fmla="*/ 4285239 w 6384854"/>
              <a:gd name="connsiteY3221" fmla="*/ 4092395 h 5504521"/>
              <a:gd name="connsiteX3222" fmla="*/ 4274063 w 6384854"/>
              <a:gd name="connsiteY3222" fmla="*/ 4090008 h 5504521"/>
              <a:gd name="connsiteX3223" fmla="*/ 4205624 w 6384854"/>
              <a:gd name="connsiteY3223" fmla="*/ 4095836 h 5504521"/>
              <a:gd name="connsiteX3224" fmla="*/ 4208417 w 6384854"/>
              <a:gd name="connsiteY3224" fmla="*/ 4096434 h 5504521"/>
              <a:gd name="connsiteX3225" fmla="*/ 4190460 w 6384854"/>
              <a:gd name="connsiteY3225" fmla="*/ 4098440 h 5504521"/>
              <a:gd name="connsiteX3226" fmla="*/ 4158533 w 6384854"/>
              <a:gd name="connsiteY3226" fmla="*/ 4097462 h 5504521"/>
              <a:gd name="connsiteX3227" fmla="*/ 4082714 w 6384854"/>
              <a:gd name="connsiteY3227" fmla="*/ 4110478 h 5504521"/>
              <a:gd name="connsiteX3228" fmla="*/ 4074332 w 6384854"/>
              <a:gd name="connsiteY3228" fmla="*/ 4108687 h 5504521"/>
              <a:gd name="connsiteX3229" fmla="*/ 4063157 w 6384854"/>
              <a:gd name="connsiteY3229" fmla="*/ 4106300 h 5504521"/>
              <a:gd name="connsiteX3230" fmla="*/ 4005486 w 6384854"/>
              <a:gd name="connsiteY3230" fmla="*/ 4102744 h 5504521"/>
              <a:gd name="connsiteX3231" fmla="*/ 3989725 w 6384854"/>
              <a:gd name="connsiteY3231" fmla="*/ 4108140 h 5504521"/>
              <a:gd name="connsiteX3232" fmla="*/ 3977953 w 6384854"/>
              <a:gd name="connsiteY3232" fmla="*/ 4108547 h 5504521"/>
              <a:gd name="connsiteX3233" fmla="*/ 3954407 w 6384854"/>
              <a:gd name="connsiteY3233" fmla="*/ 4109359 h 5504521"/>
              <a:gd name="connsiteX3234" fmla="*/ 3932653 w 6384854"/>
              <a:gd name="connsiteY3234" fmla="*/ 4101790 h 5504521"/>
              <a:gd name="connsiteX3235" fmla="*/ 3923077 w 6384854"/>
              <a:gd name="connsiteY3235" fmla="*/ 4105588 h 5504521"/>
              <a:gd name="connsiteX3236" fmla="*/ 3920283 w 6384854"/>
              <a:gd name="connsiteY3236" fmla="*/ 4104990 h 5504521"/>
              <a:gd name="connsiteX3237" fmla="*/ 3900128 w 6384854"/>
              <a:gd name="connsiteY3237" fmla="*/ 4103606 h 5504521"/>
              <a:gd name="connsiteX3238" fmla="*/ 3883962 w 6384854"/>
              <a:gd name="connsiteY3238" fmla="*/ 4097231 h 5504521"/>
              <a:gd name="connsiteX3239" fmla="*/ 3879973 w 6384854"/>
              <a:gd name="connsiteY3239" fmla="*/ 4102221 h 5504521"/>
              <a:gd name="connsiteX3240" fmla="*/ 3878373 w 6384854"/>
              <a:gd name="connsiteY3240" fmla="*/ 4096037 h 5504521"/>
              <a:gd name="connsiteX3241" fmla="*/ 3858219 w 6384854"/>
              <a:gd name="connsiteY3241" fmla="*/ 4094653 h 5504521"/>
              <a:gd name="connsiteX3242" fmla="*/ 3851437 w 6384854"/>
              <a:gd name="connsiteY3242" fmla="*/ 4099046 h 5504521"/>
              <a:gd name="connsiteX3243" fmla="*/ 3839665 w 6384854"/>
              <a:gd name="connsiteY3243" fmla="*/ 4099453 h 5504521"/>
              <a:gd name="connsiteX3244" fmla="*/ 3836870 w 6384854"/>
              <a:gd name="connsiteY3244" fmla="*/ 4098856 h 5504521"/>
              <a:gd name="connsiteX3245" fmla="*/ 3831880 w 6384854"/>
              <a:gd name="connsiteY3245" fmla="*/ 4094868 h 5504521"/>
              <a:gd name="connsiteX3246" fmla="*/ 3828488 w 6384854"/>
              <a:gd name="connsiteY3246" fmla="*/ 4097065 h 5504521"/>
              <a:gd name="connsiteX3247" fmla="*/ 3830686 w 6384854"/>
              <a:gd name="connsiteY3247" fmla="*/ 4100456 h 5504521"/>
              <a:gd name="connsiteX3248" fmla="*/ 3827892 w 6384854"/>
              <a:gd name="connsiteY3248" fmla="*/ 4099858 h 5504521"/>
              <a:gd name="connsiteX3249" fmla="*/ 3822304 w 6384854"/>
              <a:gd name="connsiteY3249" fmla="*/ 4098665 h 5504521"/>
              <a:gd name="connsiteX3250" fmla="*/ 3819103 w 6384854"/>
              <a:gd name="connsiteY3250" fmla="*/ 4086296 h 5504521"/>
              <a:gd name="connsiteX3251" fmla="*/ 3830279 w 6384854"/>
              <a:gd name="connsiteY3251" fmla="*/ 4088683 h 5504521"/>
              <a:gd name="connsiteX3252" fmla="*/ 3833671 w 6384854"/>
              <a:gd name="connsiteY3252" fmla="*/ 4086486 h 5504521"/>
              <a:gd name="connsiteX3253" fmla="*/ 3830876 w 6384854"/>
              <a:gd name="connsiteY3253" fmla="*/ 4085889 h 5504521"/>
              <a:gd name="connsiteX3254" fmla="*/ 3814113 w 6384854"/>
              <a:gd name="connsiteY3254" fmla="*/ 4082308 h 5504521"/>
              <a:gd name="connsiteX3255" fmla="*/ 3808424 w 6384854"/>
              <a:gd name="connsiteY3255" fmla="*/ 4081092 h 5504521"/>
              <a:gd name="connsiteX3256" fmla="*/ 3978156 w 6384854"/>
              <a:gd name="connsiteY3256" fmla="*/ 3948885 h 5504521"/>
              <a:gd name="connsiteX3257" fmla="*/ 4108088 w 6384854"/>
              <a:gd name="connsiteY3257" fmla="*/ 3850752 h 5504521"/>
              <a:gd name="connsiteX3258" fmla="*/ 4168749 w 6384854"/>
              <a:gd name="connsiteY3258" fmla="*/ 3799792 h 5504521"/>
              <a:gd name="connsiteX3259" fmla="*/ 4193790 w 6384854"/>
              <a:gd name="connsiteY3259" fmla="*/ 3796718 h 5504521"/>
              <a:gd name="connsiteX3260" fmla="*/ 4312411 w 6384854"/>
              <a:gd name="connsiteY3260" fmla="*/ 3773087 h 5504521"/>
              <a:gd name="connsiteX3261" fmla="*/ 5024296 w 6384854"/>
              <a:gd name="connsiteY3261" fmla="*/ 3387832 h 5504521"/>
              <a:gd name="connsiteX3262" fmla="*/ 5129533 w 6384854"/>
              <a:gd name="connsiteY3262" fmla="*/ 3275676 h 5504521"/>
              <a:gd name="connsiteX3263" fmla="*/ 5145257 w 6384854"/>
              <a:gd name="connsiteY3263" fmla="*/ 3247498 h 5504521"/>
              <a:gd name="connsiteX3264" fmla="*/ 5153119 w 6384854"/>
              <a:gd name="connsiteY3264" fmla="*/ 3233409 h 5504521"/>
              <a:gd name="connsiteX3265" fmla="*/ 5179939 w 6384854"/>
              <a:gd name="connsiteY3265" fmla="*/ 3193046 h 5504521"/>
              <a:gd name="connsiteX3266" fmla="*/ 5238455 w 6384854"/>
              <a:gd name="connsiteY3266" fmla="*/ 3095168 h 5504521"/>
              <a:gd name="connsiteX3267" fmla="*/ 5247803 w 6384854"/>
              <a:gd name="connsiteY3267" fmla="*/ 3074119 h 5504521"/>
              <a:gd name="connsiteX3268" fmla="*/ 5257469 w 6384854"/>
              <a:gd name="connsiteY3268" fmla="*/ 3028878 h 5504521"/>
              <a:gd name="connsiteX3269" fmla="*/ 5337193 w 6384854"/>
              <a:gd name="connsiteY3269" fmla="*/ 2797043 h 5504521"/>
              <a:gd name="connsiteX3270" fmla="*/ 5337204 w 6384854"/>
              <a:gd name="connsiteY3270" fmla="*/ 2796978 h 5504521"/>
              <a:gd name="connsiteX3271" fmla="*/ 5309082 w 6384854"/>
              <a:gd name="connsiteY3271" fmla="*/ 2804418 h 5504521"/>
              <a:gd name="connsiteX3272" fmla="*/ 5286590 w 6384854"/>
              <a:gd name="connsiteY3272" fmla="*/ 2824466 h 5504521"/>
              <a:gd name="connsiteX3273" fmla="*/ 5158309 w 6384854"/>
              <a:gd name="connsiteY3273" fmla="*/ 2918834 h 5504521"/>
              <a:gd name="connsiteX3274" fmla="*/ 5108391 w 6384854"/>
              <a:gd name="connsiteY3274" fmla="*/ 2950751 h 5504521"/>
              <a:gd name="connsiteX3275" fmla="*/ 5035591 w 6384854"/>
              <a:gd name="connsiteY3275" fmla="*/ 3016178 h 5504521"/>
              <a:gd name="connsiteX3276" fmla="*/ 4936830 w 6384854"/>
              <a:gd name="connsiteY3276" fmla="*/ 3103463 h 5504521"/>
              <a:gd name="connsiteX3277" fmla="*/ 4858579 w 6384854"/>
              <a:gd name="connsiteY3277" fmla="*/ 3183131 h 5504521"/>
              <a:gd name="connsiteX3278" fmla="*/ 4778881 w 6384854"/>
              <a:gd name="connsiteY3278" fmla="*/ 3253447 h 5504521"/>
              <a:gd name="connsiteX3279" fmla="*/ 4724142 w 6384854"/>
              <a:gd name="connsiteY3279" fmla="*/ 3307805 h 5504521"/>
              <a:gd name="connsiteX3280" fmla="*/ 4487681 w 6384854"/>
              <a:gd name="connsiteY3280" fmla="*/ 3515158 h 5504521"/>
              <a:gd name="connsiteX3281" fmla="*/ 4233122 w 6384854"/>
              <a:gd name="connsiteY3281" fmla="*/ 3745713 h 5504521"/>
              <a:gd name="connsiteX3282" fmla="*/ 4168749 w 6384854"/>
              <a:gd name="connsiteY3282" fmla="*/ 3799792 h 5504521"/>
              <a:gd name="connsiteX3283" fmla="*/ 4134015 w 6384854"/>
              <a:gd name="connsiteY3283" fmla="*/ 3804056 h 5504521"/>
              <a:gd name="connsiteX3284" fmla="*/ 4073979 w 6384854"/>
              <a:gd name="connsiteY3284" fmla="*/ 3804629 h 5504521"/>
              <a:gd name="connsiteX3285" fmla="*/ 3920307 w 6384854"/>
              <a:gd name="connsiteY3285" fmla="*/ 3788628 h 5504521"/>
              <a:gd name="connsiteX3286" fmla="*/ 3792803 w 6384854"/>
              <a:gd name="connsiteY3286" fmla="*/ 3771639 h 5504521"/>
              <a:gd name="connsiteX3287" fmla="*/ 3828175 w 6384854"/>
              <a:gd name="connsiteY3287" fmla="*/ 3742122 h 5504521"/>
              <a:gd name="connsiteX3288" fmla="*/ 3901123 w 6384854"/>
              <a:gd name="connsiteY3288" fmla="*/ 3681778 h 5504521"/>
              <a:gd name="connsiteX3289" fmla="*/ 4019057 w 6384854"/>
              <a:gd name="connsiteY3289" fmla="*/ 3594743 h 5504521"/>
              <a:gd name="connsiteX3290" fmla="*/ 4022209 w 6384854"/>
              <a:gd name="connsiteY3290" fmla="*/ 3582132 h 5504521"/>
              <a:gd name="connsiteX3291" fmla="*/ 4012849 w 6384854"/>
              <a:gd name="connsiteY3291" fmla="*/ 3574712 h 5504521"/>
              <a:gd name="connsiteX3292" fmla="*/ 4001737 w 6384854"/>
              <a:gd name="connsiteY3292" fmla="*/ 3577614 h 5504521"/>
              <a:gd name="connsiteX3293" fmla="*/ 3978410 w 6384854"/>
              <a:gd name="connsiteY3293" fmla="*/ 3595875 h 5504521"/>
              <a:gd name="connsiteX3294" fmla="*/ 3754040 w 6384854"/>
              <a:gd name="connsiteY3294" fmla="*/ 3765203 h 5504521"/>
              <a:gd name="connsiteX3295" fmla="*/ 3734159 w 6384854"/>
              <a:gd name="connsiteY3295" fmla="*/ 3760685 h 5504521"/>
              <a:gd name="connsiteX3296" fmla="*/ 3702925 w 6384854"/>
              <a:gd name="connsiteY3296" fmla="*/ 3747188 h 5504521"/>
              <a:gd name="connsiteX3297" fmla="*/ 3684859 w 6384854"/>
              <a:gd name="connsiteY3297" fmla="*/ 3740903 h 5504521"/>
              <a:gd name="connsiteX3298" fmla="*/ 3584753 w 6384854"/>
              <a:gd name="connsiteY3298" fmla="*/ 3709812 h 5504521"/>
              <a:gd name="connsiteX3299" fmla="*/ 3361801 w 6384854"/>
              <a:gd name="connsiteY3299" fmla="*/ 3589401 h 5504521"/>
              <a:gd name="connsiteX3300" fmla="*/ 2792532 w 6384854"/>
              <a:gd name="connsiteY3300" fmla="*/ 2693905 h 5504521"/>
              <a:gd name="connsiteX3301" fmla="*/ 2790094 w 6384854"/>
              <a:gd name="connsiteY3301" fmla="*/ 2522204 h 5504521"/>
              <a:gd name="connsiteX3302" fmla="*/ 2811149 w 6384854"/>
              <a:gd name="connsiteY3302" fmla="*/ 2394910 h 5504521"/>
              <a:gd name="connsiteX3303" fmla="*/ 2828907 w 6384854"/>
              <a:gd name="connsiteY3303" fmla="*/ 2389830 h 5504521"/>
              <a:gd name="connsiteX3304" fmla="*/ 2857007 w 6384854"/>
              <a:gd name="connsiteY3304" fmla="*/ 2391212 h 5504521"/>
              <a:gd name="connsiteX3305" fmla="*/ 2875253 w 6384854"/>
              <a:gd name="connsiteY3305" fmla="*/ 2373093 h 5504521"/>
              <a:gd name="connsiteX3306" fmla="*/ 2902066 w 6384854"/>
              <a:gd name="connsiteY3306" fmla="*/ 2340254 h 5504521"/>
              <a:gd name="connsiteX3307" fmla="*/ 2950279 w 6384854"/>
              <a:gd name="connsiteY3307" fmla="*/ 2330302 h 5504521"/>
              <a:gd name="connsiteX3308" fmla="*/ 2977203 w 6384854"/>
              <a:gd name="connsiteY3308" fmla="*/ 2314680 h 5504521"/>
              <a:gd name="connsiteX3309" fmla="*/ 2991519 w 6384854"/>
              <a:gd name="connsiteY3309" fmla="*/ 2295887 h 5504521"/>
              <a:gd name="connsiteX3310" fmla="*/ 2997786 w 6384854"/>
              <a:gd name="connsiteY3310" fmla="*/ 2282798 h 5504521"/>
              <a:gd name="connsiteX3311" fmla="*/ 3012176 w 6384854"/>
              <a:gd name="connsiteY3311" fmla="*/ 2293355 h 5504521"/>
              <a:gd name="connsiteX3312" fmla="*/ 3014735 w 6384854"/>
              <a:gd name="connsiteY3312" fmla="*/ 2314026 h 5504521"/>
              <a:gd name="connsiteX3313" fmla="*/ 3059758 w 6384854"/>
              <a:gd name="connsiteY3313" fmla="*/ 2328817 h 5504521"/>
              <a:gd name="connsiteX3314" fmla="*/ 3071107 w 6384854"/>
              <a:gd name="connsiteY3314" fmla="*/ 2315586 h 5504521"/>
              <a:gd name="connsiteX3315" fmla="*/ 3084569 w 6384854"/>
              <a:gd name="connsiteY3315" fmla="*/ 2307776 h 5504521"/>
              <a:gd name="connsiteX3316" fmla="*/ 3148098 w 6384854"/>
              <a:gd name="connsiteY3316" fmla="*/ 2273132 h 5504521"/>
              <a:gd name="connsiteX3317" fmla="*/ 3148283 w 6384854"/>
              <a:gd name="connsiteY3317" fmla="*/ 2266082 h 5504521"/>
              <a:gd name="connsiteX3318" fmla="*/ 3135525 w 6384854"/>
              <a:gd name="connsiteY3318" fmla="*/ 2257828 h 5504521"/>
              <a:gd name="connsiteX3319" fmla="*/ 3132558 w 6384854"/>
              <a:gd name="connsiteY3319" fmla="*/ 2263389 h 5504521"/>
              <a:gd name="connsiteX3320" fmla="*/ 3105448 w 6384854"/>
              <a:gd name="connsiteY3320" fmla="*/ 2286061 h 5504521"/>
              <a:gd name="connsiteX3321" fmla="*/ 3072738 w 6384854"/>
              <a:gd name="connsiteY3321" fmla="*/ 2264273 h 5504521"/>
              <a:gd name="connsiteX3322" fmla="*/ 3080303 w 6384854"/>
              <a:gd name="connsiteY3322" fmla="*/ 2255453 h 5504521"/>
              <a:gd name="connsiteX3323" fmla="*/ 3098549 w 6384854"/>
              <a:gd name="connsiteY3323" fmla="*/ 2237333 h 5504521"/>
              <a:gd name="connsiteX3324" fmla="*/ 3136525 w 6384854"/>
              <a:gd name="connsiteY3324" fmla="*/ 2198314 h 5504521"/>
              <a:gd name="connsiteX3325" fmla="*/ 3159334 w 6384854"/>
              <a:gd name="connsiteY3325" fmla="*/ 2189069 h 5504521"/>
              <a:gd name="connsiteX3326" fmla="*/ 3189188 w 6384854"/>
              <a:gd name="connsiteY3326" fmla="*/ 2180019 h 5504521"/>
              <a:gd name="connsiteX3327" fmla="*/ 3206915 w 6384854"/>
              <a:gd name="connsiteY3327" fmla="*/ 2170915 h 5504521"/>
              <a:gd name="connsiteX3328" fmla="*/ 3221713 w 6384854"/>
              <a:gd name="connsiteY3328" fmla="*/ 2155240 h 5504521"/>
              <a:gd name="connsiteX3329" fmla="*/ 3243965 w 6384854"/>
              <a:gd name="connsiteY3329" fmla="*/ 2167143 h 5504521"/>
              <a:gd name="connsiteX3330" fmla="*/ 3266921 w 6384854"/>
              <a:gd name="connsiteY3330" fmla="*/ 2109366 h 5504521"/>
              <a:gd name="connsiteX3331" fmla="*/ 3268849 w 6384854"/>
              <a:gd name="connsiteY3331" fmla="*/ 2121835 h 5504521"/>
              <a:gd name="connsiteX3332" fmla="*/ 3302079 w 6384854"/>
              <a:gd name="connsiteY3332" fmla="*/ 2134607 h 5504521"/>
              <a:gd name="connsiteX3333" fmla="*/ 3338869 w 6384854"/>
              <a:gd name="connsiteY3333" fmla="*/ 2108536 h 5504521"/>
              <a:gd name="connsiteX3334" fmla="*/ 3408405 w 6384854"/>
              <a:gd name="connsiteY3334" fmla="*/ 2092118 h 5504521"/>
              <a:gd name="connsiteX3335" fmla="*/ 3426503 w 6384854"/>
              <a:gd name="connsiteY3335" fmla="*/ 2068915 h 5504521"/>
              <a:gd name="connsiteX3336" fmla="*/ 3441523 w 6384854"/>
              <a:gd name="connsiteY3336" fmla="*/ 2034058 h 5504521"/>
              <a:gd name="connsiteX3337" fmla="*/ 3471897 w 6384854"/>
              <a:gd name="connsiteY3337" fmla="*/ 2015992 h 5504521"/>
              <a:gd name="connsiteX3338" fmla="*/ 3492554 w 6384854"/>
              <a:gd name="connsiteY3338" fmla="*/ 2013460 h 5504521"/>
              <a:gd name="connsiteX3339" fmla="*/ 3498784 w 6384854"/>
              <a:gd name="connsiteY3339" fmla="*/ 2012503 h 5504521"/>
              <a:gd name="connsiteX3340" fmla="*/ 3538726 w 6384854"/>
              <a:gd name="connsiteY3340" fmla="*/ 1973821 h 5504521"/>
              <a:gd name="connsiteX3341" fmla="*/ 3570805 w 6384854"/>
              <a:gd name="connsiteY3341" fmla="*/ 1933791 h 5504521"/>
              <a:gd name="connsiteX3342" fmla="*/ 3583934 w 6384854"/>
              <a:gd name="connsiteY3342" fmla="*/ 1927947 h 5504521"/>
              <a:gd name="connsiteX3343" fmla="*/ 3603626 w 6384854"/>
              <a:gd name="connsiteY3343" fmla="*/ 1919180 h 5504521"/>
              <a:gd name="connsiteX3344" fmla="*/ 3646572 w 6384854"/>
              <a:gd name="connsiteY3344" fmla="*/ 1862802 h 5504521"/>
              <a:gd name="connsiteX3345" fmla="*/ 3672829 w 6384854"/>
              <a:gd name="connsiteY3345" fmla="*/ 1851113 h 5504521"/>
              <a:gd name="connsiteX3346" fmla="*/ 3692485 w 6384854"/>
              <a:gd name="connsiteY3346" fmla="*/ 1854479 h 5504521"/>
              <a:gd name="connsiteX3347" fmla="*/ 3708692 w 6384854"/>
              <a:gd name="connsiteY3347" fmla="*/ 1860289 h 5504521"/>
              <a:gd name="connsiteX3348" fmla="*/ 3760056 w 6384854"/>
              <a:gd name="connsiteY3348" fmla="*/ 1837725 h 5504521"/>
              <a:gd name="connsiteX3349" fmla="*/ 3759314 w 6384854"/>
              <a:gd name="connsiteY3349" fmla="*/ 1812307 h 5504521"/>
              <a:gd name="connsiteX3350" fmla="*/ 3751192 w 6384854"/>
              <a:gd name="connsiteY3350" fmla="*/ 1788661 h 5504521"/>
              <a:gd name="connsiteX3351" fmla="*/ 3779341 w 6384854"/>
              <a:gd name="connsiteY3351" fmla="*/ 1801574 h 5504521"/>
              <a:gd name="connsiteX3352" fmla="*/ 3824216 w 6384854"/>
              <a:gd name="connsiteY3352" fmla="*/ 1811282 h 5504521"/>
              <a:gd name="connsiteX3353" fmla="*/ 3849249 w 6384854"/>
              <a:gd name="connsiteY3353" fmla="*/ 1771058 h 5504521"/>
              <a:gd name="connsiteX3354" fmla="*/ 3864380 w 6384854"/>
              <a:gd name="connsiteY3354" fmla="*/ 1753417 h 5504521"/>
              <a:gd name="connsiteX3355" fmla="*/ 3901281 w 6384854"/>
              <a:gd name="connsiteY3355" fmla="*/ 1744561 h 5504521"/>
              <a:gd name="connsiteX3356" fmla="*/ 3913259 w 6384854"/>
              <a:gd name="connsiteY3356" fmla="*/ 1739532 h 5504521"/>
              <a:gd name="connsiteX3357" fmla="*/ 3934955 w 6384854"/>
              <a:gd name="connsiteY3357" fmla="*/ 1718968 h 5504521"/>
              <a:gd name="connsiteX3358" fmla="*/ 3931469 w 6384854"/>
              <a:gd name="connsiteY3358" fmla="*/ 1733545 h 5504521"/>
              <a:gd name="connsiteX3359" fmla="*/ 3944041 w 6384854"/>
              <a:gd name="connsiteY3359" fmla="*/ 1748849 h 5504521"/>
              <a:gd name="connsiteX3360" fmla="*/ 3956205 w 6384854"/>
              <a:gd name="connsiteY3360" fmla="*/ 1736770 h 5504521"/>
              <a:gd name="connsiteX3361" fmla="*/ 3971447 w 6384854"/>
              <a:gd name="connsiteY3361" fmla="*/ 1682729 h 5504521"/>
              <a:gd name="connsiteX3362" fmla="*/ 3997741 w 6384854"/>
              <a:gd name="connsiteY3362" fmla="*/ 1658907 h 5504521"/>
              <a:gd name="connsiteX3363" fmla="*/ 4030414 w 6384854"/>
              <a:gd name="connsiteY3363" fmla="*/ 1639211 h 5504521"/>
              <a:gd name="connsiteX3364" fmla="*/ 4067834 w 6384854"/>
              <a:gd name="connsiteY3364" fmla="*/ 1621341 h 5504521"/>
              <a:gd name="connsiteX3365" fmla="*/ 4090346 w 6384854"/>
              <a:gd name="connsiteY3365" fmla="*/ 1601929 h 5504521"/>
              <a:gd name="connsiteX3366" fmla="*/ 4119903 w 6384854"/>
              <a:gd name="connsiteY3366" fmla="*/ 1582711 h 5504521"/>
              <a:gd name="connsiteX3367" fmla="*/ 4133662 w 6384854"/>
              <a:gd name="connsiteY3367" fmla="*/ 1585068 h 5504521"/>
              <a:gd name="connsiteX3368" fmla="*/ 4173196 w 6384854"/>
              <a:gd name="connsiteY3368" fmla="*/ 1572617 h 5504521"/>
              <a:gd name="connsiteX3369" fmla="*/ 4178203 w 6384854"/>
              <a:gd name="connsiteY3369" fmla="*/ 1543126 h 5504521"/>
              <a:gd name="connsiteX3370" fmla="*/ 4194038 w 6384854"/>
              <a:gd name="connsiteY3370" fmla="*/ 1509420 h 5504521"/>
              <a:gd name="connsiteX3371" fmla="*/ 4232830 w 6384854"/>
              <a:gd name="connsiteY3371" fmla="*/ 1471551 h 5504521"/>
              <a:gd name="connsiteX3372" fmla="*/ 4242695 w 6384854"/>
              <a:gd name="connsiteY3372" fmla="*/ 1461101 h 5504521"/>
              <a:gd name="connsiteX3373" fmla="*/ 4309524 w 6384854"/>
              <a:gd name="connsiteY3373" fmla="*/ 1418930 h 5504521"/>
              <a:gd name="connsiteX3374" fmla="*/ 4310897 w 6384854"/>
              <a:gd name="connsiteY3374" fmla="*/ 1452548 h 5504521"/>
              <a:gd name="connsiteX3375" fmla="*/ 4313642 w 6384854"/>
              <a:gd name="connsiteY3375" fmla="*/ 1466169 h 5504521"/>
              <a:gd name="connsiteX3376" fmla="*/ 4320651 w 6384854"/>
              <a:gd name="connsiteY3376" fmla="*/ 1478498 h 5504521"/>
              <a:gd name="connsiteX3377" fmla="*/ 4331332 w 6384854"/>
              <a:gd name="connsiteY3377" fmla="*/ 1469199 h 5504521"/>
              <a:gd name="connsiteX3378" fmla="*/ 4334187 w 6384854"/>
              <a:gd name="connsiteY3378" fmla="*/ 1446421 h 5504521"/>
              <a:gd name="connsiteX3379" fmla="*/ 4345017 w 6384854"/>
              <a:gd name="connsiteY3379" fmla="*/ 1442205 h 5504521"/>
              <a:gd name="connsiteX3380" fmla="*/ 4360890 w 6384854"/>
              <a:gd name="connsiteY3380" fmla="*/ 1449982 h 5504521"/>
              <a:gd name="connsiteX3381" fmla="*/ 4415443 w 6384854"/>
              <a:gd name="connsiteY3381" fmla="*/ 1402673 h 5504521"/>
              <a:gd name="connsiteX3382" fmla="*/ 4420264 w 6384854"/>
              <a:gd name="connsiteY3382" fmla="*/ 1380232 h 5504521"/>
              <a:gd name="connsiteX3383" fmla="*/ 4428906 w 6384854"/>
              <a:gd name="connsiteY3383" fmla="*/ 1394863 h 5504521"/>
              <a:gd name="connsiteX3384" fmla="*/ 4448895 w 6384854"/>
              <a:gd name="connsiteY3384" fmla="*/ 1396262 h 5504521"/>
              <a:gd name="connsiteX3385" fmla="*/ 4465176 w 6384854"/>
              <a:gd name="connsiteY3385" fmla="*/ 1377807 h 5504521"/>
              <a:gd name="connsiteX3386" fmla="*/ 4466066 w 6384854"/>
              <a:gd name="connsiteY3386" fmla="*/ 1354692 h 5504521"/>
              <a:gd name="connsiteX3387" fmla="*/ 4444815 w 6384854"/>
              <a:gd name="connsiteY3387" fmla="*/ 1336890 h 5504521"/>
              <a:gd name="connsiteX3388" fmla="*/ 4471851 w 6384854"/>
              <a:gd name="connsiteY3388" fmla="*/ 1338485 h 5504521"/>
              <a:gd name="connsiteX3389" fmla="*/ 4489096 w 6384854"/>
              <a:gd name="connsiteY3389" fmla="*/ 1326264 h 5504521"/>
              <a:gd name="connsiteX3390" fmla="*/ 4493143 w 6384854"/>
              <a:gd name="connsiteY3390" fmla="*/ 1311072 h 5504521"/>
              <a:gd name="connsiteX3391" fmla="*/ 4407462 w 6384854"/>
              <a:gd name="connsiteY3391" fmla="*/ 1289825 h 5504521"/>
              <a:gd name="connsiteX3392" fmla="*/ 4023604 w 6384854"/>
              <a:gd name="connsiteY3392" fmla="*/ 1246176 h 5504521"/>
              <a:gd name="connsiteX3393" fmla="*/ 3642236 w 6384854"/>
              <a:gd name="connsiteY3393" fmla="*/ 1305858 h 5504521"/>
              <a:gd name="connsiteX3394" fmla="*/ 3486361 w 6384854"/>
              <a:gd name="connsiteY3394" fmla="*/ 1393852 h 5504521"/>
              <a:gd name="connsiteX3395" fmla="*/ 3369513 w 6384854"/>
              <a:gd name="connsiteY3395" fmla="*/ 1486546 h 5504521"/>
              <a:gd name="connsiteX3396" fmla="*/ 3155042 w 6384854"/>
              <a:gd name="connsiteY3396" fmla="*/ 1678468 h 5504521"/>
              <a:gd name="connsiteX3397" fmla="*/ 2818168 w 6384854"/>
              <a:gd name="connsiteY3397" fmla="*/ 2352473 h 5504521"/>
              <a:gd name="connsiteX3398" fmla="*/ 2811149 w 6384854"/>
              <a:gd name="connsiteY3398" fmla="*/ 2394910 h 5504521"/>
              <a:gd name="connsiteX3399" fmla="*/ 2804609 w 6384854"/>
              <a:gd name="connsiteY3399" fmla="*/ 2396780 h 5504521"/>
              <a:gd name="connsiteX3400" fmla="*/ 2766258 w 6384854"/>
              <a:gd name="connsiteY3400" fmla="*/ 2431310 h 5504521"/>
              <a:gd name="connsiteX3401" fmla="*/ 2736515 w 6384854"/>
              <a:gd name="connsiteY3401" fmla="*/ 2457576 h 5504521"/>
              <a:gd name="connsiteX3402" fmla="*/ 2720605 w 6384854"/>
              <a:gd name="connsiteY3402" fmla="*/ 2515548 h 5504521"/>
              <a:gd name="connsiteX3403" fmla="*/ 2723832 w 6384854"/>
              <a:gd name="connsiteY3403" fmla="*/ 2532287 h 5504521"/>
              <a:gd name="connsiteX3404" fmla="*/ 2706550 w 6384854"/>
              <a:gd name="connsiteY3404" fmla="*/ 2556641 h 5504521"/>
              <a:gd name="connsiteX3405" fmla="*/ 2678438 w 6384854"/>
              <a:gd name="connsiteY3405" fmla="*/ 2531595 h 5504521"/>
              <a:gd name="connsiteX3406" fmla="*/ 2679217 w 6384854"/>
              <a:gd name="connsiteY3406" fmla="*/ 2491264 h 5504521"/>
              <a:gd name="connsiteX3407" fmla="*/ 2676471 w 6384854"/>
              <a:gd name="connsiteY3407" fmla="*/ 2477642 h 5504521"/>
              <a:gd name="connsiteX3408" fmla="*/ 2658633 w 6384854"/>
              <a:gd name="connsiteY3408" fmla="*/ 2469530 h 5504521"/>
              <a:gd name="connsiteX3409" fmla="*/ 2647619 w 6384854"/>
              <a:gd name="connsiteY3409" fmla="*/ 2480794 h 5504521"/>
              <a:gd name="connsiteX3410" fmla="*/ 2565028 w 6384854"/>
              <a:gd name="connsiteY3410" fmla="*/ 2586021 h 5504521"/>
              <a:gd name="connsiteX3411" fmla="*/ 2575783 w 6384854"/>
              <a:gd name="connsiteY3411" fmla="*/ 2552457 h 5504521"/>
              <a:gd name="connsiteX3412" fmla="*/ 2581605 w 6384854"/>
              <a:gd name="connsiteY3412" fmla="*/ 2524118 h 5504521"/>
              <a:gd name="connsiteX3413" fmla="*/ 2562802 w 6384854"/>
              <a:gd name="connsiteY3413" fmla="*/ 2509769 h 5504521"/>
              <a:gd name="connsiteX3414" fmla="*/ 2532998 w 6384854"/>
              <a:gd name="connsiteY3414" fmla="*/ 2516277 h 5504521"/>
              <a:gd name="connsiteX3415" fmla="*/ 2536061 w 6384854"/>
              <a:gd name="connsiteY3415" fmla="*/ 2488752 h 5504521"/>
              <a:gd name="connsiteX3416" fmla="*/ 2538257 w 6384854"/>
              <a:gd name="connsiteY3416" fmla="*/ 2492142 h 5504521"/>
              <a:gd name="connsiteX3417" fmla="*/ 2539236 w 6384854"/>
              <a:gd name="connsiteY3417" fmla="*/ 2460215 h 5504521"/>
              <a:gd name="connsiteX3418" fmla="*/ 2553561 w 6384854"/>
              <a:gd name="connsiteY3418" fmla="*/ 2393160 h 5504521"/>
              <a:gd name="connsiteX3419" fmla="*/ 2556953 w 6384854"/>
              <a:gd name="connsiteY3419" fmla="*/ 2390963 h 5504521"/>
              <a:gd name="connsiteX3420" fmla="*/ 2558147 w 6384854"/>
              <a:gd name="connsiteY3420" fmla="*/ 2385375 h 5504521"/>
              <a:gd name="connsiteX3421" fmla="*/ 2555949 w 6384854"/>
              <a:gd name="connsiteY3421" fmla="*/ 2381984 h 5504521"/>
              <a:gd name="connsiteX3422" fmla="*/ 2556546 w 6384854"/>
              <a:gd name="connsiteY3422" fmla="*/ 2379191 h 5504521"/>
              <a:gd name="connsiteX3423" fmla="*/ 2558337 w 6384854"/>
              <a:gd name="connsiteY3423" fmla="*/ 2370809 h 5504521"/>
              <a:gd name="connsiteX3424" fmla="*/ 2559531 w 6384854"/>
              <a:gd name="connsiteY3424" fmla="*/ 2365221 h 5504521"/>
              <a:gd name="connsiteX3425" fmla="*/ 2559721 w 6384854"/>
              <a:gd name="connsiteY3425" fmla="*/ 2350654 h 5504521"/>
              <a:gd name="connsiteX3426" fmla="*/ 2562515 w 6384854"/>
              <a:gd name="connsiteY3426" fmla="*/ 2351251 h 5504521"/>
              <a:gd name="connsiteX3427" fmla="*/ 2563112 w 6384854"/>
              <a:gd name="connsiteY3427" fmla="*/ 2348457 h 5504521"/>
              <a:gd name="connsiteX3428" fmla="*/ 2563709 w 6384854"/>
              <a:gd name="connsiteY3428" fmla="*/ 2345663 h 5504521"/>
              <a:gd name="connsiteX3429" fmla="*/ 2560915 w 6384854"/>
              <a:gd name="connsiteY3429" fmla="*/ 2345066 h 5504521"/>
              <a:gd name="connsiteX3430" fmla="*/ 2562706 w 6384854"/>
              <a:gd name="connsiteY3430" fmla="*/ 2336684 h 5504521"/>
              <a:gd name="connsiteX3431" fmla="*/ 2567100 w 6384854"/>
              <a:gd name="connsiteY3431" fmla="*/ 2343467 h 5504521"/>
              <a:gd name="connsiteX3432" fmla="*/ 2567697 w 6384854"/>
              <a:gd name="connsiteY3432" fmla="*/ 2340672 h 5504521"/>
              <a:gd name="connsiteX3433" fmla="*/ 2566769 w 6384854"/>
              <a:gd name="connsiteY3433" fmla="*/ 2454411 h 5504521"/>
              <a:gd name="connsiteX3434" fmla="*/ 2568966 w 6384854"/>
              <a:gd name="connsiteY3434" fmla="*/ 2457803 h 5504521"/>
              <a:gd name="connsiteX3435" fmla="*/ 2569563 w 6384854"/>
              <a:gd name="connsiteY3435" fmla="*/ 2455009 h 5504521"/>
              <a:gd name="connsiteX3436" fmla="*/ 2570160 w 6384854"/>
              <a:gd name="connsiteY3436" fmla="*/ 2452214 h 5504521"/>
              <a:gd name="connsiteX3437" fmla="*/ 2571684 w 6384854"/>
              <a:gd name="connsiteY3437" fmla="*/ 2335682 h 5504521"/>
              <a:gd name="connsiteX3438" fmla="*/ 2572663 w 6384854"/>
              <a:gd name="connsiteY3438" fmla="*/ 2303754 h 5504521"/>
              <a:gd name="connsiteX3439" fmla="*/ 2565475 w 6384854"/>
              <a:gd name="connsiteY3439" fmla="*/ 2296376 h 5504521"/>
              <a:gd name="connsiteX3440" fmla="*/ 2575431 w 6384854"/>
              <a:gd name="connsiteY3440" fmla="*/ 2263445 h 5504521"/>
              <a:gd name="connsiteX3441" fmla="*/ 2573235 w 6384854"/>
              <a:gd name="connsiteY3441" fmla="*/ 2260054 h 5504521"/>
              <a:gd name="connsiteX3442" fmla="*/ 2572638 w 6384854"/>
              <a:gd name="connsiteY3442" fmla="*/ 2262848 h 5504521"/>
              <a:gd name="connsiteX3443" fmla="*/ 2562681 w 6384854"/>
              <a:gd name="connsiteY3443" fmla="*/ 2295779 h 5504521"/>
              <a:gd name="connsiteX3444" fmla="*/ 2559290 w 6384854"/>
              <a:gd name="connsiteY3444" fmla="*/ 2297975 h 5504521"/>
              <a:gd name="connsiteX3445" fmla="*/ 2557093 w 6384854"/>
              <a:gd name="connsiteY3445" fmla="*/ 2294585 h 5504521"/>
              <a:gd name="connsiteX3446" fmla="*/ 2560077 w 6384854"/>
              <a:gd name="connsiteY3446" fmla="*/ 2280615 h 5504521"/>
              <a:gd name="connsiteX3447" fmla="*/ 2565259 w 6384854"/>
              <a:gd name="connsiteY3447" fmla="*/ 2270036 h 5504521"/>
              <a:gd name="connsiteX3448" fmla="*/ 2565856 w 6384854"/>
              <a:gd name="connsiteY3448" fmla="*/ 2267242 h 5504521"/>
              <a:gd name="connsiteX3449" fmla="*/ 2566453 w 6384854"/>
              <a:gd name="connsiteY3449" fmla="*/ 2264448 h 5504521"/>
              <a:gd name="connsiteX3450" fmla="*/ 2569844 w 6384854"/>
              <a:gd name="connsiteY3450" fmla="*/ 2262251 h 5504521"/>
              <a:gd name="connsiteX3451" fmla="*/ 2570441 w 6384854"/>
              <a:gd name="connsiteY3451" fmla="*/ 2259457 h 5504521"/>
              <a:gd name="connsiteX3452" fmla="*/ 2571037 w 6384854"/>
              <a:gd name="connsiteY3452" fmla="*/ 2256663 h 5504521"/>
              <a:gd name="connsiteX3453" fmla="*/ 2568243 w 6384854"/>
              <a:gd name="connsiteY3453" fmla="*/ 2256066 h 5504521"/>
              <a:gd name="connsiteX3454" fmla="*/ 2564853 w 6384854"/>
              <a:gd name="connsiteY3454" fmla="*/ 2258263 h 5504521"/>
              <a:gd name="connsiteX3455" fmla="*/ 2567838 w 6384854"/>
              <a:gd name="connsiteY3455" fmla="*/ 2244294 h 5504521"/>
              <a:gd name="connsiteX3456" fmla="*/ 2569031 w 6384854"/>
              <a:gd name="connsiteY3456" fmla="*/ 2238706 h 5504521"/>
              <a:gd name="connsiteX3457" fmla="*/ 2567431 w 6384854"/>
              <a:gd name="connsiteY3457" fmla="*/ 2232521 h 5504521"/>
              <a:gd name="connsiteX3458" fmla="*/ 2573807 w 6384854"/>
              <a:gd name="connsiteY3458" fmla="*/ 2216354 h 5504521"/>
              <a:gd name="connsiteX3459" fmla="*/ 2579585 w 6384854"/>
              <a:gd name="connsiteY3459" fmla="*/ 2202982 h 5504521"/>
              <a:gd name="connsiteX3460" fmla="*/ 2578391 w 6384854"/>
              <a:gd name="connsiteY3460" fmla="*/ 2208569 h 5504521"/>
              <a:gd name="connsiteX3461" fmla="*/ 2576003 w 6384854"/>
              <a:gd name="connsiteY3461" fmla="*/ 2219745 h 5504521"/>
              <a:gd name="connsiteX3462" fmla="*/ 2575406 w 6384854"/>
              <a:gd name="connsiteY3462" fmla="*/ 2222538 h 5504521"/>
              <a:gd name="connsiteX3463" fmla="*/ 2575216 w 6384854"/>
              <a:gd name="connsiteY3463" fmla="*/ 2237105 h 5504521"/>
              <a:gd name="connsiteX3464" fmla="*/ 2578010 w 6384854"/>
              <a:gd name="connsiteY3464" fmla="*/ 2237702 h 5504521"/>
              <a:gd name="connsiteX3465" fmla="*/ 2581400 w 6384854"/>
              <a:gd name="connsiteY3465" fmla="*/ 2235505 h 5504521"/>
              <a:gd name="connsiteX3466" fmla="*/ 2584791 w 6384854"/>
              <a:gd name="connsiteY3466" fmla="*/ 2233308 h 5504521"/>
              <a:gd name="connsiteX3467" fmla="*/ 2585388 w 6384854"/>
              <a:gd name="connsiteY3467" fmla="*/ 2230515 h 5504521"/>
              <a:gd name="connsiteX3468" fmla="*/ 2585986 w 6384854"/>
              <a:gd name="connsiteY3468" fmla="*/ 2227721 h 5504521"/>
              <a:gd name="connsiteX3469" fmla="*/ 2582595 w 6384854"/>
              <a:gd name="connsiteY3469" fmla="*/ 2229918 h 5504521"/>
              <a:gd name="connsiteX3470" fmla="*/ 2579204 w 6384854"/>
              <a:gd name="connsiteY3470" fmla="*/ 2232115 h 5504521"/>
              <a:gd name="connsiteX3471" fmla="*/ 2578201 w 6384854"/>
              <a:gd name="connsiteY3471" fmla="*/ 2223136 h 5504521"/>
              <a:gd name="connsiteX3472" fmla="*/ 2581782 w 6384854"/>
              <a:gd name="connsiteY3472" fmla="*/ 2206372 h 5504521"/>
              <a:gd name="connsiteX3473" fmla="*/ 2583573 w 6384854"/>
              <a:gd name="connsiteY3473" fmla="*/ 2197990 h 5504521"/>
              <a:gd name="connsiteX3474" fmla="*/ 2585960 w 6384854"/>
              <a:gd name="connsiteY3474" fmla="*/ 2186814 h 5504521"/>
              <a:gd name="connsiteX3475" fmla="*/ 2591143 w 6384854"/>
              <a:gd name="connsiteY3475" fmla="*/ 2176236 h 5504521"/>
              <a:gd name="connsiteX3476" fmla="*/ 2591739 w 6384854"/>
              <a:gd name="connsiteY3476" fmla="*/ 2173441 h 5504521"/>
              <a:gd name="connsiteX3477" fmla="*/ 2593530 w 6384854"/>
              <a:gd name="connsiteY3477" fmla="*/ 2165060 h 5504521"/>
              <a:gd name="connsiteX3478" fmla="*/ 2595727 w 6384854"/>
              <a:gd name="connsiteY3478" fmla="*/ 2168451 h 5504521"/>
              <a:gd name="connsiteX3479" fmla="*/ 2599715 w 6384854"/>
              <a:gd name="connsiteY3479" fmla="*/ 2163460 h 5504521"/>
              <a:gd name="connsiteX3480" fmla="*/ 2598114 w 6384854"/>
              <a:gd name="connsiteY3480" fmla="*/ 2157275 h 5504521"/>
              <a:gd name="connsiteX3481" fmla="*/ 2601505 w 6384854"/>
              <a:gd name="connsiteY3481" fmla="*/ 2155078 h 5504521"/>
              <a:gd name="connsiteX3482" fmla="*/ 2599308 w 6384854"/>
              <a:gd name="connsiteY3482" fmla="*/ 2151688 h 5504521"/>
              <a:gd name="connsiteX3483" fmla="*/ 2600502 w 6384854"/>
              <a:gd name="connsiteY3483" fmla="*/ 2146099 h 5504521"/>
              <a:gd name="connsiteX3484" fmla="*/ 2605087 w 6384854"/>
              <a:gd name="connsiteY3484" fmla="*/ 2138314 h 5504521"/>
              <a:gd name="connsiteX3485" fmla="*/ 2608478 w 6384854"/>
              <a:gd name="connsiteY3485" fmla="*/ 2136117 h 5504521"/>
              <a:gd name="connsiteX3486" fmla="*/ 2609671 w 6384854"/>
              <a:gd name="connsiteY3486" fmla="*/ 2130530 h 5504521"/>
              <a:gd name="connsiteX3487" fmla="*/ 2614256 w 6384854"/>
              <a:gd name="connsiteY3487" fmla="*/ 2122745 h 5504521"/>
              <a:gd name="connsiteX3488" fmla="*/ 2615450 w 6384854"/>
              <a:gd name="connsiteY3488" fmla="*/ 2117156 h 5504521"/>
              <a:gd name="connsiteX3489" fmla="*/ 2616644 w 6384854"/>
              <a:gd name="connsiteY3489" fmla="*/ 2111568 h 5504521"/>
              <a:gd name="connsiteX3490" fmla="*/ 2613253 w 6384854"/>
              <a:gd name="connsiteY3490" fmla="*/ 2113766 h 5504521"/>
              <a:gd name="connsiteX3491" fmla="*/ 2615641 w 6384854"/>
              <a:gd name="connsiteY3491" fmla="*/ 2102590 h 5504521"/>
              <a:gd name="connsiteX3492" fmla="*/ 2620225 w 6384854"/>
              <a:gd name="connsiteY3492" fmla="*/ 2094805 h 5504521"/>
              <a:gd name="connsiteX3493" fmla="*/ 2620822 w 6384854"/>
              <a:gd name="connsiteY3493" fmla="*/ 2092011 h 5504521"/>
              <a:gd name="connsiteX3494" fmla="*/ 2622016 w 6384854"/>
              <a:gd name="connsiteY3494" fmla="*/ 2086423 h 5504521"/>
              <a:gd name="connsiteX3495" fmla="*/ 2624809 w 6384854"/>
              <a:gd name="connsiteY3495" fmla="*/ 2087020 h 5504521"/>
              <a:gd name="connsiteX3496" fmla="*/ 2619032 w 6384854"/>
              <a:gd name="connsiteY3496" fmla="*/ 2100393 h 5504521"/>
              <a:gd name="connsiteX3497" fmla="*/ 2618435 w 6384854"/>
              <a:gd name="connsiteY3497" fmla="*/ 2103187 h 5504521"/>
              <a:gd name="connsiteX3498" fmla="*/ 2621825 w 6384854"/>
              <a:gd name="connsiteY3498" fmla="*/ 2100989 h 5504521"/>
              <a:gd name="connsiteX3499" fmla="*/ 2624809 w 6384854"/>
              <a:gd name="connsiteY3499" fmla="*/ 2087020 h 5504521"/>
              <a:gd name="connsiteX3500" fmla="*/ 2627604 w 6384854"/>
              <a:gd name="connsiteY3500" fmla="*/ 2087617 h 5504521"/>
              <a:gd name="connsiteX3501" fmla="*/ 2631592 w 6384854"/>
              <a:gd name="connsiteY3501" fmla="*/ 2082626 h 5504521"/>
              <a:gd name="connsiteX3502" fmla="*/ 2632189 w 6384854"/>
              <a:gd name="connsiteY3502" fmla="*/ 2079832 h 5504521"/>
              <a:gd name="connsiteX3503" fmla="*/ 2631185 w 6384854"/>
              <a:gd name="connsiteY3503" fmla="*/ 2070854 h 5504521"/>
              <a:gd name="connsiteX3504" fmla="*/ 2631783 w 6384854"/>
              <a:gd name="connsiteY3504" fmla="*/ 2068059 h 5504521"/>
              <a:gd name="connsiteX3505" fmla="*/ 2636367 w 6384854"/>
              <a:gd name="connsiteY3505" fmla="*/ 2060274 h 5504521"/>
              <a:gd name="connsiteX3506" fmla="*/ 2646133 w 6384854"/>
              <a:gd name="connsiteY3506" fmla="*/ 2041910 h 5504521"/>
              <a:gd name="connsiteX3507" fmla="*/ 2656497 w 6384854"/>
              <a:gd name="connsiteY3507" fmla="*/ 2020753 h 5504521"/>
              <a:gd name="connsiteX3508" fmla="*/ 2657093 w 6384854"/>
              <a:gd name="connsiteY3508" fmla="*/ 2017959 h 5504521"/>
              <a:gd name="connsiteX3509" fmla="*/ 2666263 w 6384854"/>
              <a:gd name="connsiteY3509" fmla="*/ 2002389 h 5504521"/>
              <a:gd name="connsiteX3510" fmla="*/ 2677820 w 6384854"/>
              <a:gd name="connsiteY3510" fmla="*/ 1975643 h 5504521"/>
              <a:gd name="connsiteX3511" fmla="*/ 2687587 w 6384854"/>
              <a:gd name="connsiteY3511" fmla="*/ 1957280 h 5504521"/>
              <a:gd name="connsiteX3512" fmla="*/ 2693962 w 6384854"/>
              <a:gd name="connsiteY3512" fmla="*/ 1941113 h 5504521"/>
              <a:gd name="connsiteX3513" fmla="*/ 2702534 w 6384854"/>
              <a:gd name="connsiteY3513" fmla="*/ 1928337 h 5504521"/>
              <a:gd name="connsiteX3514" fmla="*/ 2759151 w 6384854"/>
              <a:gd name="connsiteY3514" fmla="*/ 1841103 h 5504521"/>
              <a:gd name="connsiteX3515" fmla="*/ 2754160 w 6384854"/>
              <a:gd name="connsiteY3515" fmla="*/ 1837115 h 5504521"/>
              <a:gd name="connsiteX3516" fmla="*/ 2754757 w 6384854"/>
              <a:gd name="connsiteY3516" fmla="*/ 1834320 h 5504521"/>
              <a:gd name="connsiteX3517" fmla="*/ 2755353 w 6384854"/>
              <a:gd name="connsiteY3517" fmla="*/ 1831527 h 5504521"/>
              <a:gd name="connsiteX3518" fmla="*/ 2752559 w 6384854"/>
              <a:gd name="connsiteY3518" fmla="*/ 1830930 h 5504521"/>
              <a:gd name="connsiteX3519" fmla="*/ 2753753 w 6384854"/>
              <a:gd name="connsiteY3519" fmla="*/ 1825342 h 5504521"/>
              <a:gd name="connsiteX3520" fmla="*/ 2762733 w 6384854"/>
              <a:gd name="connsiteY3520" fmla="*/ 1824339 h 5504521"/>
              <a:gd name="connsiteX3521" fmla="*/ 2768511 w 6384854"/>
              <a:gd name="connsiteY3521" fmla="*/ 1810966 h 5504521"/>
              <a:gd name="connsiteX3522" fmla="*/ 2776487 w 6384854"/>
              <a:gd name="connsiteY3522" fmla="*/ 1800984 h 5504521"/>
              <a:gd name="connsiteX3523" fmla="*/ 2785059 w 6384854"/>
              <a:gd name="connsiteY3523" fmla="*/ 1788208 h 5504521"/>
              <a:gd name="connsiteX3524" fmla="*/ 2785656 w 6384854"/>
              <a:gd name="connsiteY3524" fmla="*/ 1785414 h 5504521"/>
              <a:gd name="connsiteX3525" fmla="*/ 2787853 w 6384854"/>
              <a:gd name="connsiteY3525" fmla="*/ 1788805 h 5504521"/>
              <a:gd name="connsiteX3526" fmla="*/ 2792438 w 6384854"/>
              <a:gd name="connsiteY3526" fmla="*/ 1781021 h 5504521"/>
              <a:gd name="connsiteX3527" fmla="*/ 2795231 w 6384854"/>
              <a:gd name="connsiteY3527" fmla="*/ 1781618 h 5504521"/>
              <a:gd name="connsiteX3528" fmla="*/ 2809989 w 6384854"/>
              <a:gd name="connsiteY3528" fmla="*/ 1767241 h 5504521"/>
              <a:gd name="connsiteX3529" fmla="*/ 2832315 w 6384854"/>
              <a:gd name="connsiteY3529" fmla="*/ 1731111 h 5504521"/>
              <a:gd name="connsiteX3530" fmla="*/ 2825534 w 6384854"/>
              <a:gd name="connsiteY3530" fmla="*/ 1735504 h 5504521"/>
              <a:gd name="connsiteX3531" fmla="*/ 2823337 w 6384854"/>
              <a:gd name="connsiteY3531" fmla="*/ 1732114 h 5504521"/>
              <a:gd name="connsiteX3532" fmla="*/ 2833700 w 6384854"/>
              <a:gd name="connsiteY3532" fmla="*/ 1710956 h 5504521"/>
              <a:gd name="connsiteX3533" fmla="*/ 2837687 w 6384854"/>
              <a:gd name="connsiteY3533" fmla="*/ 1705965 h 5504521"/>
              <a:gd name="connsiteX3534" fmla="*/ 2839885 w 6384854"/>
              <a:gd name="connsiteY3534" fmla="*/ 1709355 h 5504521"/>
              <a:gd name="connsiteX3535" fmla="*/ 2835897 w 6384854"/>
              <a:gd name="connsiteY3535" fmla="*/ 1714347 h 5504521"/>
              <a:gd name="connsiteX3536" fmla="*/ 2835300 w 6384854"/>
              <a:gd name="connsiteY3536" fmla="*/ 1717141 h 5504521"/>
              <a:gd name="connsiteX3537" fmla="*/ 2838691 w 6384854"/>
              <a:gd name="connsiteY3537" fmla="*/ 1714944 h 5504521"/>
              <a:gd name="connsiteX3538" fmla="*/ 2843275 w 6384854"/>
              <a:gd name="connsiteY3538" fmla="*/ 1707159 h 5504521"/>
              <a:gd name="connsiteX3539" fmla="*/ 2841079 w 6384854"/>
              <a:gd name="connsiteY3539" fmla="*/ 1703768 h 5504521"/>
              <a:gd name="connsiteX3540" fmla="*/ 2841675 w 6384854"/>
              <a:gd name="connsiteY3540" fmla="*/ 1700974 h 5504521"/>
              <a:gd name="connsiteX3541" fmla="*/ 2845663 w 6384854"/>
              <a:gd name="connsiteY3541" fmla="*/ 1695983 h 5504521"/>
              <a:gd name="connsiteX3542" fmla="*/ 2848457 w 6384854"/>
              <a:gd name="connsiteY3542" fmla="*/ 1696580 h 5504521"/>
              <a:gd name="connsiteX3543" fmla="*/ 2850654 w 6384854"/>
              <a:gd name="connsiteY3543" fmla="*/ 1699971 h 5504521"/>
              <a:gd name="connsiteX3544" fmla="*/ 2850057 w 6384854"/>
              <a:gd name="connsiteY3544" fmla="*/ 1702764 h 5504521"/>
              <a:gd name="connsiteX3545" fmla="*/ 2849461 w 6384854"/>
              <a:gd name="connsiteY3545" fmla="*/ 1705559 h 5504521"/>
              <a:gd name="connsiteX3546" fmla="*/ 2851657 w 6384854"/>
              <a:gd name="connsiteY3546" fmla="*/ 1708950 h 5504521"/>
              <a:gd name="connsiteX3547" fmla="*/ 2855049 w 6384854"/>
              <a:gd name="connsiteY3547" fmla="*/ 1706752 h 5504521"/>
              <a:gd name="connsiteX3548" fmla="*/ 2855645 w 6384854"/>
              <a:gd name="connsiteY3548" fmla="*/ 1703959 h 5504521"/>
              <a:gd name="connsiteX3549" fmla="*/ 2853448 w 6384854"/>
              <a:gd name="connsiteY3549" fmla="*/ 1700568 h 5504521"/>
              <a:gd name="connsiteX3550" fmla="*/ 2854045 w 6384854"/>
              <a:gd name="connsiteY3550" fmla="*/ 1697774 h 5504521"/>
              <a:gd name="connsiteX3551" fmla="*/ 2860230 w 6384854"/>
              <a:gd name="connsiteY3551" fmla="*/ 1696174 h 5504521"/>
              <a:gd name="connsiteX3552" fmla="*/ 2864218 w 6384854"/>
              <a:gd name="connsiteY3552" fmla="*/ 1691183 h 5504521"/>
              <a:gd name="connsiteX3553" fmla="*/ 2867609 w 6384854"/>
              <a:gd name="connsiteY3553" fmla="*/ 1688985 h 5504521"/>
              <a:gd name="connsiteX3554" fmla="*/ 2880169 w 6384854"/>
              <a:gd name="connsiteY3554" fmla="*/ 1671219 h 5504521"/>
              <a:gd name="connsiteX3555" fmla="*/ 2877972 w 6384854"/>
              <a:gd name="connsiteY3555" fmla="*/ 1667828 h 5504521"/>
              <a:gd name="connsiteX3556" fmla="*/ 2886545 w 6384854"/>
              <a:gd name="connsiteY3556" fmla="*/ 1655052 h 5504521"/>
              <a:gd name="connsiteX3557" fmla="*/ 2892730 w 6384854"/>
              <a:gd name="connsiteY3557" fmla="*/ 1653452 h 5504521"/>
              <a:gd name="connsiteX3558" fmla="*/ 2893327 w 6384854"/>
              <a:gd name="connsiteY3558" fmla="*/ 1650658 h 5504521"/>
              <a:gd name="connsiteX3559" fmla="*/ 2890532 w 6384854"/>
              <a:gd name="connsiteY3559" fmla="*/ 1650061 h 5504521"/>
              <a:gd name="connsiteX3560" fmla="*/ 2895117 w 6384854"/>
              <a:gd name="connsiteY3560" fmla="*/ 1642276 h 5504521"/>
              <a:gd name="connsiteX3561" fmla="*/ 2885541 w 6384854"/>
              <a:gd name="connsiteY3561" fmla="*/ 1646073 h 5504521"/>
              <a:gd name="connsiteX3562" fmla="*/ 2889529 w 6384854"/>
              <a:gd name="connsiteY3562" fmla="*/ 1641082 h 5504521"/>
              <a:gd name="connsiteX3563" fmla="*/ 2892920 w 6384854"/>
              <a:gd name="connsiteY3563" fmla="*/ 1638885 h 5504521"/>
              <a:gd name="connsiteX3564" fmla="*/ 2892323 w 6384854"/>
              <a:gd name="connsiteY3564" fmla="*/ 1641679 h 5504521"/>
              <a:gd name="connsiteX3565" fmla="*/ 2907677 w 6384854"/>
              <a:gd name="connsiteY3565" fmla="*/ 1624509 h 5504521"/>
              <a:gd name="connsiteX3566" fmla="*/ 2911068 w 6384854"/>
              <a:gd name="connsiteY3566" fmla="*/ 1622312 h 5504521"/>
              <a:gd name="connsiteX3567" fmla="*/ 2913862 w 6384854"/>
              <a:gd name="connsiteY3567" fmla="*/ 1622909 h 5504521"/>
              <a:gd name="connsiteX3568" fmla="*/ 2916656 w 6384854"/>
              <a:gd name="connsiteY3568" fmla="*/ 1623506 h 5504521"/>
              <a:gd name="connsiteX3569" fmla="*/ 2917253 w 6384854"/>
              <a:gd name="connsiteY3569" fmla="*/ 1620712 h 5504521"/>
              <a:gd name="connsiteX3570" fmla="*/ 2920644 w 6384854"/>
              <a:gd name="connsiteY3570" fmla="*/ 1618515 h 5504521"/>
              <a:gd name="connsiteX3571" fmla="*/ 2915462 w 6384854"/>
              <a:gd name="connsiteY3571" fmla="*/ 1629094 h 5504521"/>
              <a:gd name="connsiteX3572" fmla="*/ 2945574 w 6384854"/>
              <a:gd name="connsiteY3572" fmla="*/ 1597548 h 5504521"/>
              <a:gd name="connsiteX3573" fmla="*/ 2948965 w 6384854"/>
              <a:gd name="connsiteY3573" fmla="*/ 1595351 h 5504521"/>
              <a:gd name="connsiteX3574" fmla="*/ 2952355 w 6384854"/>
              <a:gd name="connsiteY3574" fmla="*/ 1593154 h 5504521"/>
              <a:gd name="connsiteX3575" fmla="*/ 2977882 w 6384854"/>
              <a:gd name="connsiteY3575" fmla="*/ 1569393 h 5504521"/>
              <a:gd name="connsiteX3576" fmla="*/ 2978479 w 6384854"/>
              <a:gd name="connsiteY3576" fmla="*/ 1566599 h 5504521"/>
              <a:gd name="connsiteX3577" fmla="*/ 2985261 w 6384854"/>
              <a:gd name="connsiteY3577" fmla="*/ 1562205 h 5504521"/>
              <a:gd name="connsiteX3578" fmla="*/ 3069221 w 6384854"/>
              <a:gd name="connsiteY3578" fmla="*/ 1483733 h 5504521"/>
              <a:gd name="connsiteX3579" fmla="*/ 3084575 w 6384854"/>
              <a:gd name="connsiteY3579" fmla="*/ 1466564 h 5504521"/>
              <a:gd name="connsiteX3580" fmla="*/ 3134435 w 6384854"/>
              <a:gd name="connsiteY3580" fmla="*/ 1424629 h 5504521"/>
              <a:gd name="connsiteX3581" fmla="*/ 3204640 w 6384854"/>
              <a:gd name="connsiteY3581" fmla="*/ 1369513 h 5504521"/>
              <a:gd name="connsiteX3582" fmla="*/ 3207434 w 6384854"/>
              <a:gd name="connsiteY3582" fmla="*/ 1370110 h 5504521"/>
              <a:gd name="connsiteX3583" fmla="*/ 3208031 w 6384854"/>
              <a:gd name="connsiteY3583" fmla="*/ 1367316 h 5504521"/>
              <a:gd name="connsiteX3584" fmla="*/ 3245331 w 6384854"/>
              <a:gd name="connsiteY3584" fmla="*/ 1343149 h 5504521"/>
              <a:gd name="connsiteX3585" fmla="*/ 3248124 w 6384854"/>
              <a:gd name="connsiteY3585" fmla="*/ 1343746 h 5504521"/>
              <a:gd name="connsiteX3586" fmla="*/ 3261688 w 6384854"/>
              <a:gd name="connsiteY3586" fmla="*/ 1334957 h 5504521"/>
              <a:gd name="connsiteX3587" fmla="*/ 3264482 w 6384854"/>
              <a:gd name="connsiteY3587" fmla="*/ 1335555 h 5504521"/>
              <a:gd name="connsiteX3588" fmla="*/ 3270667 w 6384854"/>
              <a:gd name="connsiteY3588" fmla="*/ 1333955 h 5504521"/>
              <a:gd name="connsiteX3589" fmla="*/ 3274058 w 6384854"/>
              <a:gd name="connsiteY3589" fmla="*/ 1331758 h 5504521"/>
              <a:gd name="connsiteX3590" fmla="*/ 3275251 w 6384854"/>
              <a:gd name="connsiteY3590" fmla="*/ 1326170 h 5504521"/>
              <a:gd name="connsiteX3591" fmla="*/ 3291609 w 6384854"/>
              <a:gd name="connsiteY3591" fmla="*/ 1317979 h 5504521"/>
              <a:gd name="connsiteX3592" fmla="*/ 3304576 w 6384854"/>
              <a:gd name="connsiteY3592" fmla="*/ 1311984 h 5504521"/>
              <a:gd name="connsiteX3593" fmla="*/ 3311357 w 6384854"/>
              <a:gd name="connsiteY3593" fmla="*/ 1307590 h 5504521"/>
              <a:gd name="connsiteX3594" fmla="*/ 3318736 w 6384854"/>
              <a:gd name="connsiteY3594" fmla="*/ 1300402 h 5504521"/>
              <a:gd name="connsiteX3595" fmla="*/ 3320933 w 6384854"/>
              <a:gd name="connsiteY3595" fmla="*/ 1303793 h 5504521"/>
              <a:gd name="connsiteX3596" fmla="*/ 3346866 w 6384854"/>
              <a:gd name="connsiteY3596" fmla="*/ 1291805 h 5504521"/>
              <a:gd name="connsiteX3597" fmla="*/ 3355845 w 6384854"/>
              <a:gd name="connsiteY3597" fmla="*/ 1290802 h 5504521"/>
              <a:gd name="connsiteX3598" fmla="*/ 3356442 w 6384854"/>
              <a:gd name="connsiteY3598" fmla="*/ 1288007 h 5504521"/>
              <a:gd name="connsiteX3599" fmla="*/ 3350257 w 6384854"/>
              <a:gd name="connsiteY3599" fmla="*/ 1289608 h 5504521"/>
              <a:gd name="connsiteX3600" fmla="*/ 3347463 w 6384854"/>
              <a:gd name="connsiteY3600" fmla="*/ 1289011 h 5504521"/>
              <a:gd name="connsiteX3601" fmla="*/ 3350854 w 6384854"/>
              <a:gd name="connsiteY3601" fmla="*/ 1286814 h 5504521"/>
              <a:gd name="connsiteX3602" fmla="*/ 3376190 w 6384854"/>
              <a:gd name="connsiteY3602" fmla="*/ 1277619 h 5504521"/>
              <a:gd name="connsiteX3603" fmla="*/ 3377981 w 6384854"/>
              <a:gd name="connsiteY3603" fmla="*/ 1269238 h 5504521"/>
              <a:gd name="connsiteX3604" fmla="*/ 3380775 w 6384854"/>
              <a:gd name="connsiteY3604" fmla="*/ 1269834 h 5504521"/>
              <a:gd name="connsiteX3605" fmla="*/ 3393741 w 6384854"/>
              <a:gd name="connsiteY3605" fmla="*/ 1263840 h 5504521"/>
              <a:gd name="connsiteX3606" fmla="*/ 3392547 w 6384854"/>
              <a:gd name="connsiteY3606" fmla="*/ 1269428 h 5504521"/>
              <a:gd name="connsiteX3607" fmla="*/ 3395342 w 6384854"/>
              <a:gd name="connsiteY3607" fmla="*/ 1270025 h 5504521"/>
              <a:gd name="connsiteX3608" fmla="*/ 3395939 w 6384854"/>
              <a:gd name="connsiteY3608" fmla="*/ 1267231 h 5504521"/>
              <a:gd name="connsiteX3609" fmla="*/ 3399330 w 6384854"/>
              <a:gd name="connsiteY3609" fmla="*/ 1265034 h 5504521"/>
              <a:gd name="connsiteX3610" fmla="*/ 3408309 w 6384854"/>
              <a:gd name="connsiteY3610" fmla="*/ 1264031 h 5504521"/>
              <a:gd name="connsiteX3611" fmla="*/ 3415687 w 6384854"/>
              <a:gd name="connsiteY3611" fmla="*/ 1256843 h 5504521"/>
              <a:gd name="connsiteX3612" fmla="*/ 3416284 w 6384854"/>
              <a:gd name="connsiteY3612" fmla="*/ 1254049 h 5504521"/>
              <a:gd name="connsiteX3613" fmla="*/ 3433645 w 6384854"/>
              <a:gd name="connsiteY3613" fmla="*/ 1254837 h 5504521"/>
              <a:gd name="connsiteX3614" fmla="*/ 3438826 w 6384854"/>
              <a:gd name="connsiteY3614" fmla="*/ 1244258 h 5504521"/>
              <a:gd name="connsiteX3615" fmla="*/ 3448402 w 6384854"/>
              <a:gd name="connsiteY3615" fmla="*/ 1240460 h 5504521"/>
              <a:gd name="connsiteX3616" fmla="*/ 3450599 w 6384854"/>
              <a:gd name="connsiteY3616" fmla="*/ 1243851 h 5504521"/>
              <a:gd name="connsiteX3617" fmla="*/ 3479326 w 6384854"/>
              <a:gd name="connsiteY3617" fmla="*/ 1232460 h 5504521"/>
              <a:gd name="connsiteX3618" fmla="*/ 3499074 w 6384854"/>
              <a:gd name="connsiteY3618" fmla="*/ 1222072 h 5504521"/>
              <a:gd name="connsiteX3619" fmla="*/ 3501272 w 6384854"/>
              <a:gd name="connsiteY3619" fmla="*/ 1225462 h 5504521"/>
              <a:gd name="connsiteX3620" fmla="*/ 3504663 w 6384854"/>
              <a:gd name="connsiteY3620" fmla="*/ 1223266 h 5504521"/>
              <a:gd name="connsiteX3621" fmla="*/ 3499671 w 6384854"/>
              <a:gd name="connsiteY3621" fmla="*/ 1219278 h 5504521"/>
              <a:gd name="connsiteX3622" fmla="*/ 3502465 w 6384854"/>
              <a:gd name="connsiteY3622" fmla="*/ 1219875 h 5504521"/>
              <a:gd name="connsiteX3623" fmla="*/ 3551945 w 6384854"/>
              <a:gd name="connsiteY3623" fmla="*/ 1207074 h 5504521"/>
              <a:gd name="connsiteX3624" fmla="*/ 3567705 w 6384854"/>
              <a:gd name="connsiteY3624" fmla="*/ 1201676 h 5504521"/>
              <a:gd name="connsiteX3625" fmla="*/ 3576683 w 6384854"/>
              <a:gd name="connsiteY3625" fmla="*/ 1200674 h 5504521"/>
              <a:gd name="connsiteX3626" fmla="*/ 3580074 w 6384854"/>
              <a:gd name="connsiteY3626" fmla="*/ 1198477 h 5504521"/>
              <a:gd name="connsiteX3627" fmla="*/ 3574487 w 6384854"/>
              <a:gd name="connsiteY3627" fmla="*/ 1197283 h 5504521"/>
              <a:gd name="connsiteX3628" fmla="*/ 3573129 w 6384854"/>
              <a:gd name="connsiteY3628" fmla="*/ 1197634 h 5504521"/>
              <a:gd name="connsiteX3629" fmla="*/ 3575003 w 6384854"/>
              <a:gd name="connsiteY3629" fmla="*/ 1195932 h 5504521"/>
              <a:gd name="connsiteX3630" fmla="*/ 3591441 w 6384854"/>
              <a:gd name="connsiteY3630" fmla="*/ 1186297 h 5504521"/>
              <a:gd name="connsiteX3631" fmla="*/ 3589053 w 6384854"/>
              <a:gd name="connsiteY3631" fmla="*/ 1197473 h 5504521"/>
              <a:gd name="connsiteX3632" fmla="*/ 3601423 w 6384854"/>
              <a:gd name="connsiteY3632" fmla="*/ 1194273 h 5504521"/>
              <a:gd name="connsiteX3633" fmla="*/ 3626759 w 6384854"/>
              <a:gd name="connsiteY3633" fmla="*/ 1185078 h 5504521"/>
              <a:gd name="connsiteX3634" fmla="*/ 3620574 w 6384854"/>
              <a:gd name="connsiteY3634" fmla="*/ 1186679 h 5504521"/>
              <a:gd name="connsiteX3635" fmla="*/ 3619977 w 6384854"/>
              <a:gd name="connsiteY3635" fmla="*/ 1189473 h 5504521"/>
              <a:gd name="connsiteX3636" fmla="*/ 3623368 w 6384854"/>
              <a:gd name="connsiteY3636" fmla="*/ 1187276 h 5504521"/>
              <a:gd name="connsiteX3637" fmla="*/ 3630150 w 6384854"/>
              <a:gd name="connsiteY3637" fmla="*/ 1182882 h 5504521"/>
              <a:gd name="connsiteX3638" fmla="*/ 3653695 w 6384854"/>
              <a:gd name="connsiteY3638" fmla="*/ 1182069 h 5504521"/>
              <a:gd name="connsiteX3639" fmla="*/ 3663869 w 6384854"/>
              <a:gd name="connsiteY3639" fmla="*/ 1175478 h 5504521"/>
              <a:gd name="connsiteX3640" fmla="*/ 3665469 w 6384854"/>
              <a:gd name="connsiteY3640" fmla="*/ 1181662 h 5504521"/>
              <a:gd name="connsiteX3641" fmla="*/ 3702577 w 6384854"/>
              <a:gd name="connsiteY3641" fmla="*/ 1172062 h 5504521"/>
              <a:gd name="connsiteX3642" fmla="*/ 3691401 w 6384854"/>
              <a:gd name="connsiteY3642" fmla="*/ 1169674 h 5504521"/>
              <a:gd name="connsiteX3643" fmla="*/ 3739090 w 6384854"/>
              <a:gd name="connsiteY3643" fmla="*/ 1165255 h 5504521"/>
              <a:gd name="connsiteX3644" fmla="*/ 3736893 w 6384854"/>
              <a:gd name="connsiteY3644" fmla="*/ 1161864 h 5504521"/>
              <a:gd name="connsiteX3645" fmla="*/ 3753656 w 6384854"/>
              <a:gd name="connsiteY3645" fmla="*/ 1165446 h 5504521"/>
              <a:gd name="connsiteX3646" fmla="*/ 3764425 w 6384854"/>
              <a:gd name="connsiteY3646" fmla="*/ 1156060 h 5504521"/>
              <a:gd name="connsiteX3647" fmla="*/ 3791362 w 6384854"/>
              <a:gd name="connsiteY3647" fmla="*/ 1153051 h 5504521"/>
              <a:gd name="connsiteX3648" fmla="*/ 3799147 w 6384854"/>
              <a:gd name="connsiteY3648" fmla="*/ 1157636 h 5504521"/>
              <a:gd name="connsiteX3649" fmla="*/ 3803135 w 6384854"/>
              <a:gd name="connsiteY3649" fmla="*/ 1152645 h 5504521"/>
              <a:gd name="connsiteX3650" fmla="*/ 3856411 w 6384854"/>
              <a:gd name="connsiteY3650" fmla="*/ 1149420 h 5504521"/>
              <a:gd name="connsiteX3651" fmla="*/ 3900708 w 6384854"/>
              <a:gd name="connsiteY3651" fmla="*/ 1147197 h 5504521"/>
              <a:gd name="connsiteX3652" fmla="*/ 3895717 w 6384854"/>
              <a:gd name="connsiteY3652" fmla="*/ 1143210 h 5504521"/>
              <a:gd name="connsiteX3653" fmla="*/ 3915275 w 6384854"/>
              <a:gd name="connsiteY3653" fmla="*/ 1147388 h 5504521"/>
              <a:gd name="connsiteX3654" fmla="*/ 3962366 w 6384854"/>
              <a:gd name="connsiteY3654" fmla="*/ 1145763 h 5504521"/>
              <a:gd name="connsiteX3655" fmla="*/ 3962963 w 6384854"/>
              <a:gd name="connsiteY3655" fmla="*/ 1142969 h 5504521"/>
              <a:gd name="connsiteX3656" fmla="*/ 3980920 w 6384854"/>
              <a:gd name="connsiteY3656" fmla="*/ 1140963 h 5504521"/>
              <a:gd name="connsiteX3657" fmla="*/ 3990475 w 6384854"/>
              <a:gd name="connsiteY3657" fmla="*/ 1144100 h 5504521"/>
              <a:gd name="connsiteX3658" fmla="*/ 3994308 w 6384854"/>
              <a:gd name="connsiteY3658" fmla="*/ 1143433 h 5504521"/>
              <a:gd name="connsiteX3659" fmla="*/ 4029412 w 6384854"/>
              <a:gd name="connsiteY3659" fmla="*/ 1144750 h 5504521"/>
              <a:gd name="connsiteX3660" fmla="*/ 4063736 w 6384854"/>
              <a:gd name="connsiteY3660" fmla="*/ 1149892 h 5504521"/>
              <a:gd name="connsiteX3661" fmla="*/ 4058745 w 6384854"/>
              <a:gd name="connsiteY3661" fmla="*/ 1145904 h 5504521"/>
              <a:gd name="connsiteX3662" fmla="*/ 4078303 w 6384854"/>
              <a:gd name="connsiteY3662" fmla="*/ 1150082 h 5504521"/>
              <a:gd name="connsiteX3663" fmla="*/ 4109634 w 6384854"/>
              <a:gd name="connsiteY3663" fmla="*/ 1153854 h 5504521"/>
              <a:gd name="connsiteX3664" fmla="*/ 4185858 w 6384854"/>
              <a:gd name="connsiteY3664" fmla="*/ 1152611 h 5504521"/>
              <a:gd name="connsiteX3665" fmla="*/ 4191446 w 6384854"/>
              <a:gd name="connsiteY3665" fmla="*/ 1153804 h 5504521"/>
              <a:gd name="connsiteX3666" fmla="*/ 4194240 w 6384854"/>
              <a:gd name="connsiteY3666" fmla="*/ 1154401 h 5504521"/>
              <a:gd name="connsiteX3667" fmla="*/ 4204019 w 6384854"/>
              <a:gd name="connsiteY3667" fmla="*/ 1156490 h 5504521"/>
              <a:gd name="connsiteX3668" fmla="*/ 4205416 w 6384854"/>
              <a:gd name="connsiteY3668" fmla="*/ 1156789 h 5504521"/>
              <a:gd name="connsiteX3669" fmla="*/ 4261295 w 6384854"/>
              <a:gd name="connsiteY3669" fmla="*/ 1168727 h 5504521"/>
              <a:gd name="connsiteX3670" fmla="*/ 4279253 w 6384854"/>
              <a:gd name="connsiteY3670" fmla="*/ 1166721 h 5504521"/>
              <a:gd name="connsiteX3671" fmla="*/ 4287635 w 6384854"/>
              <a:gd name="connsiteY3671" fmla="*/ 1168512 h 5504521"/>
              <a:gd name="connsiteX3672" fmla="*/ 4313377 w 6384854"/>
              <a:gd name="connsiteY3672" fmla="*/ 1171090 h 5504521"/>
              <a:gd name="connsiteX3673" fmla="*/ 4334535 w 6384854"/>
              <a:gd name="connsiteY3673" fmla="*/ 1181454 h 5504521"/>
              <a:gd name="connsiteX3674" fmla="*/ 4344111 w 6384854"/>
              <a:gd name="connsiteY3674" fmla="*/ 1177656 h 5504521"/>
              <a:gd name="connsiteX3675" fmla="*/ 4346308 w 6384854"/>
              <a:gd name="connsiteY3675" fmla="*/ 1181047 h 5504521"/>
              <a:gd name="connsiteX3676" fmla="*/ 4365866 w 6384854"/>
              <a:gd name="connsiteY3676" fmla="*/ 1185225 h 5504521"/>
              <a:gd name="connsiteX3677" fmla="*/ 4379238 w 6384854"/>
              <a:gd name="connsiteY3677" fmla="*/ 1191004 h 5504521"/>
              <a:gd name="connsiteX3678" fmla="*/ 4385424 w 6384854"/>
              <a:gd name="connsiteY3678" fmla="*/ 1189404 h 5504521"/>
              <a:gd name="connsiteX3679" fmla="*/ 4387023 w 6384854"/>
              <a:gd name="connsiteY3679" fmla="*/ 1195588 h 5504521"/>
              <a:gd name="connsiteX3680" fmla="*/ 4407178 w 6384854"/>
              <a:gd name="connsiteY3680" fmla="*/ 1196974 h 5504521"/>
              <a:gd name="connsiteX3681" fmla="*/ 4413363 w 6384854"/>
              <a:gd name="connsiteY3681" fmla="*/ 1195373 h 5504521"/>
              <a:gd name="connsiteX3682" fmla="*/ 4424539 w 6384854"/>
              <a:gd name="connsiteY3682" fmla="*/ 1197761 h 5504521"/>
              <a:gd name="connsiteX3683" fmla="*/ 4427333 w 6384854"/>
              <a:gd name="connsiteY3683" fmla="*/ 1198358 h 5504521"/>
              <a:gd name="connsiteX3684" fmla="*/ 4429530 w 6384854"/>
              <a:gd name="connsiteY3684" fmla="*/ 1201749 h 5504521"/>
              <a:gd name="connsiteX3685" fmla="*/ 4432323 w 6384854"/>
              <a:gd name="connsiteY3685" fmla="*/ 1202346 h 5504521"/>
              <a:gd name="connsiteX3686" fmla="*/ 4435715 w 6384854"/>
              <a:gd name="connsiteY3686" fmla="*/ 1200148 h 5504521"/>
              <a:gd name="connsiteX3687" fmla="*/ 4433518 w 6384854"/>
              <a:gd name="connsiteY3687" fmla="*/ 1196757 h 5504521"/>
              <a:gd name="connsiteX3688" fmla="*/ 4422342 w 6384854"/>
              <a:gd name="connsiteY3688" fmla="*/ 1194369 h 5504521"/>
              <a:gd name="connsiteX3689" fmla="*/ 4419548 w 6384854"/>
              <a:gd name="connsiteY3689" fmla="*/ 1193773 h 5504521"/>
              <a:gd name="connsiteX3690" fmla="*/ 4387214 w 6384854"/>
              <a:gd name="connsiteY3690" fmla="*/ 1181022 h 5504521"/>
              <a:gd name="connsiteX3691" fmla="*/ 4434711 w 6384854"/>
              <a:gd name="connsiteY3691" fmla="*/ 1191170 h 5504521"/>
              <a:gd name="connsiteX3692" fmla="*/ 4437506 w 6384854"/>
              <a:gd name="connsiteY3692" fmla="*/ 1191767 h 5504521"/>
              <a:gd name="connsiteX3693" fmla="*/ 4434114 w 6384854"/>
              <a:gd name="connsiteY3693" fmla="*/ 1193963 h 5504521"/>
              <a:gd name="connsiteX3694" fmla="*/ 4436311 w 6384854"/>
              <a:gd name="connsiteY3694" fmla="*/ 1197354 h 5504521"/>
              <a:gd name="connsiteX3695" fmla="*/ 4441900 w 6384854"/>
              <a:gd name="connsiteY3695" fmla="*/ 1198548 h 5504521"/>
              <a:gd name="connsiteX3696" fmla="*/ 4441303 w 6384854"/>
              <a:gd name="connsiteY3696" fmla="*/ 1201343 h 5504521"/>
              <a:gd name="connsiteX3697" fmla="*/ 4444503 w 6384854"/>
              <a:gd name="connsiteY3697" fmla="*/ 1213712 h 5504521"/>
              <a:gd name="connsiteX3698" fmla="*/ 4433327 w 6384854"/>
              <a:gd name="connsiteY3698" fmla="*/ 1211325 h 5504521"/>
              <a:gd name="connsiteX3699" fmla="*/ 4427739 w 6384854"/>
              <a:gd name="connsiteY3699" fmla="*/ 1210131 h 5504521"/>
              <a:gd name="connsiteX3700" fmla="*/ 4432730 w 6384854"/>
              <a:gd name="connsiteY3700" fmla="*/ 1214118 h 5504521"/>
              <a:gd name="connsiteX3701" fmla="*/ 4446700 w 6384854"/>
              <a:gd name="connsiteY3701" fmla="*/ 1217102 h 5504521"/>
              <a:gd name="connsiteX3702" fmla="*/ 4460670 w 6384854"/>
              <a:gd name="connsiteY3702" fmla="*/ 1220087 h 5504521"/>
              <a:gd name="connsiteX3703" fmla="*/ 4471248 w 6384854"/>
              <a:gd name="connsiteY3703" fmla="*/ 1225269 h 5504521"/>
              <a:gd name="connsiteX3704" fmla="*/ 4470652 w 6384854"/>
              <a:gd name="connsiteY3704" fmla="*/ 1228063 h 5504521"/>
              <a:gd name="connsiteX3705" fmla="*/ 4476240 w 6384854"/>
              <a:gd name="connsiteY3705" fmla="*/ 1229257 h 5504521"/>
              <a:gd name="connsiteX3706" fmla="*/ 4479033 w 6384854"/>
              <a:gd name="connsiteY3706" fmla="*/ 1229854 h 5504521"/>
              <a:gd name="connsiteX3707" fmla="*/ 4476837 w 6384854"/>
              <a:gd name="connsiteY3707" fmla="*/ 1226463 h 5504521"/>
              <a:gd name="connsiteX3708" fmla="*/ 4479630 w 6384854"/>
              <a:gd name="connsiteY3708" fmla="*/ 1227060 h 5504521"/>
              <a:gd name="connsiteX3709" fmla="*/ 4487416 w 6384854"/>
              <a:gd name="connsiteY3709" fmla="*/ 1231644 h 5504521"/>
              <a:gd name="connsiteX3710" fmla="*/ 4490807 w 6384854"/>
              <a:gd name="connsiteY3710" fmla="*/ 1229447 h 5504521"/>
              <a:gd name="connsiteX3711" fmla="*/ 4488013 w 6384854"/>
              <a:gd name="connsiteY3711" fmla="*/ 1228851 h 5504521"/>
              <a:gd name="connsiteX3712" fmla="*/ 4480228 w 6384854"/>
              <a:gd name="connsiteY3712" fmla="*/ 1224266 h 5504521"/>
              <a:gd name="connsiteX3713" fmla="*/ 4477434 w 6384854"/>
              <a:gd name="connsiteY3713" fmla="*/ 1223669 h 5504521"/>
              <a:gd name="connsiteX3714" fmla="*/ 4458473 w 6384854"/>
              <a:gd name="connsiteY3714" fmla="*/ 1216697 h 5504521"/>
              <a:gd name="connsiteX3715" fmla="*/ 4450091 w 6384854"/>
              <a:gd name="connsiteY3715" fmla="*/ 1214906 h 5504521"/>
              <a:gd name="connsiteX3716" fmla="*/ 4449685 w 6384854"/>
              <a:gd name="connsiteY3716" fmla="*/ 1203133 h 5504521"/>
              <a:gd name="connsiteX3717" fmla="*/ 4455272 w 6384854"/>
              <a:gd name="connsiteY3717" fmla="*/ 1204327 h 5504521"/>
              <a:gd name="connsiteX3718" fmla="*/ 4466448 w 6384854"/>
              <a:gd name="connsiteY3718" fmla="*/ 1206714 h 5504521"/>
              <a:gd name="connsiteX3719" fmla="*/ 4523330 w 6384854"/>
              <a:gd name="connsiteY3719" fmla="*/ 1227632 h 5504521"/>
              <a:gd name="connsiteX3720" fmla="*/ 4522734 w 6384854"/>
              <a:gd name="connsiteY3720" fmla="*/ 1230426 h 5504521"/>
              <a:gd name="connsiteX3721" fmla="*/ 4525528 w 6384854"/>
              <a:gd name="connsiteY3721" fmla="*/ 1231023 h 5504521"/>
              <a:gd name="connsiteX3722" fmla="*/ 4528919 w 6384854"/>
              <a:gd name="connsiteY3722" fmla="*/ 1228826 h 5504521"/>
              <a:gd name="connsiteX3723" fmla="*/ 4566891 w 6384854"/>
              <a:gd name="connsiteY3723" fmla="*/ 1244242 h 5504521"/>
              <a:gd name="connsiteX3724" fmla="*/ 4574183 w 6384854"/>
              <a:gd name="connsiteY3724" fmla="*/ 1247129 h 5504521"/>
              <a:gd name="connsiteX3725" fmla="*/ 4574434 w 6384854"/>
              <a:gd name="connsiteY3725" fmla="*/ 1243909 h 5504521"/>
              <a:gd name="connsiteX3726" fmla="*/ 4568885 w 6384854"/>
              <a:gd name="connsiteY3726" fmla="*/ 1241746 h 5504521"/>
              <a:gd name="connsiteX3727" fmla="*/ 4529516 w 6384854"/>
              <a:gd name="connsiteY3727" fmla="*/ 1226031 h 5504521"/>
              <a:gd name="connsiteX3728" fmla="*/ 4526722 w 6384854"/>
              <a:gd name="connsiteY3728" fmla="*/ 1225434 h 5504521"/>
              <a:gd name="connsiteX3729" fmla="*/ 4501997 w 6384854"/>
              <a:gd name="connsiteY3729" fmla="*/ 1214674 h 5504521"/>
              <a:gd name="connsiteX3730" fmla="*/ 4472634 w 6384854"/>
              <a:gd name="connsiteY3730" fmla="*/ 1205115 h 5504521"/>
              <a:gd name="connsiteX3731" fmla="*/ 4538495 w 6384854"/>
              <a:gd name="connsiteY3731" fmla="*/ 1225029 h 5504521"/>
              <a:gd name="connsiteX3732" fmla="*/ 4574791 w 6384854"/>
              <a:gd name="connsiteY3732" fmla="*/ 1239342 h 5504521"/>
              <a:gd name="connsiteX3733" fmla="*/ 4574913 w 6384854"/>
              <a:gd name="connsiteY3733" fmla="*/ 1237775 h 5504521"/>
              <a:gd name="connsiteX3734" fmla="*/ 4581997 w 6384854"/>
              <a:gd name="connsiteY3734" fmla="*/ 1225837 h 5504521"/>
              <a:gd name="connsiteX3735" fmla="*/ 4600280 w 6384854"/>
              <a:gd name="connsiteY3735" fmla="*/ 1195584 h 5504521"/>
              <a:gd name="connsiteX3736" fmla="*/ 4599798 w 6384854"/>
              <a:gd name="connsiteY3736" fmla="*/ 1192467 h 5504521"/>
              <a:gd name="connsiteX3737" fmla="*/ 4607548 w 6384854"/>
              <a:gd name="connsiteY3737" fmla="*/ 1176597 h 5504521"/>
              <a:gd name="connsiteX3738" fmla="*/ 4619824 w 6384854"/>
              <a:gd name="connsiteY3738" fmla="*/ 1181734 h 5504521"/>
              <a:gd name="connsiteX3739" fmla="*/ 4643597 w 6384854"/>
              <a:gd name="connsiteY3739" fmla="*/ 1178724 h 5504521"/>
              <a:gd name="connsiteX3740" fmla="*/ 4661467 w 6384854"/>
              <a:gd name="connsiteY3740" fmla="*/ 1156114 h 5504521"/>
              <a:gd name="connsiteX3741" fmla="*/ 4666988 w 6384854"/>
              <a:gd name="connsiteY3741" fmla="*/ 1151669 h 5504521"/>
              <a:gd name="connsiteX3742" fmla="*/ 4651588 w 6384854"/>
              <a:gd name="connsiteY3742" fmla="*/ 1146938 h 5504521"/>
              <a:gd name="connsiteX3743" fmla="*/ 4585320 w 6384854"/>
              <a:gd name="connsiteY3743" fmla="*/ 1115252 h 5504521"/>
              <a:gd name="connsiteX3744" fmla="*/ 4588113 w 6384854"/>
              <a:gd name="connsiteY3744" fmla="*/ 1115849 h 5504521"/>
              <a:gd name="connsiteX3745" fmla="*/ 4590907 w 6384854"/>
              <a:gd name="connsiteY3745" fmla="*/ 1116446 h 5504521"/>
              <a:gd name="connsiteX3746" fmla="*/ 4585917 w 6384854"/>
              <a:gd name="connsiteY3746" fmla="*/ 1112458 h 5504521"/>
              <a:gd name="connsiteX3747" fmla="*/ 4583123 w 6384854"/>
              <a:gd name="connsiteY3747" fmla="*/ 1111861 h 5504521"/>
              <a:gd name="connsiteX3748" fmla="*/ 4584157 w 6384854"/>
              <a:gd name="connsiteY3748" fmla="*/ 1110245 h 5504521"/>
              <a:gd name="connsiteX3749" fmla="*/ 4663965 w 6384854"/>
              <a:gd name="connsiteY3749" fmla="*/ 1139633 h 5504521"/>
              <a:gd name="connsiteX3750" fmla="*/ 4674952 w 6384854"/>
              <a:gd name="connsiteY3750" fmla="*/ 1145257 h 5504521"/>
              <a:gd name="connsiteX3751" fmla="*/ 4683872 w 6384854"/>
              <a:gd name="connsiteY3751" fmla="*/ 1138075 h 5504521"/>
              <a:gd name="connsiteX3752" fmla="*/ 4696786 w 6384854"/>
              <a:gd name="connsiteY3752" fmla="*/ 1124395 h 5504521"/>
              <a:gd name="connsiteX3753" fmla="*/ 4529968 w 6384854"/>
              <a:gd name="connsiteY3753" fmla="*/ 1071906 h 5504521"/>
              <a:gd name="connsiteX3754" fmla="*/ 4000970 w 6384854"/>
              <a:gd name="connsiteY3754" fmla="*/ 1006479 h 5504521"/>
              <a:gd name="connsiteX3755" fmla="*/ 3739167 w 6384854"/>
              <a:gd name="connsiteY3755" fmla="*/ 1028176 h 5504521"/>
              <a:gd name="connsiteX3756" fmla="*/ 3624517 w 6384854"/>
              <a:gd name="connsiteY3756" fmla="*/ 1059477 h 5504521"/>
              <a:gd name="connsiteX3757" fmla="*/ 3501395 w 6384854"/>
              <a:gd name="connsiteY3757" fmla="*/ 1125286 h 5504521"/>
              <a:gd name="connsiteX3758" fmla="*/ 3498368 w 6384854"/>
              <a:gd name="connsiteY3758" fmla="*/ 1126242 h 5504521"/>
              <a:gd name="connsiteX3759" fmla="*/ 3464303 w 6384854"/>
              <a:gd name="connsiteY3759" fmla="*/ 1138684 h 5504521"/>
              <a:gd name="connsiteX3760" fmla="*/ 3445749 w 6384854"/>
              <a:gd name="connsiteY3760" fmla="*/ 1143485 h 5504521"/>
              <a:gd name="connsiteX3761" fmla="*/ 3443551 w 6384854"/>
              <a:gd name="connsiteY3761" fmla="*/ 1140094 h 5504521"/>
              <a:gd name="connsiteX3762" fmla="*/ 3446345 w 6384854"/>
              <a:gd name="connsiteY3762" fmla="*/ 1140691 h 5504521"/>
              <a:gd name="connsiteX3763" fmla="*/ 3449737 w 6384854"/>
              <a:gd name="connsiteY3763" fmla="*/ 1138494 h 5504521"/>
              <a:gd name="connsiteX3764" fmla="*/ 3452530 w 6384854"/>
              <a:gd name="connsiteY3764" fmla="*/ 1139091 h 5504521"/>
              <a:gd name="connsiteX3765" fmla="*/ 3453127 w 6384854"/>
              <a:gd name="connsiteY3765" fmla="*/ 1136296 h 5504521"/>
              <a:gd name="connsiteX3766" fmla="*/ 3447539 w 6384854"/>
              <a:gd name="connsiteY3766" fmla="*/ 1135103 h 5504521"/>
              <a:gd name="connsiteX3767" fmla="*/ 3475072 w 6384854"/>
              <a:gd name="connsiteY3767" fmla="*/ 1129300 h 5504521"/>
              <a:gd name="connsiteX3768" fmla="*/ 3478463 w 6384854"/>
              <a:gd name="connsiteY3768" fmla="*/ 1127103 h 5504521"/>
              <a:gd name="connsiteX3769" fmla="*/ 3469484 w 6384854"/>
              <a:gd name="connsiteY3769" fmla="*/ 1128106 h 5504521"/>
              <a:gd name="connsiteX3770" fmla="*/ 3466691 w 6384854"/>
              <a:gd name="connsiteY3770" fmla="*/ 1127509 h 5504521"/>
              <a:gd name="connsiteX3771" fmla="*/ 3463897 w 6384854"/>
              <a:gd name="connsiteY3771" fmla="*/ 1126912 h 5504521"/>
              <a:gd name="connsiteX3772" fmla="*/ 3463300 w 6384854"/>
              <a:gd name="connsiteY3772" fmla="*/ 1129706 h 5504521"/>
              <a:gd name="connsiteX3773" fmla="*/ 3466094 w 6384854"/>
              <a:gd name="connsiteY3773" fmla="*/ 1130302 h 5504521"/>
              <a:gd name="connsiteX3774" fmla="*/ 3447539 w 6384854"/>
              <a:gd name="connsiteY3774" fmla="*/ 1135103 h 5504521"/>
              <a:gd name="connsiteX3775" fmla="*/ 3445342 w 6384854"/>
              <a:gd name="connsiteY3775" fmla="*/ 1131712 h 5504521"/>
              <a:gd name="connsiteX3776" fmla="*/ 3441951 w 6384854"/>
              <a:gd name="connsiteY3776" fmla="*/ 1133909 h 5504521"/>
              <a:gd name="connsiteX3777" fmla="*/ 3441354 w 6384854"/>
              <a:gd name="connsiteY3777" fmla="*/ 1136703 h 5504521"/>
              <a:gd name="connsiteX3778" fmla="*/ 3434573 w 6384854"/>
              <a:gd name="connsiteY3778" fmla="*/ 1141098 h 5504521"/>
              <a:gd name="connsiteX3779" fmla="*/ 3431181 w 6384854"/>
              <a:gd name="connsiteY3779" fmla="*/ 1143294 h 5504521"/>
              <a:gd name="connsiteX3780" fmla="*/ 3428388 w 6384854"/>
              <a:gd name="connsiteY3780" fmla="*/ 1142698 h 5504521"/>
              <a:gd name="connsiteX3781" fmla="*/ 3415421 w 6384854"/>
              <a:gd name="connsiteY3781" fmla="*/ 1148691 h 5504521"/>
              <a:gd name="connsiteX3782" fmla="*/ 3412031 w 6384854"/>
              <a:gd name="connsiteY3782" fmla="*/ 1150889 h 5504521"/>
              <a:gd name="connsiteX3783" fmla="*/ 3414824 w 6384854"/>
              <a:gd name="connsiteY3783" fmla="*/ 1151486 h 5504521"/>
              <a:gd name="connsiteX3784" fmla="*/ 3414227 w 6384854"/>
              <a:gd name="connsiteY3784" fmla="*/ 1154280 h 5504521"/>
              <a:gd name="connsiteX3785" fmla="*/ 3374921 w 6384854"/>
              <a:gd name="connsiteY3785" fmla="*/ 1160489 h 5504521"/>
              <a:gd name="connsiteX3786" fmla="*/ 3380509 w 6384854"/>
              <a:gd name="connsiteY3786" fmla="*/ 1161683 h 5504521"/>
              <a:gd name="connsiteX3787" fmla="*/ 3379912 w 6384854"/>
              <a:gd name="connsiteY3787" fmla="*/ 1164477 h 5504521"/>
              <a:gd name="connsiteX3788" fmla="*/ 3413630 w 6384854"/>
              <a:gd name="connsiteY3788" fmla="*/ 1157073 h 5504521"/>
              <a:gd name="connsiteX3789" fmla="*/ 3404054 w 6384854"/>
              <a:gd name="connsiteY3789" fmla="*/ 1160870 h 5504521"/>
              <a:gd name="connsiteX3790" fmla="*/ 3358373 w 6384854"/>
              <a:gd name="connsiteY3790" fmla="*/ 1183247 h 5504521"/>
              <a:gd name="connsiteX3791" fmla="*/ 3352785 w 6384854"/>
              <a:gd name="connsiteY3791" fmla="*/ 1182053 h 5504521"/>
              <a:gd name="connsiteX3792" fmla="*/ 3340415 w 6384854"/>
              <a:gd name="connsiteY3792" fmla="*/ 1185254 h 5504521"/>
              <a:gd name="connsiteX3793" fmla="*/ 3326852 w 6384854"/>
              <a:gd name="connsiteY3793" fmla="*/ 1194042 h 5504521"/>
              <a:gd name="connsiteX3794" fmla="*/ 3332440 w 6384854"/>
              <a:gd name="connsiteY3794" fmla="*/ 1195235 h 5504521"/>
              <a:gd name="connsiteX3795" fmla="*/ 3305910 w 6384854"/>
              <a:gd name="connsiteY3795" fmla="*/ 1210018 h 5504521"/>
              <a:gd name="connsiteX3796" fmla="*/ 3278783 w 6384854"/>
              <a:gd name="connsiteY3796" fmla="*/ 1227594 h 5504521"/>
              <a:gd name="connsiteX3797" fmla="*/ 3279379 w 6384854"/>
              <a:gd name="connsiteY3797" fmla="*/ 1224800 h 5504521"/>
              <a:gd name="connsiteX3798" fmla="*/ 3273792 w 6384854"/>
              <a:gd name="connsiteY3798" fmla="*/ 1223606 h 5504521"/>
              <a:gd name="connsiteX3799" fmla="*/ 3289552 w 6384854"/>
              <a:gd name="connsiteY3799" fmla="*/ 1218209 h 5504521"/>
              <a:gd name="connsiteX3800" fmla="*/ 3272789 w 6384854"/>
              <a:gd name="connsiteY3800" fmla="*/ 1214627 h 5504521"/>
              <a:gd name="connsiteX3801" fmla="*/ 3262615 w 6384854"/>
              <a:gd name="connsiteY3801" fmla="*/ 1221218 h 5504521"/>
              <a:gd name="connsiteX3802" fmla="*/ 3259225 w 6384854"/>
              <a:gd name="connsiteY3802" fmla="*/ 1223415 h 5504521"/>
              <a:gd name="connsiteX3803" fmla="*/ 3256431 w 6384854"/>
              <a:gd name="connsiteY3803" fmla="*/ 1222819 h 5504521"/>
              <a:gd name="connsiteX3804" fmla="*/ 3253637 w 6384854"/>
              <a:gd name="connsiteY3804" fmla="*/ 1222222 h 5504521"/>
              <a:gd name="connsiteX3805" fmla="*/ 3253040 w 6384854"/>
              <a:gd name="connsiteY3805" fmla="*/ 1225016 h 5504521"/>
              <a:gd name="connsiteX3806" fmla="*/ 3255834 w 6384854"/>
              <a:gd name="connsiteY3806" fmla="*/ 1225613 h 5504521"/>
              <a:gd name="connsiteX3807" fmla="*/ 3241673 w 6384854"/>
              <a:gd name="connsiteY3807" fmla="*/ 1237194 h 5504521"/>
              <a:gd name="connsiteX3808" fmla="*/ 3242271 w 6384854"/>
              <a:gd name="connsiteY3808" fmla="*/ 1234401 h 5504521"/>
              <a:gd name="connsiteX3809" fmla="*/ 3243464 w 6384854"/>
              <a:gd name="connsiteY3809" fmla="*/ 1228813 h 5504521"/>
              <a:gd name="connsiteX3810" fmla="*/ 3236683 w 6384854"/>
              <a:gd name="connsiteY3810" fmla="*/ 1233206 h 5504521"/>
              <a:gd name="connsiteX3811" fmla="*/ 3233292 w 6384854"/>
              <a:gd name="connsiteY3811" fmla="*/ 1235404 h 5504521"/>
              <a:gd name="connsiteX3812" fmla="*/ 3229901 w 6384854"/>
              <a:gd name="connsiteY3812" fmla="*/ 1237601 h 5504521"/>
              <a:gd name="connsiteX3813" fmla="*/ 3223716 w 6384854"/>
              <a:gd name="connsiteY3813" fmla="*/ 1239201 h 5504521"/>
              <a:gd name="connsiteX3814" fmla="*/ 3227107 w 6384854"/>
              <a:gd name="connsiteY3814" fmla="*/ 1237004 h 5504521"/>
              <a:gd name="connsiteX3815" fmla="*/ 3230498 w 6384854"/>
              <a:gd name="connsiteY3815" fmla="*/ 1234807 h 5504521"/>
              <a:gd name="connsiteX3816" fmla="*/ 3231095 w 6384854"/>
              <a:gd name="connsiteY3816" fmla="*/ 1232013 h 5504521"/>
              <a:gd name="connsiteX3817" fmla="*/ 3227704 w 6384854"/>
              <a:gd name="connsiteY3817" fmla="*/ 1234210 h 5504521"/>
              <a:gd name="connsiteX3818" fmla="*/ 3224910 w 6384854"/>
              <a:gd name="connsiteY3818" fmla="*/ 1233613 h 5504521"/>
              <a:gd name="connsiteX3819" fmla="*/ 3228301 w 6384854"/>
              <a:gd name="connsiteY3819" fmla="*/ 1231416 h 5504521"/>
              <a:gd name="connsiteX3820" fmla="*/ 3228898 w 6384854"/>
              <a:gd name="connsiteY3820" fmla="*/ 1228622 h 5504521"/>
              <a:gd name="connsiteX3821" fmla="*/ 3235083 w 6384854"/>
              <a:gd name="connsiteY3821" fmla="*/ 1227022 h 5504521"/>
              <a:gd name="connsiteX3822" fmla="*/ 3242461 w 6384854"/>
              <a:gd name="connsiteY3822" fmla="*/ 1219834 h 5504521"/>
              <a:gd name="connsiteX3823" fmla="*/ 3219321 w 6384854"/>
              <a:gd name="connsiteY3823" fmla="*/ 1232419 h 5504521"/>
              <a:gd name="connsiteX3824" fmla="*/ 3216528 w 6384854"/>
              <a:gd name="connsiteY3824" fmla="*/ 1231823 h 5504521"/>
              <a:gd name="connsiteX3825" fmla="*/ 3210343 w 6384854"/>
              <a:gd name="connsiteY3825" fmla="*/ 1233422 h 5504521"/>
              <a:gd name="connsiteX3826" fmla="*/ 3209746 w 6384854"/>
              <a:gd name="connsiteY3826" fmla="*/ 1236217 h 5504521"/>
              <a:gd name="connsiteX3827" fmla="*/ 3212540 w 6384854"/>
              <a:gd name="connsiteY3827" fmla="*/ 1236814 h 5504521"/>
              <a:gd name="connsiteX3828" fmla="*/ 3205758 w 6384854"/>
              <a:gd name="connsiteY3828" fmla="*/ 1241207 h 5504521"/>
              <a:gd name="connsiteX3829" fmla="*/ 3201771 w 6384854"/>
              <a:gd name="connsiteY3829" fmla="*/ 1246198 h 5504521"/>
              <a:gd name="connsiteX3830" fmla="*/ 3196779 w 6384854"/>
              <a:gd name="connsiteY3830" fmla="*/ 1242211 h 5504521"/>
              <a:gd name="connsiteX3831" fmla="*/ 3174643 w 6384854"/>
              <a:gd name="connsiteY3831" fmla="*/ 1263775 h 5504521"/>
              <a:gd name="connsiteX3832" fmla="*/ 3175240 w 6384854"/>
              <a:gd name="connsiteY3832" fmla="*/ 1260981 h 5504521"/>
              <a:gd name="connsiteX3833" fmla="*/ 3171850 w 6384854"/>
              <a:gd name="connsiteY3833" fmla="*/ 1263178 h 5504521"/>
              <a:gd name="connsiteX3834" fmla="*/ 3171252 w 6384854"/>
              <a:gd name="connsiteY3834" fmla="*/ 1265971 h 5504521"/>
              <a:gd name="connsiteX3835" fmla="*/ 3169055 w 6384854"/>
              <a:gd name="connsiteY3835" fmla="*/ 1262581 h 5504521"/>
              <a:gd name="connsiteX3836" fmla="*/ 3126575 w 6384854"/>
              <a:gd name="connsiteY3836" fmla="*/ 1297327 h 5504521"/>
              <a:gd name="connsiteX3837" fmla="*/ 3114205 w 6384854"/>
              <a:gd name="connsiteY3837" fmla="*/ 1300528 h 5504521"/>
              <a:gd name="connsiteX3838" fmla="*/ 3114801 w 6384854"/>
              <a:gd name="connsiteY3838" fmla="*/ 1297733 h 5504521"/>
              <a:gd name="connsiteX3839" fmla="*/ 3112007 w 6384854"/>
              <a:gd name="connsiteY3839" fmla="*/ 1297137 h 5504521"/>
              <a:gd name="connsiteX3840" fmla="*/ 3108616 w 6384854"/>
              <a:gd name="connsiteY3840" fmla="*/ 1299334 h 5504521"/>
              <a:gd name="connsiteX3841" fmla="*/ 3094457 w 6384854"/>
              <a:gd name="connsiteY3841" fmla="*/ 1310916 h 5504521"/>
              <a:gd name="connsiteX3842" fmla="*/ 3095053 w 6384854"/>
              <a:gd name="connsiteY3842" fmla="*/ 1308121 h 5504521"/>
              <a:gd name="connsiteX3843" fmla="*/ 3092260 w 6384854"/>
              <a:gd name="connsiteY3843" fmla="*/ 1307524 h 5504521"/>
              <a:gd name="connsiteX3844" fmla="*/ 3088869 w 6384854"/>
              <a:gd name="connsiteY3844" fmla="*/ 1309722 h 5504521"/>
              <a:gd name="connsiteX3845" fmla="*/ 3088272 w 6384854"/>
              <a:gd name="connsiteY3845" fmla="*/ 1312515 h 5504521"/>
              <a:gd name="connsiteX3846" fmla="*/ 3080296 w 6384854"/>
              <a:gd name="connsiteY3846" fmla="*/ 1322498 h 5504521"/>
              <a:gd name="connsiteX3847" fmla="*/ 3076905 w 6384854"/>
              <a:gd name="connsiteY3847" fmla="*/ 1324694 h 5504521"/>
              <a:gd name="connsiteX3848" fmla="*/ 3074111 w 6384854"/>
              <a:gd name="connsiteY3848" fmla="*/ 1324097 h 5504521"/>
              <a:gd name="connsiteX3849" fmla="*/ 3070720 w 6384854"/>
              <a:gd name="connsiteY3849" fmla="*/ 1326295 h 5504521"/>
              <a:gd name="connsiteX3850" fmla="*/ 3073514 w 6384854"/>
              <a:gd name="connsiteY3850" fmla="*/ 1326891 h 5504521"/>
              <a:gd name="connsiteX3851" fmla="*/ 3076308 w 6384854"/>
              <a:gd name="connsiteY3851" fmla="*/ 1327489 h 5504521"/>
              <a:gd name="connsiteX3852" fmla="*/ 3052572 w 6384854"/>
              <a:gd name="connsiteY3852" fmla="*/ 1342868 h 5504521"/>
              <a:gd name="connsiteX3853" fmla="*/ 3053169 w 6384854"/>
              <a:gd name="connsiteY3853" fmla="*/ 1340074 h 5504521"/>
              <a:gd name="connsiteX3854" fmla="*/ 3056560 w 6384854"/>
              <a:gd name="connsiteY3854" fmla="*/ 1337877 h 5504521"/>
              <a:gd name="connsiteX3855" fmla="*/ 3053766 w 6384854"/>
              <a:gd name="connsiteY3855" fmla="*/ 1337280 h 5504521"/>
              <a:gd name="connsiteX3856" fmla="*/ 3057157 w 6384854"/>
              <a:gd name="connsiteY3856" fmla="*/ 1335083 h 5504521"/>
              <a:gd name="connsiteX3857" fmla="*/ 3059950 w 6384854"/>
              <a:gd name="connsiteY3857" fmla="*/ 1335679 h 5504521"/>
              <a:gd name="connsiteX3858" fmla="*/ 3060547 w 6384854"/>
              <a:gd name="connsiteY3858" fmla="*/ 1332886 h 5504521"/>
              <a:gd name="connsiteX3859" fmla="*/ 3061145 w 6384854"/>
              <a:gd name="connsiteY3859" fmla="*/ 1330092 h 5504521"/>
              <a:gd name="connsiteX3860" fmla="*/ 3057754 w 6384854"/>
              <a:gd name="connsiteY3860" fmla="*/ 1332289 h 5504521"/>
              <a:gd name="connsiteX3861" fmla="*/ 3062935 w 6384854"/>
              <a:gd name="connsiteY3861" fmla="*/ 1321710 h 5504521"/>
              <a:gd name="connsiteX3862" fmla="*/ 3066326 w 6384854"/>
              <a:gd name="connsiteY3862" fmla="*/ 1319513 h 5504521"/>
              <a:gd name="connsiteX3863" fmla="*/ 3069120 w 6384854"/>
              <a:gd name="connsiteY3863" fmla="*/ 1320110 h 5504521"/>
              <a:gd name="connsiteX3864" fmla="*/ 3073107 w 6384854"/>
              <a:gd name="connsiteY3864" fmla="*/ 1315119 h 5504521"/>
              <a:gd name="connsiteX3865" fmla="*/ 3067520 w 6384854"/>
              <a:gd name="connsiteY3865" fmla="*/ 1313925 h 5504521"/>
              <a:gd name="connsiteX3866" fmla="*/ 3064129 w 6384854"/>
              <a:gd name="connsiteY3866" fmla="*/ 1316122 h 5504521"/>
              <a:gd name="connsiteX3867" fmla="*/ 3060738 w 6384854"/>
              <a:gd name="connsiteY3867" fmla="*/ 1318319 h 5504521"/>
              <a:gd name="connsiteX3868" fmla="*/ 3053359 w 6384854"/>
              <a:gd name="connsiteY3868" fmla="*/ 1325507 h 5504521"/>
              <a:gd name="connsiteX3869" fmla="*/ 3059545 w 6384854"/>
              <a:gd name="connsiteY3869" fmla="*/ 1323907 h 5504521"/>
              <a:gd name="connsiteX3870" fmla="*/ 3062935 w 6384854"/>
              <a:gd name="connsiteY3870" fmla="*/ 1321710 h 5504521"/>
              <a:gd name="connsiteX3871" fmla="*/ 3054960 w 6384854"/>
              <a:gd name="connsiteY3871" fmla="*/ 1331692 h 5504521"/>
              <a:gd name="connsiteX3872" fmla="*/ 3051569 w 6384854"/>
              <a:gd name="connsiteY3872" fmla="*/ 1333889 h 5504521"/>
              <a:gd name="connsiteX3873" fmla="*/ 3045384 w 6384854"/>
              <a:gd name="connsiteY3873" fmla="*/ 1335489 h 5504521"/>
              <a:gd name="connsiteX3874" fmla="*/ 3048177 w 6384854"/>
              <a:gd name="connsiteY3874" fmla="*/ 1336086 h 5504521"/>
              <a:gd name="connsiteX3875" fmla="*/ 3047581 w 6384854"/>
              <a:gd name="connsiteY3875" fmla="*/ 1338880 h 5504521"/>
              <a:gd name="connsiteX3876" fmla="*/ 3046984 w 6384854"/>
              <a:gd name="connsiteY3876" fmla="*/ 1341674 h 5504521"/>
              <a:gd name="connsiteX3877" fmla="*/ 3040203 w 6384854"/>
              <a:gd name="connsiteY3877" fmla="*/ 1346068 h 5504521"/>
              <a:gd name="connsiteX3878" fmla="*/ 3045790 w 6384854"/>
              <a:gd name="connsiteY3878" fmla="*/ 1347261 h 5504521"/>
              <a:gd name="connsiteX3879" fmla="*/ 3049181 w 6384854"/>
              <a:gd name="connsiteY3879" fmla="*/ 1345065 h 5504521"/>
              <a:gd name="connsiteX3880" fmla="*/ 3033827 w 6384854"/>
              <a:gd name="connsiteY3880" fmla="*/ 1362235 h 5504521"/>
              <a:gd name="connsiteX3881" fmla="*/ 3039009 w 6384854"/>
              <a:gd name="connsiteY3881" fmla="*/ 1351656 h 5504521"/>
              <a:gd name="connsiteX3882" fmla="*/ 3028836 w 6384854"/>
              <a:gd name="connsiteY3882" fmla="*/ 1358247 h 5504521"/>
              <a:gd name="connsiteX3883" fmla="*/ 3029433 w 6384854"/>
              <a:gd name="connsiteY3883" fmla="*/ 1355453 h 5504521"/>
              <a:gd name="connsiteX3884" fmla="*/ 3033421 w 6384854"/>
              <a:gd name="connsiteY3884" fmla="*/ 1350462 h 5504521"/>
              <a:gd name="connsiteX3885" fmla="*/ 3023845 w 6384854"/>
              <a:gd name="connsiteY3885" fmla="*/ 1354259 h 5504521"/>
              <a:gd name="connsiteX3886" fmla="*/ 3020454 w 6384854"/>
              <a:gd name="connsiteY3886" fmla="*/ 1356456 h 5504521"/>
              <a:gd name="connsiteX3887" fmla="*/ 3006891 w 6384854"/>
              <a:gd name="connsiteY3887" fmla="*/ 1365244 h 5504521"/>
              <a:gd name="connsiteX3888" fmla="*/ 3016466 w 6384854"/>
              <a:gd name="connsiteY3888" fmla="*/ 1361447 h 5504521"/>
              <a:gd name="connsiteX3889" fmla="*/ 3013075 w 6384854"/>
              <a:gd name="connsiteY3889" fmla="*/ 1363644 h 5504521"/>
              <a:gd name="connsiteX3890" fmla="*/ 3009087 w 6384854"/>
              <a:gd name="connsiteY3890" fmla="*/ 1368635 h 5504521"/>
              <a:gd name="connsiteX3891" fmla="*/ 3015273 w 6384854"/>
              <a:gd name="connsiteY3891" fmla="*/ 1367035 h 5504521"/>
              <a:gd name="connsiteX3892" fmla="*/ 3018067 w 6384854"/>
              <a:gd name="connsiteY3892" fmla="*/ 1367632 h 5504521"/>
              <a:gd name="connsiteX3893" fmla="*/ 3006700 w 6384854"/>
              <a:gd name="connsiteY3893" fmla="*/ 1379811 h 5504521"/>
              <a:gd name="connsiteX3894" fmla="*/ 2994331 w 6384854"/>
              <a:gd name="connsiteY3894" fmla="*/ 1383011 h 5504521"/>
              <a:gd name="connsiteX3895" fmla="*/ 2976779 w 6384854"/>
              <a:gd name="connsiteY3895" fmla="*/ 1396790 h 5504521"/>
              <a:gd name="connsiteX3896" fmla="*/ 2974988 w 6384854"/>
              <a:gd name="connsiteY3896" fmla="*/ 1405172 h 5504521"/>
              <a:gd name="connsiteX3897" fmla="*/ 2959227 w 6384854"/>
              <a:gd name="connsiteY3897" fmla="*/ 1410569 h 5504521"/>
              <a:gd name="connsiteX3898" fmla="*/ 2928686 w 6384854"/>
              <a:gd name="connsiteY3898" fmla="*/ 1438144 h 5504521"/>
              <a:gd name="connsiteX3899" fmla="*/ 2919668 w 6384854"/>
              <a:gd name="connsiteY3899" fmla="*/ 1445312 h 5504521"/>
              <a:gd name="connsiteX3900" fmla="*/ 2920137 w 6384854"/>
              <a:gd name="connsiteY3900" fmla="*/ 1443118 h 5504521"/>
              <a:gd name="connsiteX3901" fmla="*/ 2913952 w 6384854"/>
              <a:gd name="connsiteY3901" fmla="*/ 1444719 h 5504521"/>
              <a:gd name="connsiteX3902" fmla="*/ 2909964 w 6384854"/>
              <a:gd name="connsiteY3902" fmla="*/ 1449710 h 5504521"/>
              <a:gd name="connsiteX3903" fmla="*/ 2881047 w 6384854"/>
              <a:gd name="connsiteY3903" fmla="*/ 1475667 h 5504521"/>
              <a:gd name="connsiteX3904" fmla="*/ 2881643 w 6384854"/>
              <a:gd name="connsiteY3904" fmla="*/ 1472874 h 5504521"/>
              <a:gd name="connsiteX3905" fmla="*/ 2878850 w 6384854"/>
              <a:gd name="connsiteY3905" fmla="*/ 1472277 h 5504521"/>
              <a:gd name="connsiteX3906" fmla="*/ 2878253 w 6384854"/>
              <a:gd name="connsiteY3906" fmla="*/ 1475071 h 5504521"/>
              <a:gd name="connsiteX3907" fmla="*/ 2874862 w 6384854"/>
              <a:gd name="connsiteY3907" fmla="*/ 1477268 h 5504521"/>
              <a:gd name="connsiteX3908" fmla="*/ 2873668 w 6384854"/>
              <a:gd name="connsiteY3908" fmla="*/ 1482856 h 5504521"/>
              <a:gd name="connsiteX3909" fmla="*/ 2868080 w 6384854"/>
              <a:gd name="connsiteY3909" fmla="*/ 1481662 h 5504521"/>
              <a:gd name="connsiteX3910" fmla="*/ 2863495 w 6384854"/>
              <a:gd name="connsiteY3910" fmla="*/ 1489447 h 5504521"/>
              <a:gd name="connsiteX3911" fmla="*/ 2864093 w 6384854"/>
              <a:gd name="connsiteY3911" fmla="*/ 1486653 h 5504521"/>
              <a:gd name="connsiteX3912" fmla="*/ 2861298 w 6384854"/>
              <a:gd name="connsiteY3912" fmla="*/ 1486055 h 5504521"/>
              <a:gd name="connsiteX3913" fmla="*/ 2857310 w 6384854"/>
              <a:gd name="connsiteY3913" fmla="*/ 1491047 h 5504521"/>
              <a:gd name="connsiteX3914" fmla="*/ 2856713 w 6384854"/>
              <a:gd name="connsiteY3914" fmla="*/ 1493841 h 5504521"/>
              <a:gd name="connsiteX3915" fmla="*/ 2845944 w 6384854"/>
              <a:gd name="connsiteY3915" fmla="*/ 1503226 h 5504521"/>
              <a:gd name="connsiteX3916" fmla="*/ 2842553 w 6384854"/>
              <a:gd name="connsiteY3916" fmla="*/ 1505423 h 5504521"/>
              <a:gd name="connsiteX3917" fmla="*/ 2838565 w 6384854"/>
              <a:gd name="connsiteY3917" fmla="*/ 1510413 h 5504521"/>
              <a:gd name="connsiteX3918" fmla="*/ 2841956 w 6384854"/>
              <a:gd name="connsiteY3918" fmla="*/ 1508217 h 5504521"/>
              <a:gd name="connsiteX3919" fmla="*/ 2844750 w 6384854"/>
              <a:gd name="connsiteY3919" fmla="*/ 1508814 h 5504521"/>
              <a:gd name="connsiteX3920" fmla="*/ 2836178 w 6384854"/>
              <a:gd name="connsiteY3920" fmla="*/ 1521590 h 5504521"/>
              <a:gd name="connsiteX3921" fmla="*/ 2832190 w 6384854"/>
              <a:gd name="connsiteY3921" fmla="*/ 1526581 h 5504521"/>
              <a:gd name="connsiteX3922" fmla="*/ 2829396 w 6384854"/>
              <a:gd name="connsiteY3922" fmla="*/ 1525984 h 5504521"/>
              <a:gd name="connsiteX3923" fmla="*/ 2828799 w 6384854"/>
              <a:gd name="connsiteY3923" fmla="*/ 1528777 h 5504521"/>
              <a:gd name="connsiteX3924" fmla="*/ 2825408 w 6384854"/>
              <a:gd name="connsiteY3924" fmla="*/ 1530975 h 5504521"/>
              <a:gd name="connsiteX3925" fmla="*/ 2824811 w 6384854"/>
              <a:gd name="connsiteY3925" fmla="*/ 1533768 h 5504521"/>
              <a:gd name="connsiteX3926" fmla="*/ 2811845 w 6384854"/>
              <a:gd name="connsiteY3926" fmla="*/ 1539763 h 5504521"/>
              <a:gd name="connsiteX3927" fmla="*/ 2810054 w 6384854"/>
              <a:gd name="connsiteY3927" fmla="*/ 1548145 h 5504521"/>
              <a:gd name="connsiteX3928" fmla="*/ 2806066 w 6384854"/>
              <a:gd name="connsiteY3928" fmla="*/ 1553135 h 5504521"/>
              <a:gd name="connsiteX3929" fmla="*/ 2808860 w 6384854"/>
              <a:gd name="connsiteY3929" fmla="*/ 1553732 h 5504521"/>
              <a:gd name="connsiteX3930" fmla="*/ 2809457 w 6384854"/>
              <a:gd name="connsiteY3930" fmla="*/ 1550938 h 5504521"/>
              <a:gd name="connsiteX3931" fmla="*/ 2811057 w 6384854"/>
              <a:gd name="connsiteY3931" fmla="*/ 1557123 h 5504521"/>
              <a:gd name="connsiteX3932" fmla="*/ 2698205 w 6384854"/>
              <a:gd name="connsiteY3932" fmla="*/ 1702459 h 5504521"/>
              <a:gd name="connsiteX3933" fmla="*/ 2682253 w 6384854"/>
              <a:gd name="connsiteY3933" fmla="*/ 1722422 h 5504521"/>
              <a:gd name="connsiteX3934" fmla="*/ 2670887 w 6384854"/>
              <a:gd name="connsiteY3934" fmla="*/ 1734602 h 5504521"/>
              <a:gd name="connsiteX3935" fmla="*/ 2660525 w 6384854"/>
              <a:gd name="connsiteY3935" fmla="*/ 1755760 h 5504521"/>
              <a:gd name="connsiteX3936" fmla="*/ 2618665 w 6384854"/>
              <a:gd name="connsiteY3936" fmla="*/ 1828617 h 5504521"/>
              <a:gd name="connsiteX3937" fmla="*/ 2615274 w 6384854"/>
              <a:gd name="connsiteY3937" fmla="*/ 1830814 h 5504521"/>
              <a:gd name="connsiteX3938" fmla="*/ 2614677 w 6384854"/>
              <a:gd name="connsiteY3938" fmla="*/ 1833608 h 5504521"/>
              <a:gd name="connsiteX3939" fmla="*/ 2617471 w 6384854"/>
              <a:gd name="connsiteY3939" fmla="*/ 1834205 h 5504521"/>
              <a:gd name="connsiteX3940" fmla="*/ 2616875 w 6384854"/>
              <a:gd name="connsiteY3940" fmla="*/ 1836999 h 5504521"/>
              <a:gd name="connsiteX3941" fmla="*/ 2614080 w 6384854"/>
              <a:gd name="connsiteY3941" fmla="*/ 1836402 h 5504521"/>
              <a:gd name="connsiteX3942" fmla="*/ 2600326 w 6384854"/>
              <a:gd name="connsiteY3942" fmla="*/ 1859757 h 5504521"/>
              <a:gd name="connsiteX3943" fmla="*/ 2597532 w 6384854"/>
              <a:gd name="connsiteY3943" fmla="*/ 1859160 h 5504521"/>
              <a:gd name="connsiteX3944" fmla="*/ 2596338 w 6384854"/>
              <a:gd name="connsiteY3944" fmla="*/ 1864748 h 5504521"/>
              <a:gd name="connsiteX3945" fmla="*/ 2581988 w 6384854"/>
              <a:gd name="connsiteY3945" fmla="*/ 1890897 h 5504521"/>
              <a:gd name="connsiteX3946" fmla="*/ 2578597 w 6384854"/>
              <a:gd name="connsiteY3946" fmla="*/ 1893094 h 5504521"/>
              <a:gd name="connsiteX3947" fmla="*/ 2573415 w 6384854"/>
              <a:gd name="connsiteY3947" fmla="*/ 1903673 h 5504521"/>
              <a:gd name="connsiteX3948" fmla="*/ 2572818 w 6384854"/>
              <a:gd name="connsiteY3948" fmla="*/ 1906467 h 5504521"/>
              <a:gd name="connsiteX3949" fmla="*/ 2572221 w 6384854"/>
              <a:gd name="connsiteY3949" fmla="*/ 1909260 h 5504521"/>
              <a:gd name="connsiteX3950" fmla="*/ 2571624 w 6384854"/>
              <a:gd name="connsiteY3950" fmla="*/ 1912055 h 5504521"/>
              <a:gd name="connsiteX3951" fmla="*/ 2567039 w 6384854"/>
              <a:gd name="connsiteY3951" fmla="*/ 1919840 h 5504521"/>
              <a:gd name="connsiteX3952" fmla="*/ 2573225 w 6384854"/>
              <a:gd name="connsiteY3952" fmla="*/ 1918239 h 5504521"/>
              <a:gd name="connsiteX3953" fmla="*/ 2572031 w 6384854"/>
              <a:gd name="connsiteY3953" fmla="*/ 1923828 h 5504521"/>
              <a:gd name="connsiteX3954" fmla="*/ 2569237 w 6384854"/>
              <a:gd name="connsiteY3954" fmla="*/ 1923230 h 5504521"/>
              <a:gd name="connsiteX3955" fmla="*/ 2568640 w 6384854"/>
              <a:gd name="connsiteY3955" fmla="*/ 1926025 h 5504521"/>
              <a:gd name="connsiteX3956" fmla="*/ 2568043 w 6384854"/>
              <a:gd name="connsiteY3956" fmla="*/ 1928818 h 5504521"/>
              <a:gd name="connsiteX3957" fmla="*/ 2566849 w 6384854"/>
              <a:gd name="connsiteY3957" fmla="*/ 1934406 h 5504521"/>
              <a:gd name="connsiteX3958" fmla="*/ 2550898 w 6384854"/>
              <a:gd name="connsiteY3958" fmla="*/ 1954370 h 5504521"/>
              <a:gd name="connsiteX3959" fmla="*/ 2553692 w 6384854"/>
              <a:gd name="connsiteY3959" fmla="*/ 1954967 h 5504521"/>
              <a:gd name="connsiteX3960" fmla="*/ 2549107 w 6384854"/>
              <a:gd name="connsiteY3960" fmla="*/ 1962751 h 5504521"/>
              <a:gd name="connsiteX3961" fmla="*/ 2554695 w 6384854"/>
              <a:gd name="connsiteY3961" fmla="*/ 1963945 h 5504521"/>
              <a:gd name="connsiteX3962" fmla="*/ 2559877 w 6384854"/>
              <a:gd name="connsiteY3962" fmla="*/ 1953367 h 5504521"/>
              <a:gd name="connsiteX3963" fmla="*/ 2559280 w 6384854"/>
              <a:gd name="connsiteY3963" fmla="*/ 1956160 h 5504521"/>
              <a:gd name="connsiteX3964" fmla="*/ 2562074 w 6384854"/>
              <a:gd name="connsiteY3964" fmla="*/ 1956758 h 5504521"/>
              <a:gd name="connsiteX3965" fmla="*/ 2562671 w 6384854"/>
              <a:gd name="connsiteY3965" fmla="*/ 1953963 h 5504521"/>
              <a:gd name="connsiteX3966" fmla="*/ 2563267 w 6384854"/>
              <a:gd name="connsiteY3966" fmla="*/ 1951170 h 5504521"/>
              <a:gd name="connsiteX3967" fmla="*/ 2578216 w 6384854"/>
              <a:gd name="connsiteY3967" fmla="*/ 1922227 h 5504521"/>
              <a:gd name="connsiteX3968" fmla="*/ 2581606 w 6384854"/>
              <a:gd name="connsiteY3968" fmla="*/ 1920030 h 5504521"/>
              <a:gd name="connsiteX3969" fmla="*/ 2582203 w 6384854"/>
              <a:gd name="connsiteY3969" fmla="*/ 1917236 h 5504521"/>
              <a:gd name="connsiteX3970" fmla="*/ 2579410 w 6384854"/>
              <a:gd name="connsiteY3970" fmla="*/ 1916639 h 5504521"/>
              <a:gd name="connsiteX3971" fmla="*/ 2626450 w 6384854"/>
              <a:gd name="connsiteY3971" fmla="*/ 1833202 h 5504521"/>
              <a:gd name="connsiteX3972" fmla="*/ 2628241 w 6384854"/>
              <a:gd name="connsiteY3972" fmla="*/ 1824820 h 5504521"/>
              <a:gd name="connsiteX3973" fmla="*/ 2645982 w 6384854"/>
              <a:gd name="connsiteY3973" fmla="*/ 1796474 h 5504521"/>
              <a:gd name="connsiteX3974" fmla="*/ 2642592 w 6384854"/>
              <a:gd name="connsiteY3974" fmla="*/ 1798671 h 5504521"/>
              <a:gd name="connsiteX3975" fmla="*/ 2658543 w 6384854"/>
              <a:gd name="connsiteY3975" fmla="*/ 1778708 h 5504521"/>
              <a:gd name="connsiteX3976" fmla="*/ 2709381 w 6384854"/>
              <a:gd name="connsiteY3976" fmla="*/ 1704846 h 5504521"/>
              <a:gd name="connsiteX3977" fmla="*/ 2744865 w 6384854"/>
              <a:gd name="connsiteY3977" fmla="*/ 1648155 h 5504521"/>
              <a:gd name="connsiteX3978" fmla="*/ 2759025 w 6384854"/>
              <a:gd name="connsiteY3978" fmla="*/ 1636573 h 5504521"/>
              <a:gd name="connsiteX3979" fmla="*/ 2775574 w 6384854"/>
              <a:gd name="connsiteY3979" fmla="*/ 1613815 h 5504521"/>
              <a:gd name="connsiteX3980" fmla="*/ 2782355 w 6384854"/>
              <a:gd name="connsiteY3980" fmla="*/ 1609421 h 5504521"/>
              <a:gd name="connsiteX3981" fmla="*/ 2821039 w 6384854"/>
              <a:gd name="connsiteY3981" fmla="*/ 1565099 h 5504521"/>
              <a:gd name="connsiteX3982" fmla="*/ 2822233 w 6384854"/>
              <a:gd name="connsiteY3982" fmla="*/ 1559511 h 5504521"/>
              <a:gd name="connsiteX3983" fmla="*/ 2859724 w 6384854"/>
              <a:gd name="connsiteY3983" fmla="*/ 1520777 h 5504521"/>
              <a:gd name="connsiteX3984" fmla="*/ 2889238 w 6384854"/>
              <a:gd name="connsiteY3984" fmla="*/ 1492025 h 5504521"/>
              <a:gd name="connsiteX3985" fmla="*/ 2907386 w 6384854"/>
              <a:gd name="connsiteY3985" fmla="*/ 1475452 h 5504521"/>
              <a:gd name="connsiteX3986" fmla="*/ 2933510 w 6384854"/>
              <a:gd name="connsiteY3986" fmla="*/ 1448897 h 5504521"/>
              <a:gd name="connsiteX3987" fmla="*/ 2935707 w 6384854"/>
              <a:gd name="connsiteY3987" fmla="*/ 1452288 h 5504521"/>
              <a:gd name="connsiteX3988" fmla="*/ 2940291 w 6384854"/>
              <a:gd name="connsiteY3988" fmla="*/ 1444503 h 5504521"/>
              <a:gd name="connsiteX3989" fmla="*/ 2990152 w 6384854"/>
              <a:gd name="connsiteY3989" fmla="*/ 1402569 h 5504521"/>
              <a:gd name="connsiteX3990" fmla="*/ 3039415 w 6384854"/>
              <a:gd name="connsiteY3990" fmla="*/ 1363428 h 5504521"/>
              <a:gd name="connsiteX3991" fmla="*/ 3045599 w 6384854"/>
              <a:gd name="connsiteY3991" fmla="*/ 1361828 h 5504521"/>
              <a:gd name="connsiteX3992" fmla="*/ 3050184 w 6384854"/>
              <a:gd name="connsiteY3992" fmla="*/ 1354044 h 5504521"/>
              <a:gd name="connsiteX3993" fmla="*/ 3114611 w 6384854"/>
              <a:gd name="connsiteY3993" fmla="*/ 1312300 h 5504521"/>
              <a:gd name="connsiteX3994" fmla="*/ 3117405 w 6384854"/>
              <a:gd name="connsiteY3994" fmla="*/ 1312896 h 5504521"/>
              <a:gd name="connsiteX3995" fmla="*/ 3120795 w 6384854"/>
              <a:gd name="connsiteY3995" fmla="*/ 1310700 h 5504521"/>
              <a:gd name="connsiteX3996" fmla="*/ 3141141 w 6384854"/>
              <a:gd name="connsiteY3996" fmla="*/ 1297518 h 5504521"/>
              <a:gd name="connsiteX3997" fmla="*/ 3143338 w 6384854"/>
              <a:gd name="connsiteY3997" fmla="*/ 1300909 h 5504521"/>
              <a:gd name="connsiteX3998" fmla="*/ 3146729 w 6384854"/>
              <a:gd name="connsiteY3998" fmla="*/ 1298712 h 5504521"/>
              <a:gd name="connsiteX3999" fmla="*/ 3150717 w 6384854"/>
              <a:gd name="connsiteY3999" fmla="*/ 1293720 h 5504521"/>
              <a:gd name="connsiteX4000" fmla="*/ 3166477 w 6384854"/>
              <a:gd name="connsiteY4000" fmla="*/ 1288323 h 5504521"/>
              <a:gd name="connsiteX4001" fmla="*/ 3157499 w 6384854"/>
              <a:gd name="connsiteY4001" fmla="*/ 1289327 h 5504521"/>
              <a:gd name="connsiteX4002" fmla="*/ 3160890 w 6384854"/>
              <a:gd name="connsiteY4002" fmla="*/ 1287130 h 5504521"/>
              <a:gd name="connsiteX4003" fmla="*/ 3158095 w 6384854"/>
              <a:gd name="connsiteY4003" fmla="*/ 1286532 h 5504521"/>
              <a:gd name="connsiteX4004" fmla="*/ 3182429 w 6384854"/>
              <a:gd name="connsiteY4004" fmla="*/ 1268359 h 5504521"/>
              <a:gd name="connsiteX4005" fmla="*/ 3196995 w 6384854"/>
              <a:gd name="connsiteY4005" fmla="*/ 1268550 h 5504521"/>
              <a:gd name="connsiteX4006" fmla="*/ 3194799 w 6384854"/>
              <a:gd name="connsiteY4006" fmla="*/ 1265159 h 5504521"/>
              <a:gd name="connsiteX4007" fmla="*/ 3195395 w 6384854"/>
              <a:gd name="connsiteY4007" fmla="*/ 1262365 h 5504521"/>
              <a:gd name="connsiteX4008" fmla="*/ 3198189 w 6384854"/>
              <a:gd name="connsiteY4008" fmla="*/ 1262962 h 5504521"/>
              <a:gd name="connsiteX4009" fmla="*/ 3201580 w 6384854"/>
              <a:gd name="connsiteY4009" fmla="*/ 1260765 h 5504521"/>
              <a:gd name="connsiteX4010" fmla="*/ 3221329 w 6384854"/>
              <a:gd name="connsiteY4010" fmla="*/ 1250377 h 5504521"/>
              <a:gd name="connsiteX4011" fmla="*/ 3224123 w 6384854"/>
              <a:gd name="connsiteY4011" fmla="*/ 1250974 h 5504521"/>
              <a:gd name="connsiteX4012" fmla="*/ 3227513 w 6384854"/>
              <a:gd name="connsiteY4012" fmla="*/ 1248777 h 5504521"/>
              <a:gd name="connsiteX4013" fmla="*/ 3230307 w 6384854"/>
              <a:gd name="connsiteY4013" fmla="*/ 1249374 h 5504521"/>
              <a:gd name="connsiteX4014" fmla="*/ 3236492 w 6384854"/>
              <a:gd name="connsiteY4014" fmla="*/ 1247773 h 5504521"/>
              <a:gd name="connsiteX4015" fmla="*/ 3237089 w 6384854"/>
              <a:gd name="connsiteY4015" fmla="*/ 1244979 h 5504521"/>
              <a:gd name="connsiteX4016" fmla="*/ 3252850 w 6384854"/>
              <a:gd name="connsiteY4016" fmla="*/ 1239582 h 5504521"/>
              <a:gd name="connsiteX4017" fmla="*/ 3252252 w 6384854"/>
              <a:gd name="connsiteY4017" fmla="*/ 1242377 h 5504521"/>
              <a:gd name="connsiteX4018" fmla="*/ 3239286 w 6384854"/>
              <a:gd name="connsiteY4018" fmla="*/ 1248370 h 5504521"/>
              <a:gd name="connsiteX4019" fmla="*/ 3231908 w 6384854"/>
              <a:gd name="connsiteY4019" fmla="*/ 1255558 h 5504521"/>
              <a:gd name="connsiteX4020" fmla="*/ 3205974 w 6384854"/>
              <a:gd name="connsiteY4020" fmla="*/ 1267547 h 5504521"/>
              <a:gd name="connsiteX4021" fmla="*/ 3161295 w 6384854"/>
              <a:gd name="connsiteY4021" fmla="*/ 1298902 h 5504521"/>
              <a:gd name="connsiteX4022" fmla="*/ 3058376 w 6384854"/>
              <a:gd name="connsiteY4022" fmla="*/ 1370401 h 5504521"/>
              <a:gd name="connsiteX4023" fmla="*/ 3050400 w 6384854"/>
              <a:gd name="connsiteY4023" fmla="*/ 1380383 h 5504521"/>
              <a:gd name="connsiteX4024" fmla="*/ 3038030 w 6384854"/>
              <a:gd name="connsiteY4024" fmla="*/ 1383583 h 5504521"/>
              <a:gd name="connsiteX4025" fmla="*/ 3001734 w 6384854"/>
              <a:gd name="connsiteY4025" fmla="*/ 1416729 h 5504521"/>
              <a:gd name="connsiteX4026" fmla="*/ 2995549 w 6384854"/>
              <a:gd name="connsiteY4026" fmla="*/ 1418330 h 5504521"/>
              <a:gd name="connsiteX4027" fmla="*/ 2976207 w 6384854"/>
              <a:gd name="connsiteY4027" fmla="*/ 1440490 h 5504521"/>
              <a:gd name="connsiteX4028" fmla="*/ 2959253 w 6384854"/>
              <a:gd name="connsiteY4028" fmla="*/ 1451475 h 5504521"/>
              <a:gd name="connsiteX4029" fmla="*/ 2888857 w 6384854"/>
              <a:gd name="connsiteY4029" fmla="*/ 1521158 h 5504521"/>
              <a:gd name="connsiteX4030" fmla="*/ 2847975 w 6384854"/>
              <a:gd name="connsiteY4030" fmla="*/ 1562089 h 5504521"/>
              <a:gd name="connsiteX4031" fmla="*/ 2829230 w 6384854"/>
              <a:gd name="connsiteY4031" fmla="*/ 1581457 h 5504521"/>
              <a:gd name="connsiteX4032" fmla="*/ 2780779 w 6384854"/>
              <a:gd name="connsiteY4032" fmla="*/ 1644142 h 5504521"/>
              <a:gd name="connsiteX4033" fmla="*/ 2769413 w 6384854"/>
              <a:gd name="connsiteY4033" fmla="*/ 1656321 h 5504521"/>
              <a:gd name="connsiteX4034" fmla="*/ 2706612 w 6384854"/>
              <a:gd name="connsiteY4034" fmla="*/ 1745155 h 5504521"/>
              <a:gd name="connsiteX4035" fmla="*/ 2645411 w 6384854"/>
              <a:gd name="connsiteY4035" fmla="*/ 1840174 h 5504521"/>
              <a:gd name="connsiteX4036" fmla="*/ 2621890 w 6384854"/>
              <a:gd name="connsiteY4036" fmla="*/ 1881893 h 5504521"/>
              <a:gd name="connsiteX4037" fmla="*/ 2618500 w 6384854"/>
              <a:gd name="connsiteY4037" fmla="*/ 1884090 h 5504521"/>
              <a:gd name="connsiteX4038" fmla="*/ 2617305 w 6384854"/>
              <a:gd name="connsiteY4038" fmla="*/ 1889678 h 5504521"/>
              <a:gd name="connsiteX4039" fmla="*/ 2596173 w 6384854"/>
              <a:gd name="connsiteY4039" fmla="*/ 1920221 h 5504521"/>
              <a:gd name="connsiteX4040" fmla="*/ 2602955 w 6384854"/>
              <a:gd name="connsiteY4040" fmla="*/ 1915827 h 5504521"/>
              <a:gd name="connsiteX4041" fmla="*/ 2612721 w 6384854"/>
              <a:gd name="connsiteY4041" fmla="*/ 1897463 h 5504521"/>
              <a:gd name="connsiteX4042" fmla="*/ 2618906 w 6384854"/>
              <a:gd name="connsiteY4042" fmla="*/ 1895863 h 5504521"/>
              <a:gd name="connsiteX4043" fmla="*/ 2621699 w 6384854"/>
              <a:gd name="connsiteY4043" fmla="*/ 1896460 h 5504521"/>
              <a:gd name="connsiteX4044" fmla="*/ 2622297 w 6384854"/>
              <a:gd name="connsiteY4044" fmla="*/ 1893666 h 5504521"/>
              <a:gd name="connsiteX4045" fmla="*/ 2622893 w 6384854"/>
              <a:gd name="connsiteY4045" fmla="*/ 1890872 h 5504521"/>
              <a:gd name="connsiteX4046" fmla="*/ 2623490 w 6384854"/>
              <a:gd name="connsiteY4046" fmla="*/ 1888078 h 5504521"/>
              <a:gd name="connsiteX4047" fmla="*/ 2641233 w 6384854"/>
              <a:gd name="connsiteY4047" fmla="*/ 1859732 h 5504521"/>
              <a:gd name="connsiteX4048" fmla="*/ 2675523 w 6384854"/>
              <a:gd name="connsiteY4048" fmla="*/ 1808628 h 5504521"/>
              <a:gd name="connsiteX4049" fmla="*/ 2704034 w 6384854"/>
              <a:gd name="connsiteY4049" fmla="*/ 1770898 h 5504521"/>
              <a:gd name="connsiteX4050" fmla="*/ 2706828 w 6384854"/>
              <a:gd name="connsiteY4050" fmla="*/ 1771495 h 5504521"/>
              <a:gd name="connsiteX4051" fmla="*/ 2708022 w 6384854"/>
              <a:gd name="connsiteY4051" fmla="*/ 1765907 h 5504521"/>
              <a:gd name="connsiteX4052" fmla="*/ 2708619 w 6384854"/>
              <a:gd name="connsiteY4052" fmla="*/ 1763113 h 5504521"/>
              <a:gd name="connsiteX4053" fmla="*/ 2730945 w 6384854"/>
              <a:gd name="connsiteY4053" fmla="*/ 1726982 h 5504521"/>
              <a:gd name="connsiteX4054" fmla="*/ 2734933 w 6384854"/>
              <a:gd name="connsiteY4054" fmla="*/ 1721991 h 5504521"/>
              <a:gd name="connsiteX4055" fmla="*/ 2740521 w 6384854"/>
              <a:gd name="connsiteY4055" fmla="*/ 1723185 h 5504521"/>
              <a:gd name="connsiteX4056" fmla="*/ 2742312 w 6384854"/>
              <a:gd name="connsiteY4056" fmla="*/ 1714804 h 5504521"/>
              <a:gd name="connsiteX4057" fmla="*/ 2749690 w 6384854"/>
              <a:gd name="connsiteY4057" fmla="*/ 1707615 h 5504521"/>
              <a:gd name="connsiteX4058" fmla="*/ 2802726 w 6384854"/>
              <a:gd name="connsiteY4058" fmla="*/ 1637145 h 5504521"/>
              <a:gd name="connsiteX4059" fmla="*/ 2803323 w 6384854"/>
              <a:gd name="connsiteY4059" fmla="*/ 1634351 h 5504521"/>
              <a:gd name="connsiteX4060" fmla="*/ 2806713 w 6384854"/>
              <a:gd name="connsiteY4060" fmla="*/ 1632153 h 5504521"/>
              <a:gd name="connsiteX4061" fmla="*/ 2824862 w 6384854"/>
              <a:gd name="connsiteY4061" fmla="*/ 1615580 h 5504521"/>
              <a:gd name="connsiteX4062" fmla="*/ 2826652 w 6384854"/>
              <a:gd name="connsiteY4062" fmla="*/ 1607199 h 5504521"/>
              <a:gd name="connsiteX4063" fmla="*/ 2830043 w 6384854"/>
              <a:gd name="connsiteY4063" fmla="*/ 1605002 h 5504521"/>
              <a:gd name="connsiteX4064" fmla="*/ 2848191 w 6384854"/>
              <a:gd name="connsiteY4064" fmla="*/ 1588428 h 5504521"/>
              <a:gd name="connsiteX4065" fmla="*/ 2851582 w 6384854"/>
              <a:gd name="connsiteY4065" fmla="*/ 1586232 h 5504521"/>
              <a:gd name="connsiteX4066" fmla="*/ 2856167 w 6384854"/>
              <a:gd name="connsiteY4066" fmla="*/ 1578447 h 5504521"/>
              <a:gd name="connsiteX4067" fmla="*/ 2870925 w 6384854"/>
              <a:gd name="connsiteY4067" fmla="*/ 1564070 h 5504521"/>
              <a:gd name="connsiteX4068" fmla="*/ 2874315 w 6384854"/>
              <a:gd name="connsiteY4068" fmla="*/ 1561874 h 5504521"/>
              <a:gd name="connsiteX4069" fmla="*/ 2874912 w 6384854"/>
              <a:gd name="connsiteY4069" fmla="*/ 1559080 h 5504521"/>
              <a:gd name="connsiteX4070" fmla="*/ 2949893 w 6384854"/>
              <a:gd name="connsiteY4070" fmla="*/ 1481612 h 5504521"/>
              <a:gd name="connsiteX4071" fmla="*/ 2953284 w 6384854"/>
              <a:gd name="connsiteY4071" fmla="*/ 1479415 h 5504521"/>
              <a:gd name="connsiteX4072" fmla="*/ 2956674 w 6384854"/>
              <a:gd name="connsiteY4072" fmla="*/ 1477218 h 5504521"/>
              <a:gd name="connsiteX4073" fmla="*/ 2957271 w 6384854"/>
              <a:gd name="connsiteY4073" fmla="*/ 1474424 h 5504521"/>
              <a:gd name="connsiteX4074" fmla="*/ 2960662 w 6384854"/>
              <a:gd name="connsiteY4074" fmla="*/ 1472227 h 5504521"/>
              <a:gd name="connsiteX4075" fmla="*/ 2963456 w 6384854"/>
              <a:gd name="connsiteY4075" fmla="*/ 1472823 h 5504521"/>
              <a:gd name="connsiteX4076" fmla="*/ 2959468 w 6384854"/>
              <a:gd name="connsiteY4076" fmla="*/ 1477815 h 5504521"/>
              <a:gd name="connsiteX4077" fmla="*/ 2962263 w 6384854"/>
              <a:gd name="connsiteY4077" fmla="*/ 1478412 h 5504521"/>
              <a:gd name="connsiteX4078" fmla="*/ 2965056 w 6384854"/>
              <a:gd name="connsiteY4078" fmla="*/ 1479009 h 5504521"/>
              <a:gd name="connsiteX4079" fmla="*/ 2968447 w 6384854"/>
              <a:gd name="connsiteY4079" fmla="*/ 1476811 h 5504521"/>
              <a:gd name="connsiteX4080" fmla="*/ 2949702 w 6384854"/>
              <a:gd name="connsiteY4080" fmla="*/ 1496178 h 5504521"/>
              <a:gd name="connsiteX4081" fmla="*/ 2929357 w 6384854"/>
              <a:gd name="connsiteY4081" fmla="*/ 1509361 h 5504521"/>
              <a:gd name="connsiteX4082" fmla="*/ 2938335 w 6384854"/>
              <a:gd name="connsiteY4082" fmla="*/ 1508358 h 5504521"/>
              <a:gd name="connsiteX4083" fmla="*/ 2919591 w 6384854"/>
              <a:gd name="connsiteY4083" fmla="*/ 1527724 h 5504521"/>
              <a:gd name="connsiteX4084" fmla="*/ 2920187 w 6384854"/>
              <a:gd name="connsiteY4084" fmla="*/ 1524931 h 5504521"/>
              <a:gd name="connsiteX4085" fmla="*/ 2920784 w 6384854"/>
              <a:gd name="connsiteY4085" fmla="*/ 1522137 h 5504521"/>
              <a:gd name="connsiteX4086" fmla="*/ 2917393 w 6384854"/>
              <a:gd name="connsiteY4086" fmla="*/ 1524334 h 5504521"/>
              <a:gd name="connsiteX4087" fmla="*/ 2913405 w 6384854"/>
              <a:gd name="connsiteY4087" fmla="*/ 1529324 h 5504521"/>
              <a:gd name="connsiteX4088" fmla="*/ 2903233 w 6384854"/>
              <a:gd name="connsiteY4088" fmla="*/ 1535915 h 5504521"/>
              <a:gd name="connsiteX4089" fmla="*/ 2899842 w 6384854"/>
              <a:gd name="connsiteY4089" fmla="*/ 1538113 h 5504521"/>
              <a:gd name="connsiteX4090" fmla="*/ 2899245 w 6384854"/>
              <a:gd name="connsiteY4090" fmla="*/ 1540907 h 5504521"/>
              <a:gd name="connsiteX4091" fmla="*/ 2902039 w 6384854"/>
              <a:gd name="connsiteY4091" fmla="*/ 1541504 h 5504521"/>
              <a:gd name="connsiteX4092" fmla="*/ 2888475 w 6384854"/>
              <a:gd name="connsiteY4092" fmla="*/ 1550291 h 5504521"/>
              <a:gd name="connsiteX4093" fmla="*/ 2896857 w 6384854"/>
              <a:gd name="connsiteY4093" fmla="*/ 1552082 h 5504521"/>
              <a:gd name="connsiteX4094" fmla="*/ 2885491 w 6384854"/>
              <a:gd name="connsiteY4094" fmla="*/ 1564261 h 5504521"/>
              <a:gd name="connsiteX4095" fmla="*/ 2875319 w 6384854"/>
              <a:gd name="connsiteY4095" fmla="*/ 1570852 h 5504521"/>
              <a:gd name="connsiteX4096" fmla="*/ 2881503 w 6384854"/>
              <a:gd name="connsiteY4096" fmla="*/ 1569252 h 5504521"/>
              <a:gd name="connsiteX4097" fmla="*/ 2874721 w 6384854"/>
              <a:gd name="connsiteY4097" fmla="*/ 1573647 h 5504521"/>
              <a:gd name="connsiteX4098" fmla="*/ 2870137 w 6384854"/>
              <a:gd name="connsiteY4098" fmla="*/ 1581431 h 5504521"/>
              <a:gd name="connsiteX4099" fmla="*/ 2866747 w 6384854"/>
              <a:gd name="connsiteY4099" fmla="*/ 1583628 h 5504521"/>
              <a:gd name="connsiteX4100" fmla="*/ 2863355 w 6384854"/>
              <a:gd name="connsiteY4100" fmla="*/ 1585826 h 5504521"/>
              <a:gd name="connsiteX4101" fmla="*/ 2862759 w 6384854"/>
              <a:gd name="connsiteY4101" fmla="*/ 1588620 h 5504521"/>
              <a:gd name="connsiteX4102" fmla="*/ 2866149 w 6384854"/>
              <a:gd name="connsiteY4102" fmla="*/ 1586422 h 5504521"/>
              <a:gd name="connsiteX4103" fmla="*/ 2855379 w 6384854"/>
              <a:gd name="connsiteY4103" fmla="*/ 1595808 h 5504521"/>
              <a:gd name="connsiteX4104" fmla="*/ 2854782 w 6384854"/>
              <a:gd name="connsiteY4104" fmla="*/ 1598601 h 5504521"/>
              <a:gd name="connsiteX4105" fmla="*/ 2854185 w 6384854"/>
              <a:gd name="connsiteY4105" fmla="*/ 1601395 h 5504521"/>
              <a:gd name="connsiteX4106" fmla="*/ 2842222 w 6384854"/>
              <a:gd name="connsiteY4106" fmla="*/ 1616368 h 5504521"/>
              <a:gd name="connsiteX4107" fmla="*/ 2831453 w 6384854"/>
              <a:gd name="connsiteY4107" fmla="*/ 1625753 h 5504521"/>
              <a:gd name="connsiteX4108" fmla="*/ 2828658 w 6384854"/>
              <a:gd name="connsiteY4108" fmla="*/ 1625156 h 5504521"/>
              <a:gd name="connsiteX4109" fmla="*/ 2825865 w 6384854"/>
              <a:gd name="connsiteY4109" fmla="*/ 1624559 h 5504521"/>
              <a:gd name="connsiteX4110" fmla="*/ 2824671 w 6384854"/>
              <a:gd name="connsiteY4110" fmla="*/ 1630147 h 5504521"/>
              <a:gd name="connsiteX4111" fmla="*/ 2824074 w 6384854"/>
              <a:gd name="connsiteY4111" fmla="*/ 1632941 h 5504521"/>
              <a:gd name="connsiteX4112" fmla="*/ 2822881 w 6384854"/>
              <a:gd name="connsiteY4112" fmla="*/ 1638529 h 5504521"/>
              <a:gd name="connsiteX4113" fmla="*/ 2804135 w 6384854"/>
              <a:gd name="connsiteY4113" fmla="*/ 1657896 h 5504521"/>
              <a:gd name="connsiteX4114" fmla="*/ 2800147 w 6384854"/>
              <a:gd name="connsiteY4114" fmla="*/ 1662887 h 5504521"/>
              <a:gd name="connsiteX4115" fmla="*/ 2799550 w 6384854"/>
              <a:gd name="connsiteY4115" fmla="*/ 1665681 h 5504521"/>
              <a:gd name="connsiteX4116" fmla="*/ 2798953 w 6384854"/>
              <a:gd name="connsiteY4116" fmla="*/ 1668475 h 5504521"/>
              <a:gd name="connsiteX4117" fmla="*/ 2788184 w 6384854"/>
              <a:gd name="connsiteY4117" fmla="*/ 1677860 h 5504521"/>
              <a:gd name="connsiteX4118" fmla="*/ 2783002 w 6384854"/>
              <a:gd name="connsiteY4118" fmla="*/ 1688438 h 5504521"/>
              <a:gd name="connsiteX4119" fmla="*/ 2802344 w 6384854"/>
              <a:gd name="connsiteY4119" fmla="*/ 1666278 h 5504521"/>
              <a:gd name="connsiteX4120" fmla="*/ 2805735 w 6384854"/>
              <a:gd name="connsiteY4120" fmla="*/ 1664081 h 5504521"/>
              <a:gd name="connsiteX4121" fmla="*/ 2809125 w 6384854"/>
              <a:gd name="connsiteY4121" fmla="*/ 1661884 h 5504521"/>
              <a:gd name="connsiteX4122" fmla="*/ 2806929 w 6384854"/>
              <a:gd name="connsiteY4122" fmla="*/ 1658493 h 5504521"/>
              <a:gd name="connsiteX4123" fmla="*/ 2810917 w 6384854"/>
              <a:gd name="connsiteY4123" fmla="*/ 1653502 h 5504521"/>
              <a:gd name="connsiteX4124" fmla="*/ 2817102 w 6384854"/>
              <a:gd name="connsiteY4124" fmla="*/ 1651902 h 5504521"/>
              <a:gd name="connsiteX4125" fmla="*/ 2826271 w 6384854"/>
              <a:gd name="connsiteY4125" fmla="*/ 1636332 h 5504521"/>
              <a:gd name="connsiteX4126" fmla="*/ 2826868 w 6384854"/>
              <a:gd name="connsiteY4126" fmla="*/ 1633538 h 5504521"/>
              <a:gd name="connsiteX4127" fmla="*/ 2829662 w 6384854"/>
              <a:gd name="connsiteY4127" fmla="*/ 1634135 h 5504521"/>
              <a:gd name="connsiteX4128" fmla="*/ 2833053 w 6384854"/>
              <a:gd name="connsiteY4128" fmla="*/ 1631938 h 5504521"/>
              <a:gd name="connsiteX4129" fmla="*/ 2833650 w 6384854"/>
              <a:gd name="connsiteY4129" fmla="*/ 1629144 h 5504521"/>
              <a:gd name="connsiteX4130" fmla="*/ 2830855 w 6384854"/>
              <a:gd name="connsiteY4130" fmla="*/ 1628547 h 5504521"/>
              <a:gd name="connsiteX4131" fmla="*/ 2856979 w 6384854"/>
              <a:gd name="connsiteY4131" fmla="*/ 1601992 h 5504521"/>
              <a:gd name="connsiteX4132" fmla="*/ 2856383 w 6384854"/>
              <a:gd name="connsiteY4132" fmla="*/ 1604786 h 5504521"/>
              <a:gd name="connsiteX4133" fmla="*/ 2859773 w 6384854"/>
              <a:gd name="connsiteY4133" fmla="*/ 1602589 h 5504521"/>
              <a:gd name="connsiteX4134" fmla="*/ 2860371 w 6384854"/>
              <a:gd name="connsiteY4134" fmla="*/ 1599795 h 5504521"/>
              <a:gd name="connsiteX4135" fmla="*/ 2868943 w 6384854"/>
              <a:gd name="connsiteY4135" fmla="*/ 1587019 h 5504521"/>
              <a:gd name="connsiteX4136" fmla="*/ 2871737 w 6384854"/>
              <a:gd name="connsiteY4136" fmla="*/ 1587616 h 5504521"/>
              <a:gd name="connsiteX4137" fmla="*/ 2872334 w 6384854"/>
              <a:gd name="connsiteY4137" fmla="*/ 1584822 h 5504521"/>
              <a:gd name="connsiteX4138" fmla="*/ 2872930 w 6384854"/>
              <a:gd name="connsiteY4138" fmla="*/ 1582029 h 5504521"/>
              <a:gd name="connsiteX4139" fmla="*/ 2905837 w 6384854"/>
              <a:gd name="connsiteY4139" fmla="*/ 1551079 h 5504521"/>
              <a:gd name="connsiteX4140" fmla="*/ 2929166 w 6384854"/>
              <a:gd name="connsiteY4140" fmla="*/ 1523928 h 5504521"/>
              <a:gd name="connsiteX4141" fmla="*/ 2965463 w 6384854"/>
              <a:gd name="connsiteY4141" fmla="*/ 1490781 h 5504521"/>
              <a:gd name="connsiteX4142" fmla="*/ 2987598 w 6384854"/>
              <a:gd name="connsiteY4142" fmla="*/ 1469217 h 5504521"/>
              <a:gd name="connsiteX4143" fmla="*/ 3011932 w 6384854"/>
              <a:gd name="connsiteY4143" fmla="*/ 1451045 h 5504521"/>
              <a:gd name="connsiteX4144" fmla="*/ 3014320 w 6384854"/>
              <a:gd name="connsiteY4144" fmla="*/ 1439868 h 5504521"/>
              <a:gd name="connsiteX4145" fmla="*/ 3041446 w 6384854"/>
              <a:gd name="connsiteY4145" fmla="*/ 1422292 h 5504521"/>
              <a:gd name="connsiteX4146" fmla="*/ 3040849 w 6384854"/>
              <a:gd name="connsiteY4146" fmla="*/ 1425086 h 5504521"/>
              <a:gd name="connsiteX4147" fmla="*/ 2914815 w 6384854"/>
              <a:gd name="connsiteY4147" fmla="*/ 1550076 h 5504521"/>
              <a:gd name="connsiteX4148" fmla="*/ 2912618 w 6384854"/>
              <a:gd name="connsiteY4148" fmla="*/ 1546685 h 5504521"/>
              <a:gd name="connsiteX4149" fmla="*/ 2908630 w 6384854"/>
              <a:gd name="connsiteY4149" fmla="*/ 1551676 h 5504521"/>
              <a:gd name="connsiteX4150" fmla="*/ 2908033 w 6384854"/>
              <a:gd name="connsiteY4150" fmla="*/ 1554470 h 5504521"/>
              <a:gd name="connsiteX4151" fmla="*/ 2891079 w 6384854"/>
              <a:gd name="connsiteY4151" fmla="*/ 1565456 h 5504521"/>
              <a:gd name="connsiteX4152" fmla="*/ 2857386 w 6384854"/>
              <a:gd name="connsiteY4152" fmla="*/ 1613765 h 5504521"/>
              <a:gd name="connsiteX4153" fmla="*/ 2822092 w 6384854"/>
              <a:gd name="connsiteY4153" fmla="*/ 1655890 h 5504521"/>
              <a:gd name="connsiteX4154" fmla="*/ 2780017 w 6384854"/>
              <a:gd name="connsiteY4154" fmla="*/ 1702408 h 5504521"/>
              <a:gd name="connsiteX4155" fmla="*/ 2746325 w 6384854"/>
              <a:gd name="connsiteY4155" fmla="*/ 1750718 h 5504521"/>
              <a:gd name="connsiteX4156" fmla="*/ 2742934 w 6384854"/>
              <a:gd name="connsiteY4156" fmla="*/ 1752915 h 5504521"/>
              <a:gd name="connsiteX4157" fmla="*/ 2742337 w 6384854"/>
              <a:gd name="connsiteY4157" fmla="*/ 1755709 h 5504521"/>
              <a:gd name="connsiteX4158" fmla="*/ 2745131 w 6384854"/>
              <a:gd name="connsiteY4158" fmla="*/ 1756306 h 5504521"/>
              <a:gd name="connsiteX4159" fmla="*/ 2739352 w 6384854"/>
              <a:gd name="connsiteY4159" fmla="*/ 1769679 h 5504521"/>
              <a:gd name="connsiteX4160" fmla="*/ 2738755 w 6384854"/>
              <a:gd name="connsiteY4160" fmla="*/ 1772473 h 5504521"/>
              <a:gd name="connsiteX4161" fmla="*/ 2741549 w 6384854"/>
              <a:gd name="connsiteY4161" fmla="*/ 1773070 h 5504521"/>
              <a:gd name="connsiteX4162" fmla="*/ 2744343 w 6384854"/>
              <a:gd name="connsiteY4162" fmla="*/ 1773667 h 5504521"/>
              <a:gd name="connsiteX4163" fmla="*/ 2743747 w 6384854"/>
              <a:gd name="connsiteY4163" fmla="*/ 1776460 h 5504521"/>
              <a:gd name="connsiteX4164" fmla="*/ 2731186 w 6384854"/>
              <a:gd name="connsiteY4164" fmla="*/ 1794227 h 5504521"/>
              <a:gd name="connsiteX4165" fmla="*/ 2721014 w 6384854"/>
              <a:gd name="connsiteY4165" fmla="*/ 1800818 h 5504521"/>
              <a:gd name="connsiteX4166" fmla="*/ 2726601 w 6384854"/>
              <a:gd name="connsiteY4166" fmla="*/ 1802012 h 5504521"/>
              <a:gd name="connsiteX4167" fmla="*/ 2701481 w 6384854"/>
              <a:gd name="connsiteY4167" fmla="*/ 1837546 h 5504521"/>
              <a:gd name="connsiteX4168" fmla="*/ 2703678 w 6384854"/>
              <a:gd name="connsiteY4168" fmla="*/ 1840937 h 5504521"/>
              <a:gd name="connsiteX4169" fmla="*/ 2696896 w 6384854"/>
              <a:gd name="connsiteY4169" fmla="*/ 1845331 h 5504521"/>
              <a:gd name="connsiteX4170" fmla="*/ 2695105 w 6384854"/>
              <a:gd name="connsiteY4170" fmla="*/ 1853713 h 5504521"/>
              <a:gd name="connsiteX4171" fmla="*/ 2663609 w 6384854"/>
              <a:gd name="connsiteY4171" fmla="*/ 1905413 h 5504521"/>
              <a:gd name="connsiteX4172" fmla="*/ 2654440 w 6384854"/>
              <a:gd name="connsiteY4172" fmla="*/ 1920983 h 5504521"/>
              <a:gd name="connsiteX4173" fmla="*/ 2617762 w 6384854"/>
              <a:gd name="connsiteY4173" fmla="*/ 1983263 h 5504521"/>
              <a:gd name="connsiteX4174" fmla="*/ 2609596 w 6384854"/>
              <a:gd name="connsiteY4174" fmla="*/ 2007811 h 5504521"/>
              <a:gd name="connsiteX4175" fmla="*/ 2602814 w 6384854"/>
              <a:gd name="connsiteY4175" fmla="*/ 2012205 h 5504521"/>
              <a:gd name="connsiteX4176" fmla="*/ 2601811 w 6384854"/>
              <a:gd name="connsiteY4176" fmla="*/ 2003227 h 5504521"/>
              <a:gd name="connsiteX4177" fmla="*/ 2593836 w 6384854"/>
              <a:gd name="connsiteY4177" fmla="*/ 2013209 h 5504521"/>
              <a:gd name="connsiteX4178" fmla="*/ 2593239 w 6384854"/>
              <a:gd name="connsiteY4178" fmla="*/ 2016003 h 5504521"/>
              <a:gd name="connsiteX4179" fmla="*/ 2590445 w 6384854"/>
              <a:gd name="connsiteY4179" fmla="*/ 2015406 h 5504521"/>
              <a:gd name="connsiteX4180" fmla="*/ 2589848 w 6384854"/>
              <a:gd name="connsiteY4180" fmla="*/ 2018199 h 5504521"/>
              <a:gd name="connsiteX4181" fmla="*/ 2586457 w 6384854"/>
              <a:gd name="connsiteY4181" fmla="*/ 2020396 h 5504521"/>
              <a:gd name="connsiteX4182" fmla="*/ 2581275 w 6384854"/>
              <a:gd name="connsiteY4182" fmla="*/ 2030976 h 5504521"/>
              <a:gd name="connsiteX4183" fmla="*/ 2566327 w 6384854"/>
              <a:gd name="connsiteY4183" fmla="*/ 2059917 h 5504521"/>
              <a:gd name="connsiteX4184" fmla="*/ 2562937 w 6384854"/>
              <a:gd name="connsiteY4184" fmla="*/ 2062115 h 5504521"/>
              <a:gd name="connsiteX4185" fmla="*/ 2561743 w 6384854"/>
              <a:gd name="connsiteY4185" fmla="*/ 2067703 h 5504521"/>
              <a:gd name="connsiteX4186" fmla="*/ 2561146 w 6384854"/>
              <a:gd name="connsiteY4186" fmla="*/ 2070497 h 5504521"/>
              <a:gd name="connsiteX4187" fmla="*/ 2518879 w 6384854"/>
              <a:gd name="connsiteY4187" fmla="*/ 2131582 h 5504521"/>
              <a:gd name="connsiteX4188" fmla="*/ 2510092 w 6384854"/>
              <a:gd name="connsiteY4188" fmla="*/ 2118019 h 5504521"/>
              <a:gd name="connsiteX4189" fmla="*/ 2500135 w 6384854"/>
              <a:gd name="connsiteY4189" fmla="*/ 2150949 h 5504521"/>
              <a:gd name="connsiteX4190" fmla="*/ 2490941 w 6384854"/>
              <a:gd name="connsiteY4190" fmla="*/ 2125614 h 5504521"/>
              <a:gd name="connsiteX4191" fmla="*/ 2491538 w 6384854"/>
              <a:gd name="connsiteY4191" fmla="*/ 2122819 h 5504521"/>
              <a:gd name="connsiteX4192" fmla="*/ 2493329 w 6384854"/>
              <a:gd name="connsiteY4192" fmla="*/ 2114437 h 5504521"/>
              <a:gd name="connsiteX4193" fmla="*/ 2495525 w 6384854"/>
              <a:gd name="connsiteY4193" fmla="*/ 2117829 h 5504521"/>
              <a:gd name="connsiteX4194" fmla="*/ 2494929 w 6384854"/>
              <a:gd name="connsiteY4194" fmla="*/ 2120622 h 5504521"/>
              <a:gd name="connsiteX4195" fmla="*/ 2498319 w 6384854"/>
              <a:gd name="connsiteY4195" fmla="*/ 2118425 h 5504521"/>
              <a:gd name="connsiteX4196" fmla="*/ 2497316 w 6384854"/>
              <a:gd name="connsiteY4196" fmla="*/ 2109447 h 5504521"/>
              <a:gd name="connsiteX4197" fmla="*/ 2497913 w 6384854"/>
              <a:gd name="connsiteY4197" fmla="*/ 2106653 h 5504521"/>
              <a:gd name="connsiteX4198" fmla="*/ 2498509 w 6384854"/>
              <a:gd name="connsiteY4198" fmla="*/ 2103858 h 5504521"/>
              <a:gd name="connsiteX4199" fmla="*/ 2496313 w 6384854"/>
              <a:gd name="connsiteY4199" fmla="*/ 2100468 h 5504521"/>
              <a:gd name="connsiteX4200" fmla="*/ 2495119 w 6384854"/>
              <a:gd name="connsiteY4200" fmla="*/ 2106056 h 5504521"/>
              <a:gd name="connsiteX4201" fmla="*/ 2494522 w 6384854"/>
              <a:gd name="connsiteY4201" fmla="*/ 2108850 h 5504521"/>
              <a:gd name="connsiteX4202" fmla="*/ 2493925 w 6384854"/>
              <a:gd name="connsiteY4202" fmla="*/ 2111643 h 5504521"/>
              <a:gd name="connsiteX4203" fmla="*/ 2490535 w 6384854"/>
              <a:gd name="connsiteY4203" fmla="*/ 2113841 h 5504521"/>
              <a:gd name="connsiteX4204" fmla="*/ 2490915 w 6384854"/>
              <a:gd name="connsiteY4204" fmla="*/ 2084707 h 5504521"/>
              <a:gd name="connsiteX4205" fmla="*/ 2469186 w 6384854"/>
              <a:gd name="connsiteY4205" fmla="*/ 2118044 h 5504521"/>
              <a:gd name="connsiteX4206" fmla="*/ 2452853 w 6384854"/>
              <a:gd name="connsiteY4206" fmla="*/ 2167142 h 5504521"/>
              <a:gd name="connsiteX4207" fmla="*/ 2452447 w 6384854"/>
              <a:gd name="connsiteY4207" fmla="*/ 2155368 h 5504521"/>
              <a:gd name="connsiteX4208" fmla="*/ 2404403 w 6384854"/>
              <a:gd name="connsiteY4208" fmla="*/ 2229827 h 5504521"/>
              <a:gd name="connsiteX4209" fmla="*/ 2398815 w 6384854"/>
              <a:gd name="connsiteY4209" fmla="*/ 2228633 h 5504521"/>
              <a:gd name="connsiteX4210" fmla="*/ 2734426 w 6384854"/>
              <a:gd name="connsiteY4210" fmla="*/ 1546594 h 5504521"/>
              <a:gd name="connsiteX4211" fmla="*/ 3247402 w 6384854"/>
              <a:gd name="connsiteY4211" fmla="*/ 1142010 h 5504521"/>
              <a:gd name="connsiteX4212" fmla="*/ 3256978 w 6384854"/>
              <a:gd name="connsiteY4212" fmla="*/ 1138213 h 5504521"/>
              <a:gd name="connsiteX4213" fmla="*/ 3254184 w 6384854"/>
              <a:gd name="connsiteY4213" fmla="*/ 1137616 h 5504521"/>
              <a:gd name="connsiteX4214" fmla="*/ 3299865 w 6384854"/>
              <a:gd name="connsiteY4214" fmla="*/ 1115239 h 5504521"/>
              <a:gd name="connsiteX4215" fmla="*/ 3319613 w 6384854"/>
              <a:gd name="connsiteY4215" fmla="*/ 1104851 h 5504521"/>
              <a:gd name="connsiteX4216" fmla="*/ 3370883 w 6384854"/>
              <a:gd name="connsiteY4216" fmla="*/ 1083668 h 5504521"/>
              <a:gd name="connsiteX4217" fmla="*/ 3386644 w 6384854"/>
              <a:gd name="connsiteY4217" fmla="*/ 1078271 h 5504521"/>
              <a:gd name="connsiteX4218" fmla="*/ 3392829 w 6384854"/>
              <a:gd name="connsiteY4218" fmla="*/ 1076671 h 5504521"/>
              <a:gd name="connsiteX4219" fmla="*/ 3396220 w 6384854"/>
              <a:gd name="connsiteY4219" fmla="*/ 1074474 h 5504521"/>
              <a:gd name="connsiteX4220" fmla="*/ 3399013 w 6384854"/>
              <a:gd name="connsiteY4220" fmla="*/ 1075071 h 5504521"/>
              <a:gd name="connsiteX4221" fmla="*/ 3399610 w 6384854"/>
              <a:gd name="connsiteY4221" fmla="*/ 1072277 h 5504521"/>
              <a:gd name="connsiteX4222" fmla="*/ 3434522 w 6384854"/>
              <a:gd name="connsiteY4222" fmla="*/ 1059285 h 5504521"/>
              <a:gd name="connsiteX4223" fmla="*/ 3494174 w 6384854"/>
              <a:gd name="connsiteY4223" fmla="*/ 1039893 h 5504521"/>
              <a:gd name="connsiteX4224" fmla="*/ 3543653 w 6384854"/>
              <a:gd name="connsiteY4224" fmla="*/ 1027092 h 5504521"/>
              <a:gd name="connsiteX4225" fmla="*/ 3535271 w 6384854"/>
              <a:gd name="connsiteY4225" fmla="*/ 1025302 h 5504521"/>
              <a:gd name="connsiteX4226" fmla="*/ 4059626 w 6384854"/>
              <a:gd name="connsiteY4226" fmla="*/ 955466 h 5504521"/>
              <a:gd name="connsiteX4227" fmla="*/ 4114458 w 6384854"/>
              <a:gd name="connsiteY4227" fmla="*/ 959119 h 5504521"/>
              <a:gd name="connsiteX4228" fmla="*/ 4120159 w 6384854"/>
              <a:gd name="connsiteY4228" fmla="*/ 963864 h 5504521"/>
              <a:gd name="connsiteX4229" fmla="*/ 4148756 w 6384854"/>
              <a:gd name="connsiteY4229" fmla="*/ 967700 h 5504521"/>
              <a:gd name="connsiteX4230" fmla="*/ 4230828 w 6384854"/>
              <a:gd name="connsiteY4230" fmla="*/ 970544 h 5504521"/>
              <a:gd name="connsiteX4231" fmla="*/ 4242830 w 6384854"/>
              <a:gd name="connsiteY4231" fmla="*/ 971684 h 5504521"/>
              <a:gd name="connsiteX4232" fmla="*/ 4329083 w 6384854"/>
              <a:gd name="connsiteY4232" fmla="*/ 984550 h 5504521"/>
              <a:gd name="connsiteX4233" fmla="*/ 4597258 w 6384854"/>
              <a:gd name="connsiteY4233" fmla="*/ 1059373 h 5504521"/>
              <a:gd name="connsiteX4234" fmla="*/ 4600052 w 6384854"/>
              <a:gd name="connsiteY4234" fmla="*/ 1059969 h 5504521"/>
              <a:gd name="connsiteX4235" fmla="*/ 4593270 w 6384854"/>
              <a:gd name="connsiteY4235" fmla="*/ 1064364 h 5504521"/>
              <a:gd name="connsiteX4236" fmla="*/ 4605640 w 6384854"/>
              <a:gd name="connsiteY4236" fmla="*/ 1061163 h 5504521"/>
              <a:gd name="connsiteX4237" fmla="*/ 4712441 w 6384854"/>
              <a:gd name="connsiteY4237" fmla="*/ 1107811 h 5504521"/>
              <a:gd name="connsiteX4238" fmla="*/ 4713467 w 6384854"/>
              <a:gd name="connsiteY4238" fmla="*/ 1106724 h 5504521"/>
              <a:gd name="connsiteX4239" fmla="*/ 4725112 w 6384854"/>
              <a:gd name="connsiteY4239" fmla="*/ 1103661 h 5504521"/>
              <a:gd name="connsiteX4240" fmla="*/ 4759714 w 6384854"/>
              <a:gd name="connsiteY4240" fmla="*/ 1096435 h 5504521"/>
              <a:gd name="connsiteX4241" fmla="*/ 4767595 w 6384854"/>
              <a:gd name="connsiteY4241" fmla="*/ 1089964 h 5504521"/>
              <a:gd name="connsiteX4242" fmla="*/ 4728993 w 6384854"/>
              <a:gd name="connsiteY4242" fmla="*/ 1070599 h 5504521"/>
              <a:gd name="connsiteX4243" fmla="*/ 4453440 w 6384854"/>
              <a:gd name="connsiteY4243" fmla="*/ 976846 h 5504521"/>
              <a:gd name="connsiteX4244" fmla="*/ 4422901 w 6384854"/>
              <a:gd name="connsiteY4244" fmla="*/ 971031 h 5504521"/>
              <a:gd name="connsiteX4245" fmla="*/ 4392867 w 6384854"/>
              <a:gd name="connsiteY4245" fmla="*/ 963120 h 5504521"/>
              <a:gd name="connsiteX4246" fmla="*/ 4050124 w 6384854"/>
              <a:gd name="connsiteY4246" fmla="*/ 925636 h 5504521"/>
              <a:gd name="connsiteX4247" fmla="*/ 3505731 w 6384854"/>
              <a:gd name="connsiteY4247" fmla="*/ 1013148 h 5504521"/>
              <a:gd name="connsiteX4248" fmla="*/ 3515903 w 6384854"/>
              <a:gd name="connsiteY4248" fmla="*/ 1006557 h 5504521"/>
              <a:gd name="connsiteX4249" fmla="*/ 3481182 w 6384854"/>
              <a:gd name="connsiteY4249" fmla="*/ 1004981 h 5504521"/>
              <a:gd name="connsiteX4250" fmla="*/ 3452455 w 6384854"/>
              <a:gd name="connsiteY4250" fmla="*/ 1016373 h 5504521"/>
              <a:gd name="connsiteX4251" fmla="*/ 3429315 w 6384854"/>
              <a:gd name="connsiteY4251" fmla="*/ 1028958 h 5504521"/>
              <a:gd name="connsiteX4252" fmla="*/ 3414749 w 6384854"/>
              <a:gd name="connsiteY4252" fmla="*/ 1028767 h 5504521"/>
              <a:gd name="connsiteX4253" fmla="*/ 3362882 w 6384854"/>
              <a:gd name="connsiteY4253" fmla="*/ 1052744 h 5504521"/>
              <a:gd name="connsiteX4254" fmla="*/ 3310013 w 6384854"/>
              <a:gd name="connsiteY4254" fmla="*/ 1067743 h 5504521"/>
              <a:gd name="connsiteX4255" fmla="*/ 3295852 w 6384854"/>
              <a:gd name="connsiteY4255" fmla="*/ 1079324 h 5504521"/>
              <a:gd name="connsiteX4256" fmla="*/ 3228822 w 6384854"/>
              <a:gd name="connsiteY4256" fmla="*/ 1105905 h 5504521"/>
              <a:gd name="connsiteX4257" fmla="*/ 3206686 w 6384854"/>
              <a:gd name="connsiteY4257" fmla="*/ 1127468 h 5504521"/>
              <a:gd name="connsiteX4258" fmla="*/ 3286087 w 6384854"/>
              <a:gd name="connsiteY4258" fmla="*/ 1097688 h 5504521"/>
              <a:gd name="connsiteX4259" fmla="*/ 3300247 w 6384854"/>
              <a:gd name="connsiteY4259" fmla="*/ 1086106 h 5504521"/>
              <a:gd name="connsiteX4260" fmla="*/ 3378453 w 6384854"/>
              <a:gd name="connsiteY4260" fmla="*/ 1061914 h 5504521"/>
              <a:gd name="connsiteX4261" fmla="*/ 3124517 w 6384854"/>
              <a:gd name="connsiteY4261" fmla="*/ 1197558 h 5504521"/>
              <a:gd name="connsiteX4262" fmla="*/ 3097390 w 6384854"/>
              <a:gd name="connsiteY4262" fmla="*/ 1215133 h 5504521"/>
              <a:gd name="connsiteX4263" fmla="*/ 3025585 w 6384854"/>
              <a:gd name="connsiteY4263" fmla="*/ 1264065 h 5504521"/>
              <a:gd name="connsiteX4264" fmla="*/ 3001849 w 6384854"/>
              <a:gd name="connsiteY4264" fmla="*/ 1279444 h 5504521"/>
              <a:gd name="connsiteX4265" fmla="*/ 2962759 w 6384854"/>
              <a:gd name="connsiteY4265" fmla="*/ 1311994 h 5504521"/>
              <a:gd name="connsiteX4266" fmla="*/ 2968943 w 6384854"/>
              <a:gd name="connsiteY4266" fmla="*/ 1310393 h 5504521"/>
              <a:gd name="connsiteX4267" fmla="*/ 2734426 w 6384854"/>
              <a:gd name="connsiteY4267" fmla="*/ 1546594 h 5504521"/>
              <a:gd name="connsiteX4268" fmla="*/ 2434630 w 6384854"/>
              <a:gd name="connsiteY4268" fmla="*/ 2060996 h 5504521"/>
              <a:gd name="connsiteX4269" fmla="*/ 2379067 w 6384854"/>
              <a:gd name="connsiteY4269" fmla="*/ 2239021 h 5504521"/>
              <a:gd name="connsiteX4270" fmla="*/ 2362353 w 6384854"/>
              <a:gd name="connsiteY4270" fmla="*/ 2317252 h 5504521"/>
              <a:gd name="connsiteX4271" fmla="*/ 2358963 w 6384854"/>
              <a:gd name="connsiteY4271" fmla="*/ 2319448 h 5504521"/>
              <a:gd name="connsiteX4272" fmla="*/ 2357172 w 6384854"/>
              <a:gd name="connsiteY4272" fmla="*/ 2327831 h 5504521"/>
              <a:gd name="connsiteX4273" fmla="*/ 2359369 w 6384854"/>
              <a:gd name="connsiteY4273" fmla="*/ 2331221 h 5504521"/>
              <a:gd name="connsiteX4274" fmla="*/ 2342273 w 6384854"/>
              <a:gd name="connsiteY4274" fmla="*/ 2438586 h 5504521"/>
              <a:gd name="connsiteX4275" fmla="*/ 2329559 w 6384854"/>
              <a:gd name="connsiteY4275" fmla="*/ 2635534 h 5504521"/>
              <a:gd name="connsiteX4276" fmla="*/ 2330673 w 6384854"/>
              <a:gd name="connsiteY4276" fmla="*/ 2656100 h 5504521"/>
              <a:gd name="connsiteX4277" fmla="*/ 2320814 w 6384854"/>
              <a:gd name="connsiteY4277" fmla="*/ 2648398 h 5504521"/>
              <a:gd name="connsiteX4278" fmla="*/ 2331866 w 6384854"/>
              <a:gd name="connsiteY4278" fmla="*/ 2678615 h 5504521"/>
              <a:gd name="connsiteX4279" fmla="*/ 2307724 w 6384854"/>
              <a:gd name="connsiteY4279" fmla="*/ 2695724 h 5504521"/>
              <a:gd name="connsiteX4280" fmla="*/ 2301938 w 6384854"/>
              <a:gd name="connsiteY4280" fmla="*/ 2711932 h 5504521"/>
              <a:gd name="connsiteX4281" fmla="*/ 2290850 w 6384854"/>
              <a:gd name="connsiteY4281" fmla="*/ 2747463 h 5504521"/>
              <a:gd name="connsiteX4282" fmla="*/ 2264556 w 6384854"/>
              <a:gd name="connsiteY4282" fmla="*/ 2771285 h 5504521"/>
              <a:gd name="connsiteX4283" fmla="*/ 2249795 w 6384854"/>
              <a:gd name="connsiteY4283" fmla="*/ 2774827 h 5504521"/>
              <a:gd name="connsiteX4284" fmla="*/ 2232736 w 6384854"/>
              <a:gd name="connsiteY4284" fmla="*/ 2779999 h 5504521"/>
              <a:gd name="connsiteX4285" fmla="*/ 2214252 w 6384854"/>
              <a:gd name="connsiteY4285" fmla="*/ 2806819 h 5504521"/>
              <a:gd name="connsiteX4286" fmla="*/ 2206548 w 6384854"/>
              <a:gd name="connsiteY4286" fmla="*/ 2756723 h 5504521"/>
              <a:gd name="connsiteX4287" fmla="*/ 2202755 w 6384854"/>
              <a:gd name="connsiteY4287" fmla="*/ 2388382 h 5504521"/>
              <a:gd name="connsiteX4288" fmla="*/ 2285843 w 6384854"/>
              <a:gd name="connsiteY4288" fmla="*/ 2101678 h 5504521"/>
              <a:gd name="connsiteX4289" fmla="*/ 2295002 w 6384854"/>
              <a:gd name="connsiteY4289" fmla="*/ 2041774 h 5504521"/>
              <a:gd name="connsiteX4290" fmla="*/ 2284323 w 6384854"/>
              <a:gd name="connsiteY4290" fmla="*/ 2057687 h 5504521"/>
              <a:gd name="connsiteX4291" fmla="*/ 2268114 w 6384854"/>
              <a:gd name="connsiteY4291" fmla="*/ 2105169 h 5504521"/>
              <a:gd name="connsiteX4292" fmla="*/ 2252627 w 6384854"/>
              <a:gd name="connsiteY4292" fmla="*/ 2115202 h 5504521"/>
              <a:gd name="connsiteX4293" fmla="*/ 2245160 w 6384854"/>
              <a:gd name="connsiteY4293" fmla="*/ 2099051 h 5504521"/>
              <a:gd name="connsiteX4294" fmla="*/ 2246974 w 6384854"/>
              <a:gd name="connsiteY4294" fmla="*/ 2084883 h 5504521"/>
              <a:gd name="connsiteX4295" fmla="*/ 2298318 w 6384854"/>
              <a:gd name="connsiteY4295" fmla="*/ 1912694 h 5504521"/>
              <a:gd name="connsiteX4296" fmla="*/ 2388093 w 6384854"/>
              <a:gd name="connsiteY4296" fmla="*/ 1719605 h 5504521"/>
              <a:gd name="connsiteX4297" fmla="*/ 2419158 w 6384854"/>
              <a:gd name="connsiteY4297" fmla="*/ 1710473 h 5504521"/>
              <a:gd name="connsiteX4298" fmla="*/ 2430342 w 6384854"/>
              <a:gd name="connsiteY4298" fmla="*/ 1709223 h 5504521"/>
              <a:gd name="connsiteX4299" fmla="*/ 2468077 w 6384854"/>
              <a:gd name="connsiteY4299" fmla="*/ 1634803 h 5504521"/>
              <a:gd name="connsiteX4300" fmla="*/ 2427573 w 6384854"/>
              <a:gd name="connsiteY4300" fmla="*/ 1654048 h 5504521"/>
              <a:gd name="connsiteX4301" fmla="*/ 2587418 w 6384854"/>
              <a:gd name="connsiteY4301" fmla="*/ 1422558 h 5504521"/>
              <a:gd name="connsiteX4302" fmla="*/ 2555236 w 6384854"/>
              <a:gd name="connsiteY4302" fmla="*/ 1499377 h 5504521"/>
              <a:gd name="connsiteX4303" fmla="*/ 2671715 w 6384854"/>
              <a:gd name="connsiteY4303" fmla="*/ 1345956 h 5504521"/>
              <a:gd name="connsiteX4304" fmla="*/ 2735794 w 6384854"/>
              <a:gd name="connsiteY4304" fmla="*/ 1267460 h 5504521"/>
              <a:gd name="connsiteX4305" fmla="*/ 2900671 w 6384854"/>
              <a:gd name="connsiteY4305" fmla="*/ 1131657 h 5504521"/>
              <a:gd name="connsiteX4306" fmla="*/ 3369445 w 6384854"/>
              <a:gd name="connsiteY4306" fmla="*/ 850935 h 5504521"/>
              <a:gd name="connsiteX4307" fmla="*/ 4266669 w 6384854"/>
              <a:gd name="connsiteY4307" fmla="*/ 722399 h 5504521"/>
              <a:gd name="connsiteX4308" fmla="*/ 4378197 w 6384854"/>
              <a:gd name="connsiteY4308" fmla="*/ 734097 h 5504521"/>
              <a:gd name="connsiteX4309" fmla="*/ 4378118 w 6384854"/>
              <a:gd name="connsiteY4309" fmla="*/ 740145 h 5504521"/>
              <a:gd name="connsiteX4310" fmla="*/ 3979928 w 6384854"/>
              <a:gd name="connsiteY4310" fmla="*/ 747260 h 5504521"/>
              <a:gd name="connsiteX4311" fmla="*/ 4415510 w 6384854"/>
              <a:gd name="connsiteY4311" fmla="*/ 780884 h 5504521"/>
              <a:gd name="connsiteX4312" fmla="*/ 4831435 w 6384854"/>
              <a:gd name="connsiteY4312" fmla="*/ 912197 h 5504521"/>
              <a:gd name="connsiteX4313" fmla="*/ 4701999 w 6384854"/>
              <a:gd name="connsiteY4313" fmla="*/ 882119 h 5504521"/>
              <a:gd name="connsiteX4314" fmla="*/ 4371774 w 6384854"/>
              <a:gd name="connsiteY4314" fmla="*/ 798225 h 5504521"/>
              <a:gd name="connsiteX4315" fmla="*/ 3773989 w 6384854"/>
              <a:gd name="connsiteY4315" fmla="*/ 802725 h 5504521"/>
              <a:gd name="connsiteX4316" fmla="*/ 3420939 w 6384854"/>
              <a:gd name="connsiteY4316" fmla="*/ 916521 h 5504521"/>
              <a:gd name="connsiteX4317" fmla="*/ 3400991 w 6384854"/>
              <a:gd name="connsiteY4317" fmla="*/ 947435 h 5504521"/>
              <a:gd name="connsiteX4318" fmla="*/ 3408199 w 6384854"/>
              <a:gd name="connsiteY4318" fmla="*/ 947762 h 5504521"/>
              <a:gd name="connsiteX4319" fmla="*/ 3636913 w 6384854"/>
              <a:gd name="connsiteY4319" fmla="*/ 876542 h 5504521"/>
              <a:gd name="connsiteX4320" fmla="*/ 3647017 w 6384854"/>
              <a:gd name="connsiteY4320" fmla="*/ 868996 h 5504521"/>
              <a:gd name="connsiteX4321" fmla="*/ 3673103 w 6384854"/>
              <a:gd name="connsiteY4321" fmla="*/ 849097 h 5504521"/>
              <a:gd name="connsiteX4322" fmla="*/ 4061326 w 6384854"/>
              <a:gd name="connsiteY4322" fmla="*/ 803464 h 5504521"/>
              <a:gd name="connsiteX4323" fmla="*/ 4371290 w 6384854"/>
              <a:gd name="connsiteY4323" fmla="*/ 817529 h 5504521"/>
              <a:gd name="connsiteX4324" fmla="*/ 4731121 w 6384854"/>
              <a:gd name="connsiteY4324" fmla="*/ 914723 h 5504521"/>
              <a:gd name="connsiteX4325" fmla="*/ 4822416 w 6384854"/>
              <a:gd name="connsiteY4325" fmla="*/ 955662 h 5504521"/>
              <a:gd name="connsiteX4326" fmla="*/ 4825428 w 6384854"/>
              <a:gd name="connsiteY4326" fmla="*/ 949118 h 5504521"/>
              <a:gd name="connsiteX4327" fmla="*/ 4853020 w 6384854"/>
              <a:gd name="connsiteY4327" fmla="*/ 916160 h 5504521"/>
              <a:gd name="connsiteX4328" fmla="*/ 4865630 w 6384854"/>
              <a:gd name="connsiteY4328" fmla="*/ 919331 h 5504521"/>
              <a:gd name="connsiteX4329" fmla="*/ 4864889 w 6384854"/>
              <a:gd name="connsiteY4329" fmla="*/ 947529 h 5504521"/>
              <a:gd name="connsiteX4330" fmla="*/ 4872380 w 6384854"/>
              <a:gd name="connsiteY4330" fmla="*/ 962975 h 5504521"/>
              <a:gd name="connsiteX4331" fmla="*/ 4886659 w 6384854"/>
              <a:gd name="connsiteY4331" fmla="*/ 956315 h 5504521"/>
              <a:gd name="connsiteX4332" fmla="*/ 4899342 w 6384854"/>
              <a:gd name="connsiteY4332" fmla="*/ 935220 h 5504521"/>
              <a:gd name="connsiteX4333" fmla="*/ 4911172 w 6384854"/>
              <a:gd name="connsiteY4333" fmla="*/ 925107 h 5504521"/>
              <a:gd name="connsiteX4334" fmla="*/ 4918664 w 6384854"/>
              <a:gd name="connsiteY4334" fmla="*/ 940552 h 5504521"/>
              <a:gd name="connsiteX4335" fmla="*/ 4921260 w 6384854"/>
              <a:gd name="connsiteY4335" fmla="*/ 949090 h 5504521"/>
              <a:gd name="connsiteX4336" fmla="*/ 4928492 w 6384854"/>
              <a:gd name="connsiteY4336" fmla="*/ 942235 h 5504521"/>
              <a:gd name="connsiteX4337" fmla="*/ 4961832 w 6384854"/>
              <a:gd name="connsiteY4337" fmla="*/ 864992 h 5504521"/>
              <a:gd name="connsiteX4338" fmla="*/ 4993836 w 6384854"/>
              <a:gd name="connsiteY4338" fmla="*/ 741997 h 5504521"/>
              <a:gd name="connsiteX4339" fmla="*/ 5000251 w 6384854"/>
              <a:gd name="connsiteY4339" fmla="*/ 733992 h 5504521"/>
              <a:gd name="connsiteX4340" fmla="*/ 5010228 w 6384854"/>
              <a:gd name="connsiteY4340" fmla="*/ 740758 h 5504521"/>
              <a:gd name="connsiteX4341" fmla="*/ 5020316 w 6384854"/>
              <a:gd name="connsiteY4341" fmla="*/ 764741 h 5504521"/>
              <a:gd name="connsiteX4342" fmla="*/ 5031071 w 6384854"/>
              <a:gd name="connsiteY4342" fmla="*/ 784792 h 5504521"/>
              <a:gd name="connsiteX4343" fmla="*/ 5045015 w 6384854"/>
              <a:gd name="connsiteY4343" fmla="*/ 780099 h 5504521"/>
              <a:gd name="connsiteX4344" fmla="*/ 5047871 w 6384854"/>
              <a:gd name="connsiteY4344" fmla="*/ 757320 h 5504521"/>
              <a:gd name="connsiteX4345" fmla="*/ 5062334 w 6384854"/>
              <a:gd name="connsiteY4345" fmla="*/ 743612 h 5504521"/>
              <a:gd name="connsiteX4346" fmla="*/ 5070864 w 6384854"/>
              <a:gd name="connsiteY4346" fmla="*/ 741026 h 5504521"/>
              <a:gd name="connsiteX4347" fmla="*/ 5086811 w 6384854"/>
              <a:gd name="connsiteY4347" fmla="*/ 724536 h 5504521"/>
              <a:gd name="connsiteX4348" fmla="*/ 5098567 w 6384854"/>
              <a:gd name="connsiteY4348" fmla="*/ 685073 h 5504521"/>
              <a:gd name="connsiteX4349" fmla="*/ 5110990 w 6384854"/>
              <a:gd name="connsiteY4349" fmla="*/ 641677 h 5504521"/>
              <a:gd name="connsiteX4350" fmla="*/ 5126752 w 6384854"/>
              <a:gd name="connsiteY4350" fmla="*/ 632237 h 5504521"/>
              <a:gd name="connsiteX4351" fmla="*/ 5177559 w 6384854"/>
              <a:gd name="connsiteY4351" fmla="*/ 523590 h 5504521"/>
              <a:gd name="connsiteX4352" fmla="*/ 5193914 w 6384854"/>
              <a:gd name="connsiteY4352" fmla="*/ 480868 h 5504521"/>
              <a:gd name="connsiteX4353" fmla="*/ 5209527 w 6384854"/>
              <a:gd name="connsiteY4353" fmla="*/ 466345 h 5504521"/>
              <a:gd name="connsiteX4354" fmla="*/ 5231111 w 6384854"/>
              <a:gd name="connsiteY4354" fmla="*/ 428564 h 5504521"/>
              <a:gd name="connsiteX4355" fmla="*/ 5246057 w 6384854"/>
              <a:gd name="connsiteY4355" fmla="*/ 417973 h 5504521"/>
              <a:gd name="connsiteX4356" fmla="*/ 5264118 w 6384854"/>
              <a:gd name="connsiteY4356" fmla="*/ 406903 h 5504521"/>
              <a:gd name="connsiteX4357" fmla="*/ 5275169 w 6384854"/>
              <a:gd name="connsiteY4357" fmla="*/ 383505 h 5504521"/>
              <a:gd name="connsiteX4358" fmla="*/ 5275021 w 6384854"/>
              <a:gd name="connsiteY4358" fmla="*/ 378422 h 5504521"/>
              <a:gd name="connsiteX4359" fmla="*/ 5256922 w 6384854"/>
              <a:gd name="connsiteY4359" fmla="*/ 348009 h 5504521"/>
              <a:gd name="connsiteX4360" fmla="*/ 5266156 w 6384854"/>
              <a:gd name="connsiteY4360" fmla="*/ 329358 h 5504521"/>
              <a:gd name="connsiteX4361" fmla="*/ 5280064 w 6384854"/>
              <a:gd name="connsiteY4361" fmla="*/ 336797 h 5504521"/>
              <a:gd name="connsiteX4362" fmla="*/ 5291635 w 6384854"/>
              <a:gd name="connsiteY4362" fmla="*/ 358000 h 5504521"/>
              <a:gd name="connsiteX4363" fmla="*/ 5287852 w 6384854"/>
              <a:gd name="connsiteY4363" fmla="*/ 308794 h 5504521"/>
              <a:gd name="connsiteX4364" fmla="*/ 5296677 w 6384854"/>
              <a:gd name="connsiteY4364" fmla="*/ 262760 h 5504521"/>
              <a:gd name="connsiteX4365" fmla="*/ 5308805 w 6384854"/>
              <a:gd name="connsiteY4365" fmla="*/ 262813 h 5504521"/>
              <a:gd name="connsiteX4366" fmla="*/ 5313812 w 6384854"/>
              <a:gd name="connsiteY4366" fmla="*/ 286938 h 5504521"/>
              <a:gd name="connsiteX4367" fmla="*/ 5318967 w 6384854"/>
              <a:gd name="connsiteY4367" fmla="*/ 316146 h 5504521"/>
              <a:gd name="connsiteX4368" fmla="*/ 5355089 w 6384854"/>
              <a:gd name="connsiteY4368" fmla="*/ 294006 h 5504521"/>
              <a:gd name="connsiteX4369" fmla="*/ 5345633 w 6384854"/>
              <a:gd name="connsiteY4369" fmla="*/ 331840 h 5504521"/>
              <a:gd name="connsiteX4370" fmla="*/ 5355498 w 6384854"/>
              <a:gd name="connsiteY4370" fmla="*/ 375006 h 5504521"/>
              <a:gd name="connsiteX4371" fmla="*/ 5364844 w 6384854"/>
              <a:gd name="connsiteY4371" fmla="*/ 373571 h 5504521"/>
              <a:gd name="connsiteX4372" fmla="*/ 5368849 w 6384854"/>
              <a:gd name="connsiteY4372" fmla="*/ 349978 h 5504521"/>
              <a:gd name="connsiteX4373" fmla="*/ 5402338 w 6384854"/>
              <a:gd name="connsiteY4373" fmla="*/ 331435 h 5504521"/>
              <a:gd name="connsiteX4374" fmla="*/ 5404638 w 6384854"/>
              <a:gd name="connsiteY4374" fmla="*/ 329805 h 5504521"/>
              <a:gd name="connsiteX4375" fmla="*/ 5429892 w 6384854"/>
              <a:gd name="connsiteY4375" fmla="*/ 270398 h 5504521"/>
              <a:gd name="connsiteX4376" fmla="*/ 5482072 w 6384854"/>
              <a:gd name="connsiteY4376" fmla="*/ 195370 h 5504521"/>
              <a:gd name="connsiteX4377" fmla="*/ 5488377 w 6384854"/>
              <a:gd name="connsiteY4377" fmla="*/ 223763 h 5504521"/>
              <a:gd name="connsiteX4378" fmla="*/ 5509331 w 6384854"/>
              <a:gd name="connsiteY4378" fmla="*/ 231398 h 5504521"/>
              <a:gd name="connsiteX4379" fmla="*/ 5569522 w 6384854"/>
              <a:gd name="connsiteY4379" fmla="*/ 216415 h 5504521"/>
              <a:gd name="connsiteX4380" fmla="*/ 5594074 w 6384854"/>
              <a:gd name="connsiteY4380" fmla="*/ 226689 h 5504521"/>
              <a:gd name="connsiteX4381" fmla="*/ 5628305 w 6384854"/>
              <a:gd name="connsiteY4381" fmla="*/ 233562 h 5504521"/>
              <a:gd name="connsiteX4382" fmla="*/ 5643918 w 6384854"/>
              <a:gd name="connsiteY4382" fmla="*/ 219038 h 5504521"/>
              <a:gd name="connsiteX4383" fmla="*/ 5674070 w 6384854"/>
              <a:gd name="connsiteY4383" fmla="*/ 220155 h 5504521"/>
              <a:gd name="connsiteX4384" fmla="*/ 5692205 w 6384854"/>
              <a:gd name="connsiteY4384" fmla="*/ 238435 h 5504521"/>
              <a:gd name="connsiteX4385" fmla="*/ 5697509 w 6384854"/>
              <a:gd name="connsiteY4385" fmla="*/ 272727 h 5504521"/>
              <a:gd name="connsiteX4386" fmla="*/ 5684158 w 6384854"/>
              <a:gd name="connsiteY4386" fmla="*/ 297754 h 5504521"/>
              <a:gd name="connsiteX4387" fmla="*/ 5657641 w 6384854"/>
              <a:gd name="connsiteY4387" fmla="*/ 287144 h 5504521"/>
              <a:gd name="connsiteX4388" fmla="*/ 5641064 w 6384854"/>
              <a:gd name="connsiteY4388" fmla="*/ 295432 h 5504521"/>
              <a:gd name="connsiteX4389" fmla="*/ 5648630 w 6384854"/>
              <a:gd name="connsiteY4389" fmla="*/ 340228 h 5504521"/>
              <a:gd name="connsiteX4390" fmla="*/ 5660053 w 6384854"/>
              <a:gd name="connsiteY4390" fmla="*/ 356346 h 5504521"/>
              <a:gd name="connsiteX4391" fmla="*/ 5659719 w 6384854"/>
              <a:gd name="connsiteY4391" fmla="*/ 358312 h 5504521"/>
              <a:gd name="connsiteX4392" fmla="*/ 5662018 w 6384854"/>
              <a:gd name="connsiteY4392" fmla="*/ 356683 h 5504521"/>
              <a:gd name="connsiteX4393" fmla="*/ 5708783 w 6384854"/>
              <a:gd name="connsiteY4393" fmla="*/ 283762 h 5504521"/>
              <a:gd name="connsiteX4394" fmla="*/ 5736598 w 6384854"/>
              <a:gd name="connsiteY4394" fmla="*/ 245026 h 5504521"/>
              <a:gd name="connsiteX4395" fmla="*/ 5744386 w 6384854"/>
              <a:gd name="connsiteY4395" fmla="*/ 217022 h 5504521"/>
              <a:gd name="connsiteX4396" fmla="*/ 5751469 w 6384854"/>
              <a:gd name="connsiteY4396" fmla="*/ 205085 h 5504521"/>
              <a:gd name="connsiteX4397" fmla="*/ 5771347 w 6384854"/>
              <a:gd name="connsiteY4397" fmla="*/ 189268 h 5504521"/>
              <a:gd name="connsiteX4398" fmla="*/ 5778466 w 6384854"/>
              <a:gd name="connsiteY4398" fmla="*/ 111581 h 5504521"/>
              <a:gd name="connsiteX4399" fmla="*/ 5779134 w 6384854"/>
              <a:gd name="connsiteY4399" fmla="*/ 107649 h 5504521"/>
              <a:gd name="connsiteX4400" fmla="*/ 5787849 w 6384854"/>
              <a:gd name="connsiteY4400" fmla="*/ 98013 h 5504521"/>
              <a:gd name="connsiteX4401" fmla="*/ 5800125 w 6384854"/>
              <a:gd name="connsiteY4401" fmla="*/ 103151 h 5504521"/>
              <a:gd name="connsiteX4402" fmla="*/ 5803352 w 6384854"/>
              <a:gd name="connsiteY4402" fmla="*/ 119889 h 5504521"/>
              <a:gd name="connsiteX4403" fmla="*/ 5801090 w 6384854"/>
              <a:gd name="connsiteY4403" fmla="*/ 163001 h 5504521"/>
              <a:gd name="connsiteX4404" fmla="*/ 5801572 w 6384854"/>
              <a:gd name="connsiteY4404" fmla="*/ 166119 h 5504521"/>
              <a:gd name="connsiteX4405" fmla="*/ 5800089 w 6384854"/>
              <a:gd name="connsiteY4405" fmla="*/ 168900 h 5504521"/>
              <a:gd name="connsiteX4406" fmla="*/ 5803538 w 6384854"/>
              <a:gd name="connsiteY4406" fmla="*/ 166455 h 5504521"/>
              <a:gd name="connsiteX4407" fmla="*/ 5805021 w 6384854"/>
              <a:gd name="connsiteY4407" fmla="*/ 163674 h 5504521"/>
              <a:gd name="connsiteX4408" fmla="*/ 5827421 w 6384854"/>
              <a:gd name="connsiteY4408" fmla="*/ 127045 h 5504521"/>
              <a:gd name="connsiteX4409" fmla="*/ 5847225 w 6384854"/>
              <a:gd name="connsiteY4409" fmla="*/ 81879 h 5504521"/>
              <a:gd name="connsiteX4410" fmla="*/ 5865619 w 6384854"/>
              <a:gd name="connsiteY4410" fmla="*/ 68844 h 5504521"/>
              <a:gd name="connsiteX4411" fmla="*/ 5877191 w 6384854"/>
              <a:gd name="connsiteY4411" fmla="*/ 90046 h 5504521"/>
              <a:gd name="connsiteX4412" fmla="*/ 5876227 w 6384854"/>
              <a:gd name="connsiteY4412" fmla="*/ 137427 h 5504521"/>
              <a:gd name="connsiteX4413" fmla="*/ 5885462 w 6384854"/>
              <a:gd name="connsiteY4413" fmla="*/ 172392 h 5504521"/>
              <a:gd name="connsiteX4414" fmla="*/ 5888985 w 6384854"/>
              <a:gd name="connsiteY4414" fmla="*/ 145681 h 5504521"/>
              <a:gd name="connsiteX4415" fmla="*/ 5905525 w 6384854"/>
              <a:gd name="connsiteY4415" fmla="*/ 95910 h 5504521"/>
              <a:gd name="connsiteX4416" fmla="*/ 5943501 w 6384854"/>
              <a:gd name="connsiteY4416" fmla="*/ 56890 h 5504521"/>
              <a:gd name="connsiteX4417" fmla="*/ 5993197 w 6384854"/>
              <a:gd name="connsiteY4417" fmla="*/ 44156 h 5504521"/>
              <a:gd name="connsiteX4418" fmla="*/ 6013891 w 6384854"/>
              <a:gd name="connsiteY4418" fmla="*/ 29491 h 5504521"/>
              <a:gd name="connsiteX4419" fmla="*/ 6018898 w 6384854"/>
              <a:gd name="connsiteY4419" fmla="*/ 0 h 5504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</a:cxnLst>
            <a:rect l="l" t="t" r="r" b="b"/>
            <a:pathLst>
              <a:path w="6384854" h="5504521">
                <a:moveTo>
                  <a:pt x="3234628" y="4194761"/>
                </a:moveTo>
                <a:lnTo>
                  <a:pt x="3338110" y="4242528"/>
                </a:lnTo>
                <a:cubicBezTo>
                  <a:pt x="3389892" y="4264886"/>
                  <a:pt x="3442297" y="4285748"/>
                  <a:pt x="3495570" y="4304502"/>
                </a:cubicBezTo>
                <a:lnTo>
                  <a:pt x="3519858" y="4311868"/>
                </a:lnTo>
                <a:lnTo>
                  <a:pt x="3456577" y="4358293"/>
                </a:lnTo>
                <a:cubicBezTo>
                  <a:pt x="3448529" y="4363997"/>
                  <a:pt x="3441631" y="4368885"/>
                  <a:pt x="3434733" y="4373774"/>
                </a:cubicBezTo>
                <a:cubicBezTo>
                  <a:pt x="3432433" y="4375403"/>
                  <a:pt x="3430468" y="4375066"/>
                  <a:pt x="3429318" y="4375881"/>
                </a:cubicBezTo>
                <a:cubicBezTo>
                  <a:pt x="3316020" y="4447525"/>
                  <a:pt x="3210880" y="4530681"/>
                  <a:pt x="3095134" y="4598871"/>
                </a:cubicBezTo>
                <a:cubicBezTo>
                  <a:pt x="3064761" y="4616937"/>
                  <a:pt x="3036019" y="4637305"/>
                  <a:pt x="3004829" y="4654220"/>
                </a:cubicBezTo>
                <a:cubicBezTo>
                  <a:pt x="2936702" y="4692122"/>
                  <a:pt x="2871356" y="4731513"/>
                  <a:pt x="2805676" y="4772869"/>
                </a:cubicBezTo>
                <a:cubicBezTo>
                  <a:pt x="2754609" y="4805600"/>
                  <a:pt x="2703541" y="4838332"/>
                  <a:pt x="2647578" y="4864155"/>
                </a:cubicBezTo>
                <a:cubicBezTo>
                  <a:pt x="2595064" y="4887533"/>
                  <a:pt x="2544181" y="4913215"/>
                  <a:pt x="2499826" y="4948107"/>
                </a:cubicBezTo>
                <a:cubicBezTo>
                  <a:pt x="2495228" y="4951366"/>
                  <a:pt x="2491779" y="4953810"/>
                  <a:pt x="2485882" y="4952801"/>
                </a:cubicBezTo>
                <a:cubicBezTo>
                  <a:pt x="2452133" y="4949045"/>
                  <a:pt x="2426358" y="4963851"/>
                  <a:pt x="2400732" y="4983742"/>
                </a:cubicBezTo>
                <a:cubicBezTo>
                  <a:pt x="2376255" y="5002817"/>
                  <a:pt x="2350962" y="5020742"/>
                  <a:pt x="2322405" y="5034060"/>
                </a:cubicBezTo>
                <a:cubicBezTo>
                  <a:pt x="2274156" y="5056146"/>
                  <a:pt x="2225425" y="5075115"/>
                  <a:pt x="2180921" y="5104924"/>
                </a:cubicBezTo>
                <a:cubicBezTo>
                  <a:pt x="2161377" y="5118774"/>
                  <a:pt x="2139236" y="5124087"/>
                  <a:pt x="2115649" y="5120048"/>
                </a:cubicBezTo>
                <a:cubicBezTo>
                  <a:pt x="2107787" y="5118702"/>
                  <a:pt x="2104338" y="5121146"/>
                  <a:pt x="2102187" y="5127859"/>
                </a:cubicBezTo>
                <a:cubicBezTo>
                  <a:pt x="2095919" y="5140948"/>
                  <a:pt x="2088020" y="5151735"/>
                  <a:pt x="2072295" y="5149042"/>
                </a:cubicBezTo>
                <a:cubicBezTo>
                  <a:pt x="2052306" y="5147642"/>
                  <a:pt x="2036878" y="5155116"/>
                  <a:pt x="2021598" y="5167674"/>
                </a:cubicBezTo>
                <a:cubicBezTo>
                  <a:pt x="1998271" y="5185935"/>
                  <a:pt x="1972348" y="5195658"/>
                  <a:pt x="1942197" y="5194541"/>
                </a:cubicBezTo>
                <a:cubicBezTo>
                  <a:pt x="1924172" y="5193478"/>
                  <a:pt x="1904813" y="5200279"/>
                  <a:pt x="1898212" y="5215334"/>
                </a:cubicBezTo>
                <a:cubicBezTo>
                  <a:pt x="1886493" y="5242665"/>
                  <a:pt x="1865985" y="5250280"/>
                  <a:pt x="1840246" y="5252954"/>
                </a:cubicBezTo>
                <a:cubicBezTo>
                  <a:pt x="1827785" y="5254867"/>
                  <a:pt x="1814175" y="5257594"/>
                  <a:pt x="1804310" y="5268044"/>
                </a:cubicBezTo>
                <a:cubicBezTo>
                  <a:pt x="1800193" y="5274420"/>
                  <a:pt x="1795446" y="5272596"/>
                  <a:pt x="1792182" y="5267990"/>
                </a:cubicBezTo>
                <a:cubicBezTo>
                  <a:pt x="1789735" y="5264536"/>
                  <a:pt x="1788103" y="5262234"/>
                  <a:pt x="1786471" y="5259931"/>
                </a:cubicBezTo>
                <a:cubicBezTo>
                  <a:pt x="1778646" y="5246451"/>
                  <a:pt x="1777496" y="5247266"/>
                  <a:pt x="1771229" y="5260356"/>
                </a:cubicBezTo>
                <a:cubicBezTo>
                  <a:pt x="1763811" y="5274260"/>
                  <a:pt x="1754429" y="5287827"/>
                  <a:pt x="1745380" y="5299429"/>
                </a:cubicBezTo>
                <a:cubicBezTo>
                  <a:pt x="1741597" y="5303839"/>
                  <a:pt x="1737814" y="5308249"/>
                  <a:pt x="1731917" y="5307239"/>
                </a:cubicBezTo>
                <a:cubicBezTo>
                  <a:pt x="1726021" y="5306230"/>
                  <a:pt x="1725056" y="5299995"/>
                  <a:pt x="1724908" y="5294911"/>
                </a:cubicBezTo>
                <a:cubicBezTo>
                  <a:pt x="1724129" y="5281627"/>
                  <a:pt x="1717416" y="5279466"/>
                  <a:pt x="1707403" y="5284832"/>
                </a:cubicBezTo>
                <a:cubicBezTo>
                  <a:pt x="1703138" y="5286125"/>
                  <a:pt x="1698057" y="5286267"/>
                  <a:pt x="1694608" y="5288711"/>
                </a:cubicBezTo>
                <a:cubicBezTo>
                  <a:pt x="1686560" y="5294414"/>
                  <a:pt x="1682963" y="5291775"/>
                  <a:pt x="1682666" y="5281608"/>
                </a:cubicBezTo>
                <a:cubicBezTo>
                  <a:pt x="1683334" y="5277676"/>
                  <a:pt x="1683185" y="5272592"/>
                  <a:pt x="1678104" y="5272734"/>
                </a:cubicBezTo>
                <a:cubicBezTo>
                  <a:pt x="1673357" y="5270909"/>
                  <a:pt x="1670724" y="5274505"/>
                  <a:pt x="1668091" y="5278100"/>
                </a:cubicBezTo>
                <a:cubicBezTo>
                  <a:pt x="1662157" y="5289223"/>
                  <a:pt x="1651328" y="5293439"/>
                  <a:pt x="1639349" y="5298469"/>
                </a:cubicBezTo>
                <a:cubicBezTo>
                  <a:pt x="1601781" y="5311256"/>
                  <a:pt x="1579900" y="5338869"/>
                  <a:pt x="1564881" y="5373727"/>
                </a:cubicBezTo>
                <a:cubicBezTo>
                  <a:pt x="1561914" y="5379288"/>
                  <a:pt x="1563694" y="5386675"/>
                  <a:pt x="1558762" y="5391900"/>
                </a:cubicBezTo>
                <a:cubicBezTo>
                  <a:pt x="1555832" y="5385328"/>
                  <a:pt x="1553718" y="5379908"/>
                  <a:pt x="1550788" y="5373337"/>
                </a:cubicBezTo>
                <a:cubicBezTo>
                  <a:pt x="1544928" y="5360194"/>
                  <a:pt x="1535434" y="5356545"/>
                  <a:pt x="1523455" y="5361575"/>
                </a:cubicBezTo>
                <a:cubicBezTo>
                  <a:pt x="1483253" y="5377958"/>
                  <a:pt x="1443052" y="5394340"/>
                  <a:pt x="1402850" y="5410723"/>
                </a:cubicBezTo>
                <a:cubicBezTo>
                  <a:pt x="1388572" y="5417383"/>
                  <a:pt x="1376741" y="5427496"/>
                  <a:pt x="1360831" y="5431853"/>
                </a:cubicBezTo>
                <a:cubicBezTo>
                  <a:pt x="1350336" y="5434102"/>
                  <a:pt x="1343289" y="5433907"/>
                  <a:pt x="1338245" y="5421915"/>
                </a:cubicBezTo>
                <a:cubicBezTo>
                  <a:pt x="1330420" y="5408436"/>
                  <a:pt x="1316327" y="5408046"/>
                  <a:pt x="1308910" y="5421950"/>
                </a:cubicBezTo>
                <a:cubicBezTo>
                  <a:pt x="1302976" y="5433073"/>
                  <a:pt x="1295262" y="5436810"/>
                  <a:pt x="1283951" y="5437908"/>
                </a:cubicBezTo>
                <a:cubicBezTo>
                  <a:pt x="1276089" y="5436562"/>
                  <a:pt x="1271490" y="5439821"/>
                  <a:pt x="1269005" y="5448500"/>
                </a:cubicBezTo>
                <a:cubicBezTo>
                  <a:pt x="1267336" y="5458330"/>
                  <a:pt x="1261254" y="5464370"/>
                  <a:pt x="1251909" y="5465804"/>
                </a:cubicBezTo>
                <a:cubicBezTo>
                  <a:pt x="1246494" y="5467912"/>
                  <a:pt x="1238298" y="5468531"/>
                  <a:pt x="1233699" y="5471790"/>
                </a:cubicBezTo>
                <a:cubicBezTo>
                  <a:pt x="1226801" y="5476679"/>
                  <a:pt x="1222054" y="5474854"/>
                  <a:pt x="1216825" y="5469912"/>
                </a:cubicBezTo>
                <a:cubicBezTo>
                  <a:pt x="1205217" y="5460843"/>
                  <a:pt x="1202101" y="5461321"/>
                  <a:pt x="1195500" y="5476377"/>
                </a:cubicBezTo>
                <a:cubicBezTo>
                  <a:pt x="1191866" y="5485871"/>
                  <a:pt x="1189047" y="5496516"/>
                  <a:pt x="1182631" y="5504521"/>
                </a:cubicBezTo>
                <a:cubicBezTo>
                  <a:pt x="1181816" y="5503370"/>
                  <a:pt x="1180666" y="5504185"/>
                  <a:pt x="1179850" y="5503034"/>
                </a:cubicBezTo>
                <a:cubicBezTo>
                  <a:pt x="1179590" y="5480734"/>
                  <a:pt x="1179590" y="5480734"/>
                  <a:pt x="1158970" y="5471133"/>
                </a:cubicBezTo>
                <a:cubicBezTo>
                  <a:pt x="1156188" y="5469645"/>
                  <a:pt x="1153407" y="5468157"/>
                  <a:pt x="1151441" y="5467820"/>
                </a:cubicBezTo>
                <a:cubicBezTo>
                  <a:pt x="1128373" y="5454765"/>
                  <a:pt x="1112129" y="5461088"/>
                  <a:pt x="1099112" y="5484150"/>
                </a:cubicBezTo>
                <a:cubicBezTo>
                  <a:pt x="1092845" y="5497239"/>
                  <a:pt x="1083499" y="5498673"/>
                  <a:pt x="1074190" y="5487975"/>
                </a:cubicBezTo>
                <a:cubicBezTo>
                  <a:pt x="1068961" y="5483033"/>
                  <a:pt x="1064881" y="5477276"/>
                  <a:pt x="1061951" y="5470705"/>
                </a:cubicBezTo>
                <a:cubicBezTo>
                  <a:pt x="1053977" y="5452142"/>
                  <a:pt x="1065660" y="5436945"/>
                  <a:pt x="1084500" y="5439159"/>
                </a:cubicBezTo>
                <a:cubicBezTo>
                  <a:pt x="1099408" y="5440701"/>
                  <a:pt x="1111053" y="5437637"/>
                  <a:pt x="1123032" y="5432607"/>
                </a:cubicBezTo>
                <a:cubicBezTo>
                  <a:pt x="1134195" y="5426426"/>
                  <a:pt x="1145840" y="5423362"/>
                  <a:pt x="1158450" y="5426533"/>
                </a:cubicBezTo>
                <a:cubicBezTo>
                  <a:pt x="1178588" y="5433016"/>
                  <a:pt x="1185152" y="5430094"/>
                  <a:pt x="1189639" y="5409618"/>
                </a:cubicBezTo>
                <a:cubicBezTo>
                  <a:pt x="1193941" y="5396192"/>
                  <a:pt x="1200357" y="5388186"/>
                  <a:pt x="1213486" y="5382342"/>
                </a:cubicBezTo>
                <a:cubicBezTo>
                  <a:pt x="1236628" y="5371130"/>
                  <a:pt x="1262699" y="5366491"/>
                  <a:pt x="1285507" y="5357245"/>
                </a:cubicBezTo>
                <a:cubicBezTo>
                  <a:pt x="1306016" y="5349630"/>
                  <a:pt x="1323261" y="5337409"/>
                  <a:pt x="1330864" y="5316455"/>
                </a:cubicBezTo>
                <a:cubicBezTo>
                  <a:pt x="1334016" y="5303844"/>
                  <a:pt x="1340246" y="5302887"/>
                  <a:pt x="1352040" y="5304907"/>
                </a:cubicBezTo>
                <a:cubicBezTo>
                  <a:pt x="1407077" y="5314332"/>
                  <a:pt x="1455289" y="5304379"/>
                  <a:pt x="1486255" y="5253031"/>
                </a:cubicBezTo>
                <a:cubicBezTo>
                  <a:pt x="1490706" y="5244689"/>
                  <a:pt x="1498086" y="5242918"/>
                  <a:pt x="1505466" y="5241147"/>
                </a:cubicBezTo>
                <a:cubicBezTo>
                  <a:pt x="1510547" y="5241005"/>
                  <a:pt x="1518409" y="5242352"/>
                  <a:pt x="1520560" y="5235639"/>
                </a:cubicBezTo>
                <a:cubicBezTo>
                  <a:pt x="1521895" y="5227774"/>
                  <a:pt x="1515183" y="5225613"/>
                  <a:pt x="1510769" y="5221823"/>
                </a:cubicBezTo>
                <a:cubicBezTo>
                  <a:pt x="1502425" y="5217359"/>
                  <a:pt x="1504242" y="5212612"/>
                  <a:pt x="1511140" y="5207724"/>
                </a:cubicBezTo>
                <a:cubicBezTo>
                  <a:pt x="1518038" y="5202835"/>
                  <a:pt x="1526568" y="5200249"/>
                  <a:pt x="1534282" y="5196512"/>
                </a:cubicBezTo>
                <a:cubicBezTo>
                  <a:pt x="1552491" y="5190526"/>
                  <a:pt x="1569217" y="5187321"/>
                  <a:pt x="1582865" y="5172460"/>
                </a:cubicBezTo>
                <a:cubicBezTo>
                  <a:pt x="1586314" y="5170016"/>
                  <a:pt x="1587946" y="5172319"/>
                  <a:pt x="1590727" y="5173807"/>
                </a:cubicBezTo>
                <a:cubicBezTo>
                  <a:pt x="1601519" y="5181724"/>
                  <a:pt x="1611199" y="5178324"/>
                  <a:pt x="1620396" y="5171806"/>
                </a:cubicBezTo>
                <a:cubicBezTo>
                  <a:pt x="1655702" y="5148515"/>
                  <a:pt x="1692640" y="5127527"/>
                  <a:pt x="1734140" y="5115413"/>
                </a:cubicBezTo>
                <a:cubicBezTo>
                  <a:pt x="1737255" y="5114935"/>
                  <a:pt x="1740704" y="5112491"/>
                  <a:pt x="1743337" y="5108895"/>
                </a:cubicBezTo>
                <a:cubicBezTo>
                  <a:pt x="1749605" y="5095806"/>
                  <a:pt x="1758950" y="5094371"/>
                  <a:pt x="1772858" y="5101811"/>
                </a:cubicBezTo>
                <a:cubicBezTo>
                  <a:pt x="1786766" y="5109251"/>
                  <a:pt x="1794480" y="5105514"/>
                  <a:pt x="1798299" y="5088970"/>
                </a:cubicBezTo>
                <a:cubicBezTo>
                  <a:pt x="1800450" y="5082257"/>
                  <a:pt x="1801451" y="5076359"/>
                  <a:pt x="1802786" y="5068495"/>
                </a:cubicBezTo>
                <a:cubicBezTo>
                  <a:pt x="1812281" y="5072144"/>
                  <a:pt x="1821775" y="5075793"/>
                  <a:pt x="1829823" y="5070090"/>
                </a:cubicBezTo>
                <a:cubicBezTo>
                  <a:pt x="1839020" y="5063572"/>
                  <a:pt x="1849033" y="5058205"/>
                  <a:pt x="1857081" y="5052502"/>
                </a:cubicBezTo>
                <a:cubicBezTo>
                  <a:pt x="1887788" y="5032470"/>
                  <a:pt x="1892869" y="5032329"/>
                  <a:pt x="1875772" y="4996017"/>
                </a:cubicBezTo>
                <a:cubicBezTo>
                  <a:pt x="1875772" y="4996017"/>
                  <a:pt x="1876921" y="4995203"/>
                  <a:pt x="1876105" y="4994051"/>
                </a:cubicBezTo>
                <a:cubicBezTo>
                  <a:pt x="1871395" y="4980094"/>
                  <a:pt x="1873546" y="4973381"/>
                  <a:pt x="1887491" y="4968687"/>
                </a:cubicBezTo>
                <a:cubicBezTo>
                  <a:pt x="1945419" y="4943201"/>
                  <a:pt x="2002050" y="4913446"/>
                  <a:pt x="2058347" y="4885657"/>
                </a:cubicBezTo>
                <a:cubicBezTo>
                  <a:pt x="2093802" y="4867449"/>
                  <a:pt x="2129590" y="4847276"/>
                  <a:pt x="2164228" y="4827917"/>
                </a:cubicBezTo>
                <a:cubicBezTo>
                  <a:pt x="2206581" y="4804822"/>
                  <a:pt x="2251530" y="4790263"/>
                  <a:pt x="2296812" y="4773739"/>
                </a:cubicBezTo>
                <a:cubicBezTo>
                  <a:pt x="2330449" y="4760278"/>
                  <a:pt x="2361305" y="4745330"/>
                  <a:pt x="2382704" y="4714600"/>
                </a:cubicBezTo>
                <a:cubicBezTo>
                  <a:pt x="2390937" y="4701847"/>
                  <a:pt x="2402916" y="4696817"/>
                  <a:pt x="2418492" y="4694426"/>
                </a:cubicBezTo>
                <a:cubicBezTo>
                  <a:pt x="2447679" y="4689308"/>
                  <a:pt x="2475086" y="4676804"/>
                  <a:pt x="2499562" y="4657728"/>
                </a:cubicBezTo>
                <a:cubicBezTo>
                  <a:pt x="2519774" y="4639946"/>
                  <a:pt x="2543584" y="4624802"/>
                  <a:pt x="2569507" y="4615079"/>
                </a:cubicBezTo>
                <a:cubicBezTo>
                  <a:pt x="2607743" y="4598360"/>
                  <a:pt x="2643531" y="4578186"/>
                  <a:pt x="2678021" y="4553744"/>
                </a:cubicBezTo>
                <a:cubicBezTo>
                  <a:pt x="2699865" y="4538264"/>
                  <a:pt x="2722191" y="4525901"/>
                  <a:pt x="2744517" y="4513539"/>
                </a:cubicBezTo>
                <a:cubicBezTo>
                  <a:pt x="2794250" y="4488672"/>
                  <a:pt x="2842684" y="4459536"/>
                  <a:pt x="2889487" y="4428098"/>
                </a:cubicBezTo>
                <a:cubicBezTo>
                  <a:pt x="2936290" y="4396660"/>
                  <a:pt x="2981461" y="4362919"/>
                  <a:pt x="3028746" y="4334598"/>
                </a:cubicBezTo>
                <a:cubicBezTo>
                  <a:pt x="3062235" y="4316054"/>
                  <a:pt x="3097355" y="4299813"/>
                  <a:pt x="3125949" y="4274361"/>
                </a:cubicBezTo>
                <a:cubicBezTo>
                  <a:pt x="3148219" y="4253390"/>
                  <a:pt x="3172241" y="4235501"/>
                  <a:pt x="3196936" y="4218866"/>
                </a:cubicBezTo>
                <a:close/>
                <a:moveTo>
                  <a:pt x="4003123" y="4154825"/>
                </a:moveTo>
                <a:cubicBezTo>
                  <a:pt x="4005918" y="4155422"/>
                  <a:pt x="4005918" y="4155422"/>
                  <a:pt x="4008712" y="4156019"/>
                </a:cubicBezTo>
                <a:lnTo>
                  <a:pt x="4002542" y="4155938"/>
                </a:lnTo>
                <a:close/>
                <a:moveTo>
                  <a:pt x="3734223" y="4141114"/>
                </a:moveTo>
                <a:lnTo>
                  <a:pt x="3734331" y="4141221"/>
                </a:lnTo>
                <a:lnTo>
                  <a:pt x="3734178" y="4141152"/>
                </a:lnTo>
                <a:close/>
                <a:moveTo>
                  <a:pt x="3243102" y="4137928"/>
                </a:moveTo>
                <a:lnTo>
                  <a:pt x="3269195" y="4152452"/>
                </a:lnTo>
                <a:lnTo>
                  <a:pt x="3289292" y="4161012"/>
                </a:lnTo>
                <a:lnTo>
                  <a:pt x="3271958" y="4170888"/>
                </a:lnTo>
                <a:lnTo>
                  <a:pt x="3234628" y="4194761"/>
                </a:lnTo>
                <a:lnTo>
                  <a:pt x="3189892" y="4174112"/>
                </a:lnTo>
                <a:lnTo>
                  <a:pt x="3231821" y="4145933"/>
                </a:lnTo>
                <a:close/>
                <a:moveTo>
                  <a:pt x="3734328" y="4136108"/>
                </a:moveTo>
                <a:lnTo>
                  <a:pt x="3739433" y="4136809"/>
                </a:lnTo>
                <a:lnTo>
                  <a:pt x="3734223" y="4141114"/>
                </a:lnTo>
                <a:lnTo>
                  <a:pt x="3731056" y="4137965"/>
                </a:lnTo>
                <a:cubicBezTo>
                  <a:pt x="3731286" y="4137101"/>
                  <a:pt x="3732607" y="4136471"/>
                  <a:pt x="3734328" y="4136108"/>
                </a:cubicBezTo>
                <a:close/>
                <a:moveTo>
                  <a:pt x="3330591" y="4135529"/>
                </a:moveTo>
                <a:lnTo>
                  <a:pt x="3460467" y="4194092"/>
                </a:lnTo>
                <a:cubicBezTo>
                  <a:pt x="3497203" y="4207601"/>
                  <a:pt x="3534656" y="4219894"/>
                  <a:pt x="3572704" y="4230898"/>
                </a:cubicBezTo>
                <a:lnTo>
                  <a:pt x="3612148" y="4240802"/>
                </a:lnTo>
                <a:lnTo>
                  <a:pt x="3577312" y="4267716"/>
                </a:lnTo>
                <a:lnTo>
                  <a:pt x="3543878" y="4259102"/>
                </a:lnTo>
                <a:cubicBezTo>
                  <a:pt x="3507880" y="4248546"/>
                  <a:pt x="3471992" y="4236725"/>
                  <a:pt x="3436266" y="4223614"/>
                </a:cubicBezTo>
                <a:lnTo>
                  <a:pt x="3289292" y="4161012"/>
                </a:lnTo>
                <a:lnTo>
                  <a:pt x="3310865" y="4148721"/>
                </a:lnTo>
                <a:close/>
                <a:moveTo>
                  <a:pt x="3749128" y="4128799"/>
                </a:moveTo>
                <a:lnTo>
                  <a:pt x="3792195" y="4135324"/>
                </a:lnTo>
                <a:cubicBezTo>
                  <a:pt x="3828765" y="4140216"/>
                  <a:pt x="3866531" y="4144632"/>
                  <a:pt x="3905145" y="4148500"/>
                </a:cubicBezTo>
                <a:cubicBezTo>
                  <a:pt x="3933681" y="4151675"/>
                  <a:pt x="3973990" y="4154444"/>
                  <a:pt x="3994145" y="4155829"/>
                </a:cubicBezTo>
                <a:lnTo>
                  <a:pt x="4002542" y="4155938"/>
                </a:lnTo>
                <a:lnTo>
                  <a:pt x="4000035" y="4160738"/>
                </a:lnTo>
                <a:cubicBezTo>
                  <a:pt x="3999387" y="4162061"/>
                  <a:pt x="3999936" y="4162909"/>
                  <a:pt x="4004127" y="4163804"/>
                </a:cubicBezTo>
                <a:cubicBezTo>
                  <a:pt x="4000736" y="4166001"/>
                  <a:pt x="4000736" y="4166001"/>
                  <a:pt x="3997943" y="4165404"/>
                </a:cubicBezTo>
                <a:cubicBezTo>
                  <a:pt x="3997943" y="4165404"/>
                  <a:pt x="3997943" y="4165404"/>
                  <a:pt x="3998539" y="4162611"/>
                </a:cubicBezTo>
                <a:cubicBezTo>
                  <a:pt x="3995148" y="4164807"/>
                  <a:pt x="3979984" y="4167411"/>
                  <a:pt x="3980581" y="4164617"/>
                </a:cubicBezTo>
                <a:cubicBezTo>
                  <a:pt x="3977787" y="4164020"/>
                  <a:pt x="3974397" y="4166217"/>
                  <a:pt x="3974397" y="4166217"/>
                </a:cubicBezTo>
                <a:cubicBezTo>
                  <a:pt x="3968809" y="4165023"/>
                  <a:pt x="3959830" y="4166026"/>
                  <a:pt x="3951448" y="4164235"/>
                </a:cubicBezTo>
                <a:cubicBezTo>
                  <a:pt x="3951448" y="4164235"/>
                  <a:pt x="3951448" y="4164235"/>
                  <a:pt x="3948654" y="4163638"/>
                </a:cubicBezTo>
                <a:cubicBezTo>
                  <a:pt x="3948654" y="4163638"/>
                  <a:pt x="3948654" y="4163638"/>
                  <a:pt x="3945263" y="4165836"/>
                </a:cubicBezTo>
                <a:cubicBezTo>
                  <a:pt x="3945263" y="4165836"/>
                  <a:pt x="3942469" y="4165238"/>
                  <a:pt x="3942469" y="4165238"/>
                </a:cubicBezTo>
                <a:cubicBezTo>
                  <a:pt x="3940272" y="4161848"/>
                  <a:pt x="3929096" y="4159460"/>
                  <a:pt x="3925705" y="4161657"/>
                </a:cubicBezTo>
                <a:cubicBezTo>
                  <a:pt x="3925705" y="4161657"/>
                  <a:pt x="3922911" y="4161060"/>
                  <a:pt x="3922911" y="4161060"/>
                </a:cubicBezTo>
                <a:cubicBezTo>
                  <a:pt x="3920117" y="4160463"/>
                  <a:pt x="3920117" y="4160463"/>
                  <a:pt x="3919521" y="4163258"/>
                </a:cubicBezTo>
                <a:cubicBezTo>
                  <a:pt x="3916726" y="4162660"/>
                  <a:pt x="3916726" y="4162660"/>
                  <a:pt x="3913933" y="4162063"/>
                </a:cubicBezTo>
                <a:cubicBezTo>
                  <a:pt x="3901157" y="4153491"/>
                  <a:pt x="3870233" y="4161491"/>
                  <a:pt x="3854663" y="4152322"/>
                </a:cubicBezTo>
                <a:cubicBezTo>
                  <a:pt x="3839499" y="4154925"/>
                  <a:pt x="3823332" y="4148550"/>
                  <a:pt x="3805971" y="4147763"/>
                </a:cubicBezTo>
                <a:cubicBezTo>
                  <a:pt x="3805971" y="4147763"/>
                  <a:pt x="3803177" y="4147165"/>
                  <a:pt x="3803177" y="4147165"/>
                </a:cubicBezTo>
                <a:cubicBezTo>
                  <a:pt x="3799787" y="4149362"/>
                  <a:pt x="3796993" y="4148765"/>
                  <a:pt x="3794199" y="4148168"/>
                </a:cubicBezTo>
                <a:cubicBezTo>
                  <a:pt x="3790808" y="4150365"/>
                  <a:pt x="3790808" y="4150365"/>
                  <a:pt x="3788014" y="4149769"/>
                </a:cubicBezTo>
                <a:cubicBezTo>
                  <a:pt x="3780229" y="4145184"/>
                  <a:pt x="3764062" y="4138808"/>
                  <a:pt x="3771250" y="4146187"/>
                </a:cubicBezTo>
                <a:cubicBezTo>
                  <a:pt x="3760671" y="4141005"/>
                  <a:pt x="3753889" y="4145400"/>
                  <a:pt x="3755083" y="4139811"/>
                </a:cubicBezTo>
                <a:cubicBezTo>
                  <a:pt x="3752289" y="4139215"/>
                  <a:pt x="3741113" y="4136827"/>
                  <a:pt x="3743311" y="4140218"/>
                </a:cubicBezTo>
                <a:cubicBezTo>
                  <a:pt x="3737723" y="4139024"/>
                  <a:pt x="3738319" y="4136230"/>
                  <a:pt x="3743907" y="4137424"/>
                </a:cubicBezTo>
                <a:lnTo>
                  <a:pt x="3739433" y="4136809"/>
                </a:lnTo>
                <a:close/>
                <a:moveTo>
                  <a:pt x="3842459" y="4100049"/>
                </a:moveTo>
                <a:lnTo>
                  <a:pt x="3845252" y="4100647"/>
                </a:lnTo>
                <a:cubicBezTo>
                  <a:pt x="3844059" y="4106234"/>
                  <a:pt x="3873192" y="4106616"/>
                  <a:pt x="3878183" y="4110603"/>
                </a:cubicBezTo>
                <a:cubicBezTo>
                  <a:pt x="3863616" y="4110413"/>
                  <a:pt x="3841265" y="4105637"/>
                  <a:pt x="3829492" y="4106044"/>
                </a:cubicBezTo>
                <a:cubicBezTo>
                  <a:pt x="3830089" y="4103250"/>
                  <a:pt x="3830089" y="4103250"/>
                  <a:pt x="3830089" y="4103250"/>
                </a:cubicBezTo>
                <a:cubicBezTo>
                  <a:pt x="3830089" y="4103250"/>
                  <a:pt x="3830089" y="4103250"/>
                  <a:pt x="3830686" y="4100456"/>
                </a:cubicBezTo>
                <a:cubicBezTo>
                  <a:pt x="3833479" y="4101053"/>
                  <a:pt x="3839068" y="4102246"/>
                  <a:pt x="3842459" y="4100049"/>
                </a:cubicBezTo>
                <a:close/>
                <a:moveTo>
                  <a:pt x="3807737" y="4098474"/>
                </a:moveTo>
                <a:cubicBezTo>
                  <a:pt x="3810531" y="4099071"/>
                  <a:pt x="3816119" y="4100265"/>
                  <a:pt x="3818913" y="4100862"/>
                </a:cubicBezTo>
                <a:cubicBezTo>
                  <a:pt x="3821707" y="4101459"/>
                  <a:pt x="3821707" y="4101459"/>
                  <a:pt x="3821707" y="4101459"/>
                </a:cubicBezTo>
                <a:cubicBezTo>
                  <a:pt x="3821707" y="4101459"/>
                  <a:pt x="3821707" y="4101459"/>
                  <a:pt x="3824500" y="4102056"/>
                </a:cubicBezTo>
                <a:lnTo>
                  <a:pt x="3801436" y="4098692"/>
                </a:lnTo>
                <a:close/>
                <a:moveTo>
                  <a:pt x="3788291" y="4096775"/>
                </a:moveTo>
                <a:lnTo>
                  <a:pt x="3801436" y="4098692"/>
                </a:lnTo>
                <a:lnTo>
                  <a:pt x="3795965" y="4098881"/>
                </a:lnTo>
                <a:cubicBezTo>
                  <a:pt x="3793170" y="4098284"/>
                  <a:pt x="3793170" y="4098284"/>
                  <a:pt x="3793170" y="4098284"/>
                </a:cubicBezTo>
                <a:lnTo>
                  <a:pt x="3787633" y="4097287"/>
                </a:lnTo>
                <a:close/>
                <a:moveTo>
                  <a:pt x="3805481" y="4083385"/>
                </a:moveTo>
                <a:lnTo>
                  <a:pt x="3813516" y="4085102"/>
                </a:lnTo>
                <a:cubicBezTo>
                  <a:pt x="3815712" y="4088492"/>
                  <a:pt x="3814519" y="4094081"/>
                  <a:pt x="3813921" y="4096874"/>
                </a:cubicBezTo>
                <a:cubicBezTo>
                  <a:pt x="3813921" y="4096874"/>
                  <a:pt x="3811128" y="4096277"/>
                  <a:pt x="3808334" y="4095680"/>
                </a:cubicBezTo>
                <a:cubicBezTo>
                  <a:pt x="3805540" y="4095083"/>
                  <a:pt x="3799953" y="4093890"/>
                  <a:pt x="3796561" y="4096087"/>
                </a:cubicBezTo>
                <a:cubicBezTo>
                  <a:pt x="3796561" y="4096087"/>
                  <a:pt x="3796561" y="4096087"/>
                  <a:pt x="3797158" y="4093292"/>
                </a:cubicBezTo>
                <a:lnTo>
                  <a:pt x="3794015" y="4092316"/>
                </a:lnTo>
                <a:close/>
                <a:moveTo>
                  <a:pt x="3327001" y="4078395"/>
                </a:moveTo>
                <a:lnTo>
                  <a:pt x="3340598" y="4083395"/>
                </a:lnTo>
                <a:cubicBezTo>
                  <a:pt x="3352574" y="4088875"/>
                  <a:pt x="3361207" y="4092911"/>
                  <a:pt x="3369565" y="4096522"/>
                </a:cubicBezTo>
                <a:lnTo>
                  <a:pt x="3380047" y="4100583"/>
                </a:lnTo>
                <a:lnTo>
                  <a:pt x="3348801" y="4123351"/>
                </a:lnTo>
                <a:lnTo>
                  <a:pt x="3330591" y="4135529"/>
                </a:lnTo>
                <a:lnTo>
                  <a:pt x="3279164" y="4112339"/>
                </a:lnTo>
                <a:close/>
                <a:moveTo>
                  <a:pt x="3783976" y="4072948"/>
                </a:moveTo>
                <a:cubicBezTo>
                  <a:pt x="3786769" y="4073544"/>
                  <a:pt x="3786769" y="4073544"/>
                  <a:pt x="3786769" y="4073544"/>
                </a:cubicBezTo>
                <a:cubicBezTo>
                  <a:pt x="3786769" y="4073544"/>
                  <a:pt x="3789563" y="4074141"/>
                  <a:pt x="3789563" y="4074141"/>
                </a:cubicBezTo>
                <a:cubicBezTo>
                  <a:pt x="3788967" y="4076935"/>
                  <a:pt x="3788967" y="4076935"/>
                  <a:pt x="3788967" y="4076935"/>
                </a:cubicBezTo>
                <a:cubicBezTo>
                  <a:pt x="3791164" y="4080326"/>
                  <a:pt x="3797348" y="4078726"/>
                  <a:pt x="3802937" y="4079920"/>
                </a:cubicBezTo>
                <a:lnTo>
                  <a:pt x="3808424" y="4081092"/>
                </a:lnTo>
                <a:lnTo>
                  <a:pt x="3805480" y="4083385"/>
                </a:lnTo>
                <a:lnTo>
                  <a:pt x="3802340" y="4082714"/>
                </a:lnTo>
                <a:cubicBezTo>
                  <a:pt x="3796751" y="4081521"/>
                  <a:pt x="3790567" y="4083120"/>
                  <a:pt x="3785575" y="4079132"/>
                </a:cubicBezTo>
                <a:cubicBezTo>
                  <a:pt x="3785575" y="4079132"/>
                  <a:pt x="3782782" y="4078536"/>
                  <a:pt x="3782782" y="4078536"/>
                </a:cubicBezTo>
                <a:cubicBezTo>
                  <a:pt x="3782782" y="4078536"/>
                  <a:pt x="3782782" y="4078536"/>
                  <a:pt x="3779988" y="4077939"/>
                </a:cubicBezTo>
                <a:cubicBezTo>
                  <a:pt x="3777193" y="4077342"/>
                  <a:pt x="3777193" y="4077342"/>
                  <a:pt x="3774400" y="4076745"/>
                </a:cubicBezTo>
                <a:cubicBezTo>
                  <a:pt x="3771606" y="4076148"/>
                  <a:pt x="3771606" y="4076148"/>
                  <a:pt x="3771606" y="4076148"/>
                </a:cubicBezTo>
                <a:cubicBezTo>
                  <a:pt x="3771606" y="4076148"/>
                  <a:pt x="3772203" y="4073354"/>
                  <a:pt x="3774997" y="4073951"/>
                </a:cubicBezTo>
                <a:cubicBezTo>
                  <a:pt x="3777791" y="4074548"/>
                  <a:pt x="3780585" y="4075145"/>
                  <a:pt x="3780585" y="4075145"/>
                </a:cubicBezTo>
                <a:cubicBezTo>
                  <a:pt x="3783379" y="4075742"/>
                  <a:pt x="3783379" y="4075742"/>
                  <a:pt x="3783379" y="4075742"/>
                </a:cubicBezTo>
                <a:cubicBezTo>
                  <a:pt x="3781181" y="4072350"/>
                  <a:pt x="3783976" y="4072948"/>
                  <a:pt x="3783976" y="4072948"/>
                </a:cubicBezTo>
                <a:close/>
                <a:moveTo>
                  <a:pt x="3648481" y="4064450"/>
                </a:moveTo>
                <a:cubicBezTo>
                  <a:pt x="3682008" y="4071613"/>
                  <a:pt x="3701566" y="4075791"/>
                  <a:pt x="3732300" y="4082357"/>
                </a:cubicBezTo>
                <a:cubicBezTo>
                  <a:pt x="3730103" y="4078967"/>
                  <a:pt x="3732897" y="4079563"/>
                  <a:pt x="3736288" y="4077367"/>
                </a:cubicBezTo>
                <a:cubicBezTo>
                  <a:pt x="3739082" y="4077964"/>
                  <a:pt x="3739082" y="4077964"/>
                  <a:pt x="3739082" y="4077964"/>
                </a:cubicBezTo>
                <a:cubicBezTo>
                  <a:pt x="3738485" y="4080758"/>
                  <a:pt x="3738485" y="4080758"/>
                  <a:pt x="3738485" y="4080758"/>
                </a:cubicBezTo>
                <a:cubicBezTo>
                  <a:pt x="3750759" y="4084841"/>
                  <a:pt x="3763779" y="4085431"/>
                  <a:pt x="3774555" y="4086272"/>
                </a:cubicBezTo>
                <a:lnTo>
                  <a:pt x="3794015" y="4092316"/>
                </a:lnTo>
                <a:lnTo>
                  <a:pt x="3788291" y="4096775"/>
                </a:lnTo>
                <a:lnTo>
                  <a:pt x="3769913" y="4094094"/>
                </a:lnTo>
                <a:lnTo>
                  <a:pt x="3760466" y="4092392"/>
                </a:lnTo>
                <a:cubicBezTo>
                  <a:pt x="3749714" y="4089730"/>
                  <a:pt x="3740085" y="4086942"/>
                  <a:pt x="3734497" y="4085749"/>
                </a:cubicBezTo>
                <a:cubicBezTo>
                  <a:pt x="3734497" y="4085749"/>
                  <a:pt x="3731703" y="4085152"/>
                  <a:pt x="3731703" y="4085152"/>
                </a:cubicBezTo>
                <a:cubicBezTo>
                  <a:pt x="3700969" y="4078586"/>
                  <a:pt x="3678618" y="4073811"/>
                  <a:pt x="3648481" y="4064450"/>
                </a:cubicBezTo>
                <a:close/>
                <a:moveTo>
                  <a:pt x="3643490" y="4060462"/>
                </a:moveTo>
                <a:cubicBezTo>
                  <a:pt x="3646284" y="4061059"/>
                  <a:pt x="3649078" y="4061656"/>
                  <a:pt x="3649078" y="4061656"/>
                </a:cubicBezTo>
                <a:cubicBezTo>
                  <a:pt x="3648481" y="4064450"/>
                  <a:pt x="3648481" y="4064450"/>
                  <a:pt x="3648481" y="4064450"/>
                </a:cubicBezTo>
                <a:cubicBezTo>
                  <a:pt x="3645687" y="4063853"/>
                  <a:pt x="3645687" y="4063853"/>
                  <a:pt x="3645687" y="4063853"/>
                </a:cubicBezTo>
                <a:cubicBezTo>
                  <a:pt x="3642893" y="4063256"/>
                  <a:pt x="3642893" y="4063256"/>
                  <a:pt x="3643490" y="4060462"/>
                </a:cubicBezTo>
                <a:close/>
                <a:moveTo>
                  <a:pt x="3409318" y="4019984"/>
                </a:moveTo>
                <a:lnTo>
                  <a:pt x="3416988" y="4026679"/>
                </a:lnTo>
                <a:cubicBezTo>
                  <a:pt x="3423376" y="4030965"/>
                  <a:pt x="3433406" y="4035299"/>
                  <a:pt x="3444832" y="4039931"/>
                </a:cubicBezTo>
                <a:lnTo>
                  <a:pt x="3449672" y="4041941"/>
                </a:lnTo>
                <a:lnTo>
                  <a:pt x="3436168" y="4053933"/>
                </a:lnTo>
                <a:lnTo>
                  <a:pt x="3453525" y="4060778"/>
                </a:lnTo>
                <a:cubicBezTo>
                  <a:pt x="3459114" y="4061972"/>
                  <a:pt x="3465299" y="4060371"/>
                  <a:pt x="3465299" y="4060371"/>
                </a:cubicBezTo>
                <a:cubicBezTo>
                  <a:pt x="3467495" y="4063763"/>
                  <a:pt x="3470289" y="4064359"/>
                  <a:pt x="3472486" y="4067751"/>
                </a:cubicBezTo>
                <a:cubicBezTo>
                  <a:pt x="3475280" y="4068347"/>
                  <a:pt x="3475280" y="4068347"/>
                  <a:pt x="3475280" y="4068347"/>
                </a:cubicBezTo>
                <a:cubicBezTo>
                  <a:pt x="3496032" y="4066937"/>
                  <a:pt x="3522181" y="4081289"/>
                  <a:pt x="3543338" y="4091652"/>
                </a:cubicBezTo>
                <a:cubicBezTo>
                  <a:pt x="3543936" y="4088858"/>
                  <a:pt x="3543936" y="4088858"/>
                  <a:pt x="3543936" y="4088858"/>
                </a:cubicBezTo>
                <a:cubicBezTo>
                  <a:pt x="3552914" y="4087855"/>
                  <a:pt x="3553321" y="4099628"/>
                  <a:pt x="3557906" y="4091843"/>
                </a:cubicBezTo>
                <a:cubicBezTo>
                  <a:pt x="3571875" y="4094827"/>
                  <a:pt x="3562299" y="4098624"/>
                  <a:pt x="3573475" y="4101012"/>
                </a:cubicBezTo>
                <a:cubicBezTo>
                  <a:pt x="3574072" y="4098218"/>
                  <a:pt x="3579660" y="4099412"/>
                  <a:pt x="3583051" y="4097215"/>
                </a:cubicBezTo>
                <a:cubicBezTo>
                  <a:pt x="3593033" y="4105190"/>
                  <a:pt x="3604209" y="4107578"/>
                  <a:pt x="3618776" y="4107769"/>
                </a:cubicBezTo>
                <a:cubicBezTo>
                  <a:pt x="3622573" y="4117345"/>
                  <a:pt x="3640531" y="4115338"/>
                  <a:pt x="3645521" y="4119326"/>
                </a:cubicBezTo>
                <a:cubicBezTo>
                  <a:pt x="3646118" y="4116531"/>
                  <a:pt x="3648913" y="4117129"/>
                  <a:pt x="3648913" y="4117129"/>
                </a:cubicBezTo>
                <a:cubicBezTo>
                  <a:pt x="3664482" y="4126298"/>
                  <a:pt x="3679049" y="4126489"/>
                  <a:pt x="3693019" y="4129473"/>
                </a:cubicBezTo>
                <a:cubicBezTo>
                  <a:pt x="3695813" y="4130070"/>
                  <a:pt x="3698607" y="4130667"/>
                  <a:pt x="3698607" y="4130667"/>
                </a:cubicBezTo>
                <a:cubicBezTo>
                  <a:pt x="3699204" y="4127873"/>
                  <a:pt x="3699204" y="4127873"/>
                  <a:pt x="3699204" y="4127873"/>
                </a:cubicBezTo>
                <a:cubicBezTo>
                  <a:pt x="3699801" y="4125079"/>
                  <a:pt x="3702595" y="4125676"/>
                  <a:pt x="3702595" y="4125676"/>
                </a:cubicBezTo>
                <a:cubicBezTo>
                  <a:pt x="3705389" y="4126273"/>
                  <a:pt x="3704792" y="4129067"/>
                  <a:pt x="3704792" y="4129067"/>
                </a:cubicBezTo>
                <a:cubicBezTo>
                  <a:pt x="3709281" y="4128566"/>
                  <a:pt x="3713173" y="4130858"/>
                  <a:pt x="3717689" y="4133649"/>
                </a:cubicBezTo>
                <a:lnTo>
                  <a:pt x="3734178" y="4141152"/>
                </a:lnTo>
                <a:lnTo>
                  <a:pt x="3666589" y="4197000"/>
                </a:lnTo>
                <a:lnTo>
                  <a:pt x="3638981" y="4190965"/>
                </a:lnTo>
                <a:cubicBezTo>
                  <a:pt x="3620020" y="4183993"/>
                  <a:pt x="3606049" y="4181009"/>
                  <a:pt x="3583699" y="4176233"/>
                </a:cubicBezTo>
                <a:cubicBezTo>
                  <a:pt x="3559149" y="4168067"/>
                  <a:pt x="3524022" y="4154719"/>
                  <a:pt x="3491091" y="4144762"/>
                </a:cubicBezTo>
                <a:cubicBezTo>
                  <a:pt x="3455964" y="4131415"/>
                  <a:pt x="3423630" y="4118663"/>
                  <a:pt x="3396884" y="4107106"/>
                </a:cubicBezTo>
                <a:lnTo>
                  <a:pt x="3380047" y="4100583"/>
                </a:lnTo>
                <a:lnTo>
                  <a:pt x="3392079" y="4091816"/>
                </a:lnTo>
                <a:cubicBezTo>
                  <a:pt x="3406738" y="4081428"/>
                  <a:pt x="3420988" y="4070464"/>
                  <a:pt x="3432911" y="4056826"/>
                </a:cubicBezTo>
                <a:lnTo>
                  <a:pt x="3435617" y="4054422"/>
                </a:lnTo>
                <a:lnTo>
                  <a:pt x="3419920" y="4048851"/>
                </a:lnTo>
                <a:cubicBezTo>
                  <a:pt x="3408768" y="4044643"/>
                  <a:pt x="3398040" y="4040160"/>
                  <a:pt x="3388858" y="4035276"/>
                </a:cubicBezTo>
                <a:lnTo>
                  <a:pt x="3388297" y="4034900"/>
                </a:lnTo>
                <a:close/>
                <a:moveTo>
                  <a:pt x="3490691" y="4016620"/>
                </a:moveTo>
                <a:lnTo>
                  <a:pt x="3521674" y="4028959"/>
                </a:lnTo>
                <a:cubicBezTo>
                  <a:pt x="3554232" y="4040662"/>
                  <a:pt x="3587013" y="4051318"/>
                  <a:pt x="3619944" y="4061275"/>
                </a:cubicBezTo>
                <a:cubicBezTo>
                  <a:pt x="3654272" y="4071530"/>
                  <a:pt x="3688199" y="4080240"/>
                  <a:pt x="3722151" y="4087128"/>
                </a:cubicBezTo>
                <a:lnTo>
                  <a:pt x="3769913" y="4094094"/>
                </a:lnTo>
                <a:lnTo>
                  <a:pt x="3787633" y="4097287"/>
                </a:lnTo>
                <a:lnTo>
                  <a:pt x="3781191" y="4102305"/>
                </a:lnTo>
                <a:lnTo>
                  <a:pt x="3750302" y="4127828"/>
                </a:lnTo>
                <a:lnTo>
                  <a:pt x="3686428" y="4119300"/>
                </a:lnTo>
                <a:cubicBezTo>
                  <a:pt x="3676446" y="4111326"/>
                  <a:pt x="3647313" y="4110944"/>
                  <a:pt x="3638931" y="4109153"/>
                </a:cubicBezTo>
                <a:cubicBezTo>
                  <a:pt x="3638931" y="4109153"/>
                  <a:pt x="3633939" y="4105165"/>
                  <a:pt x="3631145" y="4104568"/>
                </a:cubicBezTo>
                <a:cubicBezTo>
                  <a:pt x="3631145" y="4104568"/>
                  <a:pt x="3631145" y="4104568"/>
                  <a:pt x="3628352" y="4103971"/>
                </a:cubicBezTo>
                <a:cubicBezTo>
                  <a:pt x="3628352" y="4103971"/>
                  <a:pt x="3628352" y="4103971"/>
                  <a:pt x="3622763" y="4102778"/>
                </a:cubicBezTo>
                <a:cubicBezTo>
                  <a:pt x="3606597" y="4096403"/>
                  <a:pt x="3586442" y="4095017"/>
                  <a:pt x="3564687" y="4087449"/>
                </a:cubicBezTo>
                <a:cubicBezTo>
                  <a:pt x="3545129" y="4083270"/>
                  <a:pt x="3507805" y="4066532"/>
                  <a:pt x="3481059" y="4054974"/>
                </a:cubicBezTo>
                <a:lnTo>
                  <a:pt x="3449672" y="4041941"/>
                </a:lnTo>
                <a:lnTo>
                  <a:pt x="3458218" y="4034352"/>
                </a:lnTo>
                <a:cubicBezTo>
                  <a:pt x="3467373" y="4028080"/>
                  <a:pt x="3477099" y="4022917"/>
                  <a:pt x="3486945" y="4018533"/>
                </a:cubicBezTo>
                <a:close/>
                <a:moveTo>
                  <a:pt x="4975744" y="3909793"/>
                </a:moveTo>
                <a:cubicBezTo>
                  <a:pt x="4975147" y="3912587"/>
                  <a:pt x="4975147" y="3912587"/>
                  <a:pt x="4975147" y="3912587"/>
                </a:cubicBezTo>
                <a:lnTo>
                  <a:pt x="4973116" y="3912152"/>
                </a:lnTo>
                <a:close/>
                <a:moveTo>
                  <a:pt x="5026417" y="3891403"/>
                </a:moveTo>
                <a:cubicBezTo>
                  <a:pt x="5025820" y="3894198"/>
                  <a:pt x="5023026" y="3893600"/>
                  <a:pt x="5022429" y="3896395"/>
                </a:cubicBezTo>
                <a:cubicBezTo>
                  <a:pt x="5022429" y="3896395"/>
                  <a:pt x="5022429" y="3896395"/>
                  <a:pt x="5019635" y="3895798"/>
                </a:cubicBezTo>
                <a:cubicBezTo>
                  <a:pt x="5019635" y="3895798"/>
                  <a:pt x="5019635" y="3895798"/>
                  <a:pt x="5023026" y="3893600"/>
                </a:cubicBezTo>
                <a:cubicBezTo>
                  <a:pt x="5023026" y="3893600"/>
                  <a:pt x="5023026" y="3893600"/>
                  <a:pt x="5026417" y="3891403"/>
                </a:cubicBezTo>
                <a:close/>
                <a:moveTo>
                  <a:pt x="5174469" y="3787658"/>
                </a:moveTo>
                <a:lnTo>
                  <a:pt x="5174015" y="3788549"/>
                </a:lnTo>
                <a:cubicBezTo>
                  <a:pt x="5170624" y="3790747"/>
                  <a:pt x="5170624" y="3790747"/>
                  <a:pt x="5170624" y="3790747"/>
                </a:cubicBezTo>
                <a:cubicBezTo>
                  <a:pt x="5170624" y="3790747"/>
                  <a:pt x="5171621" y="3789499"/>
                  <a:pt x="5172968" y="3788326"/>
                </a:cubicBezTo>
                <a:close/>
                <a:moveTo>
                  <a:pt x="5172613" y="3780070"/>
                </a:moveTo>
                <a:lnTo>
                  <a:pt x="5169024" y="3784561"/>
                </a:lnTo>
                <a:cubicBezTo>
                  <a:pt x="5171018" y="3782066"/>
                  <a:pt x="5172015" y="3780818"/>
                  <a:pt x="5172513" y="3780195"/>
                </a:cubicBezTo>
                <a:close/>
                <a:moveTo>
                  <a:pt x="2919753" y="3742236"/>
                </a:moveTo>
                <a:lnTo>
                  <a:pt x="2922282" y="3744072"/>
                </a:lnTo>
                <a:lnTo>
                  <a:pt x="2921950" y="3745628"/>
                </a:lnTo>
                <a:cubicBezTo>
                  <a:pt x="2919155" y="3745030"/>
                  <a:pt x="2919155" y="3745030"/>
                  <a:pt x="2919753" y="3742236"/>
                </a:cubicBezTo>
                <a:close/>
                <a:moveTo>
                  <a:pt x="2887419" y="3729486"/>
                </a:moveTo>
                <a:cubicBezTo>
                  <a:pt x="2892410" y="3733474"/>
                  <a:pt x="2897401" y="3737461"/>
                  <a:pt x="2902392" y="3741449"/>
                </a:cubicBezTo>
                <a:cubicBezTo>
                  <a:pt x="2901795" y="3744243"/>
                  <a:pt x="2901198" y="3747037"/>
                  <a:pt x="2901198" y="3747037"/>
                </a:cubicBezTo>
                <a:cubicBezTo>
                  <a:pt x="2901198" y="3747037"/>
                  <a:pt x="2903991" y="3747634"/>
                  <a:pt x="2903395" y="3750428"/>
                </a:cubicBezTo>
                <a:cubicBezTo>
                  <a:pt x="2903395" y="3750428"/>
                  <a:pt x="2906189" y="3751024"/>
                  <a:pt x="2906189" y="3751024"/>
                </a:cubicBezTo>
                <a:cubicBezTo>
                  <a:pt x="2908983" y="3751621"/>
                  <a:pt x="2908386" y="3754416"/>
                  <a:pt x="2907789" y="3757210"/>
                </a:cubicBezTo>
                <a:cubicBezTo>
                  <a:pt x="2907193" y="3760004"/>
                  <a:pt x="2907193" y="3760004"/>
                  <a:pt x="2907193" y="3760004"/>
                </a:cubicBezTo>
                <a:cubicBezTo>
                  <a:pt x="2909389" y="3763394"/>
                  <a:pt x="2906595" y="3762798"/>
                  <a:pt x="2904398" y="3759406"/>
                </a:cubicBezTo>
                <a:cubicBezTo>
                  <a:pt x="2901604" y="3758809"/>
                  <a:pt x="2899407" y="3755419"/>
                  <a:pt x="2900004" y="3752625"/>
                </a:cubicBezTo>
                <a:cubicBezTo>
                  <a:pt x="2897807" y="3749234"/>
                  <a:pt x="2897807" y="3749234"/>
                  <a:pt x="2897807" y="3749234"/>
                </a:cubicBezTo>
                <a:cubicBezTo>
                  <a:pt x="2892817" y="3745247"/>
                  <a:pt x="2893413" y="3742452"/>
                  <a:pt x="2896804" y="3740255"/>
                </a:cubicBezTo>
                <a:cubicBezTo>
                  <a:pt x="2891216" y="3739061"/>
                  <a:pt x="2889616" y="3732876"/>
                  <a:pt x="2887419" y="3729486"/>
                </a:cubicBezTo>
                <a:close/>
                <a:moveTo>
                  <a:pt x="2796767" y="3634160"/>
                </a:moveTo>
                <a:cubicBezTo>
                  <a:pt x="2798965" y="3637551"/>
                  <a:pt x="2798965" y="3637551"/>
                  <a:pt x="2798965" y="3637551"/>
                </a:cubicBezTo>
                <a:cubicBezTo>
                  <a:pt x="2796171" y="3636955"/>
                  <a:pt x="2796171" y="3636955"/>
                  <a:pt x="2796171" y="3636955"/>
                </a:cubicBezTo>
                <a:cubicBezTo>
                  <a:pt x="2796767" y="3634160"/>
                  <a:pt x="2796767" y="3634160"/>
                  <a:pt x="2796767" y="3634160"/>
                </a:cubicBezTo>
                <a:close/>
                <a:moveTo>
                  <a:pt x="5283567" y="3467221"/>
                </a:moveTo>
                <a:lnTo>
                  <a:pt x="5282969" y="3470014"/>
                </a:lnTo>
                <a:cubicBezTo>
                  <a:pt x="5280175" y="3469418"/>
                  <a:pt x="5280175" y="3469418"/>
                  <a:pt x="5280175" y="3469418"/>
                </a:cubicBezTo>
                <a:close/>
                <a:moveTo>
                  <a:pt x="5471309" y="3422608"/>
                </a:moveTo>
                <a:cubicBezTo>
                  <a:pt x="5471309" y="3422608"/>
                  <a:pt x="5471309" y="3422608"/>
                  <a:pt x="5470712" y="3425402"/>
                </a:cubicBezTo>
                <a:lnTo>
                  <a:pt x="5469914" y="3425232"/>
                </a:lnTo>
                <a:close/>
                <a:moveTo>
                  <a:pt x="2750484" y="3399291"/>
                </a:moveTo>
                <a:lnTo>
                  <a:pt x="2750529" y="3399328"/>
                </a:lnTo>
                <a:lnTo>
                  <a:pt x="2750531" y="3399359"/>
                </a:lnTo>
                <a:close/>
                <a:moveTo>
                  <a:pt x="2756713" y="3397728"/>
                </a:moveTo>
                <a:cubicBezTo>
                  <a:pt x="2764308" y="3416879"/>
                  <a:pt x="2769300" y="3420867"/>
                  <a:pt x="2778088" y="3434431"/>
                </a:cubicBezTo>
                <a:cubicBezTo>
                  <a:pt x="2775294" y="3433834"/>
                  <a:pt x="2775294" y="3433834"/>
                  <a:pt x="2775294" y="3433834"/>
                </a:cubicBezTo>
                <a:cubicBezTo>
                  <a:pt x="2781885" y="3444006"/>
                  <a:pt x="2781885" y="3444006"/>
                  <a:pt x="2781885" y="3444006"/>
                </a:cubicBezTo>
                <a:cubicBezTo>
                  <a:pt x="2784679" y="3444604"/>
                  <a:pt x="2784679" y="3444604"/>
                  <a:pt x="2784679" y="3444604"/>
                </a:cubicBezTo>
                <a:cubicBezTo>
                  <a:pt x="2784082" y="3447397"/>
                  <a:pt x="2784082" y="3447397"/>
                  <a:pt x="2784082" y="3447397"/>
                </a:cubicBezTo>
                <a:cubicBezTo>
                  <a:pt x="2786875" y="3447994"/>
                  <a:pt x="2786875" y="3447994"/>
                  <a:pt x="2786875" y="3447994"/>
                </a:cubicBezTo>
                <a:cubicBezTo>
                  <a:pt x="2789073" y="3451385"/>
                  <a:pt x="2788476" y="3454179"/>
                  <a:pt x="2791270" y="3454776"/>
                </a:cubicBezTo>
                <a:cubicBezTo>
                  <a:pt x="2790673" y="3457570"/>
                  <a:pt x="2793467" y="3458167"/>
                  <a:pt x="2792870" y="3460960"/>
                </a:cubicBezTo>
                <a:cubicBezTo>
                  <a:pt x="2795664" y="3461558"/>
                  <a:pt x="2795067" y="3464351"/>
                  <a:pt x="2795067" y="3464351"/>
                </a:cubicBezTo>
                <a:cubicBezTo>
                  <a:pt x="2797264" y="3467743"/>
                  <a:pt x="2799462" y="3471133"/>
                  <a:pt x="2801659" y="3474524"/>
                </a:cubicBezTo>
                <a:cubicBezTo>
                  <a:pt x="2801061" y="3477318"/>
                  <a:pt x="2801061" y="3477318"/>
                  <a:pt x="2801061" y="3477318"/>
                </a:cubicBezTo>
                <a:cubicBezTo>
                  <a:pt x="2801061" y="3477318"/>
                  <a:pt x="2803855" y="3477915"/>
                  <a:pt x="2803259" y="3480709"/>
                </a:cubicBezTo>
                <a:cubicBezTo>
                  <a:pt x="2810446" y="3488087"/>
                  <a:pt x="2817038" y="3498260"/>
                  <a:pt x="2823629" y="3508433"/>
                </a:cubicBezTo>
                <a:cubicBezTo>
                  <a:pt x="2824226" y="3505639"/>
                  <a:pt x="2824226" y="3505639"/>
                  <a:pt x="2827019" y="3506235"/>
                </a:cubicBezTo>
                <a:cubicBezTo>
                  <a:pt x="2824823" y="3502845"/>
                  <a:pt x="2824823" y="3502845"/>
                  <a:pt x="2824823" y="3502845"/>
                </a:cubicBezTo>
                <a:cubicBezTo>
                  <a:pt x="2822029" y="3502248"/>
                  <a:pt x="2822625" y="3499454"/>
                  <a:pt x="2822625" y="3499454"/>
                </a:cubicBezTo>
                <a:cubicBezTo>
                  <a:pt x="2822625" y="3499454"/>
                  <a:pt x="2825419" y="3500051"/>
                  <a:pt x="2825419" y="3500051"/>
                </a:cubicBezTo>
                <a:cubicBezTo>
                  <a:pt x="2827616" y="3503442"/>
                  <a:pt x="2827616" y="3503442"/>
                  <a:pt x="2827616" y="3503442"/>
                </a:cubicBezTo>
                <a:cubicBezTo>
                  <a:pt x="2827616" y="3503442"/>
                  <a:pt x="2829814" y="3506832"/>
                  <a:pt x="2829814" y="3506832"/>
                </a:cubicBezTo>
                <a:cubicBezTo>
                  <a:pt x="2829217" y="3509627"/>
                  <a:pt x="2829217" y="3509627"/>
                  <a:pt x="2829217" y="3509627"/>
                </a:cubicBezTo>
                <a:cubicBezTo>
                  <a:pt x="2829217" y="3509627"/>
                  <a:pt x="2829217" y="3509627"/>
                  <a:pt x="2828620" y="3512421"/>
                </a:cubicBezTo>
                <a:cubicBezTo>
                  <a:pt x="2835808" y="3519799"/>
                  <a:pt x="2842399" y="3529972"/>
                  <a:pt x="2849587" y="3537350"/>
                </a:cubicBezTo>
                <a:cubicBezTo>
                  <a:pt x="2849587" y="3537350"/>
                  <a:pt x="2849587" y="3537350"/>
                  <a:pt x="2848991" y="3540144"/>
                </a:cubicBezTo>
                <a:cubicBezTo>
                  <a:pt x="2865563" y="3558293"/>
                  <a:pt x="2879343" y="3575843"/>
                  <a:pt x="2896513" y="3591198"/>
                </a:cubicBezTo>
                <a:cubicBezTo>
                  <a:pt x="2917481" y="3616128"/>
                  <a:pt x="2939044" y="3638263"/>
                  <a:pt x="2963403" y="3660996"/>
                </a:cubicBezTo>
                <a:cubicBezTo>
                  <a:pt x="2968394" y="3664984"/>
                  <a:pt x="2978973" y="3670166"/>
                  <a:pt x="2977779" y="3675754"/>
                </a:cubicBezTo>
                <a:cubicBezTo>
                  <a:pt x="2977779" y="3675754"/>
                  <a:pt x="2977779" y="3675754"/>
                  <a:pt x="2980573" y="3676351"/>
                </a:cubicBezTo>
                <a:cubicBezTo>
                  <a:pt x="2983367" y="3676948"/>
                  <a:pt x="2985563" y="3680338"/>
                  <a:pt x="2988357" y="3680935"/>
                </a:cubicBezTo>
                <a:cubicBezTo>
                  <a:pt x="2988357" y="3680935"/>
                  <a:pt x="2990555" y="3684327"/>
                  <a:pt x="2990555" y="3684327"/>
                </a:cubicBezTo>
                <a:cubicBezTo>
                  <a:pt x="2990555" y="3684327"/>
                  <a:pt x="2987761" y="3683729"/>
                  <a:pt x="2987761" y="3683729"/>
                </a:cubicBezTo>
                <a:cubicBezTo>
                  <a:pt x="2999939" y="3695096"/>
                  <a:pt x="3012119" y="3706462"/>
                  <a:pt x="3024298" y="3717829"/>
                </a:cubicBezTo>
                <a:cubicBezTo>
                  <a:pt x="3053647" y="3744549"/>
                  <a:pt x="3053647" y="3744549"/>
                  <a:pt x="3053647" y="3744549"/>
                </a:cubicBezTo>
                <a:cubicBezTo>
                  <a:pt x="3063629" y="3752525"/>
                  <a:pt x="3063629" y="3752525"/>
                  <a:pt x="3063629" y="3752525"/>
                </a:cubicBezTo>
                <a:cubicBezTo>
                  <a:pt x="3068621" y="3756512"/>
                  <a:pt x="3081396" y="3765085"/>
                  <a:pt x="3091378" y="3773061"/>
                </a:cubicBezTo>
                <a:cubicBezTo>
                  <a:pt x="3103557" y="3784427"/>
                  <a:pt x="3113540" y="3792403"/>
                  <a:pt x="3110745" y="3791806"/>
                </a:cubicBezTo>
                <a:cubicBezTo>
                  <a:pt x="3145683" y="3819720"/>
                  <a:pt x="3180620" y="3847634"/>
                  <a:pt x="3223939" y="3877340"/>
                </a:cubicBezTo>
                <a:cubicBezTo>
                  <a:pt x="3247293" y="3891094"/>
                  <a:pt x="3289013" y="3914614"/>
                  <a:pt x="3316762" y="3935150"/>
                </a:cubicBezTo>
                <a:cubicBezTo>
                  <a:pt x="3349095" y="3947901"/>
                  <a:pt x="3379639" y="3969034"/>
                  <a:pt x="3414169" y="3985176"/>
                </a:cubicBezTo>
                <a:cubicBezTo>
                  <a:pt x="3419160" y="3989164"/>
                  <a:pt x="3419757" y="3986369"/>
                  <a:pt x="3424747" y="3990357"/>
                </a:cubicBezTo>
                <a:lnTo>
                  <a:pt x="3441608" y="3997072"/>
                </a:lnTo>
                <a:lnTo>
                  <a:pt x="3469701" y="3977138"/>
                </a:lnTo>
                <a:cubicBezTo>
                  <a:pt x="3555110" y="3914881"/>
                  <a:pt x="3639991" y="3851269"/>
                  <a:pt x="3724668" y="3787369"/>
                </a:cubicBezTo>
                <a:lnTo>
                  <a:pt x="3754040" y="3765203"/>
                </a:lnTo>
                <a:lnTo>
                  <a:pt x="3767564" y="3768276"/>
                </a:lnTo>
                <a:lnTo>
                  <a:pt x="3792803" y="3771639"/>
                </a:lnTo>
                <a:lnTo>
                  <a:pt x="3704456" y="3845364"/>
                </a:lnTo>
                <a:cubicBezTo>
                  <a:pt x="3673898" y="3870480"/>
                  <a:pt x="3642523" y="3894443"/>
                  <a:pt x="3610814" y="3920373"/>
                </a:cubicBezTo>
                <a:cubicBezTo>
                  <a:pt x="3587487" y="3938634"/>
                  <a:pt x="3564976" y="3958046"/>
                  <a:pt x="3546062" y="3980098"/>
                </a:cubicBezTo>
                <a:cubicBezTo>
                  <a:pt x="3537513" y="3988750"/>
                  <a:pt x="3528436" y="3996047"/>
                  <a:pt x="3518646" y="4002337"/>
                </a:cubicBezTo>
                <a:lnTo>
                  <a:pt x="3490691" y="4016620"/>
                </a:lnTo>
                <a:lnTo>
                  <a:pt x="3441607" y="3997072"/>
                </a:lnTo>
                <a:lnTo>
                  <a:pt x="3409318" y="4019984"/>
                </a:lnTo>
                <a:lnTo>
                  <a:pt x="3408678" y="4019425"/>
                </a:lnTo>
                <a:cubicBezTo>
                  <a:pt x="3406606" y="4017157"/>
                  <a:pt x="3403412" y="4015014"/>
                  <a:pt x="3393633" y="4012924"/>
                </a:cubicBezTo>
                <a:cubicBezTo>
                  <a:pt x="3393036" y="4015718"/>
                  <a:pt x="3390242" y="4015122"/>
                  <a:pt x="3384655" y="4013927"/>
                </a:cubicBezTo>
                <a:cubicBezTo>
                  <a:pt x="3382457" y="4010537"/>
                  <a:pt x="3383054" y="4007743"/>
                  <a:pt x="3375270" y="4003158"/>
                </a:cubicBezTo>
                <a:cubicBezTo>
                  <a:pt x="3369681" y="4001964"/>
                  <a:pt x="3361299" y="4000173"/>
                  <a:pt x="3353515" y="3995589"/>
                </a:cubicBezTo>
                <a:cubicBezTo>
                  <a:pt x="3327365" y="3981238"/>
                  <a:pt x="3295629" y="3965693"/>
                  <a:pt x="3280059" y="3956524"/>
                </a:cubicBezTo>
                <a:cubicBezTo>
                  <a:pt x="3272275" y="3951939"/>
                  <a:pt x="3272871" y="3949145"/>
                  <a:pt x="3267879" y="3945157"/>
                </a:cubicBezTo>
                <a:cubicBezTo>
                  <a:pt x="3246125" y="3937588"/>
                  <a:pt x="3218375" y="3917052"/>
                  <a:pt x="3193421" y="3897113"/>
                </a:cubicBezTo>
                <a:cubicBezTo>
                  <a:pt x="3167869" y="3879968"/>
                  <a:pt x="3145707" y="3860626"/>
                  <a:pt x="3127344" y="3850860"/>
                </a:cubicBezTo>
                <a:cubicBezTo>
                  <a:pt x="3130734" y="3848663"/>
                  <a:pt x="3127941" y="3848066"/>
                  <a:pt x="3122950" y="3844078"/>
                </a:cubicBezTo>
                <a:cubicBezTo>
                  <a:pt x="3125147" y="3847469"/>
                  <a:pt x="3124550" y="3850263"/>
                  <a:pt x="3122353" y="3846872"/>
                </a:cubicBezTo>
                <a:cubicBezTo>
                  <a:pt x="3120155" y="3843481"/>
                  <a:pt x="3086819" y="3821752"/>
                  <a:pt x="3093003" y="3820152"/>
                </a:cubicBezTo>
                <a:cubicBezTo>
                  <a:pt x="3080825" y="3808785"/>
                  <a:pt x="3074639" y="3810385"/>
                  <a:pt x="3074639" y="3810385"/>
                </a:cubicBezTo>
                <a:cubicBezTo>
                  <a:pt x="3065254" y="3799616"/>
                  <a:pt x="3075236" y="3807591"/>
                  <a:pt x="3078627" y="3805394"/>
                </a:cubicBezTo>
                <a:cubicBezTo>
                  <a:pt x="3066448" y="3794027"/>
                  <a:pt x="3066448" y="3794027"/>
                  <a:pt x="3066448" y="3794027"/>
                </a:cubicBezTo>
                <a:cubicBezTo>
                  <a:pt x="3070246" y="3803603"/>
                  <a:pt x="3060263" y="3795628"/>
                  <a:pt x="3057470" y="3795031"/>
                </a:cubicBezTo>
                <a:cubicBezTo>
                  <a:pt x="3049278" y="3778674"/>
                  <a:pt x="3020335" y="3763726"/>
                  <a:pt x="3002161" y="3739393"/>
                </a:cubicBezTo>
                <a:cubicBezTo>
                  <a:pt x="2999368" y="3738796"/>
                  <a:pt x="2999965" y="3736002"/>
                  <a:pt x="2997171" y="3735405"/>
                </a:cubicBezTo>
                <a:cubicBezTo>
                  <a:pt x="2994377" y="3734808"/>
                  <a:pt x="2994974" y="3732014"/>
                  <a:pt x="2994974" y="3732014"/>
                </a:cubicBezTo>
                <a:cubicBezTo>
                  <a:pt x="2992777" y="3728624"/>
                  <a:pt x="2995571" y="3729220"/>
                  <a:pt x="2997768" y="3732611"/>
                </a:cubicBezTo>
                <a:cubicBezTo>
                  <a:pt x="2997768" y="3732611"/>
                  <a:pt x="2997768" y="3732611"/>
                  <a:pt x="3000562" y="3733208"/>
                </a:cubicBezTo>
                <a:cubicBezTo>
                  <a:pt x="2976800" y="3707681"/>
                  <a:pt x="2961230" y="3698511"/>
                  <a:pt x="2940263" y="3673582"/>
                </a:cubicBezTo>
                <a:cubicBezTo>
                  <a:pt x="2936872" y="3675779"/>
                  <a:pt x="2934675" y="3672388"/>
                  <a:pt x="2931285" y="3674585"/>
                </a:cubicBezTo>
                <a:cubicBezTo>
                  <a:pt x="2903129" y="3642277"/>
                  <a:pt x="2872180" y="3609371"/>
                  <a:pt x="2844621" y="3574268"/>
                </a:cubicBezTo>
                <a:cubicBezTo>
                  <a:pt x="2814269" y="3538570"/>
                  <a:pt x="2787307" y="3500673"/>
                  <a:pt x="2762543" y="3466167"/>
                </a:cubicBezTo>
                <a:cubicBezTo>
                  <a:pt x="2770925" y="3467958"/>
                  <a:pt x="2777922" y="3489903"/>
                  <a:pt x="2787904" y="3497878"/>
                </a:cubicBezTo>
                <a:cubicBezTo>
                  <a:pt x="2787307" y="3500673"/>
                  <a:pt x="2792895" y="3501866"/>
                  <a:pt x="2795689" y="3502464"/>
                </a:cubicBezTo>
                <a:cubicBezTo>
                  <a:pt x="2811666" y="3523406"/>
                  <a:pt x="2832036" y="3551130"/>
                  <a:pt x="2853600" y="3573265"/>
                </a:cubicBezTo>
                <a:cubicBezTo>
                  <a:pt x="2876765" y="3601586"/>
                  <a:pt x="2902126" y="3633298"/>
                  <a:pt x="2926484" y="3656031"/>
                </a:cubicBezTo>
                <a:cubicBezTo>
                  <a:pt x="2929278" y="3656627"/>
                  <a:pt x="2937063" y="3661212"/>
                  <a:pt x="2937063" y="3661212"/>
                </a:cubicBezTo>
                <a:cubicBezTo>
                  <a:pt x="2951439" y="3675970"/>
                  <a:pt x="2965218" y="3693521"/>
                  <a:pt x="2977397" y="3704887"/>
                </a:cubicBezTo>
                <a:cubicBezTo>
                  <a:pt x="2980191" y="3705484"/>
                  <a:pt x="2977995" y="3702093"/>
                  <a:pt x="2982985" y="3706081"/>
                </a:cubicBezTo>
                <a:cubicBezTo>
                  <a:pt x="2980191" y="3705484"/>
                  <a:pt x="2982389" y="3708874"/>
                  <a:pt x="2981791" y="3711669"/>
                </a:cubicBezTo>
                <a:cubicBezTo>
                  <a:pt x="3001159" y="3730414"/>
                  <a:pt x="3021719" y="3743571"/>
                  <a:pt x="3038889" y="3758925"/>
                </a:cubicBezTo>
                <a:cubicBezTo>
                  <a:pt x="3036693" y="3755535"/>
                  <a:pt x="3033899" y="3754937"/>
                  <a:pt x="3031702" y="3751547"/>
                </a:cubicBezTo>
                <a:cubicBezTo>
                  <a:pt x="3020120" y="3737386"/>
                  <a:pt x="3007940" y="3726020"/>
                  <a:pt x="3012932" y="3730008"/>
                </a:cubicBezTo>
                <a:cubicBezTo>
                  <a:pt x="3000753" y="3718641"/>
                  <a:pt x="2986973" y="3701090"/>
                  <a:pt x="2977588" y="3690321"/>
                </a:cubicBezTo>
                <a:cubicBezTo>
                  <a:pt x="2975391" y="3686930"/>
                  <a:pt x="2975391" y="3686930"/>
                  <a:pt x="2972597" y="3686333"/>
                </a:cubicBezTo>
                <a:cubicBezTo>
                  <a:pt x="2974197" y="3692518"/>
                  <a:pt x="2968203" y="3679551"/>
                  <a:pt x="2967009" y="3685139"/>
                </a:cubicBezTo>
                <a:cubicBezTo>
                  <a:pt x="2962615" y="3678357"/>
                  <a:pt x="2958221" y="3671575"/>
                  <a:pt x="2956024" y="3668185"/>
                </a:cubicBezTo>
                <a:cubicBezTo>
                  <a:pt x="2948836" y="3660806"/>
                  <a:pt x="2943845" y="3656818"/>
                  <a:pt x="2939450" y="3650037"/>
                </a:cubicBezTo>
                <a:cubicBezTo>
                  <a:pt x="2927271" y="3638670"/>
                  <a:pt x="2912298" y="3626706"/>
                  <a:pt x="2907308" y="3622719"/>
                </a:cubicBezTo>
                <a:cubicBezTo>
                  <a:pt x="2910101" y="3623316"/>
                  <a:pt x="2907905" y="3619925"/>
                  <a:pt x="2907905" y="3619925"/>
                </a:cubicBezTo>
                <a:cubicBezTo>
                  <a:pt x="2905707" y="3616534"/>
                  <a:pt x="2903510" y="3613143"/>
                  <a:pt x="2898519" y="3609156"/>
                </a:cubicBezTo>
                <a:cubicBezTo>
                  <a:pt x="2898519" y="3609156"/>
                  <a:pt x="2895725" y="3608558"/>
                  <a:pt x="2896322" y="3605764"/>
                </a:cubicBezTo>
                <a:cubicBezTo>
                  <a:pt x="2889134" y="3598386"/>
                  <a:pt x="2881946" y="3591008"/>
                  <a:pt x="2877552" y="3584226"/>
                </a:cubicBezTo>
                <a:cubicBezTo>
                  <a:pt x="2870364" y="3576847"/>
                  <a:pt x="2862579" y="3572262"/>
                  <a:pt x="2868167" y="3573456"/>
                </a:cubicBezTo>
                <a:cubicBezTo>
                  <a:pt x="2861575" y="3563284"/>
                  <a:pt x="2852191" y="3552514"/>
                  <a:pt x="2840012" y="3541148"/>
                </a:cubicBezTo>
                <a:cubicBezTo>
                  <a:pt x="2837815" y="3537756"/>
                  <a:pt x="2833420" y="3530975"/>
                  <a:pt x="2828429" y="3526987"/>
                </a:cubicBezTo>
                <a:cubicBezTo>
                  <a:pt x="2828429" y="3526987"/>
                  <a:pt x="2825635" y="3526390"/>
                  <a:pt x="2825635" y="3526390"/>
                </a:cubicBezTo>
                <a:cubicBezTo>
                  <a:pt x="2826232" y="3523596"/>
                  <a:pt x="2823438" y="3522999"/>
                  <a:pt x="2823438" y="3522999"/>
                </a:cubicBezTo>
                <a:cubicBezTo>
                  <a:pt x="2824035" y="3520206"/>
                  <a:pt x="2824035" y="3520206"/>
                  <a:pt x="2824035" y="3520206"/>
                </a:cubicBezTo>
                <a:cubicBezTo>
                  <a:pt x="2824035" y="3520206"/>
                  <a:pt x="2824035" y="3520206"/>
                  <a:pt x="2821241" y="3519609"/>
                </a:cubicBezTo>
                <a:cubicBezTo>
                  <a:pt x="2805265" y="3498667"/>
                  <a:pt x="2789289" y="3477724"/>
                  <a:pt x="2778303" y="3460770"/>
                </a:cubicBezTo>
                <a:cubicBezTo>
                  <a:pt x="2775509" y="3460173"/>
                  <a:pt x="2772716" y="3459576"/>
                  <a:pt x="2773313" y="3456782"/>
                </a:cubicBezTo>
                <a:cubicBezTo>
                  <a:pt x="2770519" y="3456185"/>
                  <a:pt x="2770519" y="3456185"/>
                  <a:pt x="2770519" y="3456185"/>
                </a:cubicBezTo>
                <a:cubicBezTo>
                  <a:pt x="2770519" y="3456185"/>
                  <a:pt x="2767724" y="3455588"/>
                  <a:pt x="2768321" y="3452794"/>
                </a:cubicBezTo>
                <a:cubicBezTo>
                  <a:pt x="2768919" y="3450000"/>
                  <a:pt x="2768919" y="3450000"/>
                  <a:pt x="2768919" y="3450000"/>
                </a:cubicBezTo>
                <a:cubicBezTo>
                  <a:pt x="2762327" y="3439828"/>
                  <a:pt x="2746351" y="3418886"/>
                  <a:pt x="2754135" y="3423470"/>
                </a:cubicBezTo>
                <a:cubicBezTo>
                  <a:pt x="2754135" y="3423470"/>
                  <a:pt x="2754135" y="3423470"/>
                  <a:pt x="2751939" y="3420080"/>
                </a:cubicBezTo>
                <a:cubicBezTo>
                  <a:pt x="2749145" y="3419483"/>
                  <a:pt x="2750339" y="3413895"/>
                  <a:pt x="2750339" y="3413895"/>
                </a:cubicBezTo>
                <a:lnTo>
                  <a:pt x="2755810" y="3415063"/>
                </a:lnTo>
                <a:lnTo>
                  <a:pt x="2758123" y="3418479"/>
                </a:lnTo>
                <a:cubicBezTo>
                  <a:pt x="2755330" y="3417883"/>
                  <a:pt x="2755927" y="3415088"/>
                  <a:pt x="2755927" y="3415088"/>
                </a:cubicBezTo>
                <a:lnTo>
                  <a:pt x="2755810" y="3415063"/>
                </a:lnTo>
                <a:lnTo>
                  <a:pt x="2751183" y="3408232"/>
                </a:lnTo>
                <a:lnTo>
                  <a:pt x="2750531" y="3399359"/>
                </a:lnTo>
                <a:lnTo>
                  <a:pt x="2751079" y="3400176"/>
                </a:lnTo>
                <a:cubicBezTo>
                  <a:pt x="2755072" y="3405411"/>
                  <a:pt x="2757717" y="3406706"/>
                  <a:pt x="2756713" y="3397728"/>
                </a:cubicBezTo>
                <a:close/>
                <a:moveTo>
                  <a:pt x="5584542" y="3248139"/>
                </a:moveTo>
                <a:cubicBezTo>
                  <a:pt x="5584542" y="3248139"/>
                  <a:pt x="5586740" y="3251531"/>
                  <a:pt x="5586740" y="3251531"/>
                </a:cubicBezTo>
                <a:cubicBezTo>
                  <a:pt x="5554564" y="3333761"/>
                  <a:pt x="5517248" y="3412703"/>
                  <a:pt x="5474666" y="3487233"/>
                </a:cubicBezTo>
                <a:lnTo>
                  <a:pt x="5413364" y="3585142"/>
                </a:lnTo>
                <a:lnTo>
                  <a:pt x="5330999" y="3696465"/>
                </a:lnTo>
                <a:cubicBezTo>
                  <a:pt x="5237083" y="3807867"/>
                  <a:pt x="5131585" y="3905108"/>
                  <a:pt x="5014504" y="3988189"/>
                </a:cubicBezTo>
                <a:cubicBezTo>
                  <a:pt x="5011113" y="3990385"/>
                  <a:pt x="5008319" y="3989788"/>
                  <a:pt x="5004928" y="3991986"/>
                </a:cubicBezTo>
                <a:cubicBezTo>
                  <a:pt x="5004928" y="3991986"/>
                  <a:pt x="5007721" y="3992582"/>
                  <a:pt x="5007721" y="3992582"/>
                </a:cubicBezTo>
                <a:cubicBezTo>
                  <a:pt x="4994159" y="4001371"/>
                  <a:pt x="4979998" y="4012952"/>
                  <a:pt x="4966434" y="4021741"/>
                </a:cubicBezTo>
                <a:cubicBezTo>
                  <a:pt x="4959652" y="4026135"/>
                  <a:pt x="4952871" y="4030529"/>
                  <a:pt x="4946089" y="4034923"/>
                </a:cubicBezTo>
                <a:cubicBezTo>
                  <a:pt x="4929732" y="4043114"/>
                  <a:pt x="4915571" y="4054696"/>
                  <a:pt x="4899214" y="4062887"/>
                </a:cubicBezTo>
                <a:cubicBezTo>
                  <a:pt x="4895823" y="4065085"/>
                  <a:pt x="4889041" y="4069478"/>
                  <a:pt x="4882857" y="4071079"/>
                </a:cubicBezTo>
                <a:cubicBezTo>
                  <a:pt x="4882259" y="4073873"/>
                  <a:pt x="4879466" y="4073276"/>
                  <a:pt x="4878869" y="4076070"/>
                </a:cubicBezTo>
                <a:cubicBezTo>
                  <a:pt x="4879466" y="4073276"/>
                  <a:pt x="4879466" y="4073276"/>
                  <a:pt x="4876075" y="4075472"/>
                </a:cubicBezTo>
                <a:cubicBezTo>
                  <a:pt x="4876075" y="4075472"/>
                  <a:pt x="4873281" y="4074876"/>
                  <a:pt x="4872684" y="4077670"/>
                </a:cubicBezTo>
                <a:cubicBezTo>
                  <a:pt x="4866499" y="4079270"/>
                  <a:pt x="4843360" y="4091855"/>
                  <a:pt x="4839372" y="4096846"/>
                </a:cubicBezTo>
                <a:cubicBezTo>
                  <a:pt x="4819623" y="4107235"/>
                  <a:pt x="4803266" y="4115426"/>
                  <a:pt x="4783518" y="4125814"/>
                </a:cubicBezTo>
                <a:cubicBezTo>
                  <a:pt x="4783518" y="4125814"/>
                  <a:pt x="4784114" y="4123020"/>
                  <a:pt x="4784114" y="4123020"/>
                </a:cubicBezTo>
                <a:cubicBezTo>
                  <a:pt x="4761572" y="4132812"/>
                  <a:pt x="4757178" y="4126029"/>
                  <a:pt x="4736236" y="4142005"/>
                </a:cubicBezTo>
                <a:cubicBezTo>
                  <a:pt x="4735639" y="4144799"/>
                  <a:pt x="4738433" y="4145397"/>
                  <a:pt x="4744617" y="4143796"/>
                </a:cubicBezTo>
                <a:cubicBezTo>
                  <a:pt x="4423844" y="4291454"/>
                  <a:pt x="4057313" y="4338769"/>
                  <a:pt x="3688510" y="4259976"/>
                </a:cubicBezTo>
                <a:lnTo>
                  <a:pt x="3612148" y="4240802"/>
                </a:lnTo>
                <a:lnTo>
                  <a:pt x="3634146" y="4223808"/>
                </a:lnTo>
                <a:lnTo>
                  <a:pt x="3666589" y="4197000"/>
                </a:lnTo>
                <a:lnTo>
                  <a:pt x="3712597" y="4207058"/>
                </a:lnTo>
                <a:cubicBezTo>
                  <a:pt x="3736918" y="4211159"/>
                  <a:pt x="3761115" y="4214137"/>
                  <a:pt x="3785461" y="4216417"/>
                </a:cubicBezTo>
                <a:cubicBezTo>
                  <a:pt x="3784864" y="4219211"/>
                  <a:pt x="3793245" y="4221002"/>
                  <a:pt x="3798833" y="4222196"/>
                </a:cubicBezTo>
                <a:cubicBezTo>
                  <a:pt x="3798833" y="4222196"/>
                  <a:pt x="3796040" y="4221599"/>
                  <a:pt x="3796040" y="4221599"/>
                </a:cubicBezTo>
                <a:cubicBezTo>
                  <a:pt x="3795443" y="4224392"/>
                  <a:pt x="3795443" y="4224392"/>
                  <a:pt x="3795443" y="4224392"/>
                </a:cubicBezTo>
                <a:cubicBezTo>
                  <a:pt x="3798237" y="4224989"/>
                  <a:pt x="3798237" y="4224989"/>
                  <a:pt x="3801031" y="4225586"/>
                </a:cubicBezTo>
                <a:cubicBezTo>
                  <a:pt x="3801031" y="4225586"/>
                  <a:pt x="3801627" y="4222793"/>
                  <a:pt x="3801627" y="4222793"/>
                </a:cubicBezTo>
                <a:cubicBezTo>
                  <a:pt x="3801627" y="4222793"/>
                  <a:pt x="3801627" y="4222793"/>
                  <a:pt x="3804422" y="4223389"/>
                </a:cubicBezTo>
                <a:cubicBezTo>
                  <a:pt x="3825173" y="4221979"/>
                  <a:pt x="3849125" y="4232940"/>
                  <a:pt x="3850915" y="4224558"/>
                </a:cubicBezTo>
                <a:cubicBezTo>
                  <a:pt x="3853709" y="4225155"/>
                  <a:pt x="3859297" y="4226349"/>
                  <a:pt x="3862091" y="4226946"/>
                </a:cubicBezTo>
                <a:cubicBezTo>
                  <a:pt x="3866079" y="4221955"/>
                  <a:pt x="3898007" y="4222933"/>
                  <a:pt x="3905195" y="4230312"/>
                </a:cubicBezTo>
                <a:cubicBezTo>
                  <a:pt x="3908586" y="4228115"/>
                  <a:pt x="3923152" y="4228305"/>
                  <a:pt x="3931534" y="4230096"/>
                </a:cubicBezTo>
                <a:cubicBezTo>
                  <a:pt x="3941707" y="4223505"/>
                  <a:pt x="3970840" y="4223886"/>
                  <a:pt x="3999974" y="4224268"/>
                </a:cubicBezTo>
                <a:cubicBezTo>
                  <a:pt x="4029107" y="4224649"/>
                  <a:pt x="4058241" y="4225030"/>
                  <a:pt x="4068413" y="4218439"/>
                </a:cubicBezTo>
                <a:cubicBezTo>
                  <a:pt x="4088568" y="4219824"/>
                  <a:pt x="4108723" y="4221208"/>
                  <a:pt x="4124483" y="4215811"/>
                </a:cubicBezTo>
                <a:cubicBezTo>
                  <a:pt x="4150823" y="4215595"/>
                  <a:pt x="4183347" y="4213779"/>
                  <a:pt x="4206893" y="4212967"/>
                </a:cubicBezTo>
                <a:cubicBezTo>
                  <a:pt x="4240014" y="4208357"/>
                  <a:pt x="4274329" y="4198160"/>
                  <a:pt x="4316429" y="4192547"/>
                </a:cubicBezTo>
                <a:cubicBezTo>
                  <a:pt x="4331592" y="4189943"/>
                  <a:pt x="4358529" y="4186934"/>
                  <a:pt x="4383269" y="4180533"/>
                </a:cubicBezTo>
                <a:cubicBezTo>
                  <a:pt x="4407411" y="4176927"/>
                  <a:pt x="4429356" y="4169929"/>
                  <a:pt x="4444520" y="4167326"/>
                </a:cubicBezTo>
                <a:cubicBezTo>
                  <a:pt x="4479432" y="4154334"/>
                  <a:pt x="4519336" y="4145331"/>
                  <a:pt x="4548659" y="4131145"/>
                </a:cubicBezTo>
                <a:cubicBezTo>
                  <a:pt x="4567214" y="4126345"/>
                  <a:pt x="4603319" y="4107766"/>
                  <a:pt x="4596538" y="4112159"/>
                </a:cubicBezTo>
                <a:cubicBezTo>
                  <a:pt x="4606711" y="4105568"/>
                  <a:pt x="4606113" y="4108362"/>
                  <a:pt x="4621874" y="4102966"/>
                </a:cubicBezTo>
                <a:cubicBezTo>
                  <a:pt x="4621874" y="4102966"/>
                  <a:pt x="4625862" y="4097974"/>
                  <a:pt x="4625862" y="4097974"/>
                </a:cubicBezTo>
                <a:cubicBezTo>
                  <a:pt x="4632644" y="4093580"/>
                  <a:pt x="4647807" y="4090977"/>
                  <a:pt x="4653992" y="4089377"/>
                </a:cubicBezTo>
                <a:cubicBezTo>
                  <a:pt x="4673740" y="4078988"/>
                  <a:pt x="4686707" y="4072994"/>
                  <a:pt x="4703065" y="4064804"/>
                </a:cubicBezTo>
                <a:cubicBezTo>
                  <a:pt x="4735779" y="4048421"/>
                  <a:pt x="4783658" y="4029435"/>
                  <a:pt x="4816970" y="4010259"/>
                </a:cubicBezTo>
                <a:cubicBezTo>
                  <a:pt x="4820958" y="4005268"/>
                  <a:pt x="4824946" y="4000277"/>
                  <a:pt x="4824946" y="4000277"/>
                </a:cubicBezTo>
                <a:cubicBezTo>
                  <a:pt x="4831130" y="3998676"/>
                  <a:pt x="4833327" y="4002068"/>
                  <a:pt x="4837315" y="3997077"/>
                </a:cubicBezTo>
                <a:cubicBezTo>
                  <a:pt x="4853075" y="3991680"/>
                  <a:pt x="4865636" y="3973913"/>
                  <a:pt x="4878005" y="3970712"/>
                </a:cubicBezTo>
                <a:cubicBezTo>
                  <a:pt x="4881397" y="3968515"/>
                  <a:pt x="4884191" y="3969113"/>
                  <a:pt x="4883594" y="3971906"/>
                </a:cubicBezTo>
                <a:cubicBezTo>
                  <a:pt x="4887581" y="3966915"/>
                  <a:pt x="4893766" y="3965315"/>
                  <a:pt x="4897158" y="3963118"/>
                </a:cubicBezTo>
                <a:cubicBezTo>
                  <a:pt x="4897158" y="3963118"/>
                  <a:pt x="4897158" y="3963118"/>
                  <a:pt x="4899951" y="3963715"/>
                </a:cubicBezTo>
                <a:cubicBezTo>
                  <a:pt x="4899951" y="3963715"/>
                  <a:pt x="4899951" y="3963715"/>
                  <a:pt x="4902745" y="3964312"/>
                </a:cubicBezTo>
                <a:cubicBezTo>
                  <a:pt x="4898160" y="3972097"/>
                  <a:pt x="4903342" y="3961518"/>
                  <a:pt x="4915712" y="3958318"/>
                </a:cubicBezTo>
                <a:cubicBezTo>
                  <a:pt x="4916905" y="3952730"/>
                  <a:pt x="4914112" y="3952133"/>
                  <a:pt x="4927078" y="3946138"/>
                </a:cubicBezTo>
                <a:cubicBezTo>
                  <a:pt x="4931066" y="3941148"/>
                  <a:pt x="4910720" y="3954330"/>
                  <a:pt x="4921490" y="3944945"/>
                </a:cubicBezTo>
                <a:cubicBezTo>
                  <a:pt x="4921490" y="3944945"/>
                  <a:pt x="4924284" y="3945542"/>
                  <a:pt x="4924881" y="3942748"/>
                </a:cubicBezTo>
                <a:cubicBezTo>
                  <a:pt x="4935651" y="3933363"/>
                  <a:pt x="4952605" y="3922378"/>
                  <a:pt x="4969559" y="3911392"/>
                </a:cubicBezTo>
                <a:lnTo>
                  <a:pt x="4973116" y="3912152"/>
                </a:lnTo>
                <a:lnTo>
                  <a:pt x="4968515" y="3916282"/>
                </a:lnTo>
                <a:cubicBezTo>
                  <a:pt x="4965971" y="3917929"/>
                  <a:pt x="4963578" y="3918879"/>
                  <a:pt x="4962181" y="3918581"/>
                </a:cubicBezTo>
                <a:cubicBezTo>
                  <a:pt x="4957596" y="3926366"/>
                  <a:pt x="4974550" y="3915380"/>
                  <a:pt x="4979542" y="3919368"/>
                </a:cubicBezTo>
                <a:cubicBezTo>
                  <a:pt x="4983529" y="3914377"/>
                  <a:pt x="4983529" y="3914377"/>
                  <a:pt x="4986920" y="3912180"/>
                </a:cubicBezTo>
                <a:cubicBezTo>
                  <a:pt x="4986920" y="3912180"/>
                  <a:pt x="4986920" y="3912180"/>
                  <a:pt x="4990311" y="3909983"/>
                </a:cubicBezTo>
                <a:cubicBezTo>
                  <a:pt x="4993105" y="3910580"/>
                  <a:pt x="4993105" y="3910580"/>
                  <a:pt x="4993702" y="3907786"/>
                </a:cubicBezTo>
                <a:cubicBezTo>
                  <a:pt x="4993702" y="3907786"/>
                  <a:pt x="4993702" y="3907786"/>
                  <a:pt x="4994298" y="3904992"/>
                </a:cubicBezTo>
                <a:cubicBezTo>
                  <a:pt x="5006668" y="3901792"/>
                  <a:pt x="4994896" y="3902198"/>
                  <a:pt x="5005068" y="3895607"/>
                </a:cubicBezTo>
                <a:cubicBezTo>
                  <a:pt x="5005068" y="3895607"/>
                  <a:pt x="5005068" y="3895607"/>
                  <a:pt x="5004472" y="3898401"/>
                </a:cubicBezTo>
                <a:cubicBezTo>
                  <a:pt x="5001080" y="3900598"/>
                  <a:pt x="5003875" y="3901195"/>
                  <a:pt x="5003875" y="3901195"/>
                </a:cubicBezTo>
                <a:cubicBezTo>
                  <a:pt x="5006668" y="3901792"/>
                  <a:pt x="5010059" y="3899595"/>
                  <a:pt x="5013451" y="3897397"/>
                </a:cubicBezTo>
                <a:cubicBezTo>
                  <a:pt x="5013451" y="3897397"/>
                  <a:pt x="5013451" y="3897397"/>
                  <a:pt x="5014047" y="3894604"/>
                </a:cubicBezTo>
                <a:cubicBezTo>
                  <a:pt x="5014047" y="3894604"/>
                  <a:pt x="5014644" y="3891810"/>
                  <a:pt x="5014644" y="3891810"/>
                </a:cubicBezTo>
                <a:cubicBezTo>
                  <a:pt x="5017438" y="3892407"/>
                  <a:pt x="5021425" y="3887415"/>
                  <a:pt x="5023623" y="3890807"/>
                </a:cubicBezTo>
                <a:cubicBezTo>
                  <a:pt x="5023623" y="3890807"/>
                  <a:pt x="5023623" y="3890807"/>
                  <a:pt x="5020232" y="3893004"/>
                </a:cubicBezTo>
                <a:cubicBezTo>
                  <a:pt x="5020232" y="3893004"/>
                  <a:pt x="5020232" y="3893004"/>
                  <a:pt x="5016841" y="3895201"/>
                </a:cubicBezTo>
                <a:cubicBezTo>
                  <a:pt x="5016841" y="3895201"/>
                  <a:pt x="5016245" y="3897995"/>
                  <a:pt x="5016245" y="3897995"/>
                </a:cubicBezTo>
                <a:cubicBezTo>
                  <a:pt x="5016245" y="3897995"/>
                  <a:pt x="5019635" y="3895798"/>
                  <a:pt x="5019635" y="3895798"/>
                </a:cubicBezTo>
                <a:cubicBezTo>
                  <a:pt x="5019038" y="3898592"/>
                  <a:pt x="5019038" y="3898592"/>
                  <a:pt x="5018441" y="3901385"/>
                </a:cubicBezTo>
                <a:cubicBezTo>
                  <a:pt x="5018441" y="3901385"/>
                  <a:pt x="5018441" y="3901385"/>
                  <a:pt x="5021832" y="3899188"/>
                </a:cubicBezTo>
                <a:cubicBezTo>
                  <a:pt x="5021832" y="3899188"/>
                  <a:pt x="5024626" y="3899786"/>
                  <a:pt x="5025223" y="3896992"/>
                </a:cubicBezTo>
                <a:cubicBezTo>
                  <a:pt x="5021235" y="3901983"/>
                  <a:pt x="5014454" y="3906377"/>
                  <a:pt x="5012257" y="3902986"/>
                </a:cubicBezTo>
                <a:cubicBezTo>
                  <a:pt x="5006668" y="3901792"/>
                  <a:pt x="5013260" y="3911965"/>
                  <a:pt x="5007672" y="3910771"/>
                </a:cubicBezTo>
                <a:cubicBezTo>
                  <a:pt x="5000293" y="3917959"/>
                  <a:pt x="5026823" y="3903176"/>
                  <a:pt x="5028614" y="3894795"/>
                </a:cubicBezTo>
                <a:cubicBezTo>
                  <a:pt x="5028614" y="3894795"/>
                  <a:pt x="5031408" y="3895391"/>
                  <a:pt x="5031408" y="3895391"/>
                </a:cubicBezTo>
                <a:cubicBezTo>
                  <a:pt x="5031408" y="3895391"/>
                  <a:pt x="5034799" y="3893194"/>
                  <a:pt x="5035396" y="3890400"/>
                </a:cubicBezTo>
                <a:cubicBezTo>
                  <a:pt x="5035396" y="3890400"/>
                  <a:pt x="5035396" y="3890400"/>
                  <a:pt x="5032602" y="3889804"/>
                </a:cubicBezTo>
                <a:cubicBezTo>
                  <a:pt x="5036590" y="3884812"/>
                  <a:pt x="5039980" y="3882615"/>
                  <a:pt x="5042177" y="3886007"/>
                </a:cubicBezTo>
                <a:cubicBezTo>
                  <a:pt x="5042774" y="3883212"/>
                  <a:pt x="5043371" y="3880419"/>
                  <a:pt x="5043371" y="3880419"/>
                </a:cubicBezTo>
                <a:cubicBezTo>
                  <a:pt x="5046762" y="3878222"/>
                  <a:pt x="5046762" y="3878222"/>
                  <a:pt x="5048960" y="3881613"/>
                </a:cubicBezTo>
                <a:cubicBezTo>
                  <a:pt x="5050153" y="3876024"/>
                  <a:pt x="5058725" y="3863249"/>
                  <a:pt x="5068301" y="3859451"/>
                </a:cubicBezTo>
                <a:cubicBezTo>
                  <a:pt x="5068301" y="3859451"/>
                  <a:pt x="5071095" y="3860048"/>
                  <a:pt x="5071692" y="3857255"/>
                </a:cubicBezTo>
                <a:cubicBezTo>
                  <a:pt x="5071692" y="3857255"/>
                  <a:pt x="5071692" y="3857255"/>
                  <a:pt x="5074486" y="3857851"/>
                </a:cubicBezTo>
                <a:cubicBezTo>
                  <a:pt x="5088646" y="3846269"/>
                  <a:pt x="5106794" y="3829696"/>
                  <a:pt x="5111977" y="3819118"/>
                </a:cubicBezTo>
                <a:cubicBezTo>
                  <a:pt x="5115367" y="3816920"/>
                  <a:pt x="5109589" y="3830293"/>
                  <a:pt x="5124943" y="3813123"/>
                </a:cubicBezTo>
                <a:cubicBezTo>
                  <a:pt x="5124346" y="3815917"/>
                  <a:pt x="5124346" y="3815917"/>
                  <a:pt x="5124346" y="3815917"/>
                </a:cubicBezTo>
                <a:cubicBezTo>
                  <a:pt x="5127737" y="3813720"/>
                  <a:pt x="5127737" y="3813720"/>
                  <a:pt x="5128334" y="3810926"/>
                </a:cubicBezTo>
                <a:cubicBezTo>
                  <a:pt x="5133922" y="3812120"/>
                  <a:pt x="5135712" y="3803738"/>
                  <a:pt x="5142494" y="3799344"/>
                </a:cubicBezTo>
                <a:cubicBezTo>
                  <a:pt x="5142494" y="3799344"/>
                  <a:pt x="5141898" y="3802138"/>
                  <a:pt x="5141898" y="3802138"/>
                </a:cubicBezTo>
                <a:cubicBezTo>
                  <a:pt x="5144691" y="3802735"/>
                  <a:pt x="5145288" y="3799940"/>
                  <a:pt x="5145288" y="3799940"/>
                </a:cubicBezTo>
                <a:cubicBezTo>
                  <a:pt x="5145288" y="3799940"/>
                  <a:pt x="5145288" y="3799940"/>
                  <a:pt x="5145885" y="3797147"/>
                </a:cubicBezTo>
                <a:cubicBezTo>
                  <a:pt x="5152667" y="3792753"/>
                  <a:pt x="5150470" y="3789362"/>
                  <a:pt x="5154458" y="3784371"/>
                </a:cubicBezTo>
                <a:cubicBezTo>
                  <a:pt x="5154458" y="3784371"/>
                  <a:pt x="5154458" y="3784371"/>
                  <a:pt x="5157252" y="3784968"/>
                </a:cubicBezTo>
                <a:cubicBezTo>
                  <a:pt x="5157252" y="3784968"/>
                  <a:pt x="5157252" y="3784968"/>
                  <a:pt x="5157849" y="3782174"/>
                </a:cubicBezTo>
                <a:cubicBezTo>
                  <a:pt x="5157849" y="3782174"/>
                  <a:pt x="5160642" y="3782771"/>
                  <a:pt x="5160642" y="3782771"/>
                </a:cubicBezTo>
                <a:cubicBezTo>
                  <a:pt x="5161239" y="3779977"/>
                  <a:pt x="5161239" y="3779977"/>
                  <a:pt x="5161239" y="3779977"/>
                </a:cubicBezTo>
                <a:cubicBezTo>
                  <a:pt x="5158446" y="3779381"/>
                  <a:pt x="5158446" y="3779381"/>
                  <a:pt x="5158446" y="3779381"/>
                </a:cubicBezTo>
                <a:cubicBezTo>
                  <a:pt x="5166421" y="3769398"/>
                  <a:pt x="5170409" y="3764407"/>
                  <a:pt x="5176593" y="3762807"/>
                </a:cubicBezTo>
                <a:cubicBezTo>
                  <a:pt x="5175997" y="3765601"/>
                  <a:pt x="5172606" y="3767798"/>
                  <a:pt x="5175400" y="3768395"/>
                </a:cubicBezTo>
                <a:cubicBezTo>
                  <a:pt x="5174802" y="3771189"/>
                  <a:pt x="5174802" y="3771189"/>
                  <a:pt x="5172009" y="3770592"/>
                </a:cubicBezTo>
                <a:cubicBezTo>
                  <a:pt x="5172009" y="3770592"/>
                  <a:pt x="5171412" y="3773386"/>
                  <a:pt x="5171412" y="3773386"/>
                </a:cubicBezTo>
                <a:cubicBezTo>
                  <a:pt x="5171412" y="3773386"/>
                  <a:pt x="5170815" y="3776180"/>
                  <a:pt x="5170815" y="3776180"/>
                </a:cubicBezTo>
                <a:cubicBezTo>
                  <a:pt x="5170815" y="3776180"/>
                  <a:pt x="5170815" y="3776180"/>
                  <a:pt x="5174206" y="3773983"/>
                </a:cubicBezTo>
                <a:cubicBezTo>
                  <a:pt x="5169024" y="3784561"/>
                  <a:pt x="5156058" y="3790556"/>
                  <a:pt x="5169024" y="3784561"/>
                </a:cubicBezTo>
                <a:cubicBezTo>
                  <a:pt x="5169024" y="3784561"/>
                  <a:pt x="5169024" y="3784561"/>
                  <a:pt x="5165634" y="3786759"/>
                </a:cubicBezTo>
                <a:cubicBezTo>
                  <a:pt x="5162243" y="3788956"/>
                  <a:pt x="5161645" y="3791750"/>
                  <a:pt x="5161645" y="3791750"/>
                </a:cubicBezTo>
                <a:cubicBezTo>
                  <a:pt x="5161049" y="3794544"/>
                  <a:pt x="5163843" y="3795140"/>
                  <a:pt x="5167233" y="3792944"/>
                </a:cubicBezTo>
                <a:cubicBezTo>
                  <a:pt x="5167233" y="3792944"/>
                  <a:pt x="5167233" y="3792944"/>
                  <a:pt x="5170624" y="3790747"/>
                </a:cubicBezTo>
                <a:cubicBezTo>
                  <a:pt x="5167233" y="3792944"/>
                  <a:pt x="5160452" y="3797337"/>
                  <a:pt x="5162649" y="3800729"/>
                </a:cubicBezTo>
                <a:cubicBezTo>
                  <a:pt x="5162649" y="3800729"/>
                  <a:pt x="5159258" y="3802925"/>
                  <a:pt x="5159258" y="3802925"/>
                </a:cubicBezTo>
                <a:cubicBezTo>
                  <a:pt x="5159258" y="3802925"/>
                  <a:pt x="5158661" y="3805719"/>
                  <a:pt x="5162052" y="3803522"/>
                </a:cubicBezTo>
                <a:cubicBezTo>
                  <a:pt x="5162052" y="3803522"/>
                  <a:pt x="5162052" y="3803522"/>
                  <a:pt x="5162649" y="3800729"/>
                </a:cubicBezTo>
                <a:cubicBezTo>
                  <a:pt x="5165442" y="3801326"/>
                  <a:pt x="5166040" y="3798532"/>
                  <a:pt x="5166040" y="3798532"/>
                </a:cubicBezTo>
                <a:cubicBezTo>
                  <a:pt x="5171628" y="3799725"/>
                  <a:pt x="5182994" y="3787546"/>
                  <a:pt x="5177407" y="3786352"/>
                </a:cubicBezTo>
                <a:lnTo>
                  <a:pt x="5174469" y="3787658"/>
                </a:lnTo>
                <a:lnTo>
                  <a:pt x="5176532" y="3783610"/>
                </a:lnTo>
                <a:cubicBezTo>
                  <a:pt x="5177603" y="3782013"/>
                  <a:pt x="5178601" y="3780764"/>
                  <a:pt x="5178601" y="3780764"/>
                </a:cubicBezTo>
                <a:cubicBezTo>
                  <a:pt x="5178899" y="3779367"/>
                  <a:pt x="5178200" y="3779218"/>
                  <a:pt x="5177078" y="3779344"/>
                </a:cubicBezTo>
                <a:lnTo>
                  <a:pt x="5173012" y="3779570"/>
                </a:lnTo>
                <a:lnTo>
                  <a:pt x="5177000" y="3774580"/>
                </a:lnTo>
                <a:cubicBezTo>
                  <a:pt x="5177000" y="3774580"/>
                  <a:pt x="5177000" y="3774580"/>
                  <a:pt x="5177597" y="3771786"/>
                </a:cubicBezTo>
                <a:cubicBezTo>
                  <a:pt x="5180391" y="3772383"/>
                  <a:pt x="5180391" y="3772383"/>
                  <a:pt x="5180391" y="3772383"/>
                </a:cubicBezTo>
                <a:cubicBezTo>
                  <a:pt x="5183185" y="3772979"/>
                  <a:pt x="5183782" y="3770186"/>
                  <a:pt x="5184378" y="3767392"/>
                </a:cubicBezTo>
                <a:cubicBezTo>
                  <a:pt x="5184378" y="3767392"/>
                  <a:pt x="5184378" y="3767392"/>
                  <a:pt x="5181585" y="3766795"/>
                </a:cubicBezTo>
                <a:cubicBezTo>
                  <a:pt x="5191160" y="3762997"/>
                  <a:pt x="5191160" y="3762997"/>
                  <a:pt x="5185572" y="3761804"/>
                </a:cubicBezTo>
                <a:cubicBezTo>
                  <a:pt x="5186169" y="3759010"/>
                  <a:pt x="5189560" y="3756813"/>
                  <a:pt x="5189560" y="3756813"/>
                </a:cubicBezTo>
                <a:cubicBezTo>
                  <a:pt x="5186766" y="3756216"/>
                  <a:pt x="5186766" y="3756216"/>
                  <a:pt x="5183376" y="3758413"/>
                </a:cubicBezTo>
                <a:cubicBezTo>
                  <a:pt x="5183376" y="3758413"/>
                  <a:pt x="5183376" y="3758413"/>
                  <a:pt x="5180581" y="3757816"/>
                </a:cubicBezTo>
                <a:cubicBezTo>
                  <a:pt x="5187363" y="3753422"/>
                  <a:pt x="5181775" y="3752228"/>
                  <a:pt x="5193142" y="3740049"/>
                </a:cubicBezTo>
                <a:cubicBezTo>
                  <a:pt x="5195339" y="3743440"/>
                  <a:pt x="5185167" y="3750031"/>
                  <a:pt x="5190754" y="3751225"/>
                </a:cubicBezTo>
                <a:cubicBezTo>
                  <a:pt x="5195935" y="3740647"/>
                  <a:pt x="5194742" y="3746234"/>
                  <a:pt x="5201523" y="3741840"/>
                </a:cubicBezTo>
                <a:cubicBezTo>
                  <a:pt x="5201523" y="3741840"/>
                  <a:pt x="5201523" y="3741840"/>
                  <a:pt x="5200927" y="3744633"/>
                </a:cubicBezTo>
                <a:cubicBezTo>
                  <a:pt x="5198133" y="3744037"/>
                  <a:pt x="5198133" y="3744037"/>
                  <a:pt x="5197536" y="3746831"/>
                </a:cubicBezTo>
                <a:cubicBezTo>
                  <a:pt x="5196939" y="3749625"/>
                  <a:pt x="5193548" y="3751822"/>
                  <a:pt x="5196939" y="3749625"/>
                </a:cubicBezTo>
                <a:cubicBezTo>
                  <a:pt x="5199732" y="3750222"/>
                  <a:pt x="5199732" y="3750222"/>
                  <a:pt x="5203720" y="3745231"/>
                </a:cubicBezTo>
                <a:cubicBezTo>
                  <a:pt x="5203720" y="3745231"/>
                  <a:pt x="5207112" y="3743034"/>
                  <a:pt x="5207112" y="3743034"/>
                </a:cubicBezTo>
                <a:cubicBezTo>
                  <a:pt x="5209905" y="3743631"/>
                  <a:pt x="5213893" y="3738640"/>
                  <a:pt x="5220675" y="3734245"/>
                </a:cubicBezTo>
                <a:cubicBezTo>
                  <a:pt x="5218478" y="3730855"/>
                  <a:pt x="5213893" y="3738640"/>
                  <a:pt x="5210502" y="3740836"/>
                </a:cubicBezTo>
                <a:cubicBezTo>
                  <a:pt x="5211099" y="3738042"/>
                  <a:pt x="5211099" y="3738042"/>
                  <a:pt x="5214490" y="3735846"/>
                </a:cubicBezTo>
                <a:cubicBezTo>
                  <a:pt x="5215087" y="3733052"/>
                  <a:pt x="5218478" y="3730855"/>
                  <a:pt x="5215684" y="3730257"/>
                </a:cubicBezTo>
                <a:cubicBezTo>
                  <a:pt x="5216281" y="3727464"/>
                  <a:pt x="5212890" y="3729661"/>
                  <a:pt x="5212293" y="3732455"/>
                </a:cubicBezTo>
                <a:cubicBezTo>
                  <a:pt x="5209499" y="3731858"/>
                  <a:pt x="5209499" y="3731858"/>
                  <a:pt x="5208903" y="3734652"/>
                </a:cubicBezTo>
                <a:cubicBezTo>
                  <a:pt x="5216878" y="3724670"/>
                  <a:pt x="5224854" y="3714688"/>
                  <a:pt x="5218072" y="3719082"/>
                </a:cubicBezTo>
                <a:cubicBezTo>
                  <a:pt x="5228841" y="3709697"/>
                  <a:pt x="5220269" y="3722473"/>
                  <a:pt x="5231038" y="3713088"/>
                </a:cubicBezTo>
                <a:cubicBezTo>
                  <a:pt x="5238417" y="3705899"/>
                  <a:pt x="5237414" y="3696921"/>
                  <a:pt x="5243002" y="3698115"/>
                </a:cubicBezTo>
                <a:cubicBezTo>
                  <a:pt x="5246990" y="3693124"/>
                  <a:pt x="5244196" y="3692527"/>
                  <a:pt x="5247586" y="3690330"/>
                </a:cubicBezTo>
                <a:cubicBezTo>
                  <a:pt x="5247586" y="3690330"/>
                  <a:pt x="5251574" y="3685340"/>
                  <a:pt x="5260553" y="3684336"/>
                </a:cubicBezTo>
                <a:cubicBezTo>
                  <a:pt x="5277101" y="3661578"/>
                  <a:pt x="5277699" y="3658784"/>
                  <a:pt x="5296443" y="3639417"/>
                </a:cubicBezTo>
                <a:cubicBezTo>
                  <a:pt x="5296443" y="3639417"/>
                  <a:pt x="5296443" y="3639417"/>
                  <a:pt x="5295846" y="3642211"/>
                </a:cubicBezTo>
                <a:cubicBezTo>
                  <a:pt x="5295249" y="3645005"/>
                  <a:pt x="5295249" y="3645005"/>
                  <a:pt x="5295249" y="3645005"/>
                </a:cubicBezTo>
                <a:cubicBezTo>
                  <a:pt x="5295249" y="3645005"/>
                  <a:pt x="5298640" y="3642808"/>
                  <a:pt x="5298640" y="3642808"/>
                </a:cubicBezTo>
                <a:cubicBezTo>
                  <a:pt x="5302031" y="3640611"/>
                  <a:pt x="5302628" y="3637817"/>
                  <a:pt x="5302628" y="3637817"/>
                </a:cubicBezTo>
                <a:cubicBezTo>
                  <a:pt x="5309410" y="3633423"/>
                  <a:pt x="5320776" y="3621244"/>
                  <a:pt x="5329349" y="3608468"/>
                </a:cubicBezTo>
                <a:cubicBezTo>
                  <a:pt x="5329349" y="3608468"/>
                  <a:pt x="5329349" y="3608468"/>
                  <a:pt x="5328752" y="3611262"/>
                </a:cubicBezTo>
                <a:cubicBezTo>
                  <a:pt x="5328752" y="3611262"/>
                  <a:pt x="5328752" y="3611262"/>
                  <a:pt x="5332143" y="3609065"/>
                </a:cubicBezTo>
                <a:cubicBezTo>
                  <a:pt x="5332143" y="3609065"/>
                  <a:pt x="5332143" y="3609065"/>
                  <a:pt x="5332740" y="3606271"/>
                </a:cubicBezTo>
                <a:cubicBezTo>
                  <a:pt x="5332740" y="3606271"/>
                  <a:pt x="5332740" y="3606271"/>
                  <a:pt x="5333337" y="3603477"/>
                </a:cubicBezTo>
                <a:cubicBezTo>
                  <a:pt x="5336727" y="3601280"/>
                  <a:pt x="5337324" y="3598486"/>
                  <a:pt x="5337324" y="3598486"/>
                </a:cubicBezTo>
                <a:cubicBezTo>
                  <a:pt x="5337921" y="3595692"/>
                  <a:pt x="5340715" y="3596289"/>
                  <a:pt x="5340118" y="3599083"/>
                </a:cubicBezTo>
                <a:cubicBezTo>
                  <a:pt x="5344106" y="3594092"/>
                  <a:pt x="5344106" y="3594092"/>
                  <a:pt x="5344703" y="3591299"/>
                </a:cubicBezTo>
                <a:cubicBezTo>
                  <a:pt x="5344703" y="3591299"/>
                  <a:pt x="5344703" y="3591299"/>
                  <a:pt x="5344106" y="3594092"/>
                </a:cubicBezTo>
                <a:cubicBezTo>
                  <a:pt x="5344106" y="3594092"/>
                  <a:pt x="5346900" y="3594689"/>
                  <a:pt x="5347497" y="3591895"/>
                </a:cubicBezTo>
                <a:cubicBezTo>
                  <a:pt x="5350887" y="3589698"/>
                  <a:pt x="5351484" y="3586904"/>
                  <a:pt x="5351484" y="3586904"/>
                </a:cubicBezTo>
                <a:cubicBezTo>
                  <a:pt x="5351484" y="3586904"/>
                  <a:pt x="5351484" y="3586904"/>
                  <a:pt x="5352082" y="3584110"/>
                </a:cubicBezTo>
                <a:cubicBezTo>
                  <a:pt x="5352082" y="3584110"/>
                  <a:pt x="5356070" y="3579119"/>
                  <a:pt x="5360058" y="3574128"/>
                </a:cubicBezTo>
                <a:cubicBezTo>
                  <a:pt x="5360058" y="3574128"/>
                  <a:pt x="5363448" y="3571931"/>
                  <a:pt x="5363448" y="3571931"/>
                </a:cubicBezTo>
                <a:lnTo>
                  <a:pt x="5364044" y="3569138"/>
                </a:lnTo>
                <a:cubicBezTo>
                  <a:pt x="5361251" y="3568541"/>
                  <a:pt x="5361251" y="3568541"/>
                  <a:pt x="5360654" y="3571334"/>
                </a:cubicBezTo>
                <a:cubicBezTo>
                  <a:pt x="5358457" y="3567944"/>
                  <a:pt x="5368630" y="3561352"/>
                  <a:pt x="5367029" y="3555167"/>
                </a:cubicBezTo>
                <a:cubicBezTo>
                  <a:pt x="5367626" y="3552373"/>
                  <a:pt x="5370420" y="3552970"/>
                  <a:pt x="5371017" y="3550176"/>
                </a:cubicBezTo>
                <a:cubicBezTo>
                  <a:pt x="5374408" y="3547980"/>
                  <a:pt x="5374408" y="3547980"/>
                  <a:pt x="5375005" y="3545185"/>
                </a:cubicBezTo>
                <a:cubicBezTo>
                  <a:pt x="5375005" y="3545185"/>
                  <a:pt x="5375005" y="3545185"/>
                  <a:pt x="5375602" y="3542392"/>
                </a:cubicBezTo>
                <a:cubicBezTo>
                  <a:pt x="5375602" y="3542392"/>
                  <a:pt x="5375602" y="3542392"/>
                  <a:pt x="5376199" y="3539597"/>
                </a:cubicBezTo>
                <a:cubicBezTo>
                  <a:pt x="5383578" y="3532410"/>
                  <a:pt x="5386968" y="3530213"/>
                  <a:pt x="5389165" y="3533604"/>
                </a:cubicBezTo>
                <a:cubicBezTo>
                  <a:pt x="5390360" y="3528015"/>
                  <a:pt x="5390360" y="3528015"/>
                  <a:pt x="5390956" y="3525222"/>
                </a:cubicBezTo>
                <a:cubicBezTo>
                  <a:pt x="5391554" y="3522428"/>
                  <a:pt x="5392150" y="3519634"/>
                  <a:pt x="5392150" y="3519634"/>
                </a:cubicBezTo>
                <a:cubicBezTo>
                  <a:pt x="5392150" y="3519634"/>
                  <a:pt x="5392150" y="3519634"/>
                  <a:pt x="5389356" y="3519036"/>
                </a:cubicBezTo>
                <a:cubicBezTo>
                  <a:pt x="5389356" y="3519036"/>
                  <a:pt x="5388759" y="3521831"/>
                  <a:pt x="5388759" y="3521831"/>
                </a:cubicBezTo>
                <a:cubicBezTo>
                  <a:pt x="5389356" y="3519036"/>
                  <a:pt x="5389356" y="3519036"/>
                  <a:pt x="5386562" y="3518440"/>
                </a:cubicBezTo>
                <a:cubicBezTo>
                  <a:pt x="5420852" y="3467336"/>
                  <a:pt x="5459727" y="3408448"/>
                  <a:pt x="5479450" y="3357154"/>
                </a:cubicBezTo>
                <a:cubicBezTo>
                  <a:pt x="5477063" y="3368329"/>
                  <a:pt x="5474675" y="3379505"/>
                  <a:pt x="5477468" y="3380102"/>
                </a:cubicBezTo>
                <a:cubicBezTo>
                  <a:pt x="5477468" y="3380102"/>
                  <a:pt x="5495617" y="3363529"/>
                  <a:pt x="5501395" y="3350156"/>
                </a:cubicBezTo>
                <a:cubicBezTo>
                  <a:pt x="5513359" y="3335183"/>
                  <a:pt x="5518134" y="3312832"/>
                  <a:pt x="5526110" y="3302850"/>
                </a:cubicBezTo>
                <a:cubicBezTo>
                  <a:pt x="5524319" y="3311231"/>
                  <a:pt x="5523722" y="3314025"/>
                  <a:pt x="5525919" y="3317416"/>
                </a:cubicBezTo>
                <a:cubicBezTo>
                  <a:pt x="5525919" y="3317416"/>
                  <a:pt x="5526516" y="3314623"/>
                  <a:pt x="5529310" y="3315219"/>
                </a:cubicBezTo>
                <a:cubicBezTo>
                  <a:pt x="5528116" y="3320807"/>
                  <a:pt x="5525322" y="3320210"/>
                  <a:pt x="5525322" y="3320210"/>
                </a:cubicBezTo>
                <a:cubicBezTo>
                  <a:pt x="5521334" y="3325201"/>
                  <a:pt x="5524128" y="3325798"/>
                  <a:pt x="5522934" y="3331386"/>
                </a:cubicBezTo>
                <a:cubicBezTo>
                  <a:pt x="5518947" y="3336377"/>
                  <a:pt x="5516153" y="3335780"/>
                  <a:pt x="5514959" y="3341368"/>
                </a:cubicBezTo>
                <a:cubicBezTo>
                  <a:pt x="5515556" y="3338574"/>
                  <a:pt x="5516153" y="3335780"/>
                  <a:pt x="5516153" y="3335780"/>
                </a:cubicBezTo>
                <a:cubicBezTo>
                  <a:pt x="5516153" y="3335780"/>
                  <a:pt x="5513359" y="3335183"/>
                  <a:pt x="5512762" y="3337977"/>
                </a:cubicBezTo>
                <a:cubicBezTo>
                  <a:pt x="5509968" y="3337380"/>
                  <a:pt x="5501993" y="3347362"/>
                  <a:pt x="5507580" y="3348556"/>
                </a:cubicBezTo>
                <a:cubicBezTo>
                  <a:pt x="5506983" y="3351350"/>
                  <a:pt x="5504190" y="3350753"/>
                  <a:pt x="5503593" y="3353547"/>
                </a:cubicBezTo>
                <a:cubicBezTo>
                  <a:pt x="5502996" y="3356341"/>
                  <a:pt x="5502996" y="3356341"/>
                  <a:pt x="5502399" y="3359135"/>
                </a:cubicBezTo>
                <a:cubicBezTo>
                  <a:pt x="5502399" y="3359135"/>
                  <a:pt x="5505192" y="3359732"/>
                  <a:pt x="5505790" y="3356938"/>
                </a:cubicBezTo>
                <a:cubicBezTo>
                  <a:pt x="5506387" y="3354144"/>
                  <a:pt x="5506387" y="3354144"/>
                  <a:pt x="5506387" y="3354144"/>
                </a:cubicBezTo>
                <a:cubicBezTo>
                  <a:pt x="5506387" y="3354144"/>
                  <a:pt x="5506387" y="3354144"/>
                  <a:pt x="5509180" y="3354740"/>
                </a:cubicBezTo>
                <a:cubicBezTo>
                  <a:pt x="5497218" y="3369714"/>
                  <a:pt x="5493039" y="3389271"/>
                  <a:pt x="5481672" y="3401450"/>
                </a:cubicBezTo>
                <a:cubicBezTo>
                  <a:pt x="5483869" y="3404841"/>
                  <a:pt x="5478282" y="3403647"/>
                  <a:pt x="5475297" y="3417617"/>
                </a:cubicBezTo>
                <a:cubicBezTo>
                  <a:pt x="5475297" y="3417617"/>
                  <a:pt x="5475297" y="3417617"/>
                  <a:pt x="5471906" y="3419814"/>
                </a:cubicBezTo>
                <a:cubicBezTo>
                  <a:pt x="5471906" y="3419814"/>
                  <a:pt x="5468515" y="3422011"/>
                  <a:pt x="5468515" y="3422011"/>
                </a:cubicBezTo>
                <a:cubicBezTo>
                  <a:pt x="5468515" y="3422011"/>
                  <a:pt x="5468515" y="3422011"/>
                  <a:pt x="5467918" y="3424805"/>
                </a:cubicBezTo>
                <a:lnTo>
                  <a:pt x="5469914" y="3425232"/>
                </a:lnTo>
                <a:lnTo>
                  <a:pt x="5468409" y="3428060"/>
                </a:lnTo>
                <a:cubicBezTo>
                  <a:pt x="5466288" y="3431578"/>
                  <a:pt x="5465877" y="3430942"/>
                  <a:pt x="5461543" y="3440972"/>
                </a:cubicBezTo>
                <a:cubicBezTo>
                  <a:pt x="5461543" y="3440972"/>
                  <a:pt x="5460946" y="3443766"/>
                  <a:pt x="5458152" y="3443169"/>
                </a:cubicBezTo>
                <a:cubicBezTo>
                  <a:pt x="5458152" y="3443169"/>
                  <a:pt x="5458152" y="3443169"/>
                  <a:pt x="5457555" y="3445963"/>
                </a:cubicBezTo>
                <a:cubicBezTo>
                  <a:pt x="5460349" y="3446560"/>
                  <a:pt x="5460349" y="3446560"/>
                  <a:pt x="5460349" y="3446560"/>
                </a:cubicBezTo>
                <a:cubicBezTo>
                  <a:pt x="5447192" y="3467121"/>
                  <a:pt x="5440220" y="3486081"/>
                  <a:pt x="5416293" y="3516027"/>
                </a:cubicBezTo>
                <a:cubicBezTo>
                  <a:pt x="5416293" y="3516027"/>
                  <a:pt x="5416293" y="3516027"/>
                  <a:pt x="5418490" y="3519418"/>
                </a:cubicBezTo>
                <a:cubicBezTo>
                  <a:pt x="5415099" y="3521616"/>
                  <a:pt x="5414502" y="3524409"/>
                  <a:pt x="5409917" y="3532194"/>
                </a:cubicBezTo>
                <a:cubicBezTo>
                  <a:pt x="5409917" y="3532194"/>
                  <a:pt x="5409917" y="3532194"/>
                  <a:pt x="5407123" y="3531597"/>
                </a:cubicBezTo>
                <a:cubicBezTo>
                  <a:pt x="5407123" y="3531597"/>
                  <a:pt x="5407123" y="3531597"/>
                  <a:pt x="5406526" y="3534391"/>
                </a:cubicBezTo>
                <a:cubicBezTo>
                  <a:pt x="5406526" y="3534391"/>
                  <a:pt x="5406526" y="3534391"/>
                  <a:pt x="5405930" y="3537185"/>
                </a:cubicBezTo>
                <a:cubicBezTo>
                  <a:pt x="5397954" y="3547167"/>
                  <a:pt x="5397357" y="3549960"/>
                  <a:pt x="5392175" y="3560540"/>
                </a:cubicBezTo>
                <a:cubicBezTo>
                  <a:pt x="5389381" y="3559943"/>
                  <a:pt x="5388784" y="3562737"/>
                  <a:pt x="5388784" y="3562737"/>
                </a:cubicBezTo>
                <a:cubicBezTo>
                  <a:pt x="5388784" y="3562737"/>
                  <a:pt x="5388187" y="3565530"/>
                  <a:pt x="5388187" y="3565530"/>
                </a:cubicBezTo>
                <a:cubicBezTo>
                  <a:pt x="5366052" y="3587095"/>
                  <a:pt x="5354494" y="3613840"/>
                  <a:pt x="5334555" y="3638796"/>
                </a:cubicBezTo>
                <a:cubicBezTo>
                  <a:pt x="5334555" y="3638796"/>
                  <a:pt x="5331761" y="3638198"/>
                  <a:pt x="5331761" y="3638198"/>
                </a:cubicBezTo>
                <a:cubicBezTo>
                  <a:pt x="5331761" y="3638198"/>
                  <a:pt x="5328967" y="3637602"/>
                  <a:pt x="5328370" y="3640395"/>
                </a:cubicBezTo>
                <a:cubicBezTo>
                  <a:pt x="5328370" y="3640395"/>
                  <a:pt x="5327774" y="3643189"/>
                  <a:pt x="5327774" y="3643189"/>
                </a:cubicBezTo>
                <a:cubicBezTo>
                  <a:pt x="5327774" y="3643189"/>
                  <a:pt x="5327774" y="3643189"/>
                  <a:pt x="5330568" y="3643786"/>
                </a:cubicBezTo>
                <a:cubicBezTo>
                  <a:pt x="5326580" y="3648777"/>
                  <a:pt x="5324383" y="3645387"/>
                  <a:pt x="5319798" y="3653172"/>
                </a:cubicBezTo>
                <a:cubicBezTo>
                  <a:pt x="5322592" y="3653768"/>
                  <a:pt x="5325983" y="3651571"/>
                  <a:pt x="5325983" y="3651571"/>
                </a:cubicBezTo>
                <a:cubicBezTo>
                  <a:pt x="5304444" y="3670341"/>
                  <a:pt x="5310628" y="3668741"/>
                  <a:pt x="5298068" y="3686508"/>
                </a:cubicBezTo>
                <a:cubicBezTo>
                  <a:pt x="5298665" y="3683714"/>
                  <a:pt x="5298665" y="3683714"/>
                  <a:pt x="5295275" y="3685911"/>
                </a:cubicBezTo>
                <a:cubicBezTo>
                  <a:pt x="5295275" y="3685911"/>
                  <a:pt x="5294678" y="3688705"/>
                  <a:pt x="5294678" y="3688705"/>
                </a:cubicBezTo>
                <a:cubicBezTo>
                  <a:pt x="5294678" y="3688705"/>
                  <a:pt x="5294678" y="3688705"/>
                  <a:pt x="5294081" y="3691499"/>
                </a:cubicBezTo>
                <a:cubicBezTo>
                  <a:pt x="5279324" y="3705875"/>
                  <a:pt x="5263372" y="3725839"/>
                  <a:pt x="5249212" y="3737421"/>
                </a:cubicBezTo>
                <a:cubicBezTo>
                  <a:pt x="5248615" y="3740215"/>
                  <a:pt x="5242430" y="3741815"/>
                  <a:pt x="5242430" y="3741815"/>
                </a:cubicBezTo>
                <a:cubicBezTo>
                  <a:pt x="5237845" y="3749600"/>
                  <a:pt x="5245224" y="3742412"/>
                  <a:pt x="5244627" y="3745206"/>
                </a:cubicBezTo>
                <a:cubicBezTo>
                  <a:pt x="5240042" y="3752990"/>
                  <a:pt x="5221894" y="3769564"/>
                  <a:pt x="5215709" y="3771164"/>
                </a:cubicBezTo>
                <a:cubicBezTo>
                  <a:pt x="5220104" y="3777946"/>
                  <a:pt x="5247421" y="3745803"/>
                  <a:pt x="5253009" y="3746996"/>
                </a:cubicBezTo>
                <a:cubicBezTo>
                  <a:pt x="5258191" y="3736418"/>
                  <a:pt x="5270154" y="3721445"/>
                  <a:pt x="5283121" y="3715450"/>
                </a:cubicBezTo>
                <a:cubicBezTo>
                  <a:pt x="5283311" y="3700884"/>
                  <a:pt x="5297281" y="3703868"/>
                  <a:pt x="5302462" y="3693290"/>
                </a:cubicBezTo>
                <a:cubicBezTo>
                  <a:pt x="5302462" y="3693290"/>
                  <a:pt x="5302462" y="3693290"/>
                  <a:pt x="5303060" y="3690496"/>
                </a:cubicBezTo>
                <a:cubicBezTo>
                  <a:pt x="5303060" y="3690496"/>
                  <a:pt x="5303060" y="3690496"/>
                  <a:pt x="5305853" y="3691092"/>
                </a:cubicBezTo>
                <a:cubicBezTo>
                  <a:pt x="5306450" y="3688299"/>
                  <a:pt x="5306450" y="3688299"/>
                  <a:pt x="5307047" y="3685505"/>
                </a:cubicBezTo>
                <a:cubicBezTo>
                  <a:pt x="5307047" y="3685505"/>
                  <a:pt x="5303656" y="3687702"/>
                  <a:pt x="5303656" y="3687702"/>
                </a:cubicBezTo>
                <a:cubicBezTo>
                  <a:pt x="5304850" y="3682114"/>
                  <a:pt x="5312229" y="3674926"/>
                  <a:pt x="5314426" y="3678317"/>
                </a:cubicBezTo>
                <a:cubicBezTo>
                  <a:pt x="5315023" y="3675523"/>
                  <a:pt x="5315620" y="3672729"/>
                  <a:pt x="5316217" y="3669935"/>
                </a:cubicBezTo>
                <a:cubicBezTo>
                  <a:pt x="5318414" y="3673326"/>
                  <a:pt x="5337349" y="3639392"/>
                  <a:pt x="5351510" y="3627810"/>
                </a:cubicBezTo>
                <a:cubicBezTo>
                  <a:pt x="5351510" y="3627810"/>
                  <a:pt x="5351510" y="3627810"/>
                  <a:pt x="5352106" y="3625016"/>
                </a:cubicBezTo>
                <a:cubicBezTo>
                  <a:pt x="5354900" y="3625613"/>
                  <a:pt x="5354900" y="3625613"/>
                  <a:pt x="5354900" y="3625613"/>
                </a:cubicBezTo>
                <a:cubicBezTo>
                  <a:pt x="5354900" y="3625613"/>
                  <a:pt x="5358292" y="3623416"/>
                  <a:pt x="5358888" y="3620622"/>
                </a:cubicBezTo>
                <a:cubicBezTo>
                  <a:pt x="5358888" y="3620622"/>
                  <a:pt x="5359486" y="3617828"/>
                  <a:pt x="5356094" y="3620025"/>
                </a:cubicBezTo>
                <a:cubicBezTo>
                  <a:pt x="5356094" y="3620025"/>
                  <a:pt x="5356094" y="3620025"/>
                  <a:pt x="5353300" y="3619428"/>
                </a:cubicBezTo>
                <a:cubicBezTo>
                  <a:pt x="5356691" y="3617231"/>
                  <a:pt x="5360082" y="3615034"/>
                  <a:pt x="5359486" y="3617828"/>
                </a:cubicBezTo>
                <a:cubicBezTo>
                  <a:pt x="5365264" y="3604455"/>
                  <a:pt x="5379424" y="3592873"/>
                  <a:pt x="5386206" y="3588479"/>
                </a:cubicBezTo>
                <a:cubicBezTo>
                  <a:pt x="5387400" y="3582891"/>
                  <a:pt x="5390791" y="3580694"/>
                  <a:pt x="5391388" y="3577900"/>
                </a:cubicBezTo>
                <a:cubicBezTo>
                  <a:pt x="5392582" y="3572312"/>
                  <a:pt x="5397573" y="3576300"/>
                  <a:pt x="5395972" y="3570115"/>
                </a:cubicBezTo>
                <a:cubicBezTo>
                  <a:pt x="5395972" y="3570115"/>
                  <a:pt x="5395972" y="3570115"/>
                  <a:pt x="5398766" y="3570712"/>
                </a:cubicBezTo>
                <a:cubicBezTo>
                  <a:pt x="5398766" y="3570712"/>
                  <a:pt x="5399364" y="3567918"/>
                  <a:pt x="5399364" y="3567918"/>
                </a:cubicBezTo>
                <a:cubicBezTo>
                  <a:pt x="5399364" y="3567918"/>
                  <a:pt x="5399364" y="3567918"/>
                  <a:pt x="5399960" y="3565125"/>
                </a:cubicBezTo>
                <a:cubicBezTo>
                  <a:pt x="5405142" y="3554546"/>
                  <a:pt x="5409727" y="3546761"/>
                  <a:pt x="5423887" y="3535178"/>
                </a:cubicBezTo>
                <a:cubicBezTo>
                  <a:pt x="5418299" y="3533985"/>
                  <a:pt x="5422836" y="3529841"/>
                  <a:pt x="5427797" y="3525424"/>
                </a:cubicBezTo>
                <a:lnTo>
                  <a:pt x="5429163" y="3524068"/>
                </a:lnTo>
                <a:lnTo>
                  <a:pt x="5429069" y="3524600"/>
                </a:lnTo>
                <a:lnTo>
                  <a:pt x="5429417" y="3523816"/>
                </a:lnTo>
                <a:lnTo>
                  <a:pt x="5434343" y="3518925"/>
                </a:lnTo>
                <a:cubicBezTo>
                  <a:pt x="5435823" y="3516913"/>
                  <a:pt x="5436196" y="3515167"/>
                  <a:pt x="5434250" y="3514021"/>
                </a:cubicBezTo>
                <a:cubicBezTo>
                  <a:pt x="5432555" y="3515120"/>
                  <a:pt x="5432257" y="3516517"/>
                  <a:pt x="5431883" y="3518262"/>
                </a:cubicBezTo>
                <a:lnTo>
                  <a:pt x="5429417" y="3523816"/>
                </a:lnTo>
                <a:lnTo>
                  <a:pt x="5429163" y="3524068"/>
                </a:lnTo>
                <a:lnTo>
                  <a:pt x="5430638" y="3515760"/>
                </a:lnTo>
                <a:cubicBezTo>
                  <a:pt x="5435318" y="3507310"/>
                  <a:pt x="5446763" y="3499896"/>
                  <a:pt x="5441820" y="3492266"/>
                </a:cubicBezTo>
                <a:cubicBezTo>
                  <a:pt x="5452589" y="3482882"/>
                  <a:pt x="5444613" y="3492863"/>
                  <a:pt x="5452589" y="3482882"/>
                </a:cubicBezTo>
                <a:cubicBezTo>
                  <a:pt x="5457770" y="3472302"/>
                  <a:pt x="5442417" y="3489473"/>
                  <a:pt x="5454380" y="3474499"/>
                </a:cubicBezTo>
                <a:cubicBezTo>
                  <a:pt x="5459967" y="3475693"/>
                  <a:pt x="5465746" y="3462321"/>
                  <a:pt x="5472122" y="3446154"/>
                </a:cubicBezTo>
                <a:cubicBezTo>
                  <a:pt x="5477900" y="3432780"/>
                  <a:pt x="5484275" y="3416614"/>
                  <a:pt x="5489864" y="3417808"/>
                </a:cubicBezTo>
                <a:cubicBezTo>
                  <a:pt x="5488861" y="3408829"/>
                  <a:pt x="5500227" y="3396650"/>
                  <a:pt x="5500824" y="3393856"/>
                </a:cubicBezTo>
                <a:cubicBezTo>
                  <a:pt x="5501421" y="3391062"/>
                  <a:pt x="5497624" y="3381486"/>
                  <a:pt x="5506602" y="3380484"/>
                </a:cubicBezTo>
                <a:cubicBezTo>
                  <a:pt x="5506602" y="3380484"/>
                  <a:pt x="5505002" y="3374298"/>
                  <a:pt x="5507390" y="3363122"/>
                </a:cubicBezTo>
                <a:cubicBezTo>
                  <a:pt x="5515365" y="3353141"/>
                  <a:pt x="5508990" y="3369307"/>
                  <a:pt x="5512977" y="3364316"/>
                </a:cubicBezTo>
                <a:cubicBezTo>
                  <a:pt x="5514172" y="3358728"/>
                  <a:pt x="5519353" y="3348150"/>
                  <a:pt x="5524535" y="3337571"/>
                </a:cubicBezTo>
                <a:cubicBezTo>
                  <a:pt x="5524942" y="3349344"/>
                  <a:pt x="5529120" y="3329786"/>
                  <a:pt x="5535901" y="3325392"/>
                </a:cubicBezTo>
                <a:cubicBezTo>
                  <a:pt x="5535901" y="3325392"/>
                  <a:pt x="5535901" y="3325392"/>
                  <a:pt x="5539292" y="3323195"/>
                </a:cubicBezTo>
                <a:cubicBezTo>
                  <a:pt x="5539292" y="3323195"/>
                  <a:pt x="5539292" y="3323195"/>
                  <a:pt x="5539889" y="3320401"/>
                </a:cubicBezTo>
                <a:cubicBezTo>
                  <a:pt x="5539889" y="3320401"/>
                  <a:pt x="5542683" y="3320998"/>
                  <a:pt x="5543280" y="3318204"/>
                </a:cubicBezTo>
                <a:cubicBezTo>
                  <a:pt x="5543280" y="3318204"/>
                  <a:pt x="5540486" y="3317607"/>
                  <a:pt x="5540486" y="3317607"/>
                </a:cubicBezTo>
                <a:cubicBezTo>
                  <a:pt x="5540486" y="3317607"/>
                  <a:pt x="5540486" y="3317607"/>
                  <a:pt x="5537095" y="3319804"/>
                </a:cubicBezTo>
                <a:cubicBezTo>
                  <a:pt x="5538289" y="3314216"/>
                  <a:pt x="5539482" y="3308628"/>
                  <a:pt x="5544067" y="3300843"/>
                </a:cubicBezTo>
                <a:cubicBezTo>
                  <a:pt x="5558228" y="3289261"/>
                  <a:pt x="5572985" y="3274885"/>
                  <a:pt x="5584542" y="3248139"/>
                </a:cubicBezTo>
                <a:close/>
                <a:moveTo>
                  <a:pt x="2203252" y="3232588"/>
                </a:moveTo>
                <a:cubicBezTo>
                  <a:pt x="2202765" y="3234868"/>
                  <a:pt x="2205046" y="3235355"/>
                  <a:pt x="2205046" y="3235355"/>
                </a:cubicBezTo>
                <a:lnTo>
                  <a:pt x="2204737" y="3236805"/>
                </a:lnTo>
                <a:lnTo>
                  <a:pt x="2204130" y="3235457"/>
                </a:lnTo>
                <a:cubicBezTo>
                  <a:pt x="2203457" y="3234420"/>
                  <a:pt x="2203009" y="3233728"/>
                  <a:pt x="2203252" y="3232588"/>
                </a:cubicBezTo>
                <a:close/>
                <a:moveTo>
                  <a:pt x="2626707" y="3226800"/>
                </a:moveTo>
                <a:cubicBezTo>
                  <a:pt x="2630504" y="3236376"/>
                  <a:pt x="2631698" y="3230788"/>
                  <a:pt x="2636092" y="3237570"/>
                </a:cubicBezTo>
                <a:cubicBezTo>
                  <a:pt x="2637693" y="3243754"/>
                  <a:pt x="2631101" y="3233582"/>
                  <a:pt x="2632104" y="3242560"/>
                </a:cubicBezTo>
                <a:cubicBezTo>
                  <a:pt x="2639292" y="3249939"/>
                  <a:pt x="2640295" y="3258918"/>
                  <a:pt x="2645287" y="3262906"/>
                </a:cubicBezTo>
                <a:cubicBezTo>
                  <a:pt x="2643090" y="3259515"/>
                  <a:pt x="2640893" y="3256124"/>
                  <a:pt x="2641489" y="3253330"/>
                </a:cubicBezTo>
                <a:cubicBezTo>
                  <a:pt x="2649681" y="3269687"/>
                  <a:pt x="2660069" y="3289436"/>
                  <a:pt x="2669860" y="3311978"/>
                </a:cubicBezTo>
                <a:cubicBezTo>
                  <a:pt x="2679652" y="3334521"/>
                  <a:pt x="2689444" y="3357063"/>
                  <a:pt x="2697037" y="3376214"/>
                </a:cubicBezTo>
                <a:cubicBezTo>
                  <a:pt x="2697635" y="3373420"/>
                  <a:pt x="2700428" y="3374017"/>
                  <a:pt x="2702625" y="3377408"/>
                </a:cubicBezTo>
                <a:cubicBezTo>
                  <a:pt x="2713013" y="3397156"/>
                  <a:pt x="2721205" y="3413514"/>
                  <a:pt x="2734985" y="3431065"/>
                </a:cubicBezTo>
                <a:cubicBezTo>
                  <a:pt x="2730997" y="3436056"/>
                  <a:pt x="2743773" y="3444628"/>
                  <a:pt x="2748167" y="3451410"/>
                </a:cubicBezTo>
                <a:cubicBezTo>
                  <a:pt x="2750364" y="3454801"/>
                  <a:pt x="2746973" y="3456998"/>
                  <a:pt x="2751965" y="3460986"/>
                </a:cubicBezTo>
                <a:cubicBezTo>
                  <a:pt x="2751367" y="3463780"/>
                  <a:pt x="2759152" y="3468364"/>
                  <a:pt x="2763546" y="3475146"/>
                </a:cubicBezTo>
                <a:cubicBezTo>
                  <a:pt x="2770137" y="3485318"/>
                  <a:pt x="2776131" y="3498285"/>
                  <a:pt x="2782723" y="3508457"/>
                </a:cubicBezTo>
                <a:cubicBezTo>
                  <a:pt x="2791511" y="3522021"/>
                  <a:pt x="2790914" y="3524815"/>
                  <a:pt x="2802496" y="3538975"/>
                </a:cubicBezTo>
                <a:cubicBezTo>
                  <a:pt x="2821673" y="3572287"/>
                  <a:pt x="2855416" y="3605789"/>
                  <a:pt x="2863607" y="3622147"/>
                </a:cubicBezTo>
                <a:cubicBezTo>
                  <a:pt x="2871989" y="3623938"/>
                  <a:pt x="2877387" y="3639698"/>
                  <a:pt x="2881781" y="3646480"/>
                </a:cubicBezTo>
                <a:cubicBezTo>
                  <a:pt x="2880181" y="3640295"/>
                  <a:pt x="2882377" y="3643686"/>
                  <a:pt x="2885171" y="3644283"/>
                </a:cubicBezTo>
                <a:cubicBezTo>
                  <a:pt x="2900551" y="3668019"/>
                  <a:pt x="2928897" y="3685761"/>
                  <a:pt x="2954258" y="3717473"/>
                </a:cubicBezTo>
                <a:cubicBezTo>
                  <a:pt x="2963046" y="3731036"/>
                  <a:pt x="2955858" y="3723657"/>
                  <a:pt x="2970831" y="3735620"/>
                </a:cubicBezTo>
                <a:cubicBezTo>
                  <a:pt x="2980813" y="3743596"/>
                  <a:pt x="2987404" y="3753769"/>
                  <a:pt x="2997386" y="3761744"/>
                </a:cubicBezTo>
                <a:cubicBezTo>
                  <a:pt x="3031727" y="3792452"/>
                  <a:pt x="3066664" y="3820367"/>
                  <a:pt x="3096610" y="3844294"/>
                </a:cubicBezTo>
                <a:cubicBezTo>
                  <a:pt x="3108789" y="3855661"/>
                  <a:pt x="3119368" y="3860842"/>
                  <a:pt x="3125959" y="3871015"/>
                </a:cubicBezTo>
                <a:cubicBezTo>
                  <a:pt x="3128754" y="3871611"/>
                  <a:pt x="3128754" y="3871611"/>
                  <a:pt x="3131547" y="3872209"/>
                </a:cubicBezTo>
                <a:cubicBezTo>
                  <a:pt x="3134341" y="3872806"/>
                  <a:pt x="3142723" y="3874596"/>
                  <a:pt x="3154902" y="3885962"/>
                </a:cubicBezTo>
                <a:cubicBezTo>
                  <a:pt x="3159893" y="3889950"/>
                  <a:pt x="3167081" y="3897329"/>
                  <a:pt x="3172073" y="3901317"/>
                </a:cubicBezTo>
                <a:cubicBezTo>
                  <a:pt x="3195427" y="3915071"/>
                  <a:pt x="3224369" y="3930019"/>
                  <a:pt x="3230961" y="3940191"/>
                </a:cubicBezTo>
                <a:cubicBezTo>
                  <a:pt x="3227164" y="3930616"/>
                  <a:pt x="3257110" y="3954542"/>
                  <a:pt x="3264298" y="3961921"/>
                </a:cubicBezTo>
                <a:cubicBezTo>
                  <a:pt x="3276071" y="3961514"/>
                  <a:pt x="3292645" y="3979663"/>
                  <a:pt x="3314399" y="3987232"/>
                </a:cubicBezTo>
                <a:cubicBezTo>
                  <a:pt x="3317193" y="3987829"/>
                  <a:pt x="3313205" y="3992820"/>
                  <a:pt x="3321587" y="3994611"/>
                </a:cubicBezTo>
                <a:cubicBezTo>
                  <a:pt x="3327772" y="3993010"/>
                  <a:pt x="3346136" y="4002777"/>
                  <a:pt x="3342745" y="4004974"/>
                </a:cubicBezTo>
                <a:cubicBezTo>
                  <a:pt x="3352321" y="4001177"/>
                  <a:pt x="3366697" y="4015934"/>
                  <a:pt x="3372882" y="4014334"/>
                </a:cubicBezTo>
                <a:cubicBezTo>
                  <a:pt x="3371688" y="4019922"/>
                  <a:pt x="3373885" y="4023312"/>
                  <a:pt x="3376082" y="4026704"/>
                </a:cubicBezTo>
                <a:lnTo>
                  <a:pt x="3388297" y="4034900"/>
                </a:lnTo>
                <a:lnTo>
                  <a:pt x="3327001" y="4078395"/>
                </a:lnTo>
                <a:lnTo>
                  <a:pt x="3321637" y="4076422"/>
                </a:lnTo>
                <a:cubicBezTo>
                  <a:pt x="3308265" y="4070645"/>
                  <a:pt x="3298879" y="4059875"/>
                  <a:pt x="3284909" y="4056890"/>
                </a:cubicBezTo>
                <a:cubicBezTo>
                  <a:pt x="3284909" y="4056890"/>
                  <a:pt x="3284312" y="4059684"/>
                  <a:pt x="3284312" y="4059684"/>
                </a:cubicBezTo>
                <a:cubicBezTo>
                  <a:pt x="3287107" y="4060281"/>
                  <a:pt x="3283715" y="4062478"/>
                  <a:pt x="3281518" y="4059087"/>
                </a:cubicBezTo>
                <a:cubicBezTo>
                  <a:pt x="3278725" y="4058490"/>
                  <a:pt x="3275931" y="4057893"/>
                  <a:pt x="3275931" y="4057893"/>
                </a:cubicBezTo>
                <a:cubicBezTo>
                  <a:pt x="3276527" y="4055099"/>
                  <a:pt x="3273733" y="4054503"/>
                  <a:pt x="3273733" y="4054503"/>
                </a:cubicBezTo>
                <a:cubicBezTo>
                  <a:pt x="3273137" y="4057296"/>
                  <a:pt x="3270343" y="4056699"/>
                  <a:pt x="3267549" y="4056102"/>
                </a:cubicBezTo>
                <a:cubicBezTo>
                  <a:pt x="3265351" y="4052712"/>
                  <a:pt x="3268145" y="4053309"/>
                  <a:pt x="3268743" y="4050515"/>
                </a:cubicBezTo>
                <a:cubicBezTo>
                  <a:pt x="3268743" y="4050515"/>
                  <a:pt x="3265948" y="4049918"/>
                  <a:pt x="3265948" y="4049918"/>
                </a:cubicBezTo>
                <a:cubicBezTo>
                  <a:pt x="3263155" y="4049321"/>
                  <a:pt x="3260958" y="4045930"/>
                  <a:pt x="3260958" y="4045930"/>
                </a:cubicBezTo>
                <a:cubicBezTo>
                  <a:pt x="3261555" y="4043136"/>
                  <a:pt x="3264348" y="4043733"/>
                  <a:pt x="3267143" y="4044330"/>
                </a:cubicBezTo>
                <a:cubicBezTo>
                  <a:pt x="3266546" y="4047124"/>
                  <a:pt x="3266546" y="4047124"/>
                  <a:pt x="3266546" y="4047124"/>
                </a:cubicBezTo>
                <a:cubicBezTo>
                  <a:pt x="3269937" y="4044927"/>
                  <a:pt x="3269937" y="4044927"/>
                  <a:pt x="3269937" y="4044927"/>
                </a:cubicBezTo>
                <a:cubicBezTo>
                  <a:pt x="3248181" y="4037358"/>
                  <a:pt x="3216445" y="4021813"/>
                  <a:pt x="3204863" y="4007652"/>
                </a:cubicBezTo>
                <a:cubicBezTo>
                  <a:pt x="3180911" y="3996693"/>
                  <a:pt x="3147573" y="3974962"/>
                  <a:pt x="3107049" y="3945854"/>
                </a:cubicBezTo>
                <a:cubicBezTo>
                  <a:pt x="3106451" y="3948648"/>
                  <a:pt x="3106451" y="3948648"/>
                  <a:pt x="3106451" y="3948648"/>
                </a:cubicBezTo>
                <a:cubicBezTo>
                  <a:pt x="3106451" y="3948648"/>
                  <a:pt x="3109246" y="3949245"/>
                  <a:pt x="3109246" y="3949245"/>
                </a:cubicBezTo>
                <a:cubicBezTo>
                  <a:pt x="3111443" y="3952636"/>
                  <a:pt x="3114236" y="3953233"/>
                  <a:pt x="3110846" y="3955430"/>
                </a:cubicBezTo>
                <a:cubicBezTo>
                  <a:pt x="3110846" y="3955430"/>
                  <a:pt x="3108052" y="3954833"/>
                  <a:pt x="3105855" y="3951442"/>
                </a:cubicBezTo>
                <a:cubicBezTo>
                  <a:pt x="3103061" y="3950845"/>
                  <a:pt x="3103061" y="3950845"/>
                  <a:pt x="3100864" y="3947454"/>
                </a:cubicBezTo>
                <a:cubicBezTo>
                  <a:pt x="3100267" y="3950249"/>
                  <a:pt x="3097473" y="3949651"/>
                  <a:pt x="3091885" y="3948458"/>
                </a:cubicBezTo>
                <a:cubicBezTo>
                  <a:pt x="3092183" y="3947061"/>
                  <a:pt x="3092482" y="3945663"/>
                  <a:pt x="3093330" y="3945114"/>
                </a:cubicBezTo>
                <a:lnTo>
                  <a:pt x="3094910" y="3945695"/>
                </a:lnTo>
                <a:lnTo>
                  <a:pt x="3095276" y="3946261"/>
                </a:lnTo>
                <a:cubicBezTo>
                  <a:pt x="3095276" y="3946261"/>
                  <a:pt x="3095276" y="3946261"/>
                  <a:pt x="3098069" y="3946857"/>
                </a:cubicBezTo>
                <a:lnTo>
                  <a:pt x="3094910" y="3945695"/>
                </a:lnTo>
                <a:lnTo>
                  <a:pt x="3090882" y="3939479"/>
                </a:lnTo>
                <a:cubicBezTo>
                  <a:pt x="3093676" y="3940076"/>
                  <a:pt x="3096469" y="3940673"/>
                  <a:pt x="3099264" y="3941270"/>
                </a:cubicBezTo>
                <a:cubicBezTo>
                  <a:pt x="3092672" y="3931097"/>
                  <a:pt x="3088278" y="3924315"/>
                  <a:pt x="3075502" y="3915743"/>
                </a:cubicBezTo>
                <a:cubicBezTo>
                  <a:pt x="3077699" y="3919133"/>
                  <a:pt x="3074905" y="3918536"/>
                  <a:pt x="3072112" y="3917939"/>
                </a:cubicBezTo>
                <a:cubicBezTo>
                  <a:pt x="3059335" y="3909367"/>
                  <a:pt x="3048351" y="3892413"/>
                  <a:pt x="3040565" y="3887828"/>
                </a:cubicBezTo>
                <a:cubicBezTo>
                  <a:pt x="3040565" y="3887828"/>
                  <a:pt x="3039969" y="3890622"/>
                  <a:pt x="3042762" y="3891219"/>
                </a:cubicBezTo>
                <a:cubicBezTo>
                  <a:pt x="3024995" y="3878659"/>
                  <a:pt x="3014010" y="3861704"/>
                  <a:pt x="3005032" y="3862708"/>
                </a:cubicBezTo>
                <a:cubicBezTo>
                  <a:pt x="3007825" y="3863305"/>
                  <a:pt x="3005629" y="3859913"/>
                  <a:pt x="3002835" y="3859317"/>
                </a:cubicBezTo>
                <a:cubicBezTo>
                  <a:pt x="2999037" y="3849741"/>
                  <a:pt x="3011216" y="3861108"/>
                  <a:pt x="3014010" y="3861704"/>
                </a:cubicBezTo>
                <a:cubicBezTo>
                  <a:pt x="2999037" y="3849741"/>
                  <a:pt x="2993449" y="3848547"/>
                  <a:pt x="2989652" y="3838971"/>
                </a:cubicBezTo>
                <a:cubicBezTo>
                  <a:pt x="2986261" y="3841169"/>
                  <a:pt x="2990655" y="3847951"/>
                  <a:pt x="2983467" y="3840572"/>
                </a:cubicBezTo>
                <a:cubicBezTo>
                  <a:pt x="2981867" y="3834387"/>
                  <a:pt x="2984063" y="3837778"/>
                  <a:pt x="2979670" y="3830997"/>
                </a:cubicBezTo>
                <a:cubicBezTo>
                  <a:pt x="2980267" y="3828202"/>
                  <a:pt x="2977473" y="3827605"/>
                  <a:pt x="2977473" y="3827605"/>
                </a:cubicBezTo>
                <a:cubicBezTo>
                  <a:pt x="2975275" y="3824214"/>
                  <a:pt x="2972482" y="3823617"/>
                  <a:pt x="2973079" y="3820823"/>
                </a:cubicBezTo>
                <a:cubicBezTo>
                  <a:pt x="2973675" y="3818029"/>
                  <a:pt x="2976470" y="3818626"/>
                  <a:pt x="2978667" y="3822017"/>
                </a:cubicBezTo>
                <a:cubicBezTo>
                  <a:pt x="2978667" y="3822017"/>
                  <a:pt x="2978667" y="3822017"/>
                  <a:pt x="2981461" y="3822614"/>
                </a:cubicBezTo>
                <a:cubicBezTo>
                  <a:pt x="2959299" y="3803272"/>
                  <a:pt x="2955502" y="3793697"/>
                  <a:pt x="2928947" y="3767573"/>
                </a:cubicBezTo>
                <a:cubicBezTo>
                  <a:pt x="2916577" y="3770773"/>
                  <a:pt x="2926750" y="3764181"/>
                  <a:pt x="2907789" y="3757210"/>
                </a:cubicBezTo>
                <a:cubicBezTo>
                  <a:pt x="2922953" y="3754606"/>
                  <a:pt x="2939120" y="3760982"/>
                  <a:pt x="2954499" y="3784718"/>
                </a:cubicBezTo>
                <a:cubicBezTo>
                  <a:pt x="2957293" y="3785315"/>
                  <a:pt x="2959490" y="3788706"/>
                  <a:pt x="2960087" y="3785912"/>
                </a:cubicBezTo>
                <a:cubicBezTo>
                  <a:pt x="2957293" y="3785315"/>
                  <a:pt x="2957890" y="3782521"/>
                  <a:pt x="2960684" y="3783117"/>
                </a:cubicBezTo>
                <a:cubicBezTo>
                  <a:pt x="2960684" y="3783117"/>
                  <a:pt x="2960684" y="3783117"/>
                  <a:pt x="2962881" y="3786509"/>
                </a:cubicBezTo>
                <a:cubicBezTo>
                  <a:pt x="2962881" y="3786509"/>
                  <a:pt x="2965675" y="3787105"/>
                  <a:pt x="2965675" y="3787105"/>
                </a:cubicBezTo>
                <a:cubicBezTo>
                  <a:pt x="2960480" y="3777231"/>
                  <a:pt x="2954839" y="3769453"/>
                  <a:pt x="2947577" y="3762423"/>
                </a:cubicBezTo>
                <a:lnTo>
                  <a:pt x="2922282" y="3744072"/>
                </a:lnTo>
                <a:lnTo>
                  <a:pt x="2922547" y="3742833"/>
                </a:lnTo>
                <a:cubicBezTo>
                  <a:pt x="2922547" y="3742833"/>
                  <a:pt x="2922547" y="3742833"/>
                  <a:pt x="2919753" y="3742236"/>
                </a:cubicBezTo>
                <a:cubicBezTo>
                  <a:pt x="2914165" y="3741042"/>
                  <a:pt x="2914761" y="3738249"/>
                  <a:pt x="2909771" y="3734261"/>
                </a:cubicBezTo>
                <a:cubicBezTo>
                  <a:pt x="2909771" y="3734261"/>
                  <a:pt x="2909173" y="3737055"/>
                  <a:pt x="2911968" y="3737652"/>
                </a:cubicBezTo>
                <a:cubicBezTo>
                  <a:pt x="2911968" y="3737652"/>
                  <a:pt x="2909173" y="3737055"/>
                  <a:pt x="2909173" y="3737055"/>
                </a:cubicBezTo>
                <a:cubicBezTo>
                  <a:pt x="2909173" y="3737055"/>
                  <a:pt x="2906976" y="3733664"/>
                  <a:pt x="2906976" y="3733664"/>
                </a:cubicBezTo>
                <a:cubicBezTo>
                  <a:pt x="2892003" y="3721701"/>
                  <a:pt x="2878034" y="3718716"/>
                  <a:pt x="2867049" y="3701762"/>
                </a:cubicBezTo>
                <a:cubicBezTo>
                  <a:pt x="2871442" y="3708544"/>
                  <a:pt x="2866452" y="3704556"/>
                  <a:pt x="2860863" y="3703362"/>
                </a:cubicBezTo>
                <a:cubicBezTo>
                  <a:pt x="2867454" y="3713534"/>
                  <a:pt x="2875837" y="3715325"/>
                  <a:pt x="2871849" y="3720316"/>
                </a:cubicBezTo>
                <a:cubicBezTo>
                  <a:pt x="2858070" y="3702765"/>
                  <a:pt x="2848685" y="3691996"/>
                  <a:pt x="2826523" y="3672654"/>
                </a:cubicBezTo>
                <a:cubicBezTo>
                  <a:pt x="2825926" y="3675447"/>
                  <a:pt x="2823729" y="3672057"/>
                  <a:pt x="2820935" y="3671460"/>
                </a:cubicBezTo>
                <a:cubicBezTo>
                  <a:pt x="2818738" y="3668069"/>
                  <a:pt x="2816541" y="3664678"/>
                  <a:pt x="2819335" y="3665275"/>
                </a:cubicBezTo>
                <a:cubicBezTo>
                  <a:pt x="2814344" y="3661287"/>
                  <a:pt x="2812744" y="3655102"/>
                  <a:pt x="2808946" y="3645527"/>
                </a:cubicBezTo>
                <a:cubicBezTo>
                  <a:pt x="2805556" y="3647724"/>
                  <a:pt x="2809950" y="3654505"/>
                  <a:pt x="2804959" y="3650518"/>
                </a:cubicBezTo>
                <a:cubicBezTo>
                  <a:pt x="2805556" y="3647724"/>
                  <a:pt x="2800565" y="3643736"/>
                  <a:pt x="2801162" y="3640941"/>
                </a:cubicBezTo>
                <a:cubicBezTo>
                  <a:pt x="2801162" y="3640941"/>
                  <a:pt x="2798367" y="3640345"/>
                  <a:pt x="2798965" y="3637551"/>
                </a:cubicBezTo>
                <a:cubicBezTo>
                  <a:pt x="2801759" y="3638148"/>
                  <a:pt x="2801759" y="3638148"/>
                  <a:pt x="2801759" y="3638148"/>
                </a:cubicBezTo>
                <a:cubicBezTo>
                  <a:pt x="2792373" y="3627379"/>
                  <a:pt x="2792373" y="3627379"/>
                  <a:pt x="2792373" y="3627379"/>
                </a:cubicBezTo>
                <a:cubicBezTo>
                  <a:pt x="2794571" y="3630769"/>
                  <a:pt x="2793974" y="3633563"/>
                  <a:pt x="2791777" y="3630172"/>
                </a:cubicBezTo>
                <a:cubicBezTo>
                  <a:pt x="2771407" y="3602449"/>
                  <a:pt x="2758415" y="3567537"/>
                  <a:pt x="2742032" y="3534822"/>
                </a:cubicBezTo>
                <a:cubicBezTo>
                  <a:pt x="2729041" y="3499911"/>
                  <a:pt x="2715452" y="3467792"/>
                  <a:pt x="2701863" y="3435675"/>
                </a:cubicBezTo>
                <a:cubicBezTo>
                  <a:pt x="2696275" y="3434481"/>
                  <a:pt x="2695678" y="3437275"/>
                  <a:pt x="2694485" y="3442862"/>
                </a:cubicBezTo>
                <a:cubicBezTo>
                  <a:pt x="2685887" y="3414732"/>
                  <a:pt x="2678292" y="3395581"/>
                  <a:pt x="2674089" y="3374233"/>
                </a:cubicBezTo>
                <a:cubicBezTo>
                  <a:pt x="2667092" y="3352287"/>
                  <a:pt x="2662889" y="3330939"/>
                  <a:pt x="2651496" y="3302212"/>
                </a:cubicBezTo>
                <a:cubicBezTo>
                  <a:pt x="2653693" y="3305603"/>
                  <a:pt x="2653693" y="3305603"/>
                  <a:pt x="2650899" y="3305005"/>
                </a:cubicBezTo>
                <a:cubicBezTo>
                  <a:pt x="2650899" y="3305005"/>
                  <a:pt x="2648105" y="3304408"/>
                  <a:pt x="2645909" y="3301018"/>
                </a:cubicBezTo>
                <a:cubicBezTo>
                  <a:pt x="2643115" y="3300421"/>
                  <a:pt x="2643115" y="3300421"/>
                  <a:pt x="2643115" y="3300421"/>
                </a:cubicBezTo>
                <a:cubicBezTo>
                  <a:pt x="2641514" y="3294236"/>
                  <a:pt x="2637121" y="3287454"/>
                  <a:pt x="2640512" y="3285257"/>
                </a:cubicBezTo>
                <a:cubicBezTo>
                  <a:pt x="2637717" y="3284661"/>
                  <a:pt x="2635520" y="3281270"/>
                  <a:pt x="2636117" y="3278476"/>
                </a:cubicBezTo>
                <a:cubicBezTo>
                  <a:pt x="2633919" y="3275085"/>
                  <a:pt x="2636714" y="3275681"/>
                  <a:pt x="2636714" y="3275681"/>
                </a:cubicBezTo>
                <a:cubicBezTo>
                  <a:pt x="2639508" y="3276279"/>
                  <a:pt x="2639508" y="3276279"/>
                  <a:pt x="2639508" y="3276279"/>
                </a:cubicBezTo>
                <a:cubicBezTo>
                  <a:pt x="2631317" y="3259922"/>
                  <a:pt x="2633107" y="3251540"/>
                  <a:pt x="2624916" y="3235182"/>
                </a:cubicBezTo>
                <a:cubicBezTo>
                  <a:pt x="2633298" y="3236973"/>
                  <a:pt x="2626110" y="3229594"/>
                  <a:pt x="2626707" y="3226800"/>
                </a:cubicBezTo>
                <a:close/>
                <a:moveTo>
                  <a:pt x="5439421" y="3161627"/>
                </a:moveTo>
                <a:lnTo>
                  <a:pt x="5439540" y="3163205"/>
                </a:lnTo>
                <a:lnTo>
                  <a:pt x="5438825" y="3164421"/>
                </a:lnTo>
                <a:cubicBezTo>
                  <a:pt x="5439421" y="3161627"/>
                  <a:pt x="5439421" y="3161627"/>
                  <a:pt x="5439421" y="3161627"/>
                </a:cubicBezTo>
                <a:close/>
                <a:moveTo>
                  <a:pt x="2150471" y="3130746"/>
                </a:moveTo>
                <a:lnTo>
                  <a:pt x="2151041" y="3130868"/>
                </a:lnTo>
                <a:cubicBezTo>
                  <a:pt x="2150554" y="3133147"/>
                  <a:pt x="2150554" y="3133147"/>
                  <a:pt x="2150554" y="3133147"/>
                </a:cubicBezTo>
                <a:close/>
                <a:moveTo>
                  <a:pt x="5509195" y="3053832"/>
                </a:moveTo>
                <a:lnTo>
                  <a:pt x="5507404" y="3062214"/>
                </a:lnTo>
                <a:cubicBezTo>
                  <a:pt x="5507404" y="3062214"/>
                  <a:pt x="5507404" y="3062214"/>
                  <a:pt x="5504611" y="3061617"/>
                </a:cubicBezTo>
                <a:cubicBezTo>
                  <a:pt x="5505207" y="3058823"/>
                  <a:pt x="5506401" y="3053235"/>
                  <a:pt x="5509195" y="3053832"/>
                </a:cubicBezTo>
                <a:close/>
                <a:moveTo>
                  <a:pt x="2812129" y="3025548"/>
                </a:moveTo>
                <a:cubicBezTo>
                  <a:pt x="2812129" y="3025548"/>
                  <a:pt x="2811641" y="3027827"/>
                  <a:pt x="2811641" y="3027827"/>
                </a:cubicBezTo>
                <a:cubicBezTo>
                  <a:pt x="2811641" y="3027827"/>
                  <a:pt x="2811641" y="3027827"/>
                  <a:pt x="2811155" y="3030107"/>
                </a:cubicBezTo>
                <a:cubicBezTo>
                  <a:pt x="2808874" y="3029619"/>
                  <a:pt x="2809361" y="3027340"/>
                  <a:pt x="2809361" y="3027340"/>
                </a:cubicBezTo>
                <a:cubicBezTo>
                  <a:pt x="2809848" y="3025061"/>
                  <a:pt x="2809848" y="3025061"/>
                  <a:pt x="2812129" y="3025548"/>
                </a:cubicBezTo>
                <a:close/>
                <a:moveTo>
                  <a:pt x="2140813" y="2966617"/>
                </a:moveTo>
                <a:cubicBezTo>
                  <a:pt x="2140659" y="2978501"/>
                  <a:pt x="2139045" y="2997223"/>
                  <a:pt x="2141993" y="3016919"/>
                </a:cubicBezTo>
                <a:cubicBezTo>
                  <a:pt x="2144941" y="3036615"/>
                  <a:pt x="2148863" y="3051753"/>
                  <a:pt x="2155219" y="3055494"/>
                </a:cubicBezTo>
                <a:cubicBezTo>
                  <a:pt x="2152937" y="3055007"/>
                  <a:pt x="2152937" y="3055007"/>
                  <a:pt x="2152450" y="3057286"/>
                </a:cubicBezTo>
                <a:cubicBezTo>
                  <a:pt x="2154245" y="3060053"/>
                  <a:pt x="2153271" y="3064612"/>
                  <a:pt x="2155552" y="3065099"/>
                </a:cubicBezTo>
                <a:cubicBezTo>
                  <a:pt x="2155552" y="3065099"/>
                  <a:pt x="2155065" y="3067378"/>
                  <a:pt x="2157346" y="3067865"/>
                </a:cubicBezTo>
                <a:cubicBezTo>
                  <a:pt x="2157346" y="3067865"/>
                  <a:pt x="2157346" y="3067865"/>
                  <a:pt x="2155065" y="3067378"/>
                </a:cubicBezTo>
                <a:cubicBezTo>
                  <a:pt x="2149529" y="3070962"/>
                  <a:pt x="2155732" y="3086587"/>
                  <a:pt x="2161447" y="3104491"/>
                </a:cubicBezTo>
                <a:cubicBezTo>
                  <a:pt x="2161447" y="3104491"/>
                  <a:pt x="2161447" y="3104491"/>
                  <a:pt x="2160960" y="3106770"/>
                </a:cubicBezTo>
                <a:cubicBezTo>
                  <a:pt x="2158679" y="3106283"/>
                  <a:pt x="2158679" y="3106283"/>
                  <a:pt x="2160473" y="3109050"/>
                </a:cubicBezTo>
                <a:cubicBezTo>
                  <a:pt x="2160473" y="3109050"/>
                  <a:pt x="2159986" y="3111329"/>
                  <a:pt x="2159986" y="3111329"/>
                </a:cubicBezTo>
                <a:cubicBezTo>
                  <a:pt x="2162267" y="3111817"/>
                  <a:pt x="2162267" y="3111817"/>
                  <a:pt x="2162267" y="3111817"/>
                </a:cubicBezTo>
                <a:cubicBezTo>
                  <a:pt x="2162267" y="3111817"/>
                  <a:pt x="2162267" y="3111817"/>
                  <a:pt x="2159499" y="3113609"/>
                </a:cubicBezTo>
                <a:cubicBezTo>
                  <a:pt x="2160806" y="3118654"/>
                  <a:pt x="2158038" y="3120446"/>
                  <a:pt x="2160166" y="3132818"/>
                </a:cubicBezTo>
                <a:cubicBezTo>
                  <a:pt x="2155603" y="3131842"/>
                  <a:pt x="2153963" y="3117192"/>
                  <a:pt x="2150221" y="3123543"/>
                </a:cubicBezTo>
                <a:cubicBezTo>
                  <a:pt x="2150875" y="3126066"/>
                  <a:pt x="2150631" y="3127206"/>
                  <a:pt x="2150388" y="3128345"/>
                </a:cubicBezTo>
                <a:lnTo>
                  <a:pt x="2150471" y="3130746"/>
                </a:lnTo>
                <a:lnTo>
                  <a:pt x="2148760" y="3130380"/>
                </a:lnTo>
                <a:cubicBezTo>
                  <a:pt x="2148760" y="3130380"/>
                  <a:pt x="2148273" y="3132660"/>
                  <a:pt x="2148273" y="3132660"/>
                </a:cubicBezTo>
                <a:cubicBezTo>
                  <a:pt x="2147786" y="3134939"/>
                  <a:pt x="2147786" y="3134939"/>
                  <a:pt x="2147786" y="3134939"/>
                </a:cubicBezTo>
                <a:cubicBezTo>
                  <a:pt x="2149580" y="3137706"/>
                  <a:pt x="2150888" y="3142752"/>
                  <a:pt x="2152195" y="3147798"/>
                </a:cubicBezTo>
                <a:cubicBezTo>
                  <a:pt x="2152195" y="3147798"/>
                  <a:pt x="2153989" y="3150564"/>
                  <a:pt x="2153989" y="3150564"/>
                </a:cubicBezTo>
                <a:cubicBezTo>
                  <a:pt x="2153989" y="3150564"/>
                  <a:pt x="2153502" y="3152844"/>
                  <a:pt x="2155296" y="3155610"/>
                </a:cubicBezTo>
                <a:cubicBezTo>
                  <a:pt x="2155296" y="3155610"/>
                  <a:pt x="2154809" y="3157890"/>
                  <a:pt x="2157090" y="3158377"/>
                </a:cubicBezTo>
                <a:cubicBezTo>
                  <a:pt x="2157577" y="3156098"/>
                  <a:pt x="2157577" y="3156098"/>
                  <a:pt x="2155783" y="3153331"/>
                </a:cubicBezTo>
                <a:cubicBezTo>
                  <a:pt x="2155783" y="3153331"/>
                  <a:pt x="2156270" y="3151052"/>
                  <a:pt x="2154476" y="3148285"/>
                </a:cubicBezTo>
                <a:cubicBezTo>
                  <a:pt x="2158064" y="3153818"/>
                  <a:pt x="2159371" y="3158864"/>
                  <a:pt x="2163447" y="3162118"/>
                </a:cubicBezTo>
                <a:cubicBezTo>
                  <a:pt x="2166215" y="3160326"/>
                  <a:pt x="2165395" y="3153001"/>
                  <a:pt x="2171751" y="3156743"/>
                </a:cubicBezTo>
                <a:cubicBezTo>
                  <a:pt x="2180414" y="3194343"/>
                  <a:pt x="2185977" y="3224131"/>
                  <a:pt x="2201971" y="3260915"/>
                </a:cubicBezTo>
                <a:cubicBezTo>
                  <a:pt x="2201483" y="3263194"/>
                  <a:pt x="2201483" y="3263194"/>
                  <a:pt x="2203278" y="3265961"/>
                </a:cubicBezTo>
                <a:cubicBezTo>
                  <a:pt x="2202791" y="3268240"/>
                  <a:pt x="2205072" y="3268727"/>
                  <a:pt x="2205072" y="3268727"/>
                </a:cubicBezTo>
                <a:cubicBezTo>
                  <a:pt x="2207200" y="3281099"/>
                  <a:pt x="2213402" y="3296723"/>
                  <a:pt x="2220092" y="3310069"/>
                </a:cubicBezTo>
                <a:cubicBezTo>
                  <a:pt x="2222219" y="3322440"/>
                  <a:pt x="2227448" y="3342624"/>
                  <a:pt x="2237726" y="3361503"/>
                </a:cubicBezTo>
                <a:cubicBezTo>
                  <a:pt x="2245237" y="3382174"/>
                  <a:pt x="2255515" y="3401053"/>
                  <a:pt x="2262691" y="3412120"/>
                </a:cubicBezTo>
                <a:cubicBezTo>
                  <a:pt x="2274277" y="3436044"/>
                  <a:pt x="2287656" y="3462736"/>
                  <a:pt x="2299241" y="3486661"/>
                </a:cubicBezTo>
                <a:cubicBezTo>
                  <a:pt x="2311313" y="3508307"/>
                  <a:pt x="2323873" y="3527674"/>
                  <a:pt x="2338380" y="3537923"/>
                </a:cubicBezTo>
                <a:cubicBezTo>
                  <a:pt x="2336585" y="3535156"/>
                  <a:pt x="2334791" y="3532389"/>
                  <a:pt x="2332997" y="3529623"/>
                </a:cubicBezTo>
                <a:cubicBezTo>
                  <a:pt x="2332997" y="3529623"/>
                  <a:pt x="2332997" y="3529623"/>
                  <a:pt x="2337072" y="3532877"/>
                </a:cubicBezTo>
                <a:cubicBezTo>
                  <a:pt x="2336585" y="3535156"/>
                  <a:pt x="2338867" y="3535643"/>
                  <a:pt x="2338867" y="3535643"/>
                </a:cubicBezTo>
                <a:cubicBezTo>
                  <a:pt x="2339354" y="3533364"/>
                  <a:pt x="2339354" y="3533364"/>
                  <a:pt x="2337559" y="3530598"/>
                </a:cubicBezTo>
                <a:cubicBezTo>
                  <a:pt x="2337559" y="3530598"/>
                  <a:pt x="2337559" y="3530598"/>
                  <a:pt x="2338046" y="3528318"/>
                </a:cubicBezTo>
                <a:cubicBezTo>
                  <a:pt x="2350606" y="3547685"/>
                  <a:pt x="2364959" y="3569818"/>
                  <a:pt x="2374750" y="3590977"/>
                </a:cubicBezTo>
                <a:cubicBezTo>
                  <a:pt x="2389257" y="3601225"/>
                  <a:pt x="2405405" y="3626125"/>
                  <a:pt x="2423013" y="3644187"/>
                </a:cubicBezTo>
                <a:cubicBezTo>
                  <a:pt x="2398227" y="3615059"/>
                  <a:pt x="2380440" y="3575509"/>
                  <a:pt x="2356142" y="3544101"/>
                </a:cubicBezTo>
                <a:cubicBezTo>
                  <a:pt x="2348478" y="3535313"/>
                  <a:pt x="2355322" y="3536776"/>
                  <a:pt x="2352220" y="3528963"/>
                </a:cubicBezTo>
                <a:cubicBezTo>
                  <a:pt x="2343249" y="3515130"/>
                  <a:pt x="2337380" y="3509109"/>
                  <a:pt x="2331510" y="3503089"/>
                </a:cubicBezTo>
                <a:cubicBezTo>
                  <a:pt x="2324334" y="3492022"/>
                  <a:pt x="2327589" y="3487951"/>
                  <a:pt x="2322693" y="3477372"/>
                </a:cubicBezTo>
                <a:cubicBezTo>
                  <a:pt x="2315030" y="3468585"/>
                  <a:pt x="2307366" y="3459797"/>
                  <a:pt x="2299702" y="3451010"/>
                </a:cubicBezTo>
                <a:cubicBezTo>
                  <a:pt x="2299702" y="3451010"/>
                  <a:pt x="2299702" y="3451010"/>
                  <a:pt x="2294166" y="3454594"/>
                </a:cubicBezTo>
                <a:cubicBezTo>
                  <a:pt x="2290577" y="3449061"/>
                  <a:pt x="2285195" y="3440761"/>
                  <a:pt x="2282094" y="3432948"/>
                </a:cubicBezTo>
                <a:cubicBezTo>
                  <a:pt x="2282094" y="3432948"/>
                  <a:pt x="2282094" y="3432948"/>
                  <a:pt x="2284375" y="3433435"/>
                </a:cubicBezTo>
                <a:cubicBezTo>
                  <a:pt x="2283888" y="3435715"/>
                  <a:pt x="2285682" y="3438482"/>
                  <a:pt x="2286169" y="3436203"/>
                </a:cubicBezTo>
                <a:cubicBezTo>
                  <a:pt x="2286169" y="3436203"/>
                  <a:pt x="2286656" y="3433923"/>
                  <a:pt x="2286656" y="3433923"/>
                </a:cubicBezTo>
                <a:cubicBezTo>
                  <a:pt x="2288937" y="3434411"/>
                  <a:pt x="2292038" y="3442223"/>
                  <a:pt x="2293012" y="3437665"/>
                </a:cubicBezTo>
                <a:cubicBezTo>
                  <a:pt x="2290398" y="3427572"/>
                  <a:pt x="2287629" y="3429364"/>
                  <a:pt x="2284529" y="3421552"/>
                </a:cubicBezTo>
                <a:cubicBezTo>
                  <a:pt x="2284529" y="3421552"/>
                  <a:pt x="2284529" y="3421552"/>
                  <a:pt x="2285015" y="3419272"/>
                </a:cubicBezTo>
                <a:cubicBezTo>
                  <a:pt x="2285015" y="3419272"/>
                  <a:pt x="2285015" y="3419272"/>
                  <a:pt x="2282735" y="3418785"/>
                </a:cubicBezTo>
                <a:cubicBezTo>
                  <a:pt x="2283222" y="3416506"/>
                  <a:pt x="2281427" y="3413739"/>
                  <a:pt x="2281427" y="3413739"/>
                </a:cubicBezTo>
                <a:cubicBezTo>
                  <a:pt x="2279146" y="3413252"/>
                  <a:pt x="2279146" y="3413252"/>
                  <a:pt x="2279146" y="3413252"/>
                </a:cubicBezTo>
                <a:cubicBezTo>
                  <a:pt x="2278326" y="3405927"/>
                  <a:pt x="2273917" y="3393068"/>
                  <a:pt x="2269022" y="3382489"/>
                </a:cubicBezTo>
                <a:cubicBezTo>
                  <a:pt x="2261845" y="3371423"/>
                  <a:pt x="2256462" y="3363122"/>
                  <a:pt x="2251900" y="3362148"/>
                </a:cubicBezTo>
                <a:cubicBezTo>
                  <a:pt x="2252387" y="3359869"/>
                  <a:pt x="2250106" y="3359381"/>
                  <a:pt x="2250106" y="3359381"/>
                </a:cubicBezTo>
                <a:cubicBezTo>
                  <a:pt x="2250593" y="3357102"/>
                  <a:pt x="2248799" y="3354335"/>
                  <a:pt x="2246517" y="3353848"/>
                </a:cubicBezTo>
                <a:cubicBezTo>
                  <a:pt x="2246517" y="3353848"/>
                  <a:pt x="2246517" y="3353848"/>
                  <a:pt x="2246031" y="3356127"/>
                </a:cubicBezTo>
                <a:cubicBezTo>
                  <a:pt x="2247825" y="3358894"/>
                  <a:pt x="2247825" y="3358894"/>
                  <a:pt x="2247825" y="3358894"/>
                </a:cubicBezTo>
                <a:cubicBezTo>
                  <a:pt x="2247825" y="3358894"/>
                  <a:pt x="2247825" y="3358894"/>
                  <a:pt x="2247338" y="3361173"/>
                </a:cubicBezTo>
                <a:cubicBezTo>
                  <a:pt x="2242443" y="3350594"/>
                  <a:pt x="2244723" y="3351081"/>
                  <a:pt x="2241622" y="3343269"/>
                </a:cubicBezTo>
                <a:cubicBezTo>
                  <a:pt x="2241622" y="3343269"/>
                  <a:pt x="2243417" y="3346036"/>
                  <a:pt x="2243417" y="3346036"/>
                </a:cubicBezTo>
                <a:cubicBezTo>
                  <a:pt x="2243417" y="3346036"/>
                  <a:pt x="2243417" y="3346036"/>
                  <a:pt x="2243903" y="3343756"/>
                </a:cubicBezTo>
                <a:cubicBezTo>
                  <a:pt x="2243903" y="3343756"/>
                  <a:pt x="2243903" y="3343756"/>
                  <a:pt x="2244390" y="3341477"/>
                </a:cubicBezTo>
                <a:cubicBezTo>
                  <a:pt x="2244390" y="3341477"/>
                  <a:pt x="2245697" y="3346523"/>
                  <a:pt x="2248465" y="3344731"/>
                </a:cubicBezTo>
                <a:cubicBezTo>
                  <a:pt x="2245364" y="3336918"/>
                  <a:pt x="2242263" y="3329106"/>
                  <a:pt x="2239495" y="3330898"/>
                </a:cubicBezTo>
                <a:cubicBezTo>
                  <a:pt x="2239495" y="3330898"/>
                  <a:pt x="2239982" y="3328618"/>
                  <a:pt x="2237700" y="3328131"/>
                </a:cubicBezTo>
                <a:cubicBezTo>
                  <a:pt x="2238187" y="3325852"/>
                  <a:pt x="2238187" y="3325852"/>
                  <a:pt x="2238187" y="3325852"/>
                </a:cubicBezTo>
                <a:cubicBezTo>
                  <a:pt x="2238187" y="3325852"/>
                  <a:pt x="2238674" y="3323573"/>
                  <a:pt x="2238674" y="3323573"/>
                </a:cubicBezTo>
                <a:cubicBezTo>
                  <a:pt x="2236393" y="3323085"/>
                  <a:pt x="2236393" y="3323085"/>
                  <a:pt x="2235906" y="3325365"/>
                </a:cubicBezTo>
                <a:cubicBezTo>
                  <a:pt x="2235906" y="3325365"/>
                  <a:pt x="2235419" y="3327644"/>
                  <a:pt x="2237700" y="3328131"/>
                </a:cubicBezTo>
                <a:cubicBezTo>
                  <a:pt x="2224167" y="3313323"/>
                  <a:pt x="2214376" y="3292165"/>
                  <a:pt x="2207840" y="3266936"/>
                </a:cubicBezTo>
                <a:cubicBezTo>
                  <a:pt x="2207840" y="3266936"/>
                  <a:pt x="2208327" y="3264656"/>
                  <a:pt x="2206046" y="3264169"/>
                </a:cubicBezTo>
                <a:cubicBezTo>
                  <a:pt x="2206533" y="3261889"/>
                  <a:pt x="2204739" y="3259123"/>
                  <a:pt x="2204739" y="3259123"/>
                </a:cubicBezTo>
                <a:cubicBezTo>
                  <a:pt x="2204739" y="3259123"/>
                  <a:pt x="2204739" y="3259123"/>
                  <a:pt x="2204252" y="3261402"/>
                </a:cubicBezTo>
                <a:cubicBezTo>
                  <a:pt x="2203431" y="3254077"/>
                  <a:pt x="2201304" y="3241706"/>
                  <a:pt x="2202278" y="3237147"/>
                </a:cubicBezTo>
                <a:cubicBezTo>
                  <a:pt x="2201791" y="3239426"/>
                  <a:pt x="2201791" y="3239426"/>
                  <a:pt x="2203585" y="3242193"/>
                </a:cubicBezTo>
                <a:cubicBezTo>
                  <a:pt x="2203585" y="3242193"/>
                  <a:pt x="2205866" y="3242680"/>
                  <a:pt x="2205866" y="3242680"/>
                </a:cubicBezTo>
                <a:cubicBezTo>
                  <a:pt x="2206353" y="3240401"/>
                  <a:pt x="2206353" y="3240401"/>
                  <a:pt x="2204559" y="3237635"/>
                </a:cubicBezTo>
                <a:lnTo>
                  <a:pt x="2204737" y="3236805"/>
                </a:lnTo>
                <a:lnTo>
                  <a:pt x="2206353" y="3240401"/>
                </a:lnTo>
                <a:cubicBezTo>
                  <a:pt x="2203559" y="3208821"/>
                  <a:pt x="2185284" y="3171550"/>
                  <a:pt x="2180209" y="3139483"/>
                </a:cubicBezTo>
                <a:cubicBezTo>
                  <a:pt x="2177927" y="3138995"/>
                  <a:pt x="2175313" y="3128904"/>
                  <a:pt x="2173519" y="3126137"/>
                </a:cubicBezTo>
                <a:cubicBezTo>
                  <a:pt x="2175800" y="3126624"/>
                  <a:pt x="2175800" y="3126624"/>
                  <a:pt x="2176774" y="3122066"/>
                </a:cubicBezTo>
                <a:cubicBezTo>
                  <a:pt x="2176774" y="3122066"/>
                  <a:pt x="2174493" y="3121579"/>
                  <a:pt x="2174980" y="3119299"/>
                </a:cubicBezTo>
                <a:cubicBezTo>
                  <a:pt x="2175467" y="3117020"/>
                  <a:pt x="2173186" y="3116532"/>
                  <a:pt x="2173673" y="3114253"/>
                </a:cubicBezTo>
                <a:cubicBezTo>
                  <a:pt x="2169419" y="3089511"/>
                  <a:pt x="2163549" y="3083490"/>
                  <a:pt x="2159141" y="3070632"/>
                </a:cubicBezTo>
                <a:cubicBezTo>
                  <a:pt x="2159141" y="3070632"/>
                  <a:pt x="2158653" y="3072912"/>
                  <a:pt x="2160935" y="3073398"/>
                </a:cubicBezTo>
                <a:cubicBezTo>
                  <a:pt x="2160935" y="3073398"/>
                  <a:pt x="2163215" y="3073886"/>
                  <a:pt x="2163702" y="3071606"/>
                </a:cubicBezTo>
                <a:cubicBezTo>
                  <a:pt x="2163702" y="3071606"/>
                  <a:pt x="2161908" y="3068840"/>
                  <a:pt x="2161908" y="3068840"/>
                </a:cubicBezTo>
                <a:cubicBezTo>
                  <a:pt x="2162395" y="3066561"/>
                  <a:pt x="2162395" y="3066561"/>
                  <a:pt x="2162395" y="3066561"/>
                </a:cubicBezTo>
                <a:cubicBezTo>
                  <a:pt x="2164830" y="3055164"/>
                  <a:pt x="2156987" y="3024889"/>
                  <a:pt x="2149657" y="3025706"/>
                </a:cubicBezTo>
                <a:cubicBezTo>
                  <a:pt x="2148503" y="3008777"/>
                  <a:pt x="2147016" y="2982242"/>
                  <a:pt x="2140813" y="2966617"/>
                </a:cubicBezTo>
                <a:close/>
                <a:moveTo>
                  <a:pt x="5565977" y="2911125"/>
                </a:moveTo>
                <a:cubicBezTo>
                  <a:pt x="5565977" y="2911125"/>
                  <a:pt x="5565381" y="2913919"/>
                  <a:pt x="5568174" y="2914516"/>
                </a:cubicBezTo>
                <a:cubicBezTo>
                  <a:pt x="5567577" y="2917310"/>
                  <a:pt x="5564187" y="2919507"/>
                  <a:pt x="5564187" y="2919507"/>
                </a:cubicBezTo>
                <a:close/>
                <a:moveTo>
                  <a:pt x="5527243" y="2873635"/>
                </a:moveTo>
                <a:cubicBezTo>
                  <a:pt x="5526646" y="2876429"/>
                  <a:pt x="5526646" y="2876429"/>
                  <a:pt x="5526049" y="2879223"/>
                </a:cubicBezTo>
                <a:cubicBezTo>
                  <a:pt x="5523662" y="2890398"/>
                  <a:pt x="5526646" y="2876429"/>
                  <a:pt x="5523852" y="2875832"/>
                </a:cubicBezTo>
                <a:cubicBezTo>
                  <a:pt x="5526646" y="2876429"/>
                  <a:pt x="5527243" y="2873635"/>
                  <a:pt x="5527243" y="2873635"/>
                </a:cubicBezTo>
                <a:close/>
                <a:moveTo>
                  <a:pt x="2214252" y="2806819"/>
                </a:moveTo>
                <a:lnTo>
                  <a:pt x="2230783" y="2914318"/>
                </a:lnTo>
                <a:cubicBezTo>
                  <a:pt x="2259901" y="3070530"/>
                  <a:pt x="2304815" y="3222270"/>
                  <a:pt x="2375869" y="3366632"/>
                </a:cubicBezTo>
                <a:cubicBezTo>
                  <a:pt x="2486286" y="3587936"/>
                  <a:pt x="2636452" y="3776492"/>
                  <a:pt x="2825624" y="3935778"/>
                </a:cubicBezTo>
                <a:cubicBezTo>
                  <a:pt x="2892605" y="3991329"/>
                  <a:pt x="2954369" y="4054257"/>
                  <a:pt x="3032941" y="4095302"/>
                </a:cubicBezTo>
                <a:cubicBezTo>
                  <a:pt x="3083208" y="4121204"/>
                  <a:pt x="3133609" y="4146831"/>
                  <a:pt x="3184390" y="4171572"/>
                </a:cubicBezTo>
                <a:lnTo>
                  <a:pt x="3189892" y="4174112"/>
                </a:lnTo>
                <a:lnTo>
                  <a:pt x="2989656" y="4308684"/>
                </a:lnTo>
                <a:cubicBezTo>
                  <a:pt x="2884072" y="4376590"/>
                  <a:pt x="2778005" y="4441379"/>
                  <a:pt x="2670307" y="4503865"/>
                </a:cubicBezTo>
                <a:cubicBezTo>
                  <a:pt x="2576886" y="4559692"/>
                  <a:pt x="2481019" y="4612065"/>
                  <a:pt x="2384335" y="4663286"/>
                </a:cubicBezTo>
                <a:cubicBezTo>
                  <a:pt x="2264509" y="4725719"/>
                  <a:pt x="2141271" y="4778463"/>
                  <a:pt x="2018515" y="4834325"/>
                </a:cubicBezTo>
                <a:cubicBezTo>
                  <a:pt x="1979946" y="4853010"/>
                  <a:pt x="1937296" y="4865939"/>
                  <a:pt x="1903622" y="4891532"/>
                </a:cubicBezTo>
                <a:cubicBezTo>
                  <a:pt x="1864533" y="4919233"/>
                  <a:pt x="1825296" y="4941851"/>
                  <a:pt x="1775971" y="4940486"/>
                </a:cubicBezTo>
                <a:cubicBezTo>
                  <a:pt x="1756797" y="4940237"/>
                  <a:pt x="1739886" y="4950492"/>
                  <a:pt x="1727054" y="4966504"/>
                </a:cubicBezTo>
                <a:cubicBezTo>
                  <a:pt x="1719155" y="4977290"/>
                  <a:pt x="1707992" y="4983472"/>
                  <a:pt x="1694863" y="4989316"/>
                </a:cubicBezTo>
                <a:cubicBezTo>
                  <a:pt x="1675171" y="4998084"/>
                  <a:pt x="1653030" y="5003397"/>
                  <a:pt x="1637899" y="5021038"/>
                </a:cubicBezTo>
                <a:cubicBezTo>
                  <a:pt x="1624251" y="5035898"/>
                  <a:pt x="1609491" y="5039440"/>
                  <a:pt x="1590169" y="5034108"/>
                </a:cubicBezTo>
                <a:cubicBezTo>
                  <a:pt x="1583456" y="5031947"/>
                  <a:pt x="1578041" y="5034055"/>
                  <a:pt x="1573925" y="5040431"/>
                </a:cubicBezTo>
                <a:cubicBezTo>
                  <a:pt x="1568325" y="5049588"/>
                  <a:pt x="1559943" y="5057257"/>
                  <a:pt x="1548298" y="5060321"/>
                </a:cubicBezTo>
                <a:cubicBezTo>
                  <a:pt x="1514179" y="5070664"/>
                  <a:pt x="1481506" y="5090359"/>
                  <a:pt x="1445755" y="5098400"/>
                </a:cubicBezTo>
                <a:cubicBezTo>
                  <a:pt x="1433294" y="5100312"/>
                  <a:pt x="1423280" y="5105679"/>
                  <a:pt x="1417347" y="5116802"/>
                </a:cubicBezTo>
                <a:cubicBezTo>
                  <a:pt x="1403514" y="5138712"/>
                  <a:pt x="1396949" y="5141635"/>
                  <a:pt x="1372064" y="5133327"/>
                </a:cubicBezTo>
                <a:cubicBezTo>
                  <a:pt x="1362570" y="5129678"/>
                  <a:pt x="1353558" y="5129146"/>
                  <a:pt x="1346660" y="5134034"/>
                </a:cubicBezTo>
                <a:cubicBezTo>
                  <a:pt x="1321701" y="5149992"/>
                  <a:pt x="1293330" y="5156262"/>
                  <a:pt x="1266591" y="5164834"/>
                </a:cubicBezTo>
                <a:cubicBezTo>
                  <a:pt x="1242151" y="5171776"/>
                  <a:pt x="1218527" y="5179870"/>
                  <a:pt x="1200280" y="5197989"/>
                </a:cubicBezTo>
                <a:cubicBezTo>
                  <a:pt x="1193048" y="5204844"/>
                  <a:pt x="1186818" y="5205800"/>
                  <a:pt x="1179289" y="5202488"/>
                </a:cubicBezTo>
                <a:cubicBezTo>
                  <a:pt x="1169795" y="5198839"/>
                  <a:pt x="1158335" y="5194853"/>
                  <a:pt x="1150770" y="5203674"/>
                </a:cubicBezTo>
                <a:cubicBezTo>
                  <a:pt x="1134489" y="5222130"/>
                  <a:pt x="1112682" y="5225476"/>
                  <a:pt x="1089095" y="5221437"/>
                </a:cubicBezTo>
                <a:cubicBezTo>
                  <a:pt x="1054530" y="5216530"/>
                  <a:pt x="1024342" y="5227546"/>
                  <a:pt x="1002461" y="5255159"/>
                </a:cubicBezTo>
                <a:cubicBezTo>
                  <a:pt x="993746" y="5264795"/>
                  <a:pt x="988665" y="5264936"/>
                  <a:pt x="981322" y="5254574"/>
                </a:cubicBezTo>
                <a:cubicBezTo>
                  <a:pt x="978874" y="5251120"/>
                  <a:pt x="976427" y="5247666"/>
                  <a:pt x="973645" y="5246178"/>
                </a:cubicBezTo>
                <a:cubicBezTo>
                  <a:pt x="941565" y="5232591"/>
                  <a:pt x="910301" y="5220156"/>
                  <a:pt x="875180" y="5236398"/>
                </a:cubicBezTo>
                <a:cubicBezTo>
                  <a:pt x="867466" y="5240135"/>
                  <a:pt x="866168" y="5235866"/>
                  <a:pt x="865204" y="5229631"/>
                </a:cubicBezTo>
                <a:cubicBezTo>
                  <a:pt x="864722" y="5226514"/>
                  <a:pt x="865389" y="5222581"/>
                  <a:pt x="866057" y="5218649"/>
                </a:cubicBezTo>
                <a:cubicBezTo>
                  <a:pt x="867392" y="5210785"/>
                  <a:pt x="869542" y="5204072"/>
                  <a:pt x="860049" y="5200423"/>
                </a:cubicBezTo>
                <a:cubicBezTo>
                  <a:pt x="851704" y="5195959"/>
                  <a:pt x="849219" y="5204638"/>
                  <a:pt x="844287" y="5209863"/>
                </a:cubicBezTo>
                <a:cubicBezTo>
                  <a:pt x="835238" y="5221465"/>
                  <a:pt x="825039" y="5233881"/>
                  <a:pt x="810946" y="5233491"/>
                </a:cubicBezTo>
                <a:cubicBezTo>
                  <a:pt x="793738" y="5233579"/>
                  <a:pt x="790437" y="5241106"/>
                  <a:pt x="788917" y="5256020"/>
                </a:cubicBezTo>
                <a:cubicBezTo>
                  <a:pt x="788250" y="5259952"/>
                  <a:pt x="787582" y="5263885"/>
                  <a:pt x="784949" y="5267480"/>
                </a:cubicBezTo>
                <a:cubicBezTo>
                  <a:pt x="783948" y="5273378"/>
                  <a:pt x="781315" y="5276974"/>
                  <a:pt x="773452" y="5275628"/>
                </a:cubicBezTo>
                <a:cubicBezTo>
                  <a:pt x="767557" y="5274618"/>
                  <a:pt x="764292" y="5270012"/>
                  <a:pt x="765293" y="5264114"/>
                </a:cubicBezTo>
                <a:cubicBezTo>
                  <a:pt x="765479" y="5257065"/>
                  <a:pt x="763364" y="5251644"/>
                  <a:pt x="765515" y="5244932"/>
                </a:cubicBezTo>
                <a:cubicBezTo>
                  <a:pt x="766999" y="5242151"/>
                  <a:pt x="768483" y="5239370"/>
                  <a:pt x="764885" y="5236731"/>
                </a:cubicBezTo>
                <a:cubicBezTo>
                  <a:pt x="762103" y="5235243"/>
                  <a:pt x="759470" y="5238838"/>
                  <a:pt x="757171" y="5240468"/>
                </a:cubicBezTo>
                <a:cubicBezTo>
                  <a:pt x="753723" y="5242912"/>
                  <a:pt x="751423" y="5244541"/>
                  <a:pt x="750755" y="5248474"/>
                </a:cubicBezTo>
                <a:cubicBezTo>
                  <a:pt x="750087" y="5252406"/>
                  <a:pt x="747788" y="5254035"/>
                  <a:pt x="743857" y="5253362"/>
                </a:cubicBezTo>
                <a:cubicBezTo>
                  <a:pt x="722236" y="5249659"/>
                  <a:pt x="703211" y="5254494"/>
                  <a:pt x="686781" y="5267867"/>
                </a:cubicBezTo>
                <a:cubicBezTo>
                  <a:pt x="679549" y="5274721"/>
                  <a:pt x="671502" y="5280424"/>
                  <a:pt x="662638" y="5284976"/>
                </a:cubicBezTo>
                <a:cubicBezTo>
                  <a:pt x="658039" y="5288235"/>
                  <a:pt x="651141" y="5293124"/>
                  <a:pt x="644762" y="5288996"/>
                </a:cubicBezTo>
                <a:cubicBezTo>
                  <a:pt x="640349" y="5285206"/>
                  <a:pt x="643649" y="5277678"/>
                  <a:pt x="644651" y="5271780"/>
                </a:cubicBezTo>
                <a:cubicBezTo>
                  <a:pt x="645319" y="5267848"/>
                  <a:pt x="646802" y="5265067"/>
                  <a:pt x="647469" y="5261135"/>
                </a:cubicBezTo>
                <a:cubicBezTo>
                  <a:pt x="648137" y="5257203"/>
                  <a:pt x="652253" y="5250826"/>
                  <a:pt x="646690" y="5247850"/>
                </a:cubicBezTo>
                <a:cubicBezTo>
                  <a:pt x="642277" y="5244060"/>
                  <a:pt x="636528" y="5248133"/>
                  <a:pt x="632746" y="5252544"/>
                </a:cubicBezTo>
                <a:cubicBezTo>
                  <a:pt x="622399" y="5259876"/>
                  <a:pt x="612719" y="5263277"/>
                  <a:pt x="599108" y="5266004"/>
                </a:cubicBezTo>
                <a:cubicBezTo>
                  <a:pt x="567956" y="5270785"/>
                  <a:pt x="559389" y="5285504"/>
                  <a:pt x="566510" y="5315049"/>
                </a:cubicBezTo>
                <a:cubicBezTo>
                  <a:pt x="569588" y="5326704"/>
                  <a:pt x="567104" y="5335383"/>
                  <a:pt x="557090" y="5340750"/>
                </a:cubicBezTo>
                <a:cubicBezTo>
                  <a:pt x="541588" y="5318874"/>
                  <a:pt x="526902" y="5298150"/>
                  <a:pt x="511399" y="5276275"/>
                </a:cubicBezTo>
                <a:cubicBezTo>
                  <a:pt x="526678" y="5263717"/>
                  <a:pt x="526048" y="5255516"/>
                  <a:pt x="514107" y="5248413"/>
                </a:cubicBezTo>
                <a:cubicBezTo>
                  <a:pt x="510508" y="5245774"/>
                  <a:pt x="504278" y="5246730"/>
                  <a:pt x="504129" y="5241646"/>
                </a:cubicBezTo>
                <a:cubicBezTo>
                  <a:pt x="505131" y="5235748"/>
                  <a:pt x="510545" y="5233641"/>
                  <a:pt x="514810" y="5232348"/>
                </a:cubicBezTo>
                <a:cubicBezTo>
                  <a:pt x="518259" y="5229903"/>
                  <a:pt x="521374" y="5229425"/>
                  <a:pt x="524490" y="5228947"/>
                </a:cubicBezTo>
                <a:cubicBezTo>
                  <a:pt x="533019" y="5226361"/>
                  <a:pt x="535654" y="5222766"/>
                  <a:pt x="531091" y="5213892"/>
                </a:cubicBezTo>
                <a:cubicBezTo>
                  <a:pt x="528978" y="5208472"/>
                  <a:pt x="527530" y="5199119"/>
                  <a:pt x="535726" y="5198500"/>
                </a:cubicBezTo>
                <a:cubicBezTo>
                  <a:pt x="546222" y="5196251"/>
                  <a:pt x="554270" y="5190547"/>
                  <a:pt x="563133" y="5185996"/>
                </a:cubicBezTo>
                <a:cubicBezTo>
                  <a:pt x="570847" y="5182258"/>
                  <a:pt x="580527" y="5178858"/>
                  <a:pt x="586943" y="5170852"/>
                </a:cubicBezTo>
                <a:cubicBezTo>
                  <a:pt x="592209" y="5163661"/>
                  <a:pt x="598626" y="5155655"/>
                  <a:pt x="584717" y="5148215"/>
                </a:cubicBezTo>
                <a:cubicBezTo>
                  <a:pt x="579970" y="5146391"/>
                  <a:pt x="580638" y="5142459"/>
                  <a:pt x="584420" y="5138049"/>
                </a:cubicBezTo>
                <a:cubicBezTo>
                  <a:pt x="601665" y="5125827"/>
                  <a:pt x="610677" y="5126359"/>
                  <a:pt x="624066" y="5142814"/>
                </a:cubicBezTo>
                <a:cubicBezTo>
                  <a:pt x="628146" y="5148571"/>
                  <a:pt x="632559" y="5152362"/>
                  <a:pt x="638789" y="5151405"/>
                </a:cubicBezTo>
                <a:cubicBezTo>
                  <a:pt x="649285" y="5149156"/>
                  <a:pt x="658964" y="5145756"/>
                  <a:pt x="666531" y="5136935"/>
                </a:cubicBezTo>
                <a:cubicBezTo>
                  <a:pt x="668829" y="5135306"/>
                  <a:pt x="666715" y="5129886"/>
                  <a:pt x="663934" y="5128398"/>
                </a:cubicBezTo>
                <a:cubicBezTo>
                  <a:pt x="661486" y="5124944"/>
                  <a:pt x="658222" y="5120338"/>
                  <a:pt x="658890" y="5116406"/>
                </a:cubicBezTo>
                <a:cubicBezTo>
                  <a:pt x="659891" y="5110508"/>
                  <a:pt x="658778" y="5099190"/>
                  <a:pt x="667124" y="5103653"/>
                </a:cubicBezTo>
                <a:cubicBezTo>
                  <a:pt x="685295" y="5109800"/>
                  <a:pt x="696792" y="5101653"/>
                  <a:pt x="709439" y="5092691"/>
                </a:cubicBezTo>
                <a:cubicBezTo>
                  <a:pt x="717152" y="5088954"/>
                  <a:pt x="724866" y="5085217"/>
                  <a:pt x="734694" y="5086900"/>
                </a:cubicBezTo>
                <a:cubicBezTo>
                  <a:pt x="771224" y="5092144"/>
                  <a:pt x="787654" y="5078771"/>
                  <a:pt x="785799" y="5042035"/>
                </a:cubicBezTo>
                <a:cubicBezTo>
                  <a:pt x="785502" y="5031868"/>
                  <a:pt x="789618" y="5025492"/>
                  <a:pt x="800262" y="5028326"/>
                </a:cubicBezTo>
                <a:cubicBezTo>
                  <a:pt x="823849" y="5032366"/>
                  <a:pt x="844359" y="5024750"/>
                  <a:pt x="863569" y="5012865"/>
                </a:cubicBezTo>
                <a:cubicBezTo>
                  <a:pt x="873582" y="5007499"/>
                  <a:pt x="881964" y="4999830"/>
                  <a:pt x="893127" y="4993648"/>
                </a:cubicBezTo>
                <a:cubicBezTo>
                  <a:pt x="912003" y="4983730"/>
                  <a:pt x="926949" y="4973138"/>
                  <a:pt x="919161" y="4947526"/>
                </a:cubicBezTo>
                <a:cubicBezTo>
                  <a:pt x="924872" y="4955585"/>
                  <a:pt x="927802" y="4962156"/>
                  <a:pt x="936147" y="4966620"/>
                </a:cubicBezTo>
                <a:cubicBezTo>
                  <a:pt x="946123" y="4973387"/>
                  <a:pt x="956618" y="4971138"/>
                  <a:pt x="964666" y="4965434"/>
                </a:cubicBezTo>
                <a:cubicBezTo>
                  <a:pt x="973048" y="4957765"/>
                  <a:pt x="961588" y="4953780"/>
                  <a:pt x="959474" y="4948359"/>
                </a:cubicBezTo>
                <a:cubicBezTo>
                  <a:pt x="955728" y="4940637"/>
                  <a:pt x="957063" y="4932772"/>
                  <a:pt x="966409" y="4931338"/>
                </a:cubicBezTo>
                <a:cubicBezTo>
                  <a:pt x="978870" y="4929425"/>
                  <a:pt x="986917" y="4923722"/>
                  <a:pt x="996448" y="4915238"/>
                </a:cubicBezTo>
                <a:cubicBezTo>
                  <a:pt x="1006647" y="4902822"/>
                  <a:pt x="1019293" y="4893860"/>
                  <a:pt x="1037318" y="4894923"/>
                </a:cubicBezTo>
                <a:cubicBezTo>
                  <a:pt x="1048295" y="4895792"/>
                  <a:pt x="1054377" y="4889752"/>
                  <a:pt x="1056046" y="4879921"/>
                </a:cubicBezTo>
                <a:cubicBezTo>
                  <a:pt x="1057047" y="4874023"/>
                  <a:pt x="1058049" y="4868125"/>
                  <a:pt x="1058716" y="4864193"/>
                </a:cubicBezTo>
                <a:cubicBezTo>
                  <a:pt x="1061201" y="4855514"/>
                  <a:pt x="1058938" y="4845010"/>
                  <a:pt x="1067468" y="4842424"/>
                </a:cubicBezTo>
                <a:cubicBezTo>
                  <a:pt x="1075998" y="4839839"/>
                  <a:pt x="1080560" y="4848713"/>
                  <a:pt x="1084639" y="4854470"/>
                </a:cubicBezTo>
                <a:cubicBezTo>
                  <a:pt x="1088719" y="4860226"/>
                  <a:pt x="1091686" y="4854665"/>
                  <a:pt x="1095951" y="4853372"/>
                </a:cubicBezTo>
                <a:cubicBezTo>
                  <a:pt x="1099400" y="4850927"/>
                  <a:pt x="1102849" y="4848483"/>
                  <a:pt x="1098436" y="4844693"/>
                </a:cubicBezTo>
                <a:cubicBezTo>
                  <a:pt x="1087161" y="4833657"/>
                  <a:pt x="1091611" y="4825315"/>
                  <a:pt x="1101142" y="4816831"/>
                </a:cubicBezTo>
                <a:cubicBezTo>
                  <a:pt x="1110674" y="4808347"/>
                  <a:pt x="1108560" y="4802927"/>
                  <a:pt x="1095950" y="4799756"/>
                </a:cubicBezTo>
                <a:cubicBezTo>
                  <a:pt x="1093169" y="4798268"/>
                  <a:pt x="1088904" y="4799561"/>
                  <a:pt x="1084639" y="4800854"/>
                </a:cubicBezTo>
                <a:cubicBezTo>
                  <a:pt x="1044956" y="4808221"/>
                  <a:pt x="1007870" y="4824125"/>
                  <a:pt x="972082" y="4844299"/>
                </a:cubicBezTo>
                <a:cubicBezTo>
                  <a:pt x="943191" y="4859584"/>
                  <a:pt x="914969" y="4870937"/>
                  <a:pt x="880886" y="4869147"/>
                </a:cubicBezTo>
                <a:cubicBezTo>
                  <a:pt x="860896" y="4867747"/>
                  <a:pt x="841908" y="4860449"/>
                  <a:pt x="823254" y="4851184"/>
                </a:cubicBezTo>
                <a:cubicBezTo>
                  <a:pt x="824997" y="4870704"/>
                  <a:pt x="820064" y="4875929"/>
                  <a:pt x="800408" y="4872563"/>
                </a:cubicBezTo>
                <a:cubicBezTo>
                  <a:pt x="794512" y="4871553"/>
                  <a:pt x="788133" y="4867426"/>
                  <a:pt x="785204" y="4860854"/>
                </a:cubicBezTo>
                <a:cubicBezTo>
                  <a:pt x="779009" y="4849677"/>
                  <a:pt x="768514" y="4851927"/>
                  <a:pt x="759650" y="4856478"/>
                </a:cubicBezTo>
                <a:cubicBezTo>
                  <a:pt x="749971" y="4859879"/>
                  <a:pt x="750602" y="4868080"/>
                  <a:pt x="751232" y="4876281"/>
                </a:cubicBezTo>
                <a:cubicBezTo>
                  <a:pt x="753012" y="4883667"/>
                  <a:pt x="757908" y="4890575"/>
                  <a:pt x="755906" y="4902371"/>
                </a:cubicBezTo>
                <a:cubicBezTo>
                  <a:pt x="749563" y="4886111"/>
                  <a:pt x="740218" y="4887545"/>
                  <a:pt x="729388" y="4891761"/>
                </a:cubicBezTo>
                <a:cubicBezTo>
                  <a:pt x="720524" y="4896313"/>
                  <a:pt x="707248" y="4897074"/>
                  <a:pt x="703501" y="4889351"/>
                </a:cubicBezTo>
                <a:cubicBezTo>
                  <a:pt x="696826" y="4875057"/>
                  <a:pt x="689000" y="4861577"/>
                  <a:pt x="689705" y="4845512"/>
                </a:cubicBezTo>
                <a:cubicBezTo>
                  <a:pt x="690224" y="4836496"/>
                  <a:pt x="694007" y="4832086"/>
                  <a:pt x="702870" y="4827534"/>
                </a:cubicBezTo>
                <a:cubicBezTo>
                  <a:pt x="710250" y="4825763"/>
                  <a:pt x="714181" y="4826436"/>
                  <a:pt x="717927" y="4834159"/>
                </a:cubicBezTo>
                <a:cubicBezTo>
                  <a:pt x="721191" y="4838765"/>
                  <a:pt x="726273" y="4838623"/>
                  <a:pt x="729721" y="4836179"/>
                </a:cubicBezTo>
                <a:cubicBezTo>
                  <a:pt x="742701" y="4825251"/>
                  <a:pt x="755644" y="4826456"/>
                  <a:pt x="769403" y="4828812"/>
                </a:cubicBezTo>
                <a:cubicBezTo>
                  <a:pt x="782347" y="4830017"/>
                  <a:pt x="793176" y="4825801"/>
                  <a:pt x="795512" y="4812039"/>
                </a:cubicBezTo>
                <a:cubicBezTo>
                  <a:pt x="797182" y="4802208"/>
                  <a:pt x="801112" y="4802882"/>
                  <a:pt x="804858" y="4810604"/>
                </a:cubicBezTo>
                <a:cubicBezTo>
                  <a:pt x="808122" y="4815210"/>
                  <a:pt x="811237" y="4814732"/>
                  <a:pt x="817467" y="4813775"/>
                </a:cubicBezTo>
                <a:cubicBezTo>
                  <a:pt x="841907" y="4806833"/>
                  <a:pt x="862601" y="4792167"/>
                  <a:pt x="877250" y="4771409"/>
                </a:cubicBezTo>
                <a:cubicBezTo>
                  <a:pt x="884334" y="4759471"/>
                  <a:pt x="894681" y="4752138"/>
                  <a:pt x="906660" y="4747108"/>
                </a:cubicBezTo>
                <a:cubicBezTo>
                  <a:pt x="917489" y="4742893"/>
                  <a:pt x="929616" y="4742947"/>
                  <a:pt x="940594" y="4743815"/>
                </a:cubicBezTo>
                <a:cubicBezTo>
                  <a:pt x="946490" y="4744825"/>
                  <a:pt x="952053" y="4747800"/>
                  <a:pt x="955354" y="4740273"/>
                </a:cubicBezTo>
                <a:cubicBezTo>
                  <a:pt x="958655" y="4732745"/>
                  <a:pt x="955391" y="4728140"/>
                  <a:pt x="950162" y="4723198"/>
                </a:cubicBezTo>
                <a:cubicBezTo>
                  <a:pt x="945748" y="4719407"/>
                  <a:pt x="941001" y="4717583"/>
                  <a:pt x="938887" y="4712163"/>
                </a:cubicBezTo>
                <a:cubicBezTo>
                  <a:pt x="929912" y="4699498"/>
                  <a:pt x="920084" y="4697815"/>
                  <a:pt x="906956" y="4703660"/>
                </a:cubicBezTo>
                <a:cubicBezTo>
                  <a:pt x="882998" y="4713719"/>
                  <a:pt x="860523" y="4720999"/>
                  <a:pt x="836084" y="4727941"/>
                </a:cubicBezTo>
                <a:cubicBezTo>
                  <a:pt x="820507" y="4730332"/>
                  <a:pt x="815278" y="4725390"/>
                  <a:pt x="816798" y="4710476"/>
                </a:cubicBezTo>
                <a:cubicBezTo>
                  <a:pt x="817948" y="4709661"/>
                  <a:pt x="817133" y="4708510"/>
                  <a:pt x="816316" y="4707359"/>
                </a:cubicBezTo>
                <a:cubicBezTo>
                  <a:pt x="810457" y="4694216"/>
                  <a:pt x="813609" y="4681604"/>
                  <a:pt x="817577" y="4670145"/>
                </a:cubicBezTo>
                <a:cubicBezTo>
                  <a:pt x="820061" y="4661466"/>
                  <a:pt x="823992" y="4662139"/>
                  <a:pt x="828406" y="4665929"/>
                </a:cubicBezTo>
                <a:cubicBezTo>
                  <a:pt x="838048" y="4674662"/>
                  <a:pt x="835564" y="4683341"/>
                  <a:pt x="827182" y="4691010"/>
                </a:cubicBezTo>
                <a:cubicBezTo>
                  <a:pt x="833561" y="4695137"/>
                  <a:pt x="840274" y="4697299"/>
                  <a:pt x="846022" y="4693225"/>
                </a:cubicBezTo>
                <a:cubicBezTo>
                  <a:pt x="849471" y="4690781"/>
                  <a:pt x="847357" y="4685361"/>
                  <a:pt x="846059" y="4681092"/>
                </a:cubicBezTo>
                <a:cubicBezTo>
                  <a:pt x="838419" y="4660563"/>
                  <a:pt x="840570" y="4653850"/>
                  <a:pt x="858631" y="4642780"/>
                </a:cubicBezTo>
                <a:cubicBezTo>
                  <a:pt x="876358" y="4633676"/>
                  <a:pt x="893603" y="4621455"/>
                  <a:pt x="908067" y="4607746"/>
                </a:cubicBezTo>
                <a:cubicBezTo>
                  <a:pt x="927463" y="4588812"/>
                  <a:pt x="935325" y="4590159"/>
                  <a:pt x="947379" y="4614478"/>
                </a:cubicBezTo>
                <a:cubicBezTo>
                  <a:pt x="948195" y="4615630"/>
                  <a:pt x="949011" y="4616781"/>
                  <a:pt x="949826" y="4617932"/>
                </a:cubicBezTo>
                <a:cubicBezTo>
                  <a:pt x="951124" y="4622201"/>
                  <a:pt x="950939" y="4629251"/>
                  <a:pt x="958319" y="4627480"/>
                </a:cubicBezTo>
                <a:cubicBezTo>
                  <a:pt x="964884" y="4624557"/>
                  <a:pt x="972264" y="4622786"/>
                  <a:pt x="970817" y="4613434"/>
                </a:cubicBezTo>
                <a:cubicBezTo>
                  <a:pt x="969853" y="4607199"/>
                  <a:pt x="969705" y="4602116"/>
                  <a:pt x="967591" y="4596696"/>
                </a:cubicBezTo>
                <a:cubicBezTo>
                  <a:pt x="967294" y="4586529"/>
                  <a:pt x="971077" y="4582118"/>
                  <a:pt x="981238" y="4581835"/>
                </a:cubicBezTo>
                <a:cubicBezTo>
                  <a:pt x="990584" y="4580401"/>
                  <a:pt x="993514" y="4586972"/>
                  <a:pt x="992179" y="4594837"/>
                </a:cubicBezTo>
                <a:cubicBezTo>
                  <a:pt x="992661" y="4597954"/>
                  <a:pt x="992327" y="4599920"/>
                  <a:pt x="992810" y="4603037"/>
                </a:cubicBezTo>
                <a:cubicBezTo>
                  <a:pt x="992142" y="4606970"/>
                  <a:pt x="994590" y="4610424"/>
                  <a:pt x="998521" y="4611097"/>
                </a:cubicBezTo>
                <a:cubicBezTo>
                  <a:pt x="1003602" y="4610955"/>
                  <a:pt x="1002304" y="4606687"/>
                  <a:pt x="1003787" y="4603906"/>
                </a:cubicBezTo>
                <a:cubicBezTo>
                  <a:pt x="1005938" y="4597193"/>
                  <a:pt x="1006123" y="4590143"/>
                  <a:pt x="1004343" y="4582757"/>
                </a:cubicBezTo>
                <a:cubicBezTo>
                  <a:pt x="1001784" y="4562086"/>
                  <a:pt x="1007050" y="4554895"/>
                  <a:pt x="1027707" y="4552363"/>
                </a:cubicBezTo>
                <a:cubicBezTo>
                  <a:pt x="1037053" y="4550929"/>
                  <a:pt x="1047215" y="4550646"/>
                  <a:pt x="1056561" y="4549211"/>
                </a:cubicBezTo>
                <a:cubicBezTo>
                  <a:pt x="1062791" y="4548255"/>
                  <a:pt x="1069355" y="4545333"/>
                  <a:pt x="1069874" y="4536317"/>
                </a:cubicBezTo>
                <a:cubicBezTo>
                  <a:pt x="1070727" y="4525335"/>
                  <a:pt x="1068465" y="4514832"/>
                  <a:pt x="1080777" y="4507836"/>
                </a:cubicBezTo>
                <a:cubicBezTo>
                  <a:pt x="1088491" y="4504098"/>
                  <a:pt x="1091458" y="4498537"/>
                  <a:pt x="1100470" y="4499069"/>
                </a:cubicBezTo>
                <a:cubicBezTo>
                  <a:pt x="1146346" y="4502878"/>
                  <a:pt x="1182617" y="4485822"/>
                  <a:pt x="1213361" y="4453657"/>
                </a:cubicBezTo>
                <a:cubicBezTo>
                  <a:pt x="1218293" y="4448432"/>
                  <a:pt x="1223708" y="4446325"/>
                  <a:pt x="1230755" y="4446520"/>
                </a:cubicBezTo>
                <a:cubicBezTo>
                  <a:pt x="1248445" y="4449549"/>
                  <a:pt x="1261907" y="4441738"/>
                  <a:pt x="1274071" y="4429659"/>
                </a:cubicBezTo>
                <a:cubicBezTo>
                  <a:pt x="1290352" y="4411203"/>
                  <a:pt x="1303518" y="4393225"/>
                  <a:pt x="1314235" y="4371793"/>
                </a:cubicBezTo>
                <a:cubicBezTo>
                  <a:pt x="1319019" y="4361485"/>
                  <a:pt x="1323803" y="4351176"/>
                  <a:pt x="1333817" y="4345810"/>
                </a:cubicBezTo>
                <a:cubicBezTo>
                  <a:pt x="1368604" y="4331534"/>
                  <a:pt x="1400794" y="4308722"/>
                  <a:pt x="1438993" y="4304135"/>
                </a:cubicBezTo>
                <a:cubicBezTo>
                  <a:pt x="1447190" y="4303516"/>
                  <a:pt x="1450972" y="4299105"/>
                  <a:pt x="1453457" y="4290426"/>
                </a:cubicBezTo>
                <a:cubicBezTo>
                  <a:pt x="1454124" y="4286494"/>
                  <a:pt x="1454792" y="4282562"/>
                  <a:pt x="1456275" y="4279781"/>
                </a:cubicBezTo>
                <a:cubicBezTo>
                  <a:pt x="1461208" y="4274556"/>
                  <a:pt x="1458426" y="4273068"/>
                  <a:pt x="1454829" y="4270429"/>
                </a:cubicBezTo>
                <a:cubicBezTo>
                  <a:pt x="1447634" y="4265150"/>
                  <a:pt x="1440588" y="4264955"/>
                  <a:pt x="1433690" y="4269844"/>
                </a:cubicBezTo>
                <a:cubicBezTo>
                  <a:pt x="1425642" y="4275547"/>
                  <a:pt x="1417297" y="4271083"/>
                  <a:pt x="1413551" y="4263360"/>
                </a:cubicBezTo>
                <a:cubicBezTo>
                  <a:pt x="1410622" y="4256789"/>
                  <a:pt x="1419151" y="4254203"/>
                  <a:pt x="1424566" y="4252096"/>
                </a:cubicBezTo>
                <a:cubicBezTo>
                  <a:pt x="1438844" y="4245436"/>
                  <a:pt x="1449637" y="4253354"/>
                  <a:pt x="1459613" y="4260120"/>
                </a:cubicBezTo>
                <a:cubicBezTo>
                  <a:pt x="1498554" y="4280952"/>
                  <a:pt x="1533490" y="4271760"/>
                  <a:pt x="1554257" y="4232829"/>
                </a:cubicBezTo>
                <a:cubicBezTo>
                  <a:pt x="1559857" y="4223671"/>
                  <a:pt x="1566273" y="4215665"/>
                  <a:pt x="1575137" y="4211114"/>
                </a:cubicBezTo>
                <a:cubicBezTo>
                  <a:pt x="1580885" y="4207040"/>
                  <a:pt x="1584000" y="4206562"/>
                  <a:pt x="1588080" y="4212319"/>
                </a:cubicBezTo>
                <a:cubicBezTo>
                  <a:pt x="1596573" y="4221866"/>
                  <a:pt x="1602470" y="4222876"/>
                  <a:pt x="1610369" y="4212089"/>
                </a:cubicBezTo>
                <a:cubicBezTo>
                  <a:pt x="1625834" y="4192482"/>
                  <a:pt x="1644229" y="4179446"/>
                  <a:pt x="1663773" y="4165595"/>
                </a:cubicBezTo>
                <a:cubicBezTo>
                  <a:pt x="1695630" y="4144749"/>
                  <a:pt x="1719476" y="4117472"/>
                  <a:pt x="1727301" y="4077336"/>
                </a:cubicBezTo>
                <a:cubicBezTo>
                  <a:pt x="1727301" y="4077336"/>
                  <a:pt x="1729267" y="4077673"/>
                  <a:pt x="1730083" y="4078824"/>
                </a:cubicBezTo>
                <a:cubicBezTo>
                  <a:pt x="1731381" y="4083093"/>
                  <a:pt x="1731529" y="4088176"/>
                  <a:pt x="1733643" y="4093596"/>
                </a:cubicBezTo>
                <a:cubicBezTo>
                  <a:pt x="1738687" y="4105588"/>
                  <a:pt x="1744250" y="4108564"/>
                  <a:pt x="1756229" y="4103534"/>
                </a:cubicBezTo>
                <a:cubicBezTo>
                  <a:pt x="1770507" y="4096874"/>
                  <a:pt x="1772324" y="4092127"/>
                  <a:pt x="1764499" y="4078648"/>
                </a:cubicBezTo>
                <a:cubicBezTo>
                  <a:pt x="1762051" y="4075194"/>
                  <a:pt x="1754856" y="4069915"/>
                  <a:pt x="1761754" y="4065027"/>
                </a:cubicBezTo>
                <a:cubicBezTo>
                  <a:pt x="1771285" y="4056543"/>
                  <a:pt x="1784711" y="4060865"/>
                  <a:pt x="1786639" y="4073335"/>
                </a:cubicBezTo>
                <a:cubicBezTo>
                  <a:pt x="1787270" y="4081536"/>
                  <a:pt x="1790867" y="4084175"/>
                  <a:pt x="1799397" y="4081589"/>
                </a:cubicBezTo>
                <a:cubicBezTo>
                  <a:pt x="1818423" y="4076754"/>
                  <a:pt x="1838264" y="4073071"/>
                  <a:pt x="1858587" y="4072505"/>
                </a:cubicBezTo>
                <a:cubicBezTo>
                  <a:pt x="1874979" y="4071265"/>
                  <a:pt x="1888442" y="4063454"/>
                  <a:pt x="1895377" y="4046433"/>
                </a:cubicBezTo>
                <a:cubicBezTo>
                  <a:pt x="1896378" y="4040535"/>
                  <a:pt x="1900161" y="4036124"/>
                  <a:pt x="1905909" y="4032051"/>
                </a:cubicBezTo>
                <a:cubicBezTo>
                  <a:pt x="1915922" y="4026684"/>
                  <a:pt x="1925936" y="4021317"/>
                  <a:pt x="1935949" y="4015951"/>
                </a:cubicBezTo>
                <a:cubicBezTo>
                  <a:pt x="1942847" y="4011063"/>
                  <a:pt x="1951043" y="4010443"/>
                  <a:pt x="1959054" y="4016873"/>
                </a:cubicBezTo>
                <a:cubicBezTo>
                  <a:pt x="1965915" y="4024117"/>
                  <a:pt x="1971330" y="4022010"/>
                  <a:pt x="1976596" y="4014819"/>
                </a:cubicBezTo>
                <a:cubicBezTo>
                  <a:pt x="1981528" y="4009594"/>
                  <a:pt x="1987610" y="4003554"/>
                  <a:pt x="1992543" y="3998329"/>
                </a:cubicBezTo>
                <a:cubicBezTo>
                  <a:pt x="2003891" y="3985098"/>
                  <a:pt x="2006227" y="3971335"/>
                  <a:pt x="1998736" y="3955890"/>
                </a:cubicBezTo>
                <a:cubicBezTo>
                  <a:pt x="1996622" y="3950470"/>
                  <a:pt x="1993358" y="3945864"/>
                  <a:pt x="1991244" y="3940444"/>
                </a:cubicBezTo>
                <a:cubicBezTo>
                  <a:pt x="2019171" y="3972540"/>
                  <a:pt x="2048543" y="3960373"/>
                  <a:pt x="2078249" y="3946239"/>
                </a:cubicBezTo>
                <a:cubicBezTo>
                  <a:pt x="2087929" y="3942839"/>
                  <a:pt x="2091229" y="3935311"/>
                  <a:pt x="2093714" y="3926632"/>
                </a:cubicBezTo>
                <a:cubicBezTo>
                  <a:pt x="2096198" y="3917953"/>
                  <a:pt x="2094418" y="3910567"/>
                  <a:pt x="2087223" y="3905288"/>
                </a:cubicBezTo>
                <a:cubicBezTo>
                  <a:pt x="2080844" y="3901161"/>
                  <a:pt x="2077544" y="3908689"/>
                  <a:pt x="2072945" y="3911948"/>
                </a:cubicBezTo>
                <a:cubicBezTo>
                  <a:pt x="2069496" y="3914392"/>
                  <a:pt x="2064564" y="3919617"/>
                  <a:pt x="2059335" y="3914675"/>
                </a:cubicBezTo>
                <a:cubicBezTo>
                  <a:pt x="2054921" y="3910884"/>
                  <a:pt x="2053141" y="3903498"/>
                  <a:pt x="2056108" y="3897936"/>
                </a:cubicBezTo>
                <a:cubicBezTo>
                  <a:pt x="2058259" y="3891223"/>
                  <a:pt x="2064007" y="3887150"/>
                  <a:pt x="2068606" y="3883891"/>
                </a:cubicBezTo>
                <a:cubicBezTo>
                  <a:pt x="2074354" y="3879817"/>
                  <a:pt x="2080102" y="3875743"/>
                  <a:pt x="2080288" y="3868694"/>
                </a:cubicBezTo>
                <a:cubicBezTo>
                  <a:pt x="2068828" y="3864708"/>
                  <a:pt x="2057183" y="3867772"/>
                  <a:pt x="2049135" y="3873475"/>
                </a:cubicBezTo>
                <a:cubicBezTo>
                  <a:pt x="2023360" y="3888282"/>
                  <a:pt x="1995805" y="3895703"/>
                  <a:pt x="1968250" y="3903123"/>
                </a:cubicBezTo>
                <a:cubicBezTo>
                  <a:pt x="1949224" y="3907958"/>
                  <a:pt x="1934279" y="3918550"/>
                  <a:pt x="1925860" y="3938352"/>
                </a:cubicBezTo>
                <a:cubicBezTo>
                  <a:pt x="1923709" y="3945065"/>
                  <a:pt x="1918295" y="3947173"/>
                  <a:pt x="1910432" y="3945826"/>
                </a:cubicBezTo>
                <a:cubicBezTo>
                  <a:pt x="1895857" y="3942319"/>
                  <a:pt x="1881431" y="3943895"/>
                  <a:pt x="1867004" y="3945471"/>
                </a:cubicBezTo>
                <a:cubicBezTo>
                  <a:pt x="1859624" y="3947242"/>
                  <a:pt x="1853876" y="3951315"/>
                  <a:pt x="1850575" y="3958843"/>
                </a:cubicBezTo>
                <a:cubicBezTo>
                  <a:pt x="1843974" y="3973899"/>
                  <a:pt x="1832959" y="3985163"/>
                  <a:pt x="1817865" y="3990672"/>
                </a:cubicBezTo>
                <a:cubicBezTo>
                  <a:pt x="1803921" y="3995365"/>
                  <a:pt x="1789976" y="4000058"/>
                  <a:pt x="1777181" y="4003937"/>
                </a:cubicBezTo>
                <a:cubicBezTo>
                  <a:pt x="1766686" y="4006186"/>
                  <a:pt x="1762903" y="4010596"/>
                  <a:pt x="1768281" y="4020622"/>
                </a:cubicBezTo>
                <a:cubicBezTo>
                  <a:pt x="1771211" y="4027193"/>
                  <a:pt x="1771359" y="4032277"/>
                  <a:pt x="1765611" y="4036350"/>
                </a:cubicBezTo>
                <a:cubicBezTo>
                  <a:pt x="1753780" y="4046464"/>
                  <a:pt x="1746252" y="4043151"/>
                  <a:pt x="1741542" y="4029194"/>
                </a:cubicBezTo>
                <a:cubicBezTo>
                  <a:pt x="1734717" y="4009816"/>
                  <a:pt x="1728820" y="4008806"/>
                  <a:pt x="1712725" y="4020213"/>
                </a:cubicBezTo>
                <a:cubicBezTo>
                  <a:pt x="1702378" y="4027545"/>
                  <a:pt x="1692847" y="4036029"/>
                  <a:pt x="1684466" y="4043698"/>
                </a:cubicBezTo>
                <a:cubicBezTo>
                  <a:pt x="1669520" y="4054290"/>
                  <a:pt x="1657356" y="4066370"/>
                  <a:pt x="1639480" y="4070390"/>
                </a:cubicBezTo>
                <a:cubicBezTo>
                  <a:pt x="1629800" y="4073790"/>
                  <a:pt x="1621604" y="4074410"/>
                  <a:pt x="1615744" y="4061267"/>
                </a:cubicBezTo>
                <a:cubicBezTo>
                  <a:pt x="1612332" y="4051578"/>
                  <a:pt x="1602838" y="4047929"/>
                  <a:pt x="1593641" y="4054447"/>
                </a:cubicBezTo>
                <a:cubicBezTo>
                  <a:pt x="1564083" y="4073664"/>
                  <a:pt x="1531447" y="4081226"/>
                  <a:pt x="1497995" y="4087637"/>
                </a:cubicBezTo>
                <a:cubicBezTo>
                  <a:pt x="1472739" y="4093429"/>
                  <a:pt x="1460427" y="4100425"/>
                  <a:pt x="1461651" y="4128959"/>
                </a:cubicBezTo>
                <a:cubicBezTo>
                  <a:pt x="1460501" y="4129774"/>
                  <a:pt x="1459351" y="4130589"/>
                  <a:pt x="1459351" y="4130589"/>
                </a:cubicBezTo>
                <a:cubicBezTo>
                  <a:pt x="1452305" y="4130394"/>
                  <a:pt x="1450710" y="4115958"/>
                  <a:pt x="1443812" y="4120847"/>
                </a:cubicBezTo>
                <a:cubicBezTo>
                  <a:pt x="1438064" y="4124920"/>
                  <a:pt x="1438361" y="4135087"/>
                  <a:pt x="1438991" y="4143288"/>
                </a:cubicBezTo>
                <a:cubicBezTo>
                  <a:pt x="1438657" y="4145254"/>
                  <a:pt x="1439140" y="4148372"/>
                  <a:pt x="1438806" y="4150338"/>
                </a:cubicBezTo>
                <a:cubicBezTo>
                  <a:pt x="1439919" y="4161656"/>
                  <a:pt x="1442181" y="4172160"/>
                  <a:pt x="1445593" y="4181848"/>
                </a:cubicBezTo>
                <a:cubicBezTo>
                  <a:pt x="1447373" y="4189235"/>
                  <a:pt x="1443591" y="4193645"/>
                  <a:pt x="1436210" y="4195416"/>
                </a:cubicBezTo>
                <a:cubicBezTo>
                  <a:pt x="1431130" y="4195557"/>
                  <a:pt x="1424083" y="4195362"/>
                  <a:pt x="1423119" y="4189128"/>
                </a:cubicBezTo>
                <a:cubicBezTo>
                  <a:pt x="1422859" y="4166828"/>
                  <a:pt x="1407319" y="4157085"/>
                  <a:pt x="1392930" y="4146528"/>
                </a:cubicBezTo>
                <a:cubicBezTo>
                  <a:pt x="1384919" y="4140098"/>
                  <a:pt x="1380172" y="4138274"/>
                  <a:pt x="1378169" y="4150070"/>
                </a:cubicBezTo>
                <a:cubicBezTo>
                  <a:pt x="1373200" y="4167428"/>
                  <a:pt x="1360220" y="4178356"/>
                  <a:pt x="1349205" y="4189621"/>
                </a:cubicBezTo>
                <a:cubicBezTo>
                  <a:pt x="1345423" y="4194031"/>
                  <a:pt x="1341974" y="4196476"/>
                  <a:pt x="1338376" y="4193836"/>
                </a:cubicBezTo>
                <a:cubicBezTo>
                  <a:pt x="1321687" y="4184909"/>
                  <a:pt x="1307409" y="4191568"/>
                  <a:pt x="1293131" y="4198228"/>
                </a:cubicBezTo>
                <a:cubicBezTo>
                  <a:pt x="1279186" y="4202921"/>
                  <a:pt x="1266058" y="4208766"/>
                  <a:pt x="1252966" y="4202477"/>
                </a:cubicBezTo>
                <a:cubicBezTo>
                  <a:pt x="1246587" y="4198350"/>
                  <a:pt x="1244288" y="4199980"/>
                  <a:pt x="1239355" y="4205205"/>
                </a:cubicBezTo>
                <a:cubicBezTo>
                  <a:pt x="1222741" y="4225627"/>
                  <a:pt x="1203196" y="4239477"/>
                  <a:pt x="1176976" y="4239034"/>
                </a:cubicBezTo>
                <a:cubicBezTo>
                  <a:pt x="1166814" y="4239317"/>
                  <a:pt x="1162216" y="4242576"/>
                  <a:pt x="1157765" y="4250918"/>
                </a:cubicBezTo>
                <a:cubicBezTo>
                  <a:pt x="1147715" y="4268418"/>
                  <a:pt x="1132769" y="4279009"/>
                  <a:pt x="1110481" y="4279239"/>
                </a:cubicBezTo>
                <a:cubicBezTo>
                  <a:pt x="1104584" y="4278229"/>
                  <a:pt x="1100319" y="4279522"/>
                  <a:pt x="1097352" y="4285084"/>
                </a:cubicBezTo>
                <a:cubicBezTo>
                  <a:pt x="1082703" y="4305842"/>
                  <a:pt x="1041203" y="4317956"/>
                  <a:pt x="1018617" y="4308019"/>
                </a:cubicBezTo>
                <a:cubicBezTo>
                  <a:pt x="1015947" y="4323747"/>
                  <a:pt x="1005267" y="4333046"/>
                  <a:pt x="992472" y="4336925"/>
                </a:cubicBezTo>
                <a:cubicBezTo>
                  <a:pt x="973447" y="4341760"/>
                  <a:pt x="956535" y="4352015"/>
                  <a:pt x="939624" y="4362270"/>
                </a:cubicBezTo>
                <a:cubicBezTo>
                  <a:pt x="916148" y="4375447"/>
                  <a:pt x="898606" y="4377501"/>
                  <a:pt x="875725" y="4357397"/>
                </a:cubicBezTo>
                <a:cubicBezTo>
                  <a:pt x="874092" y="4355094"/>
                  <a:pt x="872126" y="4354757"/>
                  <a:pt x="870495" y="4352455"/>
                </a:cubicBezTo>
                <a:cubicBezTo>
                  <a:pt x="862484" y="4346025"/>
                  <a:pt x="857069" y="4348132"/>
                  <a:pt x="855400" y="4357963"/>
                </a:cubicBezTo>
                <a:cubicBezTo>
                  <a:pt x="854065" y="4365827"/>
                  <a:pt x="852730" y="4373692"/>
                  <a:pt x="850246" y="4382371"/>
                </a:cubicBezTo>
                <a:cubicBezTo>
                  <a:pt x="841790" y="4414306"/>
                  <a:pt x="814718" y="4424844"/>
                  <a:pt x="784937" y="4409628"/>
                </a:cubicBezTo>
                <a:cubicBezTo>
                  <a:pt x="772995" y="4402525"/>
                  <a:pt x="759569" y="4398203"/>
                  <a:pt x="744327" y="4398627"/>
                </a:cubicBezTo>
                <a:cubicBezTo>
                  <a:pt x="730234" y="4398237"/>
                  <a:pt x="716141" y="4397847"/>
                  <a:pt x="703049" y="4391559"/>
                </a:cubicBezTo>
                <a:cubicBezTo>
                  <a:pt x="704310" y="4407961"/>
                  <a:pt x="721000" y="4416888"/>
                  <a:pt x="722261" y="4433290"/>
                </a:cubicBezTo>
                <a:cubicBezTo>
                  <a:pt x="701307" y="4425655"/>
                  <a:pt x="701307" y="4425655"/>
                  <a:pt x="690923" y="4445121"/>
                </a:cubicBezTo>
                <a:cubicBezTo>
                  <a:pt x="685657" y="4452312"/>
                  <a:pt x="681874" y="4456722"/>
                  <a:pt x="672529" y="4458157"/>
                </a:cubicBezTo>
                <a:cubicBezTo>
                  <a:pt x="648422" y="4463133"/>
                  <a:pt x="625949" y="4470412"/>
                  <a:pt x="603474" y="4477691"/>
                </a:cubicBezTo>
                <a:cubicBezTo>
                  <a:pt x="534085" y="4499192"/>
                  <a:pt x="468443" y="4528416"/>
                  <a:pt x="397756" y="4545648"/>
                </a:cubicBezTo>
                <a:cubicBezTo>
                  <a:pt x="392340" y="4547755"/>
                  <a:pt x="385442" y="4552644"/>
                  <a:pt x="381364" y="4546887"/>
                </a:cubicBezTo>
                <a:cubicBezTo>
                  <a:pt x="376134" y="4541945"/>
                  <a:pt x="380250" y="4535569"/>
                  <a:pt x="381251" y="4529671"/>
                </a:cubicBezTo>
                <a:cubicBezTo>
                  <a:pt x="383069" y="4524924"/>
                  <a:pt x="386035" y="4519362"/>
                  <a:pt x="380472" y="4516386"/>
                </a:cubicBezTo>
                <a:cubicBezTo>
                  <a:pt x="375243" y="4511444"/>
                  <a:pt x="369013" y="4512400"/>
                  <a:pt x="363598" y="4514508"/>
                </a:cubicBezTo>
                <a:cubicBezTo>
                  <a:pt x="360150" y="4516952"/>
                  <a:pt x="356700" y="4519397"/>
                  <a:pt x="353251" y="4521841"/>
                </a:cubicBezTo>
                <a:cubicBezTo>
                  <a:pt x="336340" y="4532096"/>
                  <a:pt x="320615" y="4529403"/>
                  <a:pt x="309192" y="4513284"/>
                </a:cubicBezTo>
                <a:cubicBezTo>
                  <a:pt x="305112" y="4507528"/>
                  <a:pt x="301033" y="4501771"/>
                  <a:pt x="299252" y="4494385"/>
                </a:cubicBezTo>
                <a:cubicBezTo>
                  <a:pt x="295507" y="4486662"/>
                  <a:pt x="288460" y="4486467"/>
                  <a:pt x="283194" y="4493658"/>
                </a:cubicBezTo>
                <a:cubicBezTo>
                  <a:pt x="272995" y="4506074"/>
                  <a:pt x="273775" y="4519358"/>
                  <a:pt x="286348" y="4534662"/>
                </a:cubicBezTo>
                <a:cubicBezTo>
                  <a:pt x="271772" y="4531155"/>
                  <a:pt x="260312" y="4527169"/>
                  <a:pt x="250336" y="4520403"/>
                </a:cubicBezTo>
                <a:cubicBezTo>
                  <a:pt x="240359" y="4513636"/>
                  <a:pt x="229122" y="4490468"/>
                  <a:pt x="232275" y="4477857"/>
                </a:cubicBezTo>
                <a:cubicBezTo>
                  <a:pt x="236910" y="4462465"/>
                  <a:pt x="251336" y="4460889"/>
                  <a:pt x="262648" y="4459791"/>
                </a:cubicBezTo>
                <a:cubicBezTo>
                  <a:pt x="279040" y="4458552"/>
                  <a:pt x="294950" y="4454195"/>
                  <a:pt x="308746" y="4444418"/>
                </a:cubicBezTo>
                <a:cubicBezTo>
                  <a:pt x="316794" y="4438715"/>
                  <a:pt x="325991" y="4432197"/>
                  <a:pt x="335188" y="4425679"/>
                </a:cubicBezTo>
                <a:cubicBezTo>
                  <a:pt x="373127" y="4398793"/>
                  <a:pt x="413997" y="4378478"/>
                  <a:pt x="463470" y="4384927"/>
                </a:cubicBezTo>
                <a:cubicBezTo>
                  <a:pt x="482310" y="4387141"/>
                  <a:pt x="486760" y="4378799"/>
                  <a:pt x="482719" y="4360909"/>
                </a:cubicBezTo>
                <a:cubicBezTo>
                  <a:pt x="482236" y="4357792"/>
                  <a:pt x="477488" y="4355967"/>
                  <a:pt x="480121" y="4352372"/>
                </a:cubicBezTo>
                <a:cubicBezTo>
                  <a:pt x="483571" y="4349927"/>
                  <a:pt x="487502" y="4350600"/>
                  <a:pt x="490283" y="4352088"/>
                </a:cubicBezTo>
                <a:cubicBezTo>
                  <a:pt x="493065" y="4353576"/>
                  <a:pt x="495846" y="4355064"/>
                  <a:pt x="497812" y="4355401"/>
                </a:cubicBezTo>
                <a:cubicBezTo>
                  <a:pt x="505341" y="4358713"/>
                  <a:pt x="513203" y="4360060"/>
                  <a:pt x="514872" y="4350229"/>
                </a:cubicBezTo>
                <a:cubicBezTo>
                  <a:pt x="517690" y="4339584"/>
                  <a:pt x="507677" y="4344951"/>
                  <a:pt x="502930" y="4343126"/>
                </a:cubicBezTo>
                <a:cubicBezTo>
                  <a:pt x="502115" y="4341975"/>
                  <a:pt x="500964" y="4342790"/>
                  <a:pt x="500148" y="4341638"/>
                </a:cubicBezTo>
                <a:cubicBezTo>
                  <a:pt x="496218" y="4340965"/>
                  <a:pt x="492620" y="4338326"/>
                  <a:pt x="493287" y="4334394"/>
                </a:cubicBezTo>
                <a:cubicBezTo>
                  <a:pt x="493139" y="4329310"/>
                  <a:pt x="495438" y="4327681"/>
                  <a:pt x="500519" y="4327539"/>
                </a:cubicBezTo>
                <a:cubicBezTo>
                  <a:pt x="519210" y="4324670"/>
                  <a:pt x="528593" y="4311103"/>
                  <a:pt x="528815" y="4291920"/>
                </a:cubicBezTo>
                <a:cubicBezTo>
                  <a:pt x="529483" y="4287988"/>
                  <a:pt x="532450" y="4282426"/>
                  <a:pt x="530003" y="4278972"/>
                </a:cubicBezTo>
                <a:cubicBezTo>
                  <a:pt x="521027" y="4266308"/>
                  <a:pt x="499405" y="4262605"/>
                  <a:pt x="489540" y="4273055"/>
                </a:cubicBezTo>
                <a:cubicBezTo>
                  <a:pt x="469811" y="4293955"/>
                  <a:pt x="445519" y="4305981"/>
                  <a:pt x="416332" y="4311099"/>
                </a:cubicBezTo>
                <a:cubicBezTo>
                  <a:pt x="406653" y="4314500"/>
                  <a:pt x="396973" y="4317900"/>
                  <a:pt x="394155" y="4328545"/>
                </a:cubicBezTo>
                <a:cubicBezTo>
                  <a:pt x="390854" y="4336073"/>
                  <a:pt x="387739" y="4336551"/>
                  <a:pt x="381694" y="4330458"/>
                </a:cubicBezTo>
                <a:cubicBezTo>
                  <a:pt x="374016" y="4322062"/>
                  <a:pt x="364189" y="4320379"/>
                  <a:pt x="353359" y="4324594"/>
                </a:cubicBezTo>
                <a:cubicBezTo>
                  <a:pt x="341714" y="4327658"/>
                  <a:pt x="328919" y="4331537"/>
                  <a:pt x="316125" y="4335415"/>
                </a:cubicBezTo>
                <a:cubicBezTo>
                  <a:pt x="305295" y="4339631"/>
                  <a:pt x="296952" y="4335167"/>
                  <a:pt x="291573" y="4325141"/>
                </a:cubicBezTo>
                <a:cubicBezTo>
                  <a:pt x="290757" y="4323990"/>
                  <a:pt x="289126" y="4321687"/>
                  <a:pt x="288644" y="4318570"/>
                </a:cubicBezTo>
                <a:cubicBezTo>
                  <a:pt x="284564" y="4312813"/>
                  <a:pt x="277851" y="4310652"/>
                  <a:pt x="272103" y="4314726"/>
                </a:cubicBezTo>
                <a:cubicBezTo>
                  <a:pt x="266688" y="4316833"/>
                  <a:pt x="270769" y="4322590"/>
                  <a:pt x="274031" y="4327196"/>
                </a:cubicBezTo>
                <a:cubicBezTo>
                  <a:pt x="276145" y="4332616"/>
                  <a:pt x="279409" y="4337221"/>
                  <a:pt x="273327" y="4343261"/>
                </a:cubicBezTo>
                <a:cubicBezTo>
                  <a:pt x="262980" y="4350593"/>
                  <a:pt x="245623" y="4345598"/>
                  <a:pt x="240579" y="4333606"/>
                </a:cubicBezTo>
                <a:cubicBezTo>
                  <a:pt x="238131" y="4330152"/>
                  <a:pt x="238799" y="4326220"/>
                  <a:pt x="234052" y="4324396"/>
                </a:cubicBezTo>
                <a:cubicBezTo>
                  <a:pt x="230603" y="4326840"/>
                  <a:pt x="233051" y="4330294"/>
                  <a:pt x="231567" y="4333075"/>
                </a:cubicBezTo>
                <a:cubicBezTo>
                  <a:pt x="230714" y="4344056"/>
                  <a:pt x="226116" y="4347315"/>
                  <a:pt x="215806" y="4342515"/>
                </a:cubicBezTo>
                <a:cubicBezTo>
                  <a:pt x="201082" y="4333924"/>
                  <a:pt x="185357" y="4331231"/>
                  <a:pt x="170449" y="4329690"/>
                </a:cubicBezTo>
                <a:cubicBezTo>
                  <a:pt x="152758" y="4326660"/>
                  <a:pt x="135403" y="4321665"/>
                  <a:pt x="122830" y="4306361"/>
                </a:cubicBezTo>
                <a:cubicBezTo>
                  <a:pt x="117600" y="4301419"/>
                  <a:pt x="110405" y="4296140"/>
                  <a:pt x="103025" y="4297911"/>
                </a:cubicBezTo>
                <a:cubicBezTo>
                  <a:pt x="71872" y="4302693"/>
                  <a:pt x="45392" y="4279949"/>
                  <a:pt x="13758" y="4281613"/>
                </a:cubicBezTo>
                <a:cubicBezTo>
                  <a:pt x="4746" y="4281081"/>
                  <a:pt x="1815" y="4274510"/>
                  <a:pt x="35" y="4267124"/>
                </a:cubicBezTo>
                <a:cubicBezTo>
                  <a:pt x="-596" y="4258923"/>
                  <a:pt x="7600" y="4258303"/>
                  <a:pt x="13497" y="4259313"/>
                </a:cubicBezTo>
                <a:cubicBezTo>
                  <a:pt x="24475" y="4260181"/>
                  <a:pt x="30557" y="4254141"/>
                  <a:pt x="34191" y="4244648"/>
                </a:cubicBezTo>
                <a:cubicBezTo>
                  <a:pt x="38159" y="4233188"/>
                  <a:pt x="45725" y="4224367"/>
                  <a:pt x="56073" y="4217035"/>
                </a:cubicBezTo>
                <a:cubicBezTo>
                  <a:pt x="74133" y="4205965"/>
                  <a:pt x="92305" y="4212112"/>
                  <a:pt x="99130" y="4231489"/>
                </a:cubicBezTo>
                <a:cubicBezTo>
                  <a:pt x="100428" y="4235758"/>
                  <a:pt x="102542" y="4241178"/>
                  <a:pt x="104990" y="4244632"/>
                </a:cubicBezTo>
                <a:cubicBezTo>
                  <a:pt x="105805" y="4245783"/>
                  <a:pt x="105472" y="4247750"/>
                  <a:pt x="105472" y="4247750"/>
                </a:cubicBezTo>
                <a:cubicBezTo>
                  <a:pt x="106621" y="4246935"/>
                  <a:pt x="106621" y="4246935"/>
                  <a:pt x="106955" y="4244969"/>
                </a:cubicBezTo>
                <a:cubicBezTo>
                  <a:pt x="111554" y="4241710"/>
                  <a:pt x="115004" y="4239266"/>
                  <a:pt x="120417" y="4237158"/>
                </a:cubicBezTo>
                <a:cubicBezTo>
                  <a:pt x="146341" y="4227435"/>
                  <a:pt x="150791" y="4219092"/>
                  <a:pt x="142187" y="4192328"/>
                </a:cubicBezTo>
                <a:cubicBezTo>
                  <a:pt x="137144" y="4180337"/>
                  <a:pt x="142409" y="4173146"/>
                  <a:pt x="154388" y="4168116"/>
                </a:cubicBezTo>
                <a:cubicBezTo>
                  <a:pt x="163251" y="4163564"/>
                  <a:pt x="171114" y="4164910"/>
                  <a:pt x="181424" y="4169711"/>
                </a:cubicBezTo>
                <a:cubicBezTo>
                  <a:pt x="210389" y="4183775"/>
                  <a:pt x="240540" y="4184892"/>
                  <a:pt x="271062" y="4171910"/>
                </a:cubicBezTo>
                <a:cubicBezTo>
                  <a:pt x="297801" y="4163338"/>
                  <a:pt x="297801" y="4163338"/>
                  <a:pt x="276884" y="4143570"/>
                </a:cubicBezTo>
                <a:cubicBezTo>
                  <a:pt x="265610" y="4132535"/>
                  <a:pt x="263829" y="4125149"/>
                  <a:pt x="270913" y="4113211"/>
                </a:cubicBezTo>
                <a:cubicBezTo>
                  <a:pt x="286601" y="4128036"/>
                  <a:pt x="292497" y="4129046"/>
                  <a:pt x="310558" y="4117977"/>
                </a:cubicBezTo>
                <a:cubicBezTo>
                  <a:pt x="322055" y="4109829"/>
                  <a:pt x="332254" y="4097413"/>
                  <a:pt x="348461" y="4103223"/>
                </a:cubicBezTo>
                <a:cubicBezTo>
                  <a:pt x="349277" y="4104375"/>
                  <a:pt x="350426" y="4103560"/>
                  <a:pt x="351576" y="4102745"/>
                </a:cubicBezTo>
                <a:cubicBezTo>
                  <a:pt x="362109" y="4088363"/>
                  <a:pt x="361663" y="4073112"/>
                  <a:pt x="352207" y="4057330"/>
                </a:cubicBezTo>
                <a:cubicBezTo>
                  <a:pt x="346494" y="4049271"/>
                  <a:pt x="340784" y="4041212"/>
                  <a:pt x="347532" y="4031240"/>
                </a:cubicBezTo>
                <a:cubicBezTo>
                  <a:pt x="347866" y="4029273"/>
                  <a:pt x="349683" y="4024527"/>
                  <a:pt x="352131" y="4027981"/>
                </a:cubicBezTo>
                <a:cubicBezTo>
                  <a:pt x="359809" y="4036377"/>
                  <a:pt x="368672" y="4031825"/>
                  <a:pt x="378019" y="4030390"/>
                </a:cubicBezTo>
                <a:cubicBezTo>
                  <a:pt x="388514" y="4028141"/>
                  <a:pt x="397191" y="4030639"/>
                  <a:pt x="402569" y="4040664"/>
                </a:cubicBezTo>
                <a:cubicBezTo>
                  <a:pt x="408763" y="4051841"/>
                  <a:pt x="419073" y="4056642"/>
                  <a:pt x="431535" y="4054729"/>
                </a:cubicBezTo>
                <a:cubicBezTo>
                  <a:pt x="443661" y="4054783"/>
                  <a:pt x="449261" y="4045625"/>
                  <a:pt x="453229" y="4034166"/>
                </a:cubicBezTo>
                <a:cubicBezTo>
                  <a:pt x="455232" y="4022369"/>
                  <a:pt x="460795" y="4025345"/>
                  <a:pt x="465690" y="4032253"/>
                </a:cubicBezTo>
                <a:cubicBezTo>
                  <a:pt x="473035" y="4042615"/>
                  <a:pt x="481230" y="4041995"/>
                  <a:pt x="488795" y="4033175"/>
                </a:cubicBezTo>
                <a:cubicBezTo>
                  <a:pt x="491095" y="4031545"/>
                  <a:pt x="493394" y="4029916"/>
                  <a:pt x="494877" y="4027135"/>
                </a:cubicBezTo>
                <a:cubicBezTo>
                  <a:pt x="503592" y="4017500"/>
                  <a:pt x="512456" y="4012948"/>
                  <a:pt x="525214" y="4021202"/>
                </a:cubicBezTo>
                <a:cubicBezTo>
                  <a:pt x="538307" y="4027491"/>
                  <a:pt x="552732" y="4025915"/>
                  <a:pt x="563895" y="4019733"/>
                </a:cubicBezTo>
                <a:cubicBezTo>
                  <a:pt x="573575" y="4016333"/>
                  <a:pt x="582772" y="4009815"/>
                  <a:pt x="571498" y="3998780"/>
                </a:cubicBezTo>
                <a:cubicBezTo>
                  <a:pt x="569050" y="3995326"/>
                  <a:pt x="566936" y="3989906"/>
                  <a:pt x="565638" y="3985637"/>
                </a:cubicBezTo>
                <a:cubicBezTo>
                  <a:pt x="559926" y="3977577"/>
                  <a:pt x="557664" y="3967074"/>
                  <a:pt x="548170" y="3963425"/>
                </a:cubicBezTo>
                <a:cubicBezTo>
                  <a:pt x="525732" y="3958571"/>
                  <a:pt x="515459" y="3941637"/>
                  <a:pt x="503220" y="3924367"/>
                </a:cubicBezTo>
                <a:cubicBezTo>
                  <a:pt x="514532" y="3923269"/>
                  <a:pt x="525843" y="3922172"/>
                  <a:pt x="535040" y="3915654"/>
                </a:cubicBezTo>
                <a:cubicBezTo>
                  <a:pt x="545721" y="3906355"/>
                  <a:pt x="558516" y="3902476"/>
                  <a:pt x="572609" y="3902867"/>
                </a:cubicBezTo>
                <a:cubicBezTo>
                  <a:pt x="584736" y="3902920"/>
                  <a:pt x="597197" y="3901007"/>
                  <a:pt x="609658" y="3899095"/>
                </a:cubicBezTo>
                <a:cubicBezTo>
                  <a:pt x="646709" y="3895323"/>
                  <a:pt x="684426" y="3887620"/>
                  <a:pt x="723254" y="3891234"/>
                </a:cubicBezTo>
                <a:cubicBezTo>
                  <a:pt x="732267" y="3891766"/>
                  <a:pt x="734083" y="3887019"/>
                  <a:pt x="732303" y="3879633"/>
                </a:cubicBezTo>
                <a:cubicBezTo>
                  <a:pt x="731821" y="3876515"/>
                  <a:pt x="729707" y="3871095"/>
                  <a:pt x="735122" y="3868988"/>
                </a:cubicBezTo>
                <a:cubicBezTo>
                  <a:pt x="739387" y="3867695"/>
                  <a:pt x="742651" y="3872300"/>
                  <a:pt x="744282" y="3874603"/>
                </a:cubicBezTo>
                <a:cubicBezTo>
                  <a:pt x="749511" y="3879545"/>
                  <a:pt x="753925" y="3883335"/>
                  <a:pt x="759339" y="3881228"/>
                </a:cubicBezTo>
                <a:cubicBezTo>
                  <a:pt x="765904" y="3878305"/>
                  <a:pt x="773766" y="3879652"/>
                  <a:pt x="780330" y="3876729"/>
                </a:cubicBezTo>
                <a:cubicBezTo>
                  <a:pt x="790010" y="3873329"/>
                  <a:pt x="794424" y="3877120"/>
                  <a:pt x="795870" y="3886472"/>
                </a:cubicBezTo>
                <a:cubicBezTo>
                  <a:pt x="795165" y="3902537"/>
                  <a:pt x="805994" y="3898322"/>
                  <a:pt x="816156" y="3898039"/>
                </a:cubicBezTo>
                <a:cubicBezTo>
                  <a:pt x="829433" y="3897277"/>
                  <a:pt x="822907" y="3888067"/>
                  <a:pt x="821941" y="3881832"/>
                </a:cubicBezTo>
                <a:cubicBezTo>
                  <a:pt x="821459" y="3878715"/>
                  <a:pt x="819827" y="3876412"/>
                  <a:pt x="823276" y="3873968"/>
                </a:cubicBezTo>
                <a:cubicBezTo>
                  <a:pt x="829655" y="3878095"/>
                  <a:pt x="837184" y="3881407"/>
                  <a:pt x="843229" y="3887501"/>
                </a:cubicBezTo>
                <a:cubicBezTo>
                  <a:pt x="848792" y="3890477"/>
                  <a:pt x="854689" y="3891486"/>
                  <a:pt x="859288" y="3888227"/>
                </a:cubicBezTo>
                <a:cubicBezTo>
                  <a:pt x="865036" y="3884154"/>
                  <a:pt x="860957" y="3878397"/>
                  <a:pt x="859658" y="3874128"/>
                </a:cubicBezTo>
                <a:cubicBezTo>
                  <a:pt x="852538" y="3844584"/>
                  <a:pt x="862254" y="3829050"/>
                  <a:pt x="891775" y="3821966"/>
                </a:cubicBezTo>
                <a:cubicBezTo>
                  <a:pt x="898005" y="3821010"/>
                  <a:pt x="903420" y="3818902"/>
                  <a:pt x="909316" y="3819912"/>
                </a:cubicBezTo>
                <a:cubicBezTo>
                  <a:pt x="936204" y="3816423"/>
                  <a:pt x="955897" y="3807656"/>
                  <a:pt x="958122" y="3776677"/>
                </a:cubicBezTo>
                <a:cubicBezTo>
                  <a:pt x="958122" y="3776677"/>
                  <a:pt x="959271" y="3775862"/>
                  <a:pt x="958455" y="3774711"/>
                </a:cubicBezTo>
                <a:cubicBezTo>
                  <a:pt x="962572" y="3768335"/>
                  <a:pt x="966355" y="3763924"/>
                  <a:pt x="974551" y="3763305"/>
                </a:cubicBezTo>
                <a:cubicBezTo>
                  <a:pt x="977666" y="3762827"/>
                  <a:pt x="981597" y="3763500"/>
                  <a:pt x="982895" y="3767768"/>
                </a:cubicBezTo>
                <a:cubicBezTo>
                  <a:pt x="985825" y="3774340"/>
                  <a:pt x="980893" y="3779565"/>
                  <a:pt x="977110" y="3783975"/>
                </a:cubicBezTo>
                <a:cubicBezTo>
                  <a:pt x="973661" y="3786419"/>
                  <a:pt x="969878" y="3790830"/>
                  <a:pt x="972326" y="3794284"/>
                </a:cubicBezTo>
                <a:cubicBezTo>
                  <a:pt x="974440" y="3799704"/>
                  <a:pt x="979373" y="3794479"/>
                  <a:pt x="983304" y="3795152"/>
                </a:cubicBezTo>
                <a:cubicBezTo>
                  <a:pt x="990684" y="3793381"/>
                  <a:pt x="997248" y="3790459"/>
                  <a:pt x="1004628" y="3788688"/>
                </a:cubicBezTo>
                <a:cubicBezTo>
                  <a:pt x="1014308" y="3785287"/>
                  <a:pt x="1023654" y="3783853"/>
                  <a:pt x="1033148" y="3787502"/>
                </a:cubicBezTo>
                <a:cubicBezTo>
                  <a:pt x="1039861" y="3789663"/>
                  <a:pt x="1043310" y="3787219"/>
                  <a:pt x="1047426" y="3780842"/>
                </a:cubicBezTo>
                <a:cubicBezTo>
                  <a:pt x="1059442" y="3763679"/>
                  <a:pt x="1072237" y="3759801"/>
                  <a:pt x="1092375" y="3766284"/>
                </a:cubicBezTo>
                <a:cubicBezTo>
                  <a:pt x="1103019" y="3769118"/>
                  <a:pt x="1112179" y="3774734"/>
                  <a:pt x="1122489" y="3779534"/>
                </a:cubicBezTo>
                <a:cubicBezTo>
                  <a:pt x="1134765" y="3784671"/>
                  <a:pt x="1146892" y="3784725"/>
                  <a:pt x="1159687" y="3780846"/>
                </a:cubicBezTo>
                <a:cubicBezTo>
                  <a:pt x="1173632" y="3776153"/>
                  <a:pt x="1177748" y="3769776"/>
                  <a:pt x="1174521" y="3753038"/>
                </a:cubicBezTo>
                <a:cubicBezTo>
                  <a:pt x="1170479" y="3735148"/>
                  <a:pt x="1177710" y="3728294"/>
                  <a:pt x="1196068" y="3727391"/>
                </a:cubicBezTo>
                <a:cubicBezTo>
                  <a:pt x="1202299" y="3726434"/>
                  <a:pt x="1206230" y="3727108"/>
                  <a:pt x="1211162" y="3721883"/>
                </a:cubicBezTo>
                <a:cubicBezTo>
                  <a:pt x="1221695" y="3707500"/>
                  <a:pt x="1221695" y="3707500"/>
                  <a:pt x="1232302" y="3722468"/>
                </a:cubicBezTo>
                <a:cubicBezTo>
                  <a:pt x="1232784" y="3725585"/>
                  <a:pt x="1233600" y="3726737"/>
                  <a:pt x="1236381" y="3728225"/>
                </a:cubicBezTo>
                <a:cubicBezTo>
                  <a:pt x="1242909" y="3737435"/>
                  <a:pt x="1249955" y="3737630"/>
                  <a:pt x="1256705" y="3727658"/>
                </a:cubicBezTo>
                <a:cubicBezTo>
                  <a:pt x="1261971" y="3720467"/>
                  <a:pt x="1265605" y="3710973"/>
                  <a:pt x="1271687" y="3704934"/>
                </a:cubicBezTo>
                <a:cubicBezTo>
                  <a:pt x="1295052" y="3674540"/>
                  <a:pt x="1338331" y="3669812"/>
                  <a:pt x="1364812" y="3692556"/>
                </a:cubicBezTo>
                <a:cubicBezTo>
                  <a:pt x="1374454" y="3701288"/>
                  <a:pt x="1376383" y="3713758"/>
                  <a:pt x="1383726" y="3724120"/>
                </a:cubicBezTo>
                <a:cubicBezTo>
                  <a:pt x="1393183" y="3739902"/>
                  <a:pt x="1403827" y="3742736"/>
                  <a:pt x="1420887" y="3737565"/>
                </a:cubicBezTo>
                <a:cubicBezTo>
                  <a:pt x="1429417" y="3734979"/>
                  <a:pt x="1437131" y="3731242"/>
                  <a:pt x="1445661" y="3728656"/>
                </a:cubicBezTo>
                <a:cubicBezTo>
                  <a:pt x="1462720" y="3723485"/>
                  <a:pt x="1469136" y="3715479"/>
                  <a:pt x="1465094" y="3697589"/>
                </a:cubicBezTo>
                <a:cubicBezTo>
                  <a:pt x="1463981" y="3686271"/>
                  <a:pt x="1468246" y="3684978"/>
                  <a:pt x="1478074" y="3686661"/>
                </a:cubicBezTo>
                <a:cubicBezTo>
                  <a:pt x="1498879" y="3689212"/>
                  <a:pt x="1506445" y="3680392"/>
                  <a:pt x="1501920" y="3659385"/>
                </a:cubicBezTo>
                <a:cubicBezTo>
                  <a:pt x="1499806" y="3653964"/>
                  <a:pt x="1496542" y="3649359"/>
                  <a:pt x="1490312" y="3650315"/>
                </a:cubicBezTo>
                <a:cubicBezTo>
                  <a:pt x="1482932" y="3652086"/>
                  <a:pt x="1485046" y="3657506"/>
                  <a:pt x="1487160" y="3662926"/>
                </a:cubicBezTo>
                <a:cubicBezTo>
                  <a:pt x="1489607" y="3666380"/>
                  <a:pt x="1489756" y="3671464"/>
                  <a:pt x="1484341" y="3673572"/>
                </a:cubicBezTo>
                <a:cubicBezTo>
                  <a:pt x="1479743" y="3676831"/>
                  <a:pt x="1473846" y="3675821"/>
                  <a:pt x="1471732" y="3670401"/>
                </a:cubicBezTo>
                <a:cubicBezTo>
                  <a:pt x="1463906" y="3656921"/>
                  <a:pt x="1453781" y="3645071"/>
                  <a:pt x="1445140" y="3630440"/>
                </a:cubicBezTo>
                <a:cubicBezTo>
                  <a:pt x="1451037" y="3631450"/>
                  <a:pt x="1453003" y="3631787"/>
                  <a:pt x="1455784" y="3633275"/>
                </a:cubicBezTo>
                <a:cubicBezTo>
                  <a:pt x="1467578" y="3635294"/>
                  <a:pt x="1476775" y="3628776"/>
                  <a:pt x="1486454" y="3625376"/>
                </a:cubicBezTo>
                <a:cubicBezTo>
                  <a:pt x="1491869" y="3623268"/>
                  <a:pt x="1488123" y="3615546"/>
                  <a:pt x="1489940" y="3610799"/>
                </a:cubicBezTo>
                <a:cubicBezTo>
                  <a:pt x="1493241" y="3603271"/>
                  <a:pt x="1497358" y="3596895"/>
                  <a:pt x="1507037" y="3593494"/>
                </a:cubicBezTo>
                <a:cubicBezTo>
                  <a:pt x="1514751" y="3589757"/>
                  <a:pt x="1522799" y="3584054"/>
                  <a:pt x="1532478" y="3580653"/>
                </a:cubicBezTo>
                <a:cubicBezTo>
                  <a:pt x="1523318" y="3575038"/>
                  <a:pt x="1509707" y="3577765"/>
                  <a:pt x="1511710" y="3565969"/>
                </a:cubicBezTo>
                <a:cubicBezTo>
                  <a:pt x="1512229" y="3556953"/>
                  <a:pt x="1510634" y="3542518"/>
                  <a:pt x="1528324" y="3545547"/>
                </a:cubicBezTo>
                <a:cubicBezTo>
                  <a:pt x="1528324" y="3545547"/>
                  <a:pt x="1529807" y="3542766"/>
                  <a:pt x="1528991" y="3541615"/>
                </a:cubicBezTo>
                <a:cubicBezTo>
                  <a:pt x="1526062" y="3535043"/>
                  <a:pt x="1524281" y="3527657"/>
                  <a:pt x="1515418" y="3532209"/>
                </a:cubicBezTo>
                <a:cubicBezTo>
                  <a:pt x="1505404" y="3537576"/>
                  <a:pt x="1494093" y="3538673"/>
                  <a:pt x="1483931" y="3538957"/>
                </a:cubicBezTo>
                <a:cubicBezTo>
                  <a:pt x="1471470" y="3540869"/>
                  <a:pt x="1464238" y="3547724"/>
                  <a:pt x="1465351" y="3559042"/>
                </a:cubicBezTo>
                <a:cubicBezTo>
                  <a:pt x="1465314" y="3571175"/>
                  <a:pt x="1460233" y="3571317"/>
                  <a:pt x="1452371" y="3569970"/>
                </a:cubicBezTo>
                <a:cubicBezTo>
                  <a:pt x="1436646" y="3567277"/>
                  <a:pt x="1422405" y="3561804"/>
                  <a:pt x="1406347" y="3561077"/>
                </a:cubicBezTo>
                <a:cubicBezTo>
                  <a:pt x="1397335" y="3560545"/>
                  <a:pt x="1391920" y="3562653"/>
                  <a:pt x="1387470" y="3570995"/>
                </a:cubicBezTo>
                <a:cubicBezTo>
                  <a:pt x="1384169" y="3578523"/>
                  <a:pt x="1382834" y="3586387"/>
                  <a:pt x="1374304" y="3588973"/>
                </a:cubicBezTo>
                <a:cubicBezTo>
                  <a:pt x="1366590" y="3592710"/>
                  <a:pt x="1360545" y="3586617"/>
                  <a:pt x="1353832" y="3584456"/>
                </a:cubicBezTo>
                <a:cubicBezTo>
                  <a:pt x="1353276" y="3605605"/>
                  <a:pt x="1353276" y="3605605"/>
                  <a:pt x="1332137" y="3605019"/>
                </a:cubicBezTo>
                <a:cubicBezTo>
                  <a:pt x="1323941" y="3605639"/>
                  <a:pt x="1314929" y="3605107"/>
                  <a:pt x="1310145" y="3615416"/>
                </a:cubicBezTo>
                <a:cubicBezTo>
                  <a:pt x="1297795" y="3634545"/>
                  <a:pt x="1293530" y="3635838"/>
                  <a:pt x="1272910" y="3626237"/>
                </a:cubicBezTo>
                <a:cubicBezTo>
                  <a:pt x="1263416" y="3622588"/>
                  <a:pt x="1253922" y="3618939"/>
                  <a:pt x="1243278" y="3616105"/>
                </a:cubicBezTo>
                <a:cubicBezTo>
                  <a:pt x="1218393" y="3607797"/>
                  <a:pt x="1212644" y="3611870"/>
                  <a:pt x="1210271" y="3637766"/>
                </a:cubicBezTo>
                <a:cubicBezTo>
                  <a:pt x="1209270" y="3643664"/>
                  <a:pt x="1210234" y="3649899"/>
                  <a:pt x="1208899" y="3657763"/>
                </a:cubicBezTo>
                <a:cubicBezTo>
                  <a:pt x="1200072" y="3650182"/>
                  <a:pt x="1192878" y="3644903"/>
                  <a:pt x="1184051" y="3637322"/>
                </a:cubicBezTo>
                <a:cubicBezTo>
                  <a:pt x="1183383" y="3641254"/>
                  <a:pt x="1184199" y="3642406"/>
                  <a:pt x="1183866" y="3644372"/>
                </a:cubicBezTo>
                <a:cubicBezTo>
                  <a:pt x="1188205" y="3672429"/>
                  <a:pt x="1176708" y="3680576"/>
                  <a:pt x="1151007" y="3671117"/>
                </a:cubicBezTo>
                <a:cubicBezTo>
                  <a:pt x="1146260" y="3669292"/>
                  <a:pt x="1141513" y="3667468"/>
                  <a:pt x="1135950" y="3664492"/>
                </a:cubicBezTo>
                <a:cubicBezTo>
                  <a:pt x="1133169" y="3663004"/>
                  <a:pt x="1130387" y="3661516"/>
                  <a:pt x="1130239" y="3656432"/>
                </a:cubicBezTo>
                <a:cubicBezTo>
                  <a:pt x="1133725" y="3641855"/>
                  <a:pt x="1122747" y="3640987"/>
                  <a:pt x="1112919" y="3639304"/>
                </a:cubicBezTo>
                <a:cubicBezTo>
                  <a:pt x="1085883" y="3637709"/>
                  <a:pt x="1061109" y="3646617"/>
                  <a:pt x="1036335" y="3655526"/>
                </a:cubicBezTo>
                <a:cubicBezTo>
                  <a:pt x="997284" y="3671094"/>
                  <a:pt x="958714" y="3689780"/>
                  <a:pt x="914469" y="3688273"/>
                </a:cubicBezTo>
                <a:cubicBezTo>
                  <a:pt x="900377" y="3687882"/>
                  <a:pt x="888399" y="3692912"/>
                  <a:pt x="877717" y="3702211"/>
                </a:cubicBezTo>
                <a:cubicBezTo>
                  <a:pt x="869335" y="3709880"/>
                  <a:pt x="858840" y="3712130"/>
                  <a:pt x="849012" y="3710447"/>
                </a:cubicBezTo>
                <a:cubicBezTo>
                  <a:pt x="830989" y="3709383"/>
                  <a:pt x="814262" y="3712589"/>
                  <a:pt x="796869" y="3719726"/>
                </a:cubicBezTo>
                <a:cubicBezTo>
                  <a:pt x="780625" y="3726049"/>
                  <a:pt x="765679" y="3736641"/>
                  <a:pt x="746505" y="3736392"/>
                </a:cubicBezTo>
                <a:cubicBezTo>
                  <a:pt x="730113" y="3737632"/>
                  <a:pt x="716169" y="3742325"/>
                  <a:pt x="711681" y="3762800"/>
                </a:cubicBezTo>
                <a:cubicBezTo>
                  <a:pt x="696661" y="3744042"/>
                  <a:pt x="683199" y="3751853"/>
                  <a:pt x="668587" y="3760479"/>
                </a:cubicBezTo>
                <a:cubicBezTo>
                  <a:pt x="658241" y="3767811"/>
                  <a:pt x="647077" y="3773993"/>
                  <a:pt x="633319" y="3771636"/>
                </a:cubicBezTo>
                <a:cubicBezTo>
                  <a:pt x="612846" y="3767119"/>
                  <a:pt x="594970" y="3771139"/>
                  <a:pt x="575945" y="3775974"/>
                </a:cubicBezTo>
                <a:cubicBezTo>
                  <a:pt x="542975" y="3785502"/>
                  <a:pt x="510487" y="3798148"/>
                  <a:pt x="475737" y="3800290"/>
                </a:cubicBezTo>
                <a:cubicBezTo>
                  <a:pt x="448034" y="3802627"/>
                  <a:pt x="421628" y="3809233"/>
                  <a:pt x="397003" y="3823225"/>
                </a:cubicBezTo>
                <a:cubicBezTo>
                  <a:pt x="390105" y="3828114"/>
                  <a:pt x="383058" y="3827919"/>
                  <a:pt x="375864" y="3822640"/>
                </a:cubicBezTo>
                <a:cubicBezTo>
                  <a:pt x="351164" y="3807283"/>
                  <a:pt x="350014" y="3808098"/>
                  <a:pt x="326687" y="3826358"/>
                </a:cubicBezTo>
                <a:cubicBezTo>
                  <a:pt x="324388" y="3827988"/>
                  <a:pt x="322088" y="3829617"/>
                  <a:pt x="318640" y="3832062"/>
                </a:cubicBezTo>
                <a:cubicBezTo>
                  <a:pt x="317193" y="3822709"/>
                  <a:pt x="315747" y="3813357"/>
                  <a:pt x="315116" y="3805156"/>
                </a:cubicBezTo>
                <a:cubicBezTo>
                  <a:pt x="311555" y="3790384"/>
                  <a:pt x="317490" y="3779261"/>
                  <a:pt x="329801" y="3772264"/>
                </a:cubicBezTo>
                <a:cubicBezTo>
                  <a:pt x="336699" y="3767376"/>
                  <a:pt x="344080" y="3765605"/>
                  <a:pt x="350162" y="3759565"/>
                </a:cubicBezTo>
                <a:cubicBezTo>
                  <a:pt x="360027" y="3749115"/>
                  <a:pt x="365107" y="3748974"/>
                  <a:pt x="375566" y="3758858"/>
                </a:cubicBezTo>
                <a:cubicBezTo>
                  <a:pt x="378830" y="3763463"/>
                  <a:pt x="382093" y="3768068"/>
                  <a:pt x="385357" y="3772674"/>
                </a:cubicBezTo>
                <a:cubicBezTo>
                  <a:pt x="389103" y="3780396"/>
                  <a:pt x="393368" y="3779103"/>
                  <a:pt x="399116" y="3775030"/>
                </a:cubicBezTo>
                <a:cubicBezTo>
                  <a:pt x="412578" y="3767219"/>
                  <a:pt x="417697" y="3754944"/>
                  <a:pt x="420033" y="3741182"/>
                </a:cubicBezTo>
                <a:cubicBezTo>
                  <a:pt x="421516" y="3738401"/>
                  <a:pt x="420219" y="3734132"/>
                  <a:pt x="424484" y="3732839"/>
                </a:cubicBezTo>
                <a:cubicBezTo>
                  <a:pt x="427599" y="3732361"/>
                  <a:pt x="430046" y="3735815"/>
                  <a:pt x="432827" y="3737303"/>
                </a:cubicBezTo>
                <a:cubicBezTo>
                  <a:pt x="434459" y="3739606"/>
                  <a:pt x="435275" y="3740757"/>
                  <a:pt x="436907" y="3743060"/>
                </a:cubicBezTo>
                <a:cubicBezTo>
                  <a:pt x="442618" y="3751119"/>
                  <a:pt x="447699" y="3750978"/>
                  <a:pt x="452965" y="3743787"/>
                </a:cubicBezTo>
                <a:cubicBezTo>
                  <a:pt x="457416" y="3735444"/>
                  <a:pt x="463312" y="3736454"/>
                  <a:pt x="470842" y="3739767"/>
                </a:cubicBezTo>
                <a:cubicBezTo>
                  <a:pt x="477554" y="3741928"/>
                  <a:pt x="479668" y="3747348"/>
                  <a:pt x="478667" y="3753246"/>
                </a:cubicBezTo>
                <a:cubicBezTo>
                  <a:pt x="478481" y="3760296"/>
                  <a:pt x="471101" y="3762067"/>
                  <a:pt x="464055" y="3761871"/>
                </a:cubicBezTo>
                <a:cubicBezTo>
                  <a:pt x="459790" y="3763164"/>
                  <a:pt x="455858" y="3762491"/>
                  <a:pt x="455673" y="3769541"/>
                </a:cubicBezTo>
                <a:cubicBezTo>
                  <a:pt x="455488" y="3776590"/>
                  <a:pt x="459419" y="3777263"/>
                  <a:pt x="464166" y="3779088"/>
                </a:cubicBezTo>
                <a:cubicBezTo>
                  <a:pt x="473994" y="3780771"/>
                  <a:pt x="491424" y="3761500"/>
                  <a:pt x="487196" y="3750660"/>
                </a:cubicBezTo>
                <a:cubicBezTo>
                  <a:pt x="481188" y="3732434"/>
                  <a:pt x="493167" y="3727404"/>
                  <a:pt x="505146" y="3722374"/>
                </a:cubicBezTo>
                <a:cubicBezTo>
                  <a:pt x="529438" y="3710348"/>
                  <a:pt x="557475" y="3706045"/>
                  <a:pt x="582248" y="3697136"/>
                </a:cubicBezTo>
                <a:cubicBezTo>
                  <a:pt x="589630" y="3695365"/>
                  <a:pt x="592892" y="3699970"/>
                  <a:pt x="593857" y="3706205"/>
                </a:cubicBezTo>
                <a:cubicBezTo>
                  <a:pt x="595638" y="3713591"/>
                  <a:pt x="597417" y="3720978"/>
                  <a:pt x="601164" y="3728700"/>
                </a:cubicBezTo>
                <a:cubicBezTo>
                  <a:pt x="606059" y="3735608"/>
                  <a:pt x="612289" y="3734652"/>
                  <a:pt x="618520" y="3733696"/>
                </a:cubicBezTo>
                <a:cubicBezTo>
                  <a:pt x="623600" y="3733554"/>
                  <a:pt x="620670" y="3726983"/>
                  <a:pt x="622154" y="3724202"/>
                </a:cubicBezTo>
                <a:cubicBezTo>
                  <a:pt x="622191" y="3712069"/>
                  <a:pt x="623377" y="3699121"/>
                  <a:pt x="623415" y="3686988"/>
                </a:cubicBezTo>
                <a:cubicBezTo>
                  <a:pt x="626196" y="3688476"/>
                  <a:pt x="627012" y="3689627"/>
                  <a:pt x="627828" y="3690779"/>
                </a:cubicBezTo>
                <a:cubicBezTo>
                  <a:pt x="638768" y="3703780"/>
                  <a:pt x="638768" y="3703780"/>
                  <a:pt x="646519" y="3687910"/>
                </a:cubicBezTo>
                <a:cubicBezTo>
                  <a:pt x="648670" y="3681197"/>
                  <a:pt x="651452" y="3682685"/>
                  <a:pt x="655049" y="3685324"/>
                </a:cubicBezTo>
                <a:cubicBezTo>
                  <a:pt x="665026" y="3692091"/>
                  <a:pt x="674371" y="3690656"/>
                  <a:pt x="680787" y="3682650"/>
                </a:cubicBezTo>
                <a:cubicBezTo>
                  <a:pt x="689354" y="3667931"/>
                  <a:pt x="702816" y="3660121"/>
                  <a:pt x="715463" y="3651159"/>
                </a:cubicBezTo>
                <a:cubicBezTo>
                  <a:pt x="722361" y="3646270"/>
                  <a:pt x="724994" y="3642675"/>
                  <a:pt x="715500" y="3639026"/>
                </a:cubicBezTo>
                <a:cubicBezTo>
                  <a:pt x="707155" y="3634562"/>
                  <a:pt x="705041" y="3629142"/>
                  <a:pt x="709825" y="3618833"/>
                </a:cubicBezTo>
                <a:cubicBezTo>
                  <a:pt x="697030" y="3622712"/>
                  <a:pt x="685051" y="3627742"/>
                  <a:pt x="672590" y="3629654"/>
                </a:cubicBezTo>
                <a:cubicBezTo>
                  <a:pt x="660945" y="3632718"/>
                  <a:pt x="648484" y="3634631"/>
                  <a:pt x="635875" y="3631460"/>
                </a:cubicBezTo>
                <a:cubicBezTo>
                  <a:pt x="648373" y="3617414"/>
                  <a:pt x="648373" y="3617414"/>
                  <a:pt x="677560" y="3612296"/>
                </a:cubicBezTo>
                <a:cubicBezTo>
                  <a:pt x="696251" y="3609427"/>
                  <a:pt x="702333" y="3603388"/>
                  <a:pt x="703038" y="3587322"/>
                </a:cubicBezTo>
                <a:cubicBezTo>
                  <a:pt x="702926" y="3570106"/>
                  <a:pt x="702926" y="3570106"/>
                  <a:pt x="718799" y="3577882"/>
                </a:cubicBezTo>
                <a:cubicBezTo>
                  <a:pt x="719615" y="3579033"/>
                  <a:pt x="721581" y="3579370"/>
                  <a:pt x="722397" y="3580521"/>
                </a:cubicBezTo>
                <a:cubicBezTo>
                  <a:pt x="759707" y="3599050"/>
                  <a:pt x="776617" y="3588795"/>
                  <a:pt x="780511" y="3547985"/>
                </a:cubicBezTo>
                <a:cubicBezTo>
                  <a:pt x="781215" y="3531920"/>
                  <a:pt x="787817" y="3516865"/>
                  <a:pt x="798831" y="3505600"/>
                </a:cubicBezTo>
                <a:cubicBezTo>
                  <a:pt x="811811" y="3494672"/>
                  <a:pt x="826572" y="3491130"/>
                  <a:pt x="842482" y="3486773"/>
                </a:cubicBezTo>
                <a:cubicBezTo>
                  <a:pt x="862323" y="3483089"/>
                  <a:pt x="883314" y="3478591"/>
                  <a:pt x="901041" y="3469487"/>
                </a:cubicBezTo>
                <a:cubicBezTo>
                  <a:pt x="914503" y="3461676"/>
                  <a:pt x="929598" y="3456168"/>
                  <a:pt x="944024" y="3454592"/>
                </a:cubicBezTo>
                <a:cubicBezTo>
                  <a:pt x="955336" y="3453495"/>
                  <a:pt x="968946" y="3450767"/>
                  <a:pt x="975696" y="3440795"/>
                </a:cubicBezTo>
                <a:cubicBezTo>
                  <a:pt x="983929" y="3428043"/>
                  <a:pt x="993757" y="3429726"/>
                  <a:pt x="1005217" y="3433711"/>
                </a:cubicBezTo>
                <a:cubicBezTo>
                  <a:pt x="1026171" y="3441346"/>
                  <a:pt x="1044158" y="3454542"/>
                  <a:pt x="1058029" y="3474115"/>
                </a:cubicBezTo>
                <a:cubicBezTo>
                  <a:pt x="1061292" y="3478721"/>
                  <a:pt x="1064556" y="3483326"/>
                  <a:pt x="1073086" y="3480740"/>
                </a:cubicBezTo>
                <a:cubicBezTo>
                  <a:pt x="1082432" y="3479306"/>
                  <a:pt x="1080651" y="3471920"/>
                  <a:pt x="1081652" y="3466021"/>
                </a:cubicBezTo>
                <a:cubicBezTo>
                  <a:pt x="1081504" y="3460938"/>
                  <a:pt x="1081356" y="3455854"/>
                  <a:pt x="1082023" y="3451922"/>
                </a:cubicBezTo>
                <a:cubicBezTo>
                  <a:pt x="1083877" y="3435042"/>
                  <a:pt x="1094892" y="3423777"/>
                  <a:pt x="1106722" y="3413664"/>
                </a:cubicBezTo>
                <a:cubicBezTo>
                  <a:pt x="1117069" y="3406331"/>
                  <a:pt x="1123597" y="3415542"/>
                  <a:pt x="1132275" y="3418040"/>
                </a:cubicBezTo>
                <a:cubicBezTo>
                  <a:pt x="1130680" y="3403604"/>
                  <a:pt x="1136614" y="3392481"/>
                  <a:pt x="1148593" y="3387451"/>
                </a:cubicBezTo>
                <a:cubicBezTo>
                  <a:pt x="1163687" y="3381943"/>
                  <a:pt x="1175517" y="3371829"/>
                  <a:pt x="1187348" y="3361716"/>
                </a:cubicBezTo>
                <a:cubicBezTo>
                  <a:pt x="1212974" y="3341825"/>
                  <a:pt x="1242347" y="3329658"/>
                  <a:pt x="1276578" y="3336531"/>
                </a:cubicBezTo>
                <a:cubicBezTo>
                  <a:pt x="1282474" y="3337541"/>
                  <a:pt x="1288371" y="3338551"/>
                  <a:pt x="1291338" y="3332989"/>
                </a:cubicBezTo>
                <a:cubicBezTo>
                  <a:pt x="1296456" y="3320715"/>
                  <a:pt x="1306469" y="3315348"/>
                  <a:pt x="1316482" y="3309982"/>
                </a:cubicBezTo>
                <a:cubicBezTo>
                  <a:pt x="1319931" y="3307537"/>
                  <a:pt x="1321415" y="3304757"/>
                  <a:pt x="1321266" y="3299673"/>
                </a:cubicBezTo>
                <a:cubicBezTo>
                  <a:pt x="1319486" y="3292287"/>
                  <a:pt x="1324901" y="3290179"/>
                  <a:pt x="1331131" y="3289223"/>
                </a:cubicBezTo>
                <a:cubicBezTo>
                  <a:pt x="1338511" y="3287452"/>
                  <a:pt x="1345743" y="3280598"/>
                  <a:pt x="1353420" y="3288994"/>
                </a:cubicBezTo>
                <a:cubicBezTo>
                  <a:pt x="1359947" y="3298204"/>
                  <a:pt x="1368144" y="3297585"/>
                  <a:pt x="1376674" y="3294999"/>
                </a:cubicBezTo>
                <a:cubicBezTo>
                  <a:pt x="1384054" y="3293228"/>
                  <a:pt x="1390952" y="3288339"/>
                  <a:pt x="1396515" y="3291315"/>
                </a:cubicBezTo>
                <a:cubicBezTo>
                  <a:pt x="1408457" y="3298418"/>
                  <a:pt x="1414873" y="3290412"/>
                  <a:pt x="1424070" y="3283895"/>
                </a:cubicBezTo>
                <a:cubicBezTo>
                  <a:pt x="1426703" y="3280299"/>
                  <a:pt x="1430968" y="3279006"/>
                  <a:pt x="1434417" y="3276562"/>
                </a:cubicBezTo>
                <a:cubicBezTo>
                  <a:pt x="1451328" y="3266307"/>
                  <a:pt x="1469871" y="3258355"/>
                  <a:pt x="1485151" y="3245797"/>
                </a:cubicBezTo>
                <a:cubicBezTo>
                  <a:pt x="1491233" y="3239757"/>
                  <a:pt x="1500430" y="3233239"/>
                  <a:pt x="1499466" y="3227004"/>
                </a:cubicBezTo>
                <a:cubicBezTo>
                  <a:pt x="1496870" y="3218467"/>
                  <a:pt x="1485225" y="3221531"/>
                  <a:pt x="1477029" y="3222150"/>
                </a:cubicBezTo>
                <a:cubicBezTo>
                  <a:pt x="1475063" y="3221814"/>
                  <a:pt x="1473098" y="3221477"/>
                  <a:pt x="1471948" y="3222292"/>
                </a:cubicBezTo>
                <a:cubicBezTo>
                  <a:pt x="1445728" y="3221848"/>
                  <a:pt x="1434453" y="3210813"/>
                  <a:pt x="1436010" y="3183766"/>
                </a:cubicBezTo>
                <a:cubicBezTo>
                  <a:pt x="1445505" y="3187415"/>
                  <a:pt x="1456297" y="3195333"/>
                  <a:pt x="1468758" y="3193420"/>
                </a:cubicBezTo>
                <a:cubicBezTo>
                  <a:pt x="1482369" y="3190693"/>
                  <a:pt x="1485521" y="3178082"/>
                  <a:pt x="1492270" y="3168110"/>
                </a:cubicBezTo>
                <a:cubicBezTo>
                  <a:pt x="1494088" y="3163363"/>
                  <a:pt x="1498353" y="3162070"/>
                  <a:pt x="1501282" y="3168642"/>
                </a:cubicBezTo>
                <a:cubicBezTo>
                  <a:pt x="1501765" y="3171759"/>
                  <a:pt x="1503396" y="3174062"/>
                  <a:pt x="1503879" y="3177179"/>
                </a:cubicBezTo>
                <a:cubicBezTo>
                  <a:pt x="1505177" y="3181448"/>
                  <a:pt x="1506475" y="3185717"/>
                  <a:pt x="1511222" y="3187541"/>
                </a:cubicBezTo>
                <a:cubicBezTo>
                  <a:pt x="1514003" y="3189029"/>
                  <a:pt x="1515005" y="3183131"/>
                  <a:pt x="1517304" y="3181501"/>
                </a:cubicBezTo>
                <a:cubicBezTo>
                  <a:pt x="1522904" y="3172344"/>
                  <a:pt x="1527651" y="3174169"/>
                  <a:pt x="1531397" y="3181892"/>
                </a:cubicBezTo>
                <a:cubicBezTo>
                  <a:pt x="1533029" y="3184194"/>
                  <a:pt x="1532361" y="3188126"/>
                  <a:pt x="1537442" y="3187985"/>
                </a:cubicBezTo>
                <a:cubicBezTo>
                  <a:pt x="1539036" y="3148805"/>
                  <a:pt x="1546602" y="3139984"/>
                  <a:pt x="1587434" y="3131802"/>
                </a:cubicBezTo>
                <a:cubicBezTo>
                  <a:pt x="1588584" y="3130988"/>
                  <a:pt x="1588584" y="3130988"/>
                  <a:pt x="1590549" y="3131324"/>
                </a:cubicBezTo>
                <a:cubicBezTo>
                  <a:pt x="1622852" y="3125728"/>
                  <a:pt x="1653040" y="3114712"/>
                  <a:pt x="1677034" y="3092519"/>
                </a:cubicBezTo>
                <a:cubicBezTo>
                  <a:pt x="1685416" y="3084850"/>
                  <a:pt x="1693612" y="3084230"/>
                  <a:pt x="1701957" y="3088694"/>
                </a:cubicBezTo>
                <a:cubicBezTo>
                  <a:pt x="1712267" y="3093494"/>
                  <a:pt x="1723578" y="3092396"/>
                  <a:pt x="1732442" y="3087845"/>
                </a:cubicBezTo>
                <a:cubicBezTo>
                  <a:pt x="1748686" y="3081522"/>
                  <a:pt x="1765263" y="3073233"/>
                  <a:pt x="1780209" y="3062641"/>
                </a:cubicBezTo>
                <a:cubicBezTo>
                  <a:pt x="1792855" y="3053679"/>
                  <a:pt x="1791891" y="3047444"/>
                  <a:pt x="1779133" y="3039190"/>
                </a:cubicBezTo>
                <a:cubicBezTo>
                  <a:pt x="1775536" y="3036550"/>
                  <a:pt x="1770455" y="3036692"/>
                  <a:pt x="1771456" y="3030794"/>
                </a:cubicBezTo>
                <a:cubicBezTo>
                  <a:pt x="1773941" y="3022115"/>
                  <a:pt x="1767896" y="3016021"/>
                  <a:pt x="1763000" y="3009113"/>
                </a:cubicBezTo>
                <a:cubicBezTo>
                  <a:pt x="1760552" y="3005659"/>
                  <a:pt x="1756139" y="3001869"/>
                  <a:pt x="1759922" y="2997458"/>
                </a:cubicBezTo>
                <a:cubicBezTo>
                  <a:pt x="1763704" y="2993048"/>
                  <a:pt x="1769267" y="2996024"/>
                  <a:pt x="1772865" y="2998663"/>
                </a:cubicBezTo>
                <a:cubicBezTo>
                  <a:pt x="1782841" y="3005430"/>
                  <a:pt x="1792002" y="3011045"/>
                  <a:pt x="1801162" y="3016660"/>
                </a:cubicBezTo>
                <a:cubicBezTo>
                  <a:pt x="1823414" y="3028564"/>
                  <a:pt x="1843738" y="3027997"/>
                  <a:pt x="1863616" y="3012181"/>
                </a:cubicBezTo>
                <a:cubicBezTo>
                  <a:pt x="1873963" y="3004848"/>
                  <a:pt x="1883494" y="2996364"/>
                  <a:pt x="1893841" y="2989032"/>
                </a:cubicBezTo>
                <a:cubicBezTo>
                  <a:pt x="1905671" y="2978918"/>
                  <a:pt x="1916649" y="2979786"/>
                  <a:pt x="1928257" y="2988856"/>
                </a:cubicBezTo>
                <a:cubicBezTo>
                  <a:pt x="1931039" y="2990343"/>
                  <a:pt x="1932337" y="2994612"/>
                  <a:pt x="1936602" y="2993319"/>
                </a:cubicBezTo>
                <a:cubicBezTo>
                  <a:pt x="1935489" y="2982001"/>
                  <a:pt x="1934710" y="2968717"/>
                  <a:pt x="1932781" y="2956247"/>
                </a:cubicBezTo>
                <a:cubicBezTo>
                  <a:pt x="1932336" y="2940996"/>
                  <a:pt x="1932336" y="2940996"/>
                  <a:pt x="1945428" y="2947285"/>
                </a:cubicBezTo>
                <a:cubicBezTo>
                  <a:pt x="1956554" y="2953237"/>
                  <a:pt x="1963934" y="2951466"/>
                  <a:pt x="1968236" y="2938040"/>
                </a:cubicBezTo>
                <a:cubicBezTo>
                  <a:pt x="1972204" y="2926580"/>
                  <a:pt x="1980585" y="2918911"/>
                  <a:pt x="1992564" y="2913880"/>
                </a:cubicBezTo>
                <a:cubicBezTo>
                  <a:pt x="2009142" y="2905592"/>
                  <a:pt x="2027833" y="2902723"/>
                  <a:pt x="2046525" y="2899854"/>
                </a:cubicBezTo>
                <a:cubicBezTo>
                  <a:pt x="2065217" y="2896985"/>
                  <a:pt x="2070149" y="2891760"/>
                  <a:pt x="2073153" y="2874065"/>
                </a:cubicBezTo>
                <a:cubicBezTo>
                  <a:pt x="2075674" y="2853253"/>
                  <a:pt x="2089137" y="2845442"/>
                  <a:pt x="2107791" y="2854707"/>
                </a:cubicBezTo>
                <a:cubicBezTo>
                  <a:pt x="2124814" y="2861668"/>
                  <a:pt x="2124814" y="2861668"/>
                  <a:pt x="2127002" y="2842822"/>
                </a:cubicBezTo>
                <a:cubicBezTo>
                  <a:pt x="2128152" y="2842007"/>
                  <a:pt x="2127336" y="2840856"/>
                  <a:pt x="2128485" y="2840041"/>
                </a:cubicBezTo>
                <a:cubicBezTo>
                  <a:pt x="2129005" y="2831026"/>
                  <a:pt x="2134419" y="2828918"/>
                  <a:pt x="2142764" y="2833382"/>
                </a:cubicBezTo>
                <a:cubicBezTo>
                  <a:pt x="2146361" y="2836021"/>
                  <a:pt x="2149958" y="2838661"/>
                  <a:pt x="2153556" y="2841300"/>
                </a:cubicBezTo>
                <a:cubicBezTo>
                  <a:pt x="2166314" y="2849554"/>
                  <a:pt x="2178441" y="2849608"/>
                  <a:pt x="2187490" y="2838006"/>
                </a:cubicBezTo>
                <a:cubicBezTo>
                  <a:pt x="2195222" y="2828203"/>
                  <a:pt x="2203771" y="2819550"/>
                  <a:pt x="2211767" y="2810424"/>
                </a:cubicBezTo>
                <a:close/>
                <a:moveTo>
                  <a:pt x="5543500" y="2701820"/>
                </a:moveTo>
                <a:cubicBezTo>
                  <a:pt x="5543500" y="2701820"/>
                  <a:pt x="5546294" y="2702417"/>
                  <a:pt x="5546294" y="2702417"/>
                </a:cubicBezTo>
                <a:cubicBezTo>
                  <a:pt x="5546294" y="2702417"/>
                  <a:pt x="5545697" y="2705211"/>
                  <a:pt x="5542903" y="2704613"/>
                </a:cubicBezTo>
                <a:cubicBezTo>
                  <a:pt x="5542903" y="2704613"/>
                  <a:pt x="5542903" y="2704613"/>
                  <a:pt x="5543500" y="2701820"/>
                </a:cubicBezTo>
                <a:close/>
                <a:moveTo>
                  <a:pt x="2714268" y="2668593"/>
                </a:moveTo>
                <a:cubicBezTo>
                  <a:pt x="2720470" y="2684218"/>
                  <a:pt x="2721957" y="2710752"/>
                  <a:pt x="2723111" y="2727682"/>
                </a:cubicBezTo>
                <a:cubicBezTo>
                  <a:pt x="2730441" y="2726865"/>
                  <a:pt x="2738285" y="2757140"/>
                  <a:pt x="2735850" y="2768537"/>
                </a:cubicBezTo>
                <a:cubicBezTo>
                  <a:pt x="2735850" y="2768537"/>
                  <a:pt x="2735850" y="2768537"/>
                  <a:pt x="2735363" y="2770816"/>
                </a:cubicBezTo>
                <a:cubicBezTo>
                  <a:pt x="2735363" y="2770816"/>
                  <a:pt x="2737157" y="2773582"/>
                  <a:pt x="2737157" y="2773582"/>
                </a:cubicBezTo>
                <a:cubicBezTo>
                  <a:pt x="2736669" y="2775862"/>
                  <a:pt x="2734388" y="2775375"/>
                  <a:pt x="2734388" y="2775375"/>
                </a:cubicBezTo>
                <a:cubicBezTo>
                  <a:pt x="2732107" y="2774887"/>
                  <a:pt x="2732594" y="2772608"/>
                  <a:pt x="2732594" y="2772608"/>
                </a:cubicBezTo>
                <a:cubicBezTo>
                  <a:pt x="2737003" y="2785466"/>
                  <a:pt x="2742873" y="2791486"/>
                  <a:pt x="2747128" y="2816229"/>
                </a:cubicBezTo>
                <a:cubicBezTo>
                  <a:pt x="2746640" y="2818509"/>
                  <a:pt x="2748921" y="2818996"/>
                  <a:pt x="2748434" y="2821275"/>
                </a:cubicBezTo>
                <a:cubicBezTo>
                  <a:pt x="2747947" y="2823554"/>
                  <a:pt x="2750229" y="2824041"/>
                  <a:pt x="2750229" y="2824041"/>
                </a:cubicBezTo>
                <a:cubicBezTo>
                  <a:pt x="2749255" y="2828600"/>
                  <a:pt x="2749255" y="2828600"/>
                  <a:pt x="2746973" y="2828113"/>
                </a:cubicBezTo>
                <a:cubicBezTo>
                  <a:pt x="2748768" y="2830879"/>
                  <a:pt x="2751382" y="2840971"/>
                  <a:pt x="2753663" y="2841459"/>
                </a:cubicBezTo>
                <a:cubicBezTo>
                  <a:pt x="2758738" y="2873526"/>
                  <a:pt x="2777013" y="2910797"/>
                  <a:pt x="2779807" y="2942377"/>
                </a:cubicBezTo>
                <a:lnTo>
                  <a:pt x="2778191" y="2938781"/>
                </a:lnTo>
                <a:lnTo>
                  <a:pt x="2778501" y="2937331"/>
                </a:lnTo>
                <a:cubicBezTo>
                  <a:pt x="2778501" y="2937331"/>
                  <a:pt x="2776219" y="2936843"/>
                  <a:pt x="2776707" y="2934564"/>
                </a:cubicBezTo>
                <a:cubicBezTo>
                  <a:pt x="2776463" y="2935704"/>
                  <a:pt x="2776912" y="2936395"/>
                  <a:pt x="2777584" y="2937433"/>
                </a:cubicBezTo>
                <a:lnTo>
                  <a:pt x="2778191" y="2938781"/>
                </a:lnTo>
                <a:lnTo>
                  <a:pt x="2778013" y="2939611"/>
                </a:lnTo>
                <a:cubicBezTo>
                  <a:pt x="2779807" y="2942377"/>
                  <a:pt x="2779807" y="2942377"/>
                  <a:pt x="2779321" y="2944656"/>
                </a:cubicBezTo>
                <a:cubicBezTo>
                  <a:pt x="2779321" y="2944656"/>
                  <a:pt x="2777039" y="2944169"/>
                  <a:pt x="2777039" y="2944169"/>
                </a:cubicBezTo>
                <a:cubicBezTo>
                  <a:pt x="2775246" y="2941403"/>
                  <a:pt x="2775246" y="2941403"/>
                  <a:pt x="2775733" y="2939123"/>
                </a:cubicBezTo>
                <a:cubicBezTo>
                  <a:pt x="2774759" y="2943682"/>
                  <a:pt x="2776886" y="2956053"/>
                  <a:pt x="2777707" y="2963377"/>
                </a:cubicBezTo>
                <a:cubicBezTo>
                  <a:pt x="2778193" y="2961098"/>
                  <a:pt x="2778193" y="2961098"/>
                  <a:pt x="2778193" y="2961098"/>
                </a:cubicBezTo>
                <a:cubicBezTo>
                  <a:pt x="2778193" y="2961098"/>
                  <a:pt x="2779987" y="2963865"/>
                  <a:pt x="2779501" y="2966145"/>
                </a:cubicBezTo>
                <a:cubicBezTo>
                  <a:pt x="2781781" y="2966632"/>
                  <a:pt x="2781294" y="2968911"/>
                  <a:pt x="2781294" y="2968911"/>
                </a:cubicBezTo>
                <a:cubicBezTo>
                  <a:pt x="2787831" y="2994141"/>
                  <a:pt x="2797622" y="3015299"/>
                  <a:pt x="2811155" y="3030107"/>
                </a:cubicBezTo>
                <a:cubicBezTo>
                  <a:pt x="2813436" y="3030595"/>
                  <a:pt x="2812949" y="3032874"/>
                  <a:pt x="2812949" y="3032874"/>
                </a:cubicBezTo>
                <a:cubicBezTo>
                  <a:pt x="2815717" y="3031082"/>
                  <a:pt x="2818819" y="3038894"/>
                  <a:pt x="2821920" y="3046706"/>
                </a:cubicBezTo>
                <a:cubicBezTo>
                  <a:pt x="2819152" y="3048499"/>
                  <a:pt x="2817845" y="3043453"/>
                  <a:pt x="2817845" y="3043453"/>
                </a:cubicBezTo>
                <a:cubicBezTo>
                  <a:pt x="2817358" y="3045732"/>
                  <a:pt x="2817358" y="3045732"/>
                  <a:pt x="2817358" y="3045732"/>
                </a:cubicBezTo>
                <a:cubicBezTo>
                  <a:pt x="2816871" y="3048011"/>
                  <a:pt x="2816871" y="3048011"/>
                  <a:pt x="2816871" y="3048011"/>
                </a:cubicBezTo>
                <a:cubicBezTo>
                  <a:pt x="2816871" y="3048011"/>
                  <a:pt x="2815076" y="3045244"/>
                  <a:pt x="2815076" y="3045244"/>
                </a:cubicBezTo>
                <a:cubicBezTo>
                  <a:pt x="2818178" y="3053057"/>
                  <a:pt x="2815897" y="3052569"/>
                  <a:pt x="2820793" y="3063149"/>
                </a:cubicBezTo>
                <a:cubicBezTo>
                  <a:pt x="2821279" y="3060870"/>
                  <a:pt x="2821279" y="3060870"/>
                  <a:pt x="2821279" y="3060870"/>
                </a:cubicBezTo>
                <a:cubicBezTo>
                  <a:pt x="2821279" y="3060870"/>
                  <a:pt x="2821279" y="3060870"/>
                  <a:pt x="2819485" y="3058103"/>
                </a:cubicBezTo>
                <a:cubicBezTo>
                  <a:pt x="2819972" y="3055824"/>
                  <a:pt x="2819972" y="3055824"/>
                  <a:pt x="2819972" y="3055824"/>
                </a:cubicBezTo>
                <a:cubicBezTo>
                  <a:pt x="2822253" y="3056311"/>
                  <a:pt x="2824047" y="3059078"/>
                  <a:pt x="2823561" y="3061357"/>
                </a:cubicBezTo>
                <a:cubicBezTo>
                  <a:pt x="2823561" y="3061357"/>
                  <a:pt x="2825841" y="3061844"/>
                  <a:pt x="2825355" y="3064123"/>
                </a:cubicBezTo>
                <a:cubicBezTo>
                  <a:pt x="2829917" y="3065098"/>
                  <a:pt x="2835299" y="3073398"/>
                  <a:pt x="2842476" y="3084464"/>
                </a:cubicBezTo>
                <a:cubicBezTo>
                  <a:pt x="2847371" y="3095044"/>
                  <a:pt x="2851780" y="3107902"/>
                  <a:pt x="2852601" y="3115228"/>
                </a:cubicBezTo>
                <a:cubicBezTo>
                  <a:pt x="2852601" y="3115228"/>
                  <a:pt x="2852601" y="3115228"/>
                  <a:pt x="2854881" y="3115715"/>
                </a:cubicBezTo>
                <a:cubicBezTo>
                  <a:pt x="2854881" y="3115715"/>
                  <a:pt x="2856675" y="3118481"/>
                  <a:pt x="2856189" y="3120760"/>
                </a:cubicBezTo>
                <a:cubicBezTo>
                  <a:pt x="2858470" y="3121248"/>
                  <a:pt x="2858470" y="3121248"/>
                  <a:pt x="2858470" y="3121248"/>
                </a:cubicBezTo>
                <a:cubicBezTo>
                  <a:pt x="2857983" y="3123528"/>
                  <a:pt x="2857983" y="3123528"/>
                  <a:pt x="2857983" y="3123528"/>
                </a:cubicBezTo>
                <a:cubicBezTo>
                  <a:pt x="2861084" y="3131340"/>
                  <a:pt x="2863853" y="3129548"/>
                  <a:pt x="2866467" y="3139640"/>
                </a:cubicBezTo>
                <a:cubicBezTo>
                  <a:pt x="2865493" y="3144199"/>
                  <a:pt x="2862392" y="3136386"/>
                  <a:pt x="2860110" y="3135899"/>
                </a:cubicBezTo>
                <a:cubicBezTo>
                  <a:pt x="2860110" y="3135899"/>
                  <a:pt x="2859623" y="3138178"/>
                  <a:pt x="2859623" y="3138178"/>
                </a:cubicBezTo>
                <a:cubicBezTo>
                  <a:pt x="2859136" y="3140457"/>
                  <a:pt x="2857343" y="3137691"/>
                  <a:pt x="2857829" y="3135411"/>
                </a:cubicBezTo>
                <a:cubicBezTo>
                  <a:pt x="2855549" y="3134924"/>
                  <a:pt x="2855549" y="3134924"/>
                  <a:pt x="2855549" y="3134924"/>
                </a:cubicBezTo>
                <a:cubicBezTo>
                  <a:pt x="2858649" y="3142736"/>
                  <a:pt x="2864032" y="3151036"/>
                  <a:pt x="2867621" y="3156570"/>
                </a:cubicBezTo>
                <a:cubicBezTo>
                  <a:pt x="2873157" y="3152986"/>
                  <a:pt x="2873157" y="3152986"/>
                  <a:pt x="2873157" y="3152986"/>
                </a:cubicBezTo>
                <a:cubicBezTo>
                  <a:pt x="2880820" y="3161773"/>
                  <a:pt x="2888484" y="3170560"/>
                  <a:pt x="2896148" y="3179348"/>
                </a:cubicBezTo>
                <a:cubicBezTo>
                  <a:pt x="2901043" y="3189927"/>
                  <a:pt x="2897788" y="3193998"/>
                  <a:pt x="2904965" y="3205064"/>
                </a:cubicBezTo>
                <a:cubicBezTo>
                  <a:pt x="2910834" y="3211085"/>
                  <a:pt x="2916704" y="3217106"/>
                  <a:pt x="2925674" y="3230938"/>
                </a:cubicBezTo>
                <a:cubicBezTo>
                  <a:pt x="2928776" y="3238751"/>
                  <a:pt x="2921933" y="3237289"/>
                  <a:pt x="2929596" y="3246077"/>
                </a:cubicBezTo>
                <a:cubicBezTo>
                  <a:pt x="2953895" y="3277484"/>
                  <a:pt x="2971682" y="3317034"/>
                  <a:pt x="2996467" y="3346163"/>
                </a:cubicBezTo>
                <a:cubicBezTo>
                  <a:pt x="2978859" y="3328101"/>
                  <a:pt x="2962711" y="3303201"/>
                  <a:pt x="2948204" y="3292952"/>
                </a:cubicBezTo>
                <a:cubicBezTo>
                  <a:pt x="2938413" y="3271794"/>
                  <a:pt x="2924060" y="3249660"/>
                  <a:pt x="2911501" y="3230294"/>
                </a:cubicBezTo>
                <a:cubicBezTo>
                  <a:pt x="2911013" y="3232574"/>
                  <a:pt x="2911013" y="3232574"/>
                  <a:pt x="2911013" y="3232574"/>
                </a:cubicBezTo>
                <a:cubicBezTo>
                  <a:pt x="2912808" y="3235340"/>
                  <a:pt x="2912808" y="3235340"/>
                  <a:pt x="2912321" y="3237619"/>
                </a:cubicBezTo>
                <a:cubicBezTo>
                  <a:pt x="2912321" y="3237619"/>
                  <a:pt x="2910040" y="3237132"/>
                  <a:pt x="2910527" y="3234853"/>
                </a:cubicBezTo>
                <a:cubicBezTo>
                  <a:pt x="2906452" y="3231599"/>
                  <a:pt x="2906452" y="3231599"/>
                  <a:pt x="2906452" y="3231599"/>
                </a:cubicBezTo>
                <a:cubicBezTo>
                  <a:pt x="2908246" y="3234365"/>
                  <a:pt x="2910040" y="3237132"/>
                  <a:pt x="2911834" y="3239899"/>
                </a:cubicBezTo>
                <a:cubicBezTo>
                  <a:pt x="2897327" y="3229649"/>
                  <a:pt x="2884768" y="3210283"/>
                  <a:pt x="2872696" y="3188637"/>
                </a:cubicBezTo>
                <a:cubicBezTo>
                  <a:pt x="2861110" y="3164712"/>
                  <a:pt x="2847731" y="3138021"/>
                  <a:pt x="2836145" y="3114095"/>
                </a:cubicBezTo>
                <a:cubicBezTo>
                  <a:pt x="2828969" y="3103029"/>
                  <a:pt x="2818691" y="3084150"/>
                  <a:pt x="2811181" y="3063479"/>
                </a:cubicBezTo>
                <a:cubicBezTo>
                  <a:pt x="2800903" y="3044600"/>
                  <a:pt x="2795674" y="3024416"/>
                  <a:pt x="2793546" y="3012045"/>
                </a:cubicBezTo>
                <a:cubicBezTo>
                  <a:pt x="2786857" y="2998699"/>
                  <a:pt x="2780654" y="2983074"/>
                  <a:pt x="2778527" y="2970703"/>
                </a:cubicBezTo>
                <a:cubicBezTo>
                  <a:pt x="2778527" y="2970703"/>
                  <a:pt x="2776245" y="2970215"/>
                  <a:pt x="2776733" y="2967936"/>
                </a:cubicBezTo>
                <a:cubicBezTo>
                  <a:pt x="2774938" y="2965170"/>
                  <a:pt x="2774938" y="2965170"/>
                  <a:pt x="2775425" y="2962890"/>
                </a:cubicBezTo>
                <a:cubicBezTo>
                  <a:pt x="2759431" y="2926107"/>
                  <a:pt x="2753869" y="2896319"/>
                  <a:pt x="2745205" y="2858718"/>
                </a:cubicBezTo>
                <a:cubicBezTo>
                  <a:pt x="2738849" y="2854977"/>
                  <a:pt x="2739669" y="2862302"/>
                  <a:pt x="2736901" y="2864094"/>
                </a:cubicBezTo>
                <a:cubicBezTo>
                  <a:pt x="2732826" y="2860840"/>
                  <a:pt x="2731519" y="2855794"/>
                  <a:pt x="2727930" y="2850261"/>
                </a:cubicBezTo>
                <a:cubicBezTo>
                  <a:pt x="2729724" y="2853027"/>
                  <a:pt x="2729237" y="2855306"/>
                  <a:pt x="2729237" y="2855306"/>
                </a:cubicBezTo>
                <a:cubicBezTo>
                  <a:pt x="2731032" y="2858073"/>
                  <a:pt x="2731032" y="2858073"/>
                  <a:pt x="2730545" y="2860352"/>
                </a:cubicBezTo>
                <a:cubicBezTo>
                  <a:pt x="2728263" y="2859865"/>
                  <a:pt x="2728750" y="2857586"/>
                  <a:pt x="2728750" y="2857586"/>
                </a:cubicBezTo>
                <a:cubicBezTo>
                  <a:pt x="2726956" y="2854819"/>
                  <a:pt x="2727443" y="2852540"/>
                  <a:pt x="2727443" y="2852540"/>
                </a:cubicBezTo>
                <a:cubicBezTo>
                  <a:pt x="2727443" y="2852540"/>
                  <a:pt x="2725649" y="2849773"/>
                  <a:pt x="2725649" y="2849773"/>
                </a:cubicBezTo>
                <a:cubicBezTo>
                  <a:pt x="2724342" y="2844727"/>
                  <a:pt x="2723035" y="2839681"/>
                  <a:pt x="2721241" y="2836915"/>
                </a:cubicBezTo>
                <a:cubicBezTo>
                  <a:pt x="2721241" y="2836915"/>
                  <a:pt x="2721241" y="2836915"/>
                  <a:pt x="2721727" y="2834636"/>
                </a:cubicBezTo>
                <a:cubicBezTo>
                  <a:pt x="2721727" y="2834636"/>
                  <a:pt x="2722215" y="2832357"/>
                  <a:pt x="2722215" y="2832357"/>
                </a:cubicBezTo>
                <a:lnTo>
                  <a:pt x="2723925" y="2832722"/>
                </a:lnTo>
                <a:lnTo>
                  <a:pt x="2724009" y="2835123"/>
                </a:lnTo>
                <a:cubicBezTo>
                  <a:pt x="2724009" y="2835123"/>
                  <a:pt x="2724009" y="2835123"/>
                  <a:pt x="2724495" y="2832844"/>
                </a:cubicBezTo>
                <a:lnTo>
                  <a:pt x="2723925" y="2832722"/>
                </a:lnTo>
                <a:lnTo>
                  <a:pt x="2723842" y="2830321"/>
                </a:lnTo>
                <a:cubicBezTo>
                  <a:pt x="2724085" y="2829181"/>
                  <a:pt x="2724329" y="2828041"/>
                  <a:pt x="2723675" y="2825518"/>
                </a:cubicBezTo>
                <a:cubicBezTo>
                  <a:pt x="2727417" y="2819168"/>
                  <a:pt x="2729058" y="2833818"/>
                  <a:pt x="2733620" y="2834793"/>
                </a:cubicBezTo>
                <a:cubicBezTo>
                  <a:pt x="2731493" y="2822422"/>
                  <a:pt x="2734261" y="2820630"/>
                  <a:pt x="2732953" y="2815585"/>
                </a:cubicBezTo>
                <a:cubicBezTo>
                  <a:pt x="2735721" y="2813792"/>
                  <a:pt x="2735721" y="2813792"/>
                  <a:pt x="2735721" y="2813792"/>
                </a:cubicBezTo>
                <a:cubicBezTo>
                  <a:pt x="2735721" y="2813792"/>
                  <a:pt x="2735721" y="2813792"/>
                  <a:pt x="2733441" y="2813305"/>
                </a:cubicBezTo>
                <a:cubicBezTo>
                  <a:pt x="2733441" y="2813305"/>
                  <a:pt x="2733927" y="2811026"/>
                  <a:pt x="2733927" y="2811026"/>
                </a:cubicBezTo>
                <a:cubicBezTo>
                  <a:pt x="2732133" y="2808259"/>
                  <a:pt x="2732133" y="2808259"/>
                  <a:pt x="2734415" y="2808747"/>
                </a:cubicBezTo>
                <a:cubicBezTo>
                  <a:pt x="2734902" y="2806467"/>
                  <a:pt x="2734902" y="2806467"/>
                  <a:pt x="2734902" y="2806467"/>
                </a:cubicBezTo>
                <a:cubicBezTo>
                  <a:pt x="2729186" y="2788562"/>
                  <a:pt x="2722983" y="2772938"/>
                  <a:pt x="2728519" y="2769353"/>
                </a:cubicBezTo>
                <a:cubicBezTo>
                  <a:pt x="2730801" y="2769841"/>
                  <a:pt x="2730801" y="2769841"/>
                  <a:pt x="2730801" y="2769841"/>
                </a:cubicBezTo>
                <a:cubicBezTo>
                  <a:pt x="2728519" y="2769353"/>
                  <a:pt x="2729007" y="2767074"/>
                  <a:pt x="2729007" y="2767074"/>
                </a:cubicBezTo>
                <a:cubicBezTo>
                  <a:pt x="2726725" y="2766587"/>
                  <a:pt x="2727699" y="2762028"/>
                  <a:pt x="2725905" y="2759262"/>
                </a:cubicBezTo>
                <a:cubicBezTo>
                  <a:pt x="2726392" y="2756983"/>
                  <a:pt x="2726392" y="2756983"/>
                  <a:pt x="2728673" y="2757470"/>
                </a:cubicBezTo>
                <a:cubicBezTo>
                  <a:pt x="2722316" y="2753728"/>
                  <a:pt x="2718395" y="2738591"/>
                  <a:pt x="2715447" y="2718894"/>
                </a:cubicBezTo>
                <a:cubicBezTo>
                  <a:pt x="2712499" y="2699198"/>
                  <a:pt x="2714114" y="2680477"/>
                  <a:pt x="2714268" y="2668593"/>
                </a:cubicBezTo>
                <a:close/>
                <a:moveTo>
                  <a:pt x="2330673" y="2656101"/>
                </a:moveTo>
                <a:lnTo>
                  <a:pt x="2344030" y="2666537"/>
                </a:lnTo>
                <a:cubicBezTo>
                  <a:pt x="2353153" y="2684285"/>
                  <a:pt x="2338690" y="2697994"/>
                  <a:pt x="2334054" y="2713386"/>
                </a:cubicBezTo>
                <a:lnTo>
                  <a:pt x="2361473" y="2707531"/>
                </a:lnTo>
                <a:lnTo>
                  <a:pt x="2363699" y="2778875"/>
                </a:lnTo>
                <a:cubicBezTo>
                  <a:pt x="2412281" y="3279863"/>
                  <a:pt x="2686157" y="3731405"/>
                  <a:pt x="3101701" y="4011905"/>
                </a:cubicBezTo>
                <a:cubicBezTo>
                  <a:pt x="3101701" y="4011905"/>
                  <a:pt x="3101701" y="4011905"/>
                  <a:pt x="3104495" y="4012503"/>
                </a:cubicBezTo>
                <a:cubicBezTo>
                  <a:pt x="3104495" y="4012503"/>
                  <a:pt x="3107289" y="4013099"/>
                  <a:pt x="3107289" y="4013099"/>
                </a:cubicBezTo>
                <a:cubicBezTo>
                  <a:pt x="3102298" y="4009112"/>
                  <a:pt x="3105689" y="4006915"/>
                  <a:pt x="3110681" y="4010903"/>
                </a:cubicBezTo>
                <a:cubicBezTo>
                  <a:pt x="3105689" y="4006915"/>
                  <a:pt x="3105689" y="4006915"/>
                  <a:pt x="3105689" y="4006915"/>
                </a:cubicBezTo>
                <a:cubicBezTo>
                  <a:pt x="3103492" y="4003523"/>
                  <a:pt x="3103492" y="4003523"/>
                  <a:pt x="3106883" y="4001326"/>
                </a:cubicBezTo>
                <a:cubicBezTo>
                  <a:pt x="3106883" y="4001326"/>
                  <a:pt x="3109677" y="4001924"/>
                  <a:pt x="3111874" y="4005314"/>
                </a:cubicBezTo>
                <a:cubicBezTo>
                  <a:pt x="3114071" y="4008706"/>
                  <a:pt x="3114071" y="4008706"/>
                  <a:pt x="3114071" y="4008706"/>
                </a:cubicBezTo>
                <a:cubicBezTo>
                  <a:pt x="3116865" y="4009302"/>
                  <a:pt x="3116865" y="4009302"/>
                  <a:pt x="3116865" y="4009302"/>
                </a:cubicBezTo>
                <a:cubicBezTo>
                  <a:pt x="3118059" y="4003714"/>
                  <a:pt x="3120853" y="4004311"/>
                  <a:pt x="3125844" y="4008299"/>
                </a:cubicBezTo>
                <a:cubicBezTo>
                  <a:pt x="3130238" y="4015081"/>
                  <a:pt x="3125247" y="4011093"/>
                  <a:pt x="3126847" y="4017278"/>
                </a:cubicBezTo>
                <a:cubicBezTo>
                  <a:pt x="3121856" y="4013290"/>
                  <a:pt x="3121856" y="4013290"/>
                  <a:pt x="3121856" y="4013290"/>
                </a:cubicBezTo>
                <a:cubicBezTo>
                  <a:pt x="3124053" y="4016681"/>
                  <a:pt x="3126847" y="4017278"/>
                  <a:pt x="3123456" y="4019475"/>
                </a:cubicBezTo>
                <a:cubicBezTo>
                  <a:pt x="3120662" y="4018878"/>
                  <a:pt x="3117868" y="4018281"/>
                  <a:pt x="3115671" y="4014890"/>
                </a:cubicBezTo>
                <a:cubicBezTo>
                  <a:pt x="3113474" y="4011500"/>
                  <a:pt x="3113474" y="4011500"/>
                  <a:pt x="3113474" y="4011500"/>
                </a:cubicBezTo>
                <a:cubicBezTo>
                  <a:pt x="3112877" y="4014293"/>
                  <a:pt x="3115671" y="4014890"/>
                  <a:pt x="3115075" y="4017684"/>
                </a:cubicBezTo>
                <a:cubicBezTo>
                  <a:pt x="3117868" y="4018281"/>
                  <a:pt x="3117868" y="4018281"/>
                  <a:pt x="3117868" y="4018281"/>
                </a:cubicBezTo>
                <a:cubicBezTo>
                  <a:pt x="3120065" y="4021672"/>
                  <a:pt x="3120065" y="4021672"/>
                  <a:pt x="3120065" y="4021672"/>
                </a:cubicBezTo>
                <a:cubicBezTo>
                  <a:pt x="3119468" y="4024465"/>
                  <a:pt x="3119468" y="4024465"/>
                  <a:pt x="3119468" y="4024465"/>
                </a:cubicBezTo>
                <a:cubicBezTo>
                  <a:pt x="3157796" y="4050183"/>
                  <a:pt x="3199515" y="4073704"/>
                  <a:pt x="3241235" y="4097224"/>
                </a:cubicBezTo>
                <a:cubicBezTo>
                  <a:pt x="3241831" y="4094431"/>
                  <a:pt x="3245222" y="4092233"/>
                  <a:pt x="3250213" y="4096221"/>
                </a:cubicBezTo>
                <a:cubicBezTo>
                  <a:pt x="3249617" y="4099015"/>
                  <a:pt x="3249617" y="4099015"/>
                  <a:pt x="3249617" y="4099015"/>
                </a:cubicBezTo>
                <a:lnTo>
                  <a:pt x="3279164" y="4112339"/>
                </a:lnTo>
                <a:lnTo>
                  <a:pt x="3243102" y="4137928"/>
                </a:lnTo>
                <a:lnTo>
                  <a:pt x="3113882" y="4065999"/>
                </a:lnTo>
                <a:cubicBezTo>
                  <a:pt x="3014396" y="4003479"/>
                  <a:pt x="2923161" y="3931400"/>
                  <a:pt x="2840999" y="3851035"/>
                </a:cubicBezTo>
                <a:cubicBezTo>
                  <a:pt x="2561722" y="3578831"/>
                  <a:pt x="2383856" y="3216548"/>
                  <a:pt x="2340106" y="2830331"/>
                </a:cubicBezTo>
                <a:close/>
                <a:moveTo>
                  <a:pt x="5492105" y="2589873"/>
                </a:moveTo>
                <a:lnTo>
                  <a:pt x="5486219" y="2596517"/>
                </a:lnTo>
                <a:cubicBezTo>
                  <a:pt x="5483479" y="2601485"/>
                  <a:pt x="5482274" y="2607096"/>
                  <a:pt x="5483071" y="2614313"/>
                </a:cubicBezTo>
                <a:cubicBezTo>
                  <a:pt x="5484202" y="2619565"/>
                  <a:pt x="5483618" y="2623006"/>
                  <a:pt x="5481421" y="2624779"/>
                </a:cubicBezTo>
                <a:lnTo>
                  <a:pt x="5480168" y="2624831"/>
                </a:lnTo>
                <a:lnTo>
                  <a:pt x="5477376" y="2667499"/>
                </a:lnTo>
                <a:cubicBezTo>
                  <a:pt x="5473072" y="2707449"/>
                  <a:pt x="5467057" y="2747670"/>
                  <a:pt x="5459315" y="2788167"/>
                </a:cubicBezTo>
                <a:cubicBezTo>
                  <a:pt x="5457332" y="2797446"/>
                  <a:pt x="5452782" y="2807391"/>
                  <a:pt x="5464304" y="2815918"/>
                </a:cubicBezTo>
                <a:cubicBezTo>
                  <a:pt x="5465295" y="2811277"/>
                  <a:pt x="5466039" y="2807798"/>
                  <a:pt x="5467030" y="2803158"/>
                </a:cubicBezTo>
                <a:cubicBezTo>
                  <a:pt x="5477000" y="2747975"/>
                  <a:pt x="5484582" y="2692793"/>
                  <a:pt x="5489753" y="2637417"/>
                </a:cubicBezTo>
                <a:close/>
                <a:moveTo>
                  <a:pt x="5964047" y="2577842"/>
                </a:moveTo>
                <a:lnTo>
                  <a:pt x="5964126" y="2581163"/>
                </a:lnTo>
                <a:lnTo>
                  <a:pt x="5961260" y="2581579"/>
                </a:lnTo>
                <a:cubicBezTo>
                  <a:pt x="5961260" y="2581579"/>
                  <a:pt x="5962653" y="2579711"/>
                  <a:pt x="5962653" y="2579711"/>
                </a:cubicBezTo>
                <a:cubicBezTo>
                  <a:pt x="5962653" y="2579711"/>
                  <a:pt x="5962653" y="2579711"/>
                  <a:pt x="5964047" y="2577842"/>
                </a:cubicBezTo>
                <a:close/>
                <a:moveTo>
                  <a:pt x="5531587" y="2551650"/>
                </a:moveTo>
                <a:lnTo>
                  <a:pt x="5521410" y="2561182"/>
                </a:lnTo>
                <a:lnTo>
                  <a:pt x="5519306" y="2580888"/>
                </a:lnTo>
                <a:cubicBezTo>
                  <a:pt x="5519635" y="2587896"/>
                  <a:pt x="5521086" y="2594780"/>
                  <a:pt x="5523486" y="2604057"/>
                </a:cubicBezTo>
                <a:cubicBezTo>
                  <a:pt x="5522889" y="2606850"/>
                  <a:pt x="5522292" y="2609645"/>
                  <a:pt x="5522292" y="2609645"/>
                </a:cubicBezTo>
                <a:cubicBezTo>
                  <a:pt x="5522292" y="2609645"/>
                  <a:pt x="5522292" y="2609645"/>
                  <a:pt x="5520501" y="2618027"/>
                </a:cubicBezTo>
                <a:cubicBezTo>
                  <a:pt x="5520501" y="2618027"/>
                  <a:pt x="5522698" y="2621417"/>
                  <a:pt x="5522698" y="2621417"/>
                </a:cubicBezTo>
                <a:cubicBezTo>
                  <a:pt x="5522698" y="2621417"/>
                  <a:pt x="5523296" y="2618623"/>
                  <a:pt x="5523296" y="2618623"/>
                </a:cubicBezTo>
                <a:cubicBezTo>
                  <a:pt x="5523296" y="2618623"/>
                  <a:pt x="5523296" y="2618623"/>
                  <a:pt x="5523445" y="2617925"/>
                </a:cubicBezTo>
                <a:lnTo>
                  <a:pt x="5523893" y="2615829"/>
                </a:lnTo>
                <a:cubicBezTo>
                  <a:pt x="5525492" y="2622015"/>
                  <a:pt x="5527093" y="2628199"/>
                  <a:pt x="5526495" y="2630993"/>
                </a:cubicBezTo>
                <a:cubicBezTo>
                  <a:pt x="5525899" y="2633787"/>
                  <a:pt x="5527499" y="2639972"/>
                  <a:pt x="5526305" y="2645559"/>
                </a:cubicBezTo>
                <a:cubicBezTo>
                  <a:pt x="5526305" y="2645559"/>
                  <a:pt x="5525708" y="2648354"/>
                  <a:pt x="5525708" y="2648354"/>
                </a:cubicBezTo>
                <a:cubicBezTo>
                  <a:pt x="5525708" y="2648354"/>
                  <a:pt x="5525111" y="2651148"/>
                  <a:pt x="5525111" y="2651148"/>
                </a:cubicBezTo>
                <a:cubicBezTo>
                  <a:pt x="5524514" y="2653941"/>
                  <a:pt x="5521720" y="2653345"/>
                  <a:pt x="5521123" y="2656138"/>
                </a:cubicBezTo>
                <a:cubicBezTo>
                  <a:pt x="5521123" y="2656138"/>
                  <a:pt x="5520527" y="2658933"/>
                  <a:pt x="5520527" y="2658933"/>
                </a:cubicBezTo>
                <a:cubicBezTo>
                  <a:pt x="5519929" y="2661726"/>
                  <a:pt x="5519929" y="2661726"/>
                  <a:pt x="5519929" y="2661726"/>
                </a:cubicBezTo>
                <a:cubicBezTo>
                  <a:pt x="5519333" y="2664520"/>
                  <a:pt x="5522127" y="2665117"/>
                  <a:pt x="5522724" y="2662323"/>
                </a:cubicBezTo>
                <a:cubicBezTo>
                  <a:pt x="5522724" y="2662323"/>
                  <a:pt x="5524920" y="2665714"/>
                  <a:pt x="5524920" y="2665714"/>
                </a:cubicBezTo>
                <a:cubicBezTo>
                  <a:pt x="5524323" y="2668508"/>
                  <a:pt x="5523726" y="2671302"/>
                  <a:pt x="5522532" y="2676890"/>
                </a:cubicBezTo>
                <a:cubicBezTo>
                  <a:pt x="5522532" y="2676890"/>
                  <a:pt x="5521935" y="2679684"/>
                  <a:pt x="5524133" y="2683075"/>
                </a:cubicBezTo>
                <a:cubicBezTo>
                  <a:pt x="5523536" y="2685868"/>
                  <a:pt x="5523536" y="2685868"/>
                  <a:pt x="5526330" y="2686466"/>
                </a:cubicBezTo>
                <a:cubicBezTo>
                  <a:pt x="5526927" y="2683671"/>
                  <a:pt x="5527524" y="2680878"/>
                  <a:pt x="5528121" y="2678084"/>
                </a:cubicBezTo>
                <a:cubicBezTo>
                  <a:pt x="5525327" y="2677487"/>
                  <a:pt x="5525923" y="2674693"/>
                  <a:pt x="5527118" y="2669105"/>
                </a:cubicBezTo>
                <a:cubicBezTo>
                  <a:pt x="5526520" y="2671899"/>
                  <a:pt x="5526520" y="2671899"/>
                  <a:pt x="5529315" y="2672496"/>
                </a:cubicBezTo>
                <a:cubicBezTo>
                  <a:pt x="5529912" y="2669702"/>
                  <a:pt x="5530509" y="2666908"/>
                  <a:pt x="5528311" y="2663517"/>
                </a:cubicBezTo>
                <a:cubicBezTo>
                  <a:pt x="5528908" y="2660723"/>
                  <a:pt x="5528908" y="2660723"/>
                  <a:pt x="5529505" y="2657929"/>
                </a:cubicBezTo>
                <a:cubicBezTo>
                  <a:pt x="5529505" y="2657929"/>
                  <a:pt x="5527308" y="2654538"/>
                  <a:pt x="5527308" y="2654538"/>
                </a:cubicBezTo>
                <a:cubicBezTo>
                  <a:pt x="5533874" y="2623805"/>
                  <a:pt x="5532058" y="2591281"/>
                  <a:pt x="5532439" y="2562148"/>
                </a:cubicBezTo>
                <a:close/>
                <a:moveTo>
                  <a:pt x="2532998" y="2516278"/>
                </a:moveTo>
                <a:lnTo>
                  <a:pt x="2529710" y="2545824"/>
                </a:lnTo>
                <a:cubicBezTo>
                  <a:pt x="2529113" y="2548618"/>
                  <a:pt x="2529113" y="2548618"/>
                  <a:pt x="2526319" y="2548021"/>
                </a:cubicBezTo>
                <a:cubicBezTo>
                  <a:pt x="2525125" y="2553609"/>
                  <a:pt x="2527323" y="2557000"/>
                  <a:pt x="2526129" y="2562588"/>
                </a:cubicBezTo>
                <a:cubicBezTo>
                  <a:pt x="2526725" y="2559794"/>
                  <a:pt x="2528923" y="2563185"/>
                  <a:pt x="2528326" y="2565979"/>
                </a:cubicBezTo>
                <a:cubicBezTo>
                  <a:pt x="2525532" y="2565381"/>
                  <a:pt x="2524935" y="2568176"/>
                  <a:pt x="2524338" y="2570970"/>
                </a:cubicBezTo>
                <a:cubicBezTo>
                  <a:pt x="2523144" y="2576558"/>
                  <a:pt x="2524745" y="2582742"/>
                  <a:pt x="2523551" y="2588330"/>
                </a:cubicBezTo>
                <a:cubicBezTo>
                  <a:pt x="2523551" y="2588330"/>
                  <a:pt x="2522954" y="2591125"/>
                  <a:pt x="2522954" y="2591125"/>
                </a:cubicBezTo>
                <a:cubicBezTo>
                  <a:pt x="2522357" y="2593918"/>
                  <a:pt x="2524553" y="2597309"/>
                  <a:pt x="2523956" y="2600103"/>
                </a:cubicBezTo>
                <a:cubicBezTo>
                  <a:pt x="2523359" y="2602896"/>
                  <a:pt x="2523359" y="2602896"/>
                  <a:pt x="2523359" y="2602896"/>
                </a:cubicBezTo>
                <a:cubicBezTo>
                  <a:pt x="2523359" y="2602896"/>
                  <a:pt x="2522763" y="2605691"/>
                  <a:pt x="2522763" y="2605691"/>
                </a:cubicBezTo>
                <a:cubicBezTo>
                  <a:pt x="2521975" y="2623051"/>
                  <a:pt x="2523982" y="2641009"/>
                  <a:pt x="2523791" y="2655576"/>
                </a:cubicBezTo>
                <a:cubicBezTo>
                  <a:pt x="2523791" y="2655576"/>
                  <a:pt x="2519804" y="2660566"/>
                  <a:pt x="2522001" y="2663958"/>
                </a:cubicBezTo>
                <a:cubicBezTo>
                  <a:pt x="2522001" y="2663958"/>
                  <a:pt x="2521403" y="2666751"/>
                  <a:pt x="2521403" y="2666751"/>
                </a:cubicBezTo>
                <a:cubicBezTo>
                  <a:pt x="2522001" y="2663958"/>
                  <a:pt x="2520209" y="2672339"/>
                  <a:pt x="2519015" y="2677927"/>
                </a:cubicBezTo>
                <a:cubicBezTo>
                  <a:pt x="2519422" y="2689700"/>
                  <a:pt x="2522623" y="2702069"/>
                  <a:pt x="2523626" y="2711048"/>
                </a:cubicBezTo>
                <a:cubicBezTo>
                  <a:pt x="2527448" y="2761530"/>
                  <a:pt x="2530864" y="2800239"/>
                  <a:pt x="2534877" y="2836154"/>
                </a:cubicBezTo>
                <a:cubicBezTo>
                  <a:pt x="2534280" y="2838948"/>
                  <a:pt x="2534280" y="2838948"/>
                  <a:pt x="2534280" y="2838948"/>
                </a:cubicBezTo>
                <a:cubicBezTo>
                  <a:pt x="2536477" y="2842338"/>
                  <a:pt x="2536477" y="2842338"/>
                  <a:pt x="2536477" y="2842338"/>
                </a:cubicBezTo>
                <a:cubicBezTo>
                  <a:pt x="2540776" y="2856404"/>
                  <a:pt x="2545224" y="2869770"/>
                  <a:pt x="2549523" y="2883835"/>
                </a:cubicBezTo>
                <a:lnTo>
                  <a:pt x="2560367" y="2924610"/>
                </a:lnTo>
                <a:lnTo>
                  <a:pt x="2561189" y="2929419"/>
                </a:lnTo>
                <a:lnTo>
                  <a:pt x="2558879" y="2928926"/>
                </a:lnTo>
                <a:cubicBezTo>
                  <a:pt x="2561075" y="2932317"/>
                  <a:pt x="2563273" y="2935707"/>
                  <a:pt x="2562676" y="2938502"/>
                </a:cubicBezTo>
                <a:lnTo>
                  <a:pt x="2563565" y="2939874"/>
                </a:lnTo>
                <a:lnTo>
                  <a:pt x="2565205" y="2945250"/>
                </a:lnTo>
                <a:lnTo>
                  <a:pt x="2565891" y="2945828"/>
                </a:lnTo>
                <a:lnTo>
                  <a:pt x="2566473" y="2948077"/>
                </a:lnTo>
                <a:cubicBezTo>
                  <a:pt x="2565876" y="2950871"/>
                  <a:pt x="2565876" y="2950871"/>
                  <a:pt x="2565876" y="2950871"/>
                </a:cubicBezTo>
                <a:cubicBezTo>
                  <a:pt x="2565876" y="2950871"/>
                  <a:pt x="2565876" y="2950871"/>
                  <a:pt x="2568073" y="2954262"/>
                </a:cubicBezTo>
                <a:cubicBezTo>
                  <a:pt x="2568670" y="2951469"/>
                  <a:pt x="2566473" y="2948077"/>
                  <a:pt x="2569267" y="2948674"/>
                </a:cubicBezTo>
                <a:lnTo>
                  <a:pt x="2565891" y="2945828"/>
                </a:lnTo>
                <a:lnTo>
                  <a:pt x="2564873" y="2941893"/>
                </a:lnTo>
                <a:lnTo>
                  <a:pt x="2563565" y="2939874"/>
                </a:lnTo>
                <a:lnTo>
                  <a:pt x="2562225" y="2935484"/>
                </a:lnTo>
                <a:lnTo>
                  <a:pt x="2561189" y="2929419"/>
                </a:lnTo>
                <a:lnTo>
                  <a:pt x="2561673" y="2929523"/>
                </a:lnTo>
                <a:lnTo>
                  <a:pt x="2560367" y="2924610"/>
                </a:lnTo>
                <a:lnTo>
                  <a:pt x="2560217" y="2923734"/>
                </a:lnTo>
                <a:cubicBezTo>
                  <a:pt x="2559697" y="2919971"/>
                  <a:pt x="2559320" y="2916604"/>
                  <a:pt x="2559070" y="2914359"/>
                </a:cubicBezTo>
                <a:cubicBezTo>
                  <a:pt x="2559667" y="2911566"/>
                  <a:pt x="2557470" y="2908175"/>
                  <a:pt x="2557470" y="2908175"/>
                </a:cubicBezTo>
                <a:cubicBezTo>
                  <a:pt x="2554269" y="2895805"/>
                  <a:pt x="2549875" y="2889024"/>
                  <a:pt x="2553266" y="2886826"/>
                </a:cubicBezTo>
                <a:cubicBezTo>
                  <a:pt x="2548275" y="2882838"/>
                  <a:pt x="2546269" y="2864881"/>
                  <a:pt x="2546459" y="2850314"/>
                </a:cubicBezTo>
                <a:cubicBezTo>
                  <a:pt x="2547056" y="2847520"/>
                  <a:pt x="2547653" y="2844726"/>
                  <a:pt x="2544859" y="2844129"/>
                </a:cubicBezTo>
                <a:cubicBezTo>
                  <a:pt x="2544859" y="2844129"/>
                  <a:pt x="2542662" y="2840738"/>
                  <a:pt x="2543259" y="2837945"/>
                </a:cubicBezTo>
                <a:cubicBezTo>
                  <a:pt x="2543856" y="2835151"/>
                  <a:pt x="2544453" y="2832357"/>
                  <a:pt x="2546650" y="2835747"/>
                </a:cubicBezTo>
                <a:cubicBezTo>
                  <a:pt x="2549443" y="2836344"/>
                  <a:pt x="2551044" y="2842529"/>
                  <a:pt x="2552644" y="2848714"/>
                </a:cubicBezTo>
                <a:cubicBezTo>
                  <a:pt x="2552047" y="2851508"/>
                  <a:pt x="2552047" y="2851508"/>
                  <a:pt x="2552047" y="2851508"/>
                </a:cubicBezTo>
                <a:cubicBezTo>
                  <a:pt x="2558448" y="2876247"/>
                  <a:pt x="2562245" y="2885823"/>
                  <a:pt x="2563655" y="2906574"/>
                </a:cubicBezTo>
                <a:cubicBezTo>
                  <a:pt x="2563655" y="2906574"/>
                  <a:pt x="2563057" y="2909369"/>
                  <a:pt x="2563057" y="2909369"/>
                </a:cubicBezTo>
                <a:cubicBezTo>
                  <a:pt x="2565254" y="2912759"/>
                  <a:pt x="2569051" y="2922335"/>
                  <a:pt x="2571249" y="2925725"/>
                </a:cubicBezTo>
                <a:cubicBezTo>
                  <a:pt x="2567261" y="2930717"/>
                  <a:pt x="2572849" y="2931911"/>
                  <a:pt x="2576049" y="2944280"/>
                </a:cubicBezTo>
                <a:cubicBezTo>
                  <a:pt x="2578151" y="2954954"/>
                  <a:pt x="2580503" y="2967874"/>
                  <a:pt x="2583903" y="2981016"/>
                </a:cubicBezTo>
                <a:lnTo>
                  <a:pt x="2595755" y="3012929"/>
                </a:lnTo>
                <a:lnTo>
                  <a:pt x="2595671" y="3013110"/>
                </a:lnTo>
                <a:cubicBezTo>
                  <a:pt x="2595997" y="3015005"/>
                  <a:pt x="2596946" y="3017399"/>
                  <a:pt x="2598045" y="3019094"/>
                </a:cubicBezTo>
                <a:lnTo>
                  <a:pt x="2595755" y="3012929"/>
                </a:lnTo>
                <a:lnTo>
                  <a:pt x="2597042" y="3010116"/>
                </a:lnTo>
                <a:cubicBezTo>
                  <a:pt x="2609843" y="3059595"/>
                  <a:pt x="2626631" y="3104082"/>
                  <a:pt x="2647815" y="3155351"/>
                </a:cubicBezTo>
                <a:cubicBezTo>
                  <a:pt x="2647815" y="3155351"/>
                  <a:pt x="2650608" y="3155948"/>
                  <a:pt x="2650608" y="3155948"/>
                </a:cubicBezTo>
                <a:cubicBezTo>
                  <a:pt x="2650011" y="3158743"/>
                  <a:pt x="2650011" y="3158743"/>
                  <a:pt x="2650011" y="3158743"/>
                </a:cubicBezTo>
                <a:cubicBezTo>
                  <a:pt x="2650011" y="3158743"/>
                  <a:pt x="2650011" y="3158743"/>
                  <a:pt x="2649415" y="3161536"/>
                </a:cubicBezTo>
                <a:cubicBezTo>
                  <a:pt x="2651612" y="3164927"/>
                  <a:pt x="2656602" y="3168915"/>
                  <a:pt x="2658800" y="3172305"/>
                </a:cubicBezTo>
                <a:cubicBezTo>
                  <a:pt x="2651421" y="3179494"/>
                  <a:pt x="2667397" y="3200436"/>
                  <a:pt x="2672795" y="3216196"/>
                </a:cubicBezTo>
                <a:cubicBezTo>
                  <a:pt x="2676186" y="3213999"/>
                  <a:pt x="2671791" y="3207217"/>
                  <a:pt x="2674585" y="3207814"/>
                </a:cubicBezTo>
                <a:cubicBezTo>
                  <a:pt x="2685571" y="3224769"/>
                  <a:pt x="2668400" y="3209415"/>
                  <a:pt x="2678789" y="3229163"/>
                </a:cubicBezTo>
                <a:cubicBezTo>
                  <a:pt x="2681583" y="3229760"/>
                  <a:pt x="2679386" y="3226369"/>
                  <a:pt x="2682180" y="3226966"/>
                </a:cubicBezTo>
                <a:cubicBezTo>
                  <a:pt x="2689177" y="3248911"/>
                  <a:pt x="2702956" y="3266463"/>
                  <a:pt x="2705560" y="3281626"/>
                </a:cubicBezTo>
                <a:cubicBezTo>
                  <a:pt x="2705560" y="3281626"/>
                  <a:pt x="2703960" y="3275441"/>
                  <a:pt x="2708353" y="3282223"/>
                </a:cubicBezTo>
                <a:cubicBezTo>
                  <a:pt x="2708163" y="3296790"/>
                  <a:pt x="2723136" y="3308753"/>
                  <a:pt x="2731925" y="3322316"/>
                </a:cubicBezTo>
                <a:cubicBezTo>
                  <a:pt x="2736725" y="3340871"/>
                  <a:pt x="2747710" y="3357825"/>
                  <a:pt x="2759292" y="3371985"/>
                </a:cubicBezTo>
                <a:cubicBezTo>
                  <a:pt x="2765083" y="3379066"/>
                  <a:pt x="2770874" y="3386146"/>
                  <a:pt x="2776791" y="3394348"/>
                </a:cubicBezTo>
                <a:lnTo>
                  <a:pt x="2792863" y="3419971"/>
                </a:lnTo>
                <a:lnTo>
                  <a:pt x="2792845" y="3420054"/>
                </a:lnTo>
                <a:cubicBezTo>
                  <a:pt x="2792845" y="3420054"/>
                  <a:pt x="2792845" y="3420054"/>
                  <a:pt x="2795042" y="3423445"/>
                </a:cubicBezTo>
                <a:lnTo>
                  <a:pt x="2792863" y="3419971"/>
                </a:lnTo>
                <a:lnTo>
                  <a:pt x="2793441" y="3417261"/>
                </a:lnTo>
                <a:cubicBezTo>
                  <a:pt x="2796236" y="3417857"/>
                  <a:pt x="2796236" y="3417857"/>
                  <a:pt x="2795639" y="3420652"/>
                </a:cubicBezTo>
                <a:cubicBezTo>
                  <a:pt x="2797239" y="3426836"/>
                  <a:pt x="2797239" y="3426836"/>
                  <a:pt x="2797239" y="3426836"/>
                </a:cubicBezTo>
                <a:cubicBezTo>
                  <a:pt x="2797837" y="3424042"/>
                  <a:pt x="2797837" y="3424042"/>
                  <a:pt x="2797837" y="3424042"/>
                </a:cubicBezTo>
                <a:cubicBezTo>
                  <a:pt x="2802827" y="3428030"/>
                  <a:pt x="2807221" y="3434812"/>
                  <a:pt x="2811018" y="3444387"/>
                </a:cubicBezTo>
                <a:cubicBezTo>
                  <a:pt x="2811018" y="3444387"/>
                  <a:pt x="2810421" y="3447182"/>
                  <a:pt x="2810421" y="3447182"/>
                </a:cubicBezTo>
                <a:cubicBezTo>
                  <a:pt x="2809824" y="3449976"/>
                  <a:pt x="2812619" y="3450572"/>
                  <a:pt x="2812022" y="3453366"/>
                </a:cubicBezTo>
                <a:cubicBezTo>
                  <a:pt x="2812619" y="3450572"/>
                  <a:pt x="2810421" y="3447182"/>
                  <a:pt x="2813215" y="3447778"/>
                </a:cubicBezTo>
                <a:cubicBezTo>
                  <a:pt x="2815413" y="3451170"/>
                  <a:pt x="2817609" y="3454560"/>
                  <a:pt x="2819806" y="3457951"/>
                </a:cubicBezTo>
                <a:cubicBezTo>
                  <a:pt x="2820403" y="3455156"/>
                  <a:pt x="2820403" y="3455156"/>
                  <a:pt x="2820403" y="3455156"/>
                </a:cubicBezTo>
                <a:cubicBezTo>
                  <a:pt x="2820403" y="3455156"/>
                  <a:pt x="2820403" y="3455156"/>
                  <a:pt x="2821000" y="3452363"/>
                </a:cubicBezTo>
                <a:cubicBezTo>
                  <a:pt x="2821000" y="3452363"/>
                  <a:pt x="2821000" y="3452363"/>
                  <a:pt x="2823794" y="3452960"/>
                </a:cubicBezTo>
                <a:cubicBezTo>
                  <a:pt x="2823197" y="3455754"/>
                  <a:pt x="2822601" y="3458548"/>
                  <a:pt x="2822601" y="3458548"/>
                </a:cubicBezTo>
                <a:cubicBezTo>
                  <a:pt x="2822601" y="3458548"/>
                  <a:pt x="2822601" y="3458548"/>
                  <a:pt x="2822003" y="3461342"/>
                </a:cubicBezTo>
                <a:cubicBezTo>
                  <a:pt x="2822003" y="3461342"/>
                  <a:pt x="2824201" y="3464733"/>
                  <a:pt x="2824201" y="3464733"/>
                </a:cubicBezTo>
                <a:cubicBezTo>
                  <a:pt x="2824201" y="3464733"/>
                  <a:pt x="2826995" y="3465330"/>
                  <a:pt x="2826995" y="3465330"/>
                </a:cubicBezTo>
                <a:cubicBezTo>
                  <a:pt x="2826995" y="3465330"/>
                  <a:pt x="2829789" y="3465927"/>
                  <a:pt x="2829789" y="3465927"/>
                </a:cubicBezTo>
                <a:cubicBezTo>
                  <a:pt x="2829192" y="3468720"/>
                  <a:pt x="2829192" y="3468720"/>
                  <a:pt x="2829192" y="3468720"/>
                </a:cubicBezTo>
                <a:cubicBezTo>
                  <a:pt x="2828595" y="3471514"/>
                  <a:pt x="2828595" y="3471514"/>
                  <a:pt x="2828595" y="3471514"/>
                </a:cubicBezTo>
                <a:cubicBezTo>
                  <a:pt x="2830792" y="3474906"/>
                  <a:pt x="2832989" y="3478296"/>
                  <a:pt x="2835783" y="3478893"/>
                </a:cubicBezTo>
                <a:cubicBezTo>
                  <a:pt x="2835783" y="3478893"/>
                  <a:pt x="2835783" y="3478893"/>
                  <a:pt x="2836379" y="3476099"/>
                </a:cubicBezTo>
                <a:cubicBezTo>
                  <a:pt x="2836379" y="3476099"/>
                  <a:pt x="2838577" y="3479490"/>
                  <a:pt x="2838577" y="3479490"/>
                </a:cubicBezTo>
                <a:cubicBezTo>
                  <a:pt x="2840774" y="3482881"/>
                  <a:pt x="2840774" y="3482881"/>
                  <a:pt x="2840774" y="3482881"/>
                </a:cubicBezTo>
                <a:cubicBezTo>
                  <a:pt x="2840774" y="3482881"/>
                  <a:pt x="2842971" y="3486272"/>
                  <a:pt x="2842374" y="3489066"/>
                </a:cubicBezTo>
                <a:cubicBezTo>
                  <a:pt x="2842971" y="3486272"/>
                  <a:pt x="2842971" y="3486272"/>
                  <a:pt x="2842971" y="3486272"/>
                </a:cubicBezTo>
                <a:cubicBezTo>
                  <a:pt x="2845765" y="3486869"/>
                  <a:pt x="2847962" y="3490259"/>
                  <a:pt x="2852953" y="3494247"/>
                </a:cubicBezTo>
                <a:cubicBezTo>
                  <a:pt x="2851353" y="3488063"/>
                  <a:pt x="2855747" y="3494844"/>
                  <a:pt x="2854147" y="3488659"/>
                </a:cubicBezTo>
                <a:cubicBezTo>
                  <a:pt x="2863532" y="3499429"/>
                  <a:pt x="2863532" y="3499429"/>
                  <a:pt x="2863532" y="3499429"/>
                </a:cubicBezTo>
                <a:cubicBezTo>
                  <a:pt x="2863532" y="3499429"/>
                  <a:pt x="2864129" y="3496635"/>
                  <a:pt x="2864129" y="3496635"/>
                </a:cubicBezTo>
                <a:cubicBezTo>
                  <a:pt x="2861931" y="3493244"/>
                  <a:pt x="2861931" y="3493244"/>
                  <a:pt x="2861931" y="3493244"/>
                </a:cubicBezTo>
                <a:cubicBezTo>
                  <a:pt x="2861931" y="3493244"/>
                  <a:pt x="2859138" y="3492647"/>
                  <a:pt x="2862528" y="3490450"/>
                </a:cubicBezTo>
                <a:cubicBezTo>
                  <a:pt x="2862528" y="3490450"/>
                  <a:pt x="2862528" y="3490450"/>
                  <a:pt x="2864725" y="3493841"/>
                </a:cubicBezTo>
                <a:cubicBezTo>
                  <a:pt x="2866923" y="3497232"/>
                  <a:pt x="2866923" y="3497232"/>
                  <a:pt x="2866923" y="3497232"/>
                </a:cubicBezTo>
                <a:cubicBezTo>
                  <a:pt x="2866326" y="3500026"/>
                  <a:pt x="2869120" y="3500623"/>
                  <a:pt x="2868523" y="3503417"/>
                </a:cubicBezTo>
                <a:cubicBezTo>
                  <a:pt x="2868523" y="3503417"/>
                  <a:pt x="2865132" y="3505614"/>
                  <a:pt x="2862935" y="3502223"/>
                </a:cubicBezTo>
                <a:cubicBezTo>
                  <a:pt x="2865132" y="3505614"/>
                  <a:pt x="2865132" y="3505614"/>
                  <a:pt x="2865132" y="3505614"/>
                </a:cubicBezTo>
                <a:cubicBezTo>
                  <a:pt x="2871127" y="3518580"/>
                  <a:pt x="2874517" y="3516383"/>
                  <a:pt x="2875521" y="3525362"/>
                </a:cubicBezTo>
                <a:cubicBezTo>
                  <a:pt x="2871127" y="3518580"/>
                  <a:pt x="2867735" y="3520778"/>
                  <a:pt x="2864942" y="3520181"/>
                </a:cubicBezTo>
                <a:cubicBezTo>
                  <a:pt x="2867139" y="3523571"/>
                  <a:pt x="2872129" y="3527559"/>
                  <a:pt x="2874327" y="3530950"/>
                </a:cubicBezTo>
                <a:cubicBezTo>
                  <a:pt x="2876523" y="3534340"/>
                  <a:pt x="2878721" y="3537731"/>
                  <a:pt x="2880917" y="3541123"/>
                </a:cubicBezTo>
                <a:cubicBezTo>
                  <a:pt x="2883711" y="3541720"/>
                  <a:pt x="2885909" y="3545110"/>
                  <a:pt x="2885909" y="3545110"/>
                </a:cubicBezTo>
                <a:cubicBezTo>
                  <a:pt x="2888703" y="3545707"/>
                  <a:pt x="2886505" y="3542316"/>
                  <a:pt x="2887102" y="3539522"/>
                </a:cubicBezTo>
                <a:cubicBezTo>
                  <a:pt x="2895891" y="3553086"/>
                  <a:pt x="2895891" y="3553086"/>
                  <a:pt x="2895891" y="3553086"/>
                </a:cubicBezTo>
                <a:cubicBezTo>
                  <a:pt x="2899281" y="3550888"/>
                  <a:pt x="2899281" y="3550888"/>
                  <a:pt x="2899281" y="3550888"/>
                </a:cubicBezTo>
                <a:cubicBezTo>
                  <a:pt x="2899281" y="3550888"/>
                  <a:pt x="2899879" y="3548095"/>
                  <a:pt x="2897084" y="3547498"/>
                </a:cubicBezTo>
                <a:cubicBezTo>
                  <a:pt x="2897682" y="3544704"/>
                  <a:pt x="2897682" y="3544704"/>
                  <a:pt x="2897682" y="3544704"/>
                </a:cubicBezTo>
                <a:cubicBezTo>
                  <a:pt x="2897682" y="3544704"/>
                  <a:pt x="2897682" y="3544704"/>
                  <a:pt x="2900476" y="3545301"/>
                </a:cubicBezTo>
                <a:cubicBezTo>
                  <a:pt x="2903269" y="3545898"/>
                  <a:pt x="2902672" y="3548691"/>
                  <a:pt x="2902672" y="3548691"/>
                </a:cubicBezTo>
                <a:cubicBezTo>
                  <a:pt x="2902075" y="3551486"/>
                  <a:pt x="2902075" y="3551486"/>
                  <a:pt x="2902075" y="3551486"/>
                </a:cubicBezTo>
                <a:cubicBezTo>
                  <a:pt x="2902075" y="3551486"/>
                  <a:pt x="2904869" y="3552083"/>
                  <a:pt x="2904273" y="3554876"/>
                </a:cubicBezTo>
                <a:cubicBezTo>
                  <a:pt x="2904273" y="3554876"/>
                  <a:pt x="2904273" y="3554876"/>
                  <a:pt x="2906470" y="3558268"/>
                </a:cubicBezTo>
                <a:cubicBezTo>
                  <a:pt x="2906470" y="3558268"/>
                  <a:pt x="2906470" y="3558268"/>
                  <a:pt x="2909264" y="3558865"/>
                </a:cubicBezTo>
                <a:cubicBezTo>
                  <a:pt x="2909264" y="3558865"/>
                  <a:pt x="2908667" y="3561658"/>
                  <a:pt x="2908667" y="3561658"/>
                </a:cubicBezTo>
                <a:cubicBezTo>
                  <a:pt x="2911461" y="3562255"/>
                  <a:pt x="2911461" y="3562255"/>
                  <a:pt x="2911461" y="3562255"/>
                </a:cubicBezTo>
                <a:cubicBezTo>
                  <a:pt x="2912058" y="3559462"/>
                  <a:pt x="2912058" y="3559462"/>
                  <a:pt x="2912058" y="3559462"/>
                </a:cubicBezTo>
                <a:cubicBezTo>
                  <a:pt x="2910458" y="3553277"/>
                  <a:pt x="2910458" y="3553277"/>
                  <a:pt x="2910458" y="3553277"/>
                </a:cubicBezTo>
                <a:cubicBezTo>
                  <a:pt x="2908261" y="3549885"/>
                  <a:pt x="2905466" y="3549288"/>
                  <a:pt x="2906063" y="3546495"/>
                </a:cubicBezTo>
                <a:cubicBezTo>
                  <a:pt x="2906063" y="3546495"/>
                  <a:pt x="2906063" y="3546495"/>
                  <a:pt x="2908857" y="3547091"/>
                </a:cubicBezTo>
                <a:cubicBezTo>
                  <a:pt x="2911651" y="3547689"/>
                  <a:pt x="2911055" y="3550482"/>
                  <a:pt x="2911055" y="3550482"/>
                </a:cubicBezTo>
                <a:cubicBezTo>
                  <a:pt x="2916046" y="3554470"/>
                  <a:pt x="2915448" y="3557264"/>
                  <a:pt x="2917645" y="3560655"/>
                </a:cubicBezTo>
                <a:cubicBezTo>
                  <a:pt x="2917049" y="3563449"/>
                  <a:pt x="2917049" y="3563449"/>
                  <a:pt x="2917049" y="3563449"/>
                </a:cubicBezTo>
                <a:cubicBezTo>
                  <a:pt x="2918649" y="3569634"/>
                  <a:pt x="2921443" y="3570231"/>
                  <a:pt x="2920846" y="3573025"/>
                </a:cubicBezTo>
                <a:cubicBezTo>
                  <a:pt x="2930231" y="3583794"/>
                  <a:pt x="2942411" y="3595161"/>
                  <a:pt x="2951199" y="3608724"/>
                </a:cubicBezTo>
                <a:cubicBezTo>
                  <a:pt x="2953993" y="3609321"/>
                  <a:pt x="2953993" y="3609321"/>
                  <a:pt x="2953993" y="3609321"/>
                </a:cubicBezTo>
                <a:cubicBezTo>
                  <a:pt x="2956786" y="3609918"/>
                  <a:pt x="2956189" y="3612712"/>
                  <a:pt x="2956189" y="3612712"/>
                </a:cubicBezTo>
                <a:cubicBezTo>
                  <a:pt x="2958983" y="3613309"/>
                  <a:pt x="2961181" y="3616700"/>
                  <a:pt x="2963377" y="3620090"/>
                </a:cubicBezTo>
                <a:cubicBezTo>
                  <a:pt x="2963377" y="3620090"/>
                  <a:pt x="2963377" y="3620090"/>
                  <a:pt x="2965575" y="3623481"/>
                </a:cubicBezTo>
                <a:cubicBezTo>
                  <a:pt x="2968368" y="3624078"/>
                  <a:pt x="2970565" y="3627469"/>
                  <a:pt x="2972763" y="3630860"/>
                </a:cubicBezTo>
                <a:cubicBezTo>
                  <a:pt x="2975557" y="3631457"/>
                  <a:pt x="2977754" y="3634848"/>
                  <a:pt x="2979950" y="3638239"/>
                </a:cubicBezTo>
                <a:cubicBezTo>
                  <a:pt x="2985539" y="3639433"/>
                  <a:pt x="2991533" y="3652399"/>
                  <a:pt x="3002112" y="3657580"/>
                </a:cubicBezTo>
                <a:cubicBezTo>
                  <a:pt x="3003712" y="3663766"/>
                  <a:pt x="3018088" y="3678523"/>
                  <a:pt x="3024679" y="3688695"/>
                </a:cubicBezTo>
                <a:cubicBezTo>
                  <a:pt x="3024679" y="3688695"/>
                  <a:pt x="3034661" y="3696671"/>
                  <a:pt x="3031867" y="3696074"/>
                </a:cubicBezTo>
                <a:cubicBezTo>
                  <a:pt x="3019689" y="3684708"/>
                  <a:pt x="3030077" y="3704456"/>
                  <a:pt x="3025085" y="3700468"/>
                </a:cubicBezTo>
                <a:cubicBezTo>
                  <a:pt x="3020691" y="3693687"/>
                  <a:pt x="3021288" y="3690893"/>
                  <a:pt x="3005718" y="3681723"/>
                </a:cubicBezTo>
                <a:cubicBezTo>
                  <a:pt x="3011903" y="3680123"/>
                  <a:pt x="2981360" y="3658990"/>
                  <a:pt x="2985348" y="3653999"/>
                </a:cubicBezTo>
                <a:cubicBezTo>
                  <a:pt x="2994733" y="3664768"/>
                  <a:pt x="2983151" y="3650608"/>
                  <a:pt x="2975963" y="3643230"/>
                </a:cubicBezTo>
                <a:cubicBezTo>
                  <a:pt x="2975963" y="3643230"/>
                  <a:pt x="2975963" y="3643230"/>
                  <a:pt x="2975366" y="3646024"/>
                </a:cubicBezTo>
                <a:cubicBezTo>
                  <a:pt x="2978159" y="3646620"/>
                  <a:pt x="2978159" y="3646620"/>
                  <a:pt x="2978159" y="3646620"/>
                </a:cubicBezTo>
                <a:cubicBezTo>
                  <a:pt x="2980357" y="3650012"/>
                  <a:pt x="2980357" y="3650012"/>
                  <a:pt x="2977563" y="3649415"/>
                </a:cubicBezTo>
                <a:cubicBezTo>
                  <a:pt x="2977563" y="3649415"/>
                  <a:pt x="2977563" y="3649415"/>
                  <a:pt x="2974769" y="3648818"/>
                </a:cubicBezTo>
                <a:cubicBezTo>
                  <a:pt x="2972571" y="3645427"/>
                  <a:pt x="2972571" y="3645427"/>
                  <a:pt x="2972571" y="3645427"/>
                </a:cubicBezTo>
                <a:cubicBezTo>
                  <a:pt x="2970375" y="3642036"/>
                  <a:pt x="2970972" y="3639242"/>
                  <a:pt x="2974363" y="3637045"/>
                </a:cubicBezTo>
                <a:cubicBezTo>
                  <a:pt x="2972165" y="3633654"/>
                  <a:pt x="2969969" y="3630263"/>
                  <a:pt x="2967175" y="3629666"/>
                </a:cubicBezTo>
                <a:cubicBezTo>
                  <a:pt x="2964381" y="3629069"/>
                  <a:pt x="2964381" y="3629069"/>
                  <a:pt x="2961586" y="3628472"/>
                </a:cubicBezTo>
                <a:cubicBezTo>
                  <a:pt x="2961586" y="3628472"/>
                  <a:pt x="2961586" y="3628472"/>
                  <a:pt x="2960989" y="3631266"/>
                </a:cubicBezTo>
                <a:cubicBezTo>
                  <a:pt x="2958196" y="3630670"/>
                  <a:pt x="2958793" y="3627875"/>
                  <a:pt x="2958793" y="3627875"/>
                </a:cubicBezTo>
                <a:cubicBezTo>
                  <a:pt x="2958793" y="3627875"/>
                  <a:pt x="2959390" y="3625082"/>
                  <a:pt x="2959390" y="3625082"/>
                </a:cubicBezTo>
                <a:cubicBezTo>
                  <a:pt x="2959987" y="3622288"/>
                  <a:pt x="2957193" y="3621690"/>
                  <a:pt x="2957789" y="3618897"/>
                </a:cubicBezTo>
                <a:cubicBezTo>
                  <a:pt x="2954995" y="3618300"/>
                  <a:pt x="2952799" y="3614909"/>
                  <a:pt x="2952799" y="3614909"/>
                </a:cubicBezTo>
                <a:cubicBezTo>
                  <a:pt x="2952799" y="3614909"/>
                  <a:pt x="2952799" y="3614909"/>
                  <a:pt x="2950005" y="3614312"/>
                </a:cubicBezTo>
                <a:cubicBezTo>
                  <a:pt x="2950602" y="3611518"/>
                  <a:pt x="2950602" y="3611518"/>
                  <a:pt x="2950602" y="3611518"/>
                </a:cubicBezTo>
                <a:cubicBezTo>
                  <a:pt x="2950602" y="3611518"/>
                  <a:pt x="2947807" y="3610921"/>
                  <a:pt x="2948405" y="3608127"/>
                </a:cubicBezTo>
                <a:cubicBezTo>
                  <a:pt x="2939019" y="3597358"/>
                  <a:pt x="2930231" y="3583794"/>
                  <a:pt x="2917455" y="3575222"/>
                </a:cubicBezTo>
                <a:cubicBezTo>
                  <a:pt x="2915258" y="3571830"/>
                  <a:pt x="2915258" y="3571830"/>
                  <a:pt x="2915258" y="3571830"/>
                </a:cubicBezTo>
                <a:cubicBezTo>
                  <a:pt x="2915258" y="3571830"/>
                  <a:pt x="2915855" y="3569037"/>
                  <a:pt x="2915855" y="3569037"/>
                </a:cubicBezTo>
                <a:cubicBezTo>
                  <a:pt x="2915855" y="3569037"/>
                  <a:pt x="2913061" y="3568440"/>
                  <a:pt x="2913061" y="3568440"/>
                </a:cubicBezTo>
                <a:cubicBezTo>
                  <a:pt x="2913061" y="3568440"/>
                  <a:pt x="2912464" y="3571234"/>
                  <a:pt x="2912464" y="3571234"/>
                </a:cubicBezTo>
                <a:cubicBezTo>
                  <a:pt x="2906876" y="3570040"/>
                  <a:pt x="2904679" y="3566650"/>
                  <a:pt x="2899688" y="3562661"/>
                </a:cubicBezTo>
                <a:cubicBezTo>
                  <a:pt x="2900285" y="3559868"/>
                  <a:pt x="2900285" y="3559868"/>
                  <a:pt x="2900285" y="3559868"/>
                </a:cubicBezTo>
                <a:cubicBezTo>
                  <a:pt x="2891306" y="3560871"/>
                  <a:pt x="2904679" y="3566650"/>
                  <a:pt x="2901288" y="3568846"/>
                </a:cubicBezTo>
                <a:cubicBezTo>
                  <a:pt x="2899091" y="3565455"/>
                  <a:pt x="2889109" y="3557480"/>
                  <a:pt x="2882517" y="3547307"/>
                </a:cubicBezTo>
                <a:cubicBezTo>
                  <a:pt x="2880321" y="3543916"/>
                  <a:pt x="2875927" y="3537135"/>
                  <a:pt x="2870936" y="3533147"/>
                </a:cubicBezTo>
                <a:cubicBezTo>
                  <a:pt x="2868738" y="3529756"/>
                  <a:pt x="2864345" y="3522974"/>
                  <a:pt x="2859353" y="3518987"/>
                </a:cubicBezTo>
                <a:cubicBezTo>
                  <a:pt x="2852763" y="3508814"/>
                  <a:pt x="2844977" y="3504229"/>
                  <a:pt x="2838983" y="3491263"/>
                </a:cubicBezTo>
                <a:cubicBezTo>
                  <a:pt x="2836786" y="3487871"/>
                  <a:pt x="2831795" y="3483884"/>
                  <a:pt x="2831795" y="3483884"/>
                </a:cubicBezTo>
                <a:cubicBezTo>
                  <a:pt x="2829598" y="3480493"/>
                  <a:pt x="2826804" y="3479896"/>
                  <a:pt x="2827401" y="3477102"/>
                </a:cubicBezTo>
                <a:cubicBezTo>
                  <a:pt x="2824607" y="3476505"/>
                  <a:pt x="2824607" y="3476505"/>
                  <a:pt x="2822410" y="3473115"/>
                </a:cubicBezTo>
                <a:cubicBezTo>
                  <a:pt x="2823007" y="3470321"/>
                  <a:pt x="2818016" y="3466333"/>
                  <a:pt x="2815818" y="3462942"/>
                </a:cubicBezTo>
                <a:cubicBezTo>
                  <a:pt x="2815221" y="3465735"/>
                  <a:pt x="2808631" y="3455563"/>
                  <a:pt x="2808631" y="3455563"/>
                </a:cubicBezTo>
                <a:cubicBezTo>
                  <a:pt x="2806434" y="3452172"/>
                  <a:pt x="2804237" y="3448781"/>
                  <a:pt x="2804833" y="3445988"/>
                </a:cubicBezTo>
                <a:cubicBezTo>
                  <a:pt x="2802040" y="3445391"/>
                  <a:pt x="2802040" y="3445391"/>
                  <a:pt x="2802040" y="3445391"/>
                </a:cubicBezTo>
                <a:cubicBezTo>
                  <a:pt x="2778279" y="3419863"/>
                  <a:pt x="2751317" y="3381968"/>
                  <a:pt x="2733740" y="3354840"/>
                </a:cubicBezTo>
                <a:cubicBezTo>
                  <a:pt x="2730947" y="3354244"/>
                  <a:pt x="2730947" y="3354244"/>
                  <a:pt x="2730947" y="3354244"/>
                </a:cubicBezTo>
                <a:cubicBezTo>
                  <a:pt x="2730947" y="3354244"/>
                  <a:pt x="2730947" y="3354244"/>
                  <a:pt x="2728152" y="3353647"/>
                </a:cubicBezTo>
                <a:cubicBezTo>
                  <a:pt x="2730349" y="3357038"/>
                  <a:pt x="2730349" y="3357038"/>
                  <a:pt x="2732547" y="3360428"/>
                </a:cubicBezTo>
                <a:cubicBezTo>
                  <a:pt x="2732547" y="3360428"/>
                  <a:pt x="2734744" y="3363819"/>
                  <a:pt x="2736941" y="3367210"/>
                </a:cubicBezTo>
                <a:cubicBezTo>
                  <a:pt x="2739138" y="3370601"/>
                  <a:pt x="2739138" y="3370601"/>
                  <a:pt x="2741335" y="3373991"/>
                </a:cubicBezTo>
                <a:cubicBezTo>
                  <a:pt x="2741335" y="3373991"/>
                  <a:pt x="2741335" y="3373991"/>
                  <a:pt x="2740738" y="3376786"/>
                </a:cubicBezTo>
                <a:cubicBezTo>
                  <a:pt x="2745729" y="3380774"/>
                  <a:pt x="2747329" y="3386959"/>
                  <a:pt x="2751723" y="3393740"/>
                </a:cubicBezTo>
                <a:cubicBezTo>
                  <a:pt x="2751723" y="3393740"/>
                  <a:pt x="2753920" y="3397131"/>
                  <a:pt x="2751127" y="3396534"/>
                </a:cubicBezTo>
                <a:cubicBezTo>
                  <a:pt x="2750529" y="3399328"/>
                  <a:pt x="2748332" y="3395937"/>
                  <a:pt x="2748332" y="3395937"/>
                </a:cubicBezTo>
                <a:cubicBezTo>
                  <a:pt x="2746135" y="3392546"/>
                  <a:pt x="2746135" y="3392546"/>
                  <a:pt x="2746135" y="3392546"/>
                </a:cubicBezTo>
                <a:cubicBezTo>
                  <a:pt x="2746135" y="3392546"/>
                  <a:pt x="2743341" y="3391949"/>
                  <a:pt x="2743938" y="3389156"/>
                </a:cubicBezTo>
                <a:cubicBezTo>
                  <a:pt x="2741741" y="3385764"/>
                  <a:pt x="2741741" y="3385764"/>
                  <a:pt x="2741741" y="3385764"/>
                </a:cubicBezTo>
                <a:cubicBezTo>
                  <a:pt x="2742338" y="3382971"/>
                  <a:pt x="2739544" y="3382373"/>
                  <a:pt x="2737347" y="3378983"/>
                </a:cubicBezTo>
                <a:cubicBezTo>
                  <a:pt x="2739544" y="3382373"/>
                  <a:pt x="2741979" y="3386363"/>
                  <a:pt x="2744363" y="3390159"/>
                </a:cubicBezTo>
                <a:lnTo>
                  <a:pt x="2750484" y="3399291"/>
                </a:lnTo>
                <a:lnTo>
                  <a:pt x="2741869" y="3392000"/>
                </a:lnTo>
                <a:cubicBezTo>
                  <a:pt x="2739747" y="3388260"/>
                  <a:pt x="2737849" y="3383472"/>
                  <a:pt x="2734553" y="3378386"/>
                </a:cubicBezTo>
                <a:cubicBezTo>
                  <a:pt x="2734553" y="3378386"/>
                  <a:pt x="2731759" y="3377789"/>
                  <a:pt x="2731759" y="3377789"/>
                </a:cubicBezTo>
                <a:cubicBezTo>
                  <a:pt x="2732355" y="3374995"/>
                  <a:pt x="2729561" y="3374398"/>
                  <a:pt x="2732355" y="3374995"/>
                </a:cubicBezTo>
                <a:cubicBezTo>
                  <a:pt x="2732355" y="3374995"/>
                  <a:pt x="2732355" y="3374995"/>
                  <a:pt x="2732953" y="3372201"/>
                </a:cubicBezTo>
                <a:cubicBezTo>
                  <a:pt x="2730756" y="3368811"/>
                  <a:pt x="2727962" y="3368214"/>
                  <a:pt x="2725168" y="3367616"/>
                </a:cubicBezTo>
                <a:cubicBezTo>
                  <a:pt x="2727365" y="3371007"/>
                  <a:pt x="2727365" y="3371007"/>
                  <a:pt x="2727365" y="3371007"/>
                </a:cubicBezTo>
                <a:cubicBezTo>
                  <a:pt x="2729561" y="3374398"/>
                  <a:pt x="2728965" y="3377192"/>
                  <a:pt x="2728965" y="3377192"/>
                </a:cubicBezTo>
                <a:cubicBezTo>
                  <a:pt x="2726171" y="3376596"/>
                  <a:pt x="2723377" y="3375998"/>
                  <a:pt x="2723974" y="3373204"/>
                </a:cubicBezTo>
                <a:cubicBezTo>
                  <a:pt x="2721180" y="3372608"/>
                  <a:pt x="2721180" y="3372608"/>
                  <a:pt x="2721180" y="3372608"/>
                </a:cubicBezTo>
                <a:cubicBezTo>
                  <a:pt x="2720583" y="3375401"/>
                  <a:pt x="2732763" y="3386768"/>
                  <a:pt x="2729371" y="3388965"/>
                </a:cubicBezTo>
                <a:cubicBezTo>
                  <a:pt x="2710195" y="3355653"/>
                  <a:pt x="2683233" y="3317757"/>
                  <a:pt x="2661860" y="3281054"/>
                </a:cubicBezTo>
                <a:cubicBezTo>
                  <a:pt x="2659663" y="3277663"/>
                  <a:pt x="2658063" y="3271478"/>
                  <a:pt x="2655865" y="3268087"/>
                </a:cubicBezTo>
                <a:cubicBezTo>
                  <a:pt x="2656462" y="3265294"/>
                  <a:pt x="2655865" y="3268087"/>
                  <a:pt x="2653669" y="3264697"/>
                </a:cubicBezTo>
                <a:cubicBezTo>
                  <a:pt x="2636689" y="3234776"/>
                  <a:pt x="2618706" y="3195876"/>
                  <a:pt x="2604115" y="3154779"/>
                </a:cubicBezTo>
                <a:cubicBezTo>
                  <a:pt x="2601917" y="3151388"/>
                  <a:pt x="2599123" y="3150791"/>
                  <a:pt x="2599720" y="3147998"/>
                </a:cubicBezTo>
                <a:cubicBezTo>
                  <a:pt x="2599123" y="3150791"/>
                  <a:pt x="2598526" y="3153585"/>
                  <a:pt x="2603518" y="3157573"/>
                </a:cubicBezTo>
                <a:cubicBezTo>
                  <a:pt x="2600723" y="3156977"/>
                  <a:pt x="2600127" y="3159770"/>
                  <a:pt x="2602324" y="3163161"/>
                </a:cubicBezTo>
                <a:cubicBezTo>
                  <a:pt x="2605714" y="3160964"/>
                  <a:pt x="2606121" y="3172737"/>
                  <a:pt x="2605524" y="3175531"/>
                </a:cubicBezTo>
                <a:cubicBezTo>
                  <a:pt x="2605524" y="3175531"/>
                  <a:pt x="2608318" y="3176128"/>
                  <a:pt x="2607721" y="3178922"/>
                </a:cubicBezTo>
                <a:cubicBezTo>
                  <a:pt x="2607721" y="3178922"/>
                  <a:pt x="2607124" y="3181715"/>
                  <a:pt x="2607124" y="3181715"/>
                </a:cubicBezTo>
                <a:cubicBezTo>
                  <a:pt x="2608127" y="3190694"/>
                  <a:pt x="2615125" y="3212640"/>
                  <a:pt x="2612928" y="3209249"/>
                </a:cubicBezTo>
                <a:cubicBezTo>
                  <a:pt x="2613525" y="3206455"/>
                  <a:pt x="2610730" y="3205858"/>
                  <a:pt x="2611327" y="3203064"/>
                </a:cubicBezTo>
                <a:cubicBezTo>
                  <a:pt x="2610730" y="3205858"/>
                  <a:pt x="2610133" y="3208652"/>
                  <a:pt x="2610133" y="3208652"/>
                </a:cubicBezTo>
                <a:cubicBezTo>
                  <a:pt x="2610133" y="3208652"/>
                  <a:pt x="2607339" y="3208055"/>
                  <a:pt x="2605143" y="3204664"/>
                </a:cubicBezTo>
                <a:cubicBezTo>
                  <a:pt x="2605143" y="3204664"/>
                  <a:pt x="2605143" y="3204664"/>
                  <a:pt x="2604546" y="3207459"/>
                </a:cubicBezTo>
                <a:cubicBezTo>
                  <a:pt x="2604546" y="3207459"/>
                  <a:pt x="2607339" y="3208055"/>
                  <a:pt x="2606743" y="3210849"/>
                </a:cubicBezTo>
                <a:cubicBezTo>
                  <a:pt x="2606743" y="3210849"/>
                  <a:pt x="2606743" y="3210849"/>
                  <a:pt x="2606145" y="3213643"/>
                </a:cubicBezTo>
                <a:cubicBezTo>
                  <a:pt x="2609943" y="3223219"/>
                  <a:pt x="2611543" y="3229403"/>
                  <a:pt x="2610946" y="3232197"/>
                </a:cubicBezTo>
                <a:cubicBezTo>
                  <a:pt x="2610349" y="3234992"/>
                  <a:pt x="2610349" y="3234992"/>
                  <a:pt x="2610349" y="3234992"/>
                </a:cubicBezTo>
                <a:cubicBezTo>
                  <a:pt x="2610349" y="3234992"/>
                  <a:pt x="2610349" y="3234992"/>
                  <a:pt x="2608152" y="3231600"/>
                </a:cubicBezTo>
                <a:cubicBezTo>
                  <a:pt x="2610349" y="3234992"/>
                  <a:pt x="2607555" y="3234395"/>
                  <a:pt x="2605358" y="3231004"/>
                </a:cubicBezTo>
                <a:cubicBezTo>
                  <a:pt x="2615150" y="3253546"/>
                  <a:pt x="2617753" y="3268710"/>
                  <a:pt x="2622553" y="3287264"/>
                </a:cubicBezTo>
                <a:cubicBezTo>
                  <a:pt x="2627951" y="3303024"/>
                  <a:pt x="2633348" y="3318785"/>
                  <a:pt x="2643139" y="3341327"/>
                </a:cubicBezTo>
                <a:cubicBezTo>
                  <a:pt x="2640942" y="3337936"/>
                  <a:pt x="2640345" y="3340730"/>
                  <a:pt x="2642543" y="3344121"/>
                </a:cubicBezTo>
                <a:cubicBezTo>
                  <a:pt x="2642543" y="3344121"/>
                  <a:pt x="2642543" y="3344121"/>
                  <a:pt x="2645337" y="3344718"/>
                </a:cubicBezTo>
                <a:cubicBezTo>
                  <a:pt x="2645337" y="3344718"/>
                  <a:pt x="2644740" y="3347512"/>
                  <a:pt x="2644740" y="3347512"/>
                </a:cubicBezTo>
                <a:cubicBezTo>
                  <a:pt x="2646937" y="3350903"/>
                  <a:pt x="2646937" y="3350903"/>
                  <a:pt x="2646937" y="3350903"/>
                </a:cubicBezTo>
                <a:cubicBezTo>
                  <a:pt x="2650734" y="3360478"/>
                  <a:pt x="2650734" y="3360478"/>
                  <a:pt x="2650734" y="3360478"/>
                </a:cubicBezTo>
                <a:cubicBezTo>
                  <a:pt x="2647940" y="3359882"/>
                  <a:pt x="2650137" y="3363272"/>
                  <a:pt x="2649540" y="3366066"/>
                </a:cubicBezTo>
                <a:cubicBezTo>
                  <a:pt x="2645146" y="3359285"/>
                  <a:pt x="2647940" y="3359882"/>
                  <a:pt x="2646340" y="3353696"/>
                </a:cubicBezTo>
                <a:cubicBezTo>
                  <a:pt x="2646340" y="3353696"/>
                  <a:pt x="2643546" y="3353100"/>
                  <a:pt x="2643546" y="3353100"/>
                </a:cubicBezTo>
                <a:cubicBezTo>
                  <a:pt x="2643546" y="3353100"/>
                  <a:pt x="2643546" y="3353100"/>
                  <a:pt x="2642949" y="3355894"/>
                </a:cubicBezTo>
                <a:cubicBezTo>
                  <a:pt x="2640155" y="3355297"/>
                  <a:pt x="2640752" y="3352502"/>
                  <a:pt x="2640752" y="3352502"/>
                </a:cubicBezTo>
                <a:cubicBezTo>
                  <a:pt x="2640752" y="3352502"/>
                  <a:pt x="2641349" y="3349709"/>
                  <a:pt x="2641349" y="3349709"/>
                </a:cubicBezTo>
                <a:cubicBezTo>
                  <a:pt x="2639151" y="3346318"/>
                  <a:pt x="2639151" y="3346318"/>
                  <a:pt x="2639151" y="3346318"/>
                </a:cubicBezTo>
                <a:cubicBezTo>
                  <a:pt x="2636955" y="3342927"/>
                  <a:pt x="2638746" y="3334545"/>
                  <a:pt x="2635355" y="3336743"/>
                </a:cubicBezTo>
                <a:cubicBezTo>
                  <a:pt x="2630364" y="3332754"/>
                  <a:pt x="2638746" y="3334545"/>
                  <a:pt x="2636549" y="3331154"/>
                </a:cubicBezTo>
                <a:cubicBezTo>
                  <a:pt x="2634351" y="3327764"/>
                  <a:pt x="2633755" y="3330557"/>
                  <a:pt x="2630961" y="3329961"/>
                </a:cubicBezTo>
                <a:cubicBezTo>
                  <a:pt x="2629360" y="3323776"/>
                  <a:pt x="2626757" y="3308612"/>
                  <a:pt x="2626757" y="3308612"/>
                </a:cubicBezTo>
                <a:cubicBezTo>
                  <a:pt x="2623557" y="3296243"/>
                  <a:pt x="2613168" y="3276495"/>
                  <a:pt x="2611568" y="3270309"/>
                </a:cubicBezTo>
                <a:cubicBezTo>
                  <a:pt x="2609371" y="3266919"/>
                  <a:pt x="2611568" y="3270309"/>
                  <a:pt x="2614362" y="3270906"/>
                </a:cubicBezTo>
                <a:cubicBezTo>
                  <a:pt x="2611568" y="3270309"/>
                  <a:pt x="2609969" y="3264125"/>
                  <a:pt x="2609969" y="3264125"/>
                </a:cubicBezTo>
                <a:cubicBezTo>
                  <a:pt x="2609969" y="3264125"/>
                  <a:pt x="2611162" y="3258536"/>
                  <a:pt x="2611162" y="3258536"/>
                </a:cubicBezTo>
                <a:cubicBezTo>
                  <a:pt x="2608965" y="3255146"/>
                  <a:pt x="2607771" y="3260734"/>
                  <a:pt x="2608368" y="3257940"/>
                </a:cubicBezTo>
                <a:cubicBezTo>
                  <a:pt x="2603377" y="3253952"/>
                  <a:pt x="2610159" y="3249558"/>
                  <a:pt x="2603974" y="3251158"/>
                </a:cubicBezTo>
                <a:cubicBezTo>
                  <a:pt x="2603567" y="3239385"/>
                  <a:pt x="2599961" y="3215243"/>
                  <a:pt x="2592773" y="3207864"/>
                </a:cubicBezTo>
                <a:cubicBezTo>
                  <a:pt x="2592177" y="3210658"/>
                  <a:pt x="2594970" y="3211255"/>
                  <a:pt x="2598361" y="3209058"/>
                </a:cubicBezTo>
                <a:cubicBezTo>
                  <a:pt x="2588570" y="3186516"/>
                  <a:pt x="2578371" y="3152201"/>
                  <a:pt x="2577965" y="3140428"/>
                </a:cubicBezTo>
                <a:cubicBezTo>
                  <a:pt x="2576365" y="3134244"/>
                  <a:pt x="2560580" y="3098735"/>
                  <a:pt x="2563564" y="3084765"/>
                </a:cubicBezTo>
                <a:cubicBezTo>
                  <a:pt x="2561964" y="3078580"/>
                  <a:pt x="2563564" y="3084765"/>
                  <a:pt x="2560770" y="3084168"/>
                </a:cubicBezTo>
                <a:cubicBezTo>
                  <a:pt x="2562561" y="3075786"/>
                  <a:pt x="2554967" y="3056635"/>
                  <a:pt x="2551170" y="3047059"/>
                </a:cubicBezTo>
                <a:cubicBezTo>
                  <a:pt x="2551170" y="3047059"/>
                  <a:pt x="2552769" y="3053244"/>
                  <a:pt x="2549379" y="3055441"/>
                </a:cubicBezTo>
                <a:cubicBezTo>
                  <a:pt x="2547969" y="3034689"/>
                  <a:pt x="2549569" y="3040875"/>
                  <a:pt x="2554560" y="3044863"/>
                </a:cubicBezTo>
                <a:cubicBezTo>
                  <a:pt x="2548160" y="3020123"/>
                  <a:pt x="2548757" y="3017329"/>
                  <a:pt x="2539969" y="3003766"/>
                </a:cubicBezTo>
                <a:cubicBezTo>
                  <a:pt x="2539969" y="3003766"/>
                  <a:pt x="2537771" y="3000375"/>
                  <a:pt x="2537771" y="3000375"/>
                </a:cubicBezTo>
                <a:cubicBezTo>
                  <a:pt x="2537771" y="3000375"/>
                  <a:pt x="2537771" y="3000375"/>
                  <a:pt x="2538368" y="2997581"/>
                </a:cubicBezTo>
                <a:cubicBezTo>
                  <a:pt x="2538368" y="2997581"/>
                  <a:pt x="2541162" y="2998178"/>
                  <a:pt x="2541162" y="2998178"/>
                </a:cubicBezTo>
                <a:cubicBezTo>
                  <a:pt x="2541162" y="2998178"/>
                  <a:pt x="2541759" y="2995383"/>
                  <a:pt x="2539562" y="2991993"/>
                </a:cubicBezTo>
                <a:cubicBezTo>
                  <a:pt x="2539562" y="2991993"/>
                  <a:pt x="2539562" y="2991993"/>
                  <a:pt x="2538965" y="2994787"/>
                </a:cubicBezTo>
                <a:cubicBezTo>
                  <a:pt x="2538965" y="2994787"/>
                  <a:pt x="2538965" y="2994787"/>
                  <a:pt x="2536171" y="2994190"/>
                </a:cubicBezTo>
                <a:cubicBezTo>
                  <a:pt x="2536768" y="2991396"/>
                  <a:pt x="2536768" y="2991396"/>
                  <a:pt x="2537365" y="2988602"/>
                </a:cubicBezTo>
                <a:cubicBezTo>
                  <a:pt x="2535168" y="2985211"/>
                  <a:pt x="2535168" y="2985211"/>
                  <a:pt x="2535168" y="2985211"/>
                </a:cubicBezTo>
                <a:cubicBezTo>
                  <a:pt x="2532971" y="2981821"/>
                  <a:pt x="2530367" y="2966656"/>
                  <a:pt x="2536959" y="2976829"/>
                </a:cubicBezTo>
                <a:cubicBezTo>
                  <a:pt x="2533568" y="2979026"/>
                  <a:pt x="2535765" y="2982418"/>
                  <a:pt x="2539155" y="2980220"/>
                </a:cubicBezTo>
                <a:cubicBezTo>
                  <a:pt x="2536362" y="2979624"/>
                  <a:pt x="2536362" y="2979624"/>
                  <a:pt x="2536959" y="2976829"/>
                </a:cubicBezTo>
                <a:cubicBezTo>
                  <a:pt x="2534761" y="2973439"/>
                  <a:pt x="2534761" y="2973439"/>
                  <a:pt x="2535358" y="2970644"/>
                </a:cubicBezTo>
                <a:cubicBezTo>
                  <a:pt x="2535358" y="2970644"/>
                  <a:pt x="2538153" y="2971242"/>
                  <a:pt x="2537555" y="2974036"/>
                </a:cubicBezTo>
                <a:cubicBezTo>
                  <a:pt x="2537555" y="2974036"/>
                  <a:pt x="2540349" y="2974633"/>
                  <a:pt x="2539753" y="2977426"/>
                </a:cubicBezTo>
                <a:cubicBezTo>
                  <a:pt x="2540349" y="2974633"/>
                  <a:pt x="2540946" y="2971839"/>
                  <a:pt x="2540946" y="2971839"/>
                </a:cubicBezTo>
                <a:cubicBezTo>
                  <a:pt x="2538750" y="2968447"/>
                  <a:pt x="2537149" y="2962263"/>
                  <a:pt x="2536146" y="2953284"/>
                </a:cubicBezTo>
                <a:cubicBezTo>
                  <a:pt x="2532946" y="2940914"/>
                  <a:pt x="2529745" y="2928545"/>
                  <a:pt x="2528743" y="2919566"/>
                </a:cubicBezTo>
                <a:cubicBezTo>
                  <a:pt x="2529339" y="2916772"/>
                  <a:pt x="2526545" y="2916175"/>
                  <a:pt x="2526545" y="2916175"/>
                </a:cubicBezTo>
                <a:cubicBezTo>
                  <a:pt x="2526545" y="2916175"/>
                  <a:pt x="2527142" y="2913382"/>
                  <a:pt x="2527142" y="2913382"/>
                </a:cubicBezTo>
                <a:cubicBezTo>
                  <a:pt x="2528336" y="2907793"/>
                  <a:pt x="2526736" y="2901609"/>
                  <a:pt x="2524539" y="2898217"/>
                </a:cubicBezTo>
                <a:cubicBezTo>
                  <a:pt x="2525135" y="2895424"/>
                  <a:pt x="2523536" y="2889239"/>
                  <a:pt x="2524133" y="2886445"/>
                </a:cubicBezTo>
                <a:cubicBezTo>
                  <a:pt x="2522533" y="2880260"/>
                  <a:pt x="2518735" y="2870684"/>
                  <a:pt x="2517135" y="2864500"/>
                </a:cubicBezTo>
                <a:cubicBezTo>
                  <a:pt x="2514341" y="2863903"/>
                  <a:pt x="2514341" y="2863903"/>
                  <a:pt x="2514341" y="2863903"/>
                </a:cubicBezTo>
                <a:cubicBezTo>
                  <a:pt x="2514938" y="2861109"/>
                  <a:pt x="2514938" y="2861109"/>
                  <a:pt x="2515535" y="2858315"/>
                </a:cubicBezTo>
                <a:cubicBezTo>
                  <a:pt x="2513338" y="2854924"/>
                  <a:pt x="2516131" y="2855521"/>
                  <a:pt x="2516131" y="2855521"/>
                </a:cubicBezTo>
                <a:cubicBezTo>
                  <a:pt x="2518329" y="2858911"/>
                  <a:pt x="2518329" y="2858911"/>
                  <a:pt x="2518329" y="2858911"/>
                </a:cubicBezTo>
                <a:cubicBezTo>
                  <a:pt x="2516729" y="2852727"/>
                  <a:pt x="2510137" y="2842554"/>
                  <a:pt x="2514125" y="2837563"/>
                </a:cubicBezTo>
                <a:cubicBezTo>
                  <a:pt x="2511331" y="2836966"/>
                  <a:pt x="2511331" y="2836966"/>
                  <a:pt x="2511928" y="2834172"/>
                </a:cubicBezTo>
                <a:cubicBezTo>
                  <a:pt x="2509731" y="2830782"/>
                  <a:pt x="2512525" y="2831378"/>
                  <a:pt x="2512525" y="2831378"/>
                </a:cubicBezTo>
                <a:cubicBezTo>
                  <a:pt x="2508727" y="2821803"/>
                  <a:pt x="2516107" y="2814615"/>
                  <a:pt x="2511116" y="2810627"/>
                </a:cubicBezTo>
                <a:cubicBezTo>
                  <a:pt x="2510518" y="2813421"/>
                  <a:pt x="2510518" y="2813421"/>
                  <a:pt x="2510518" y="2813421"/>
                </a:cubicBezTo>
                <a:cubicBezTo>
                  <a:pt x="2512119" y="2819605"/>
                  <a:pt x="2511522" y="2822400"/>
                  <a:pt x="2508727" y="2821803"/>
                </a:cubicBezTo>
                <a:cubicBezTo>
                  <a:pt x="2508727" y="2821803"/>
                  <a:pt x="2506531" y="2818412"/>
                  <a:pt x="2507128" y="2815618"/>
                </a:cubicBezTo>
                <a:cubicBezTo>
                  <a:pt x="2504931" y="2812227"/>
                  <a:pt x="2504931" y="2812227"/>
                  <a:pt x="2504931" y="2812227"/>
                </a:cubicBezTo>
                <a:cubicBezTo>
                  <a:pt x="2499343" y="2811033"/>
                  <a:pt x="2500346" y="2820012"/>
                  <a:pt x="2505337" y="2824000"/>
                </a:cubicBezTo>
                <a:cubicBezTo>
                  <a:pt x="2500346" y="2820012"/>
                  <a:pt x="2500156" y="2834579"/>
                  <a:pt x="2499152" y="2825600"/>
                </a:cubicBezTo>
                <a:cubicBezTo>
                  <a:pt x="2505934" y="2821206"/>
                  <a:pt x="2489767" y="2814830"/>
                  <a:pt x="2494949" y="2804251"/>
                </a:cubicBezTo>
                <a:cubicBezTo>
                  <a:pt x="2492752" y="2800861"/>
                  <a:pt x="2492752" y="2800861"/>
                  <a:pt x="2492752" y="2800861"/>
                </a:cubicBezTo>
                <a:cubicBezTo>
                  <a:pt x="2492752" y="2800861"/>
                  <a:pt x="2493349" y="2798067"/>
                  <a:pt x="2493349" y="2798067"/>
                </a:cubicBezTo>
                <a:cubicBezTo>
                  <a:pt x="2491152" y="2794676"/>
                  <a:pt x="2493945" y="2795273"/>
                  <a:pt x="2493945" y="2795273"/>
                </a:cubicBezTo>
                <a:cubicBezTo>
                  <a:pt x="2493349" y="2798067"/>
                  <a:pt x="2496143" y="2798664"/>
                  <a:pt x="2496143" y="2798664"/>
                </a:cubicBezTo>
                <a:cubicBezTo>
                  <a:pt x="2496740" y="2795870"/>
                  <a:pt x="2495139" y="2789685"/>
                  <a:pt x="2497933" y="2790282"/>
                </a:cubicBezTo>
                <a:cubicBezTo>
                  <a:pt x="2500131" y="2793673"/>
                  <a:pt x="2498530" y="2787488"/>
                  <a:pt x="2501325" y="2788085"/>
                </a:cubicBezTo>
                <a:cubicBezTo>
                  <a:pt x="2502924" y="2794270"/>
                  <a:pt x="2502327" y="2797064"/>
                  <a:pt x="2503927" y="2803248"/>
                </a:cubicBezTo>
                <a:cubicBezTo>
                  <a:pt x="2504524" y="2800454"/>
                  <a:pt x="2504524" y="2800454"/>
                  <a:pt x="2504524" y="2800454"/>
                </a:cubicBezTo>
                <a:cubicBezTo>
                  <a:pt x="2505121" y="2797660"/>
                  <a:pt x="2505718" y="2794867"/>
                  <a:pt x="2508512" y="2795464"/>
                </a:cubicBezTo>
                <a:lnTo>
                  <a:pt x="2509892" y="2800795"/>
                </a:lnTo>
                <a:lnTo>
                  <a:pt x="2508919" y="2807236"/>
                </a:lnTo>
                <a:cubicBezTo>
                  <a:pt x="2508919" y="2807236"/>
                  <a:pt x="2508919" y="2807236"/>
                  <a:pt x="2509516" y="2804442"/>
                </a:cubicBezTo>
                <a:cubicBezTo>
                  <a:pt x="2510113" y="2801649"/>
                  <a:pt x="2510113" y="2801649"/>
                  <a:pt x="2510113" y="2801649"/>
                </a:cubicBezTo>
                <a:lnTo>
                  <a:pt x="2509892" y="2800795"/>
                </a:lnTo>
                <a:lnTo>
                  <a:pt x="2510682" y="2795562"/>
                </a:lnTo>
                <a:cubicBezTo>
                  <a:pt x="2510106" y="2791422"/>
                  <a:pt x="2508906" y="2786783"/>
                  <a:pt x="2508703" y="2780897"/>
                </a:cubicBezTo>
                <a:cubicBezTo>
                  <a:pt x="2516297" y="2800048"/>
                  <a:pt x="2512094" y="2778700"/>
                  <a:pt x="2518875" y="2774305"/>
                </a:cubicBezTo>
                <a:cubicBezTo>
                  <a:pt x="2516679" y="2770915"/>
                  <a:pt x="2515485" y="2776503"/>
                  <a:pt x="2515485" y="2776503"/>
                </a:cubicBezTo>
                <a:cubicBezTo>
                  <a:pt x="2512691" y="2775906"/>
                  <a:pt x="2512691" y="2775906"/>
                  <a:pt x="2512691" y="2775906"/>
                </a:cubicBezTo>
                <a:cubicBezTo>
                  <a:pt x="2512094" y="2778700"/>
                  <a:pt x="2512094" y="2778700"/>
                  <a:pt x="2509897" y="2775309"/>
                </a:cubicBezTo>
                <a:cubicBezTo>
                  <a:pt x="2509897" y="2775309"/>
                  <a:pt x="2510493" y="2772515"/>
                  <a:pt x="2511090" y="2769721"/>
                </a:cubicBezTo>
                <a:cubicBezTo>
                  <a:pt x="2511687" y="2766927"/>
                  <a:pt x="2511687" y="2766927"/>
                  <a:pt x="2511687" y="2766927"/>
                </a:cubicBezTo>
                <a:cubicBezTo>
                  <a:pt x="2509491" y="2763536"/>
                  <a:pt x="2506100" y="2765733"/>
                  <a:pt x="2507293" y="2760145"/>
                </a:cubicBezTo>
                <a:cubicBezTo>
                  <a:pt x="2506697" y="2762939"/>
                  <a:pt x="2506697" y="2762939"/>
                  <a:pt x="2506100" y="2765733"/>
                </a:cubicBezTo>
                <a:cubicBezTo>
                  <a:pt x="2505503" y="2768527"/>
                  <a:pt x="2502709" y="2767930"/>
                  <a:pt x="2503305" y="2765137"/>
                </a:cubicBezTo>
                <a:cubicBezTo>
                  <a:pt x="2500511" y="2764540"/>
                  <a:pt x="2501108" y="2761745"/>
                  <a:pt x="2501705" y="2758951"/>
                </a:cubicBezTo>
                <a:cubicBezTo>
                  <a:pt x="2502302" y="2756158"/>
                  <a:pt x="2502302" y="2756158"/>
                  <a:pt x="2502899" y="2753364"/>
                </a:cubicBezTo>
                <a:cubicBezTo>
                  <a:pt x="2504093" y="2747776"/>
                  <a:pt x="2508081" y="2742785"/>
                  <a:pt x="2509681" y="2748970"/>
                </a:cubicBezTo>
                <a:cubicBezTo>
                  <a:pt x="2510278" y="2746176"/>
                  <a:pt x="2510278" y="2746176"/>
                  <a:pt x="2513072" y="2746773"/>
                </a:cubicBezTo>
                <a:cubicBezTo>
                  <a:pt x="2513072" y="2746773"/>
                  <a:pt x="2513072" y="2746773"/>
                  <a:pt x="2515269" y="2750164"/>
                </a:cubicBezTo>
                <a:cubicBezTo>
                  <a:pt x="2515865" y="2747369"/>
                  <a:pt x="2514266" y="2741185"/>
                  <a:pt x="2515460" y="2735597"/>
                </a:cubicBezTo>
                <a:cubicBezTo>
                  <a:pt x="2514266" y="2741185"/>
                  <a:pt x="2515865" y="2747369"/>
                  <a:pt x="2513669" y="2743979"/>
                </a:cubicBezTo>
                <a:cubicBezTo>
                  <a:pt x="2508678" y="2739991"/>
                  <a:pt x="2515460" y="2735597"/>
                  <a:pt x="2510469" y="2731609"/>
                </a:cubicBezTo>
                <a:cubicBezTo>
                  <a:pt x="2507674" y="2731012"/>
                  <a:pt x="2507674" y="2731012"/>
                  <a:pt x="2507674" y="2731012"/>
                </a:cubicBezTo>
                <a:cubicBezTo>
                  <a:pt x="2507674" y="2731012"/>
                  <a:pt x="2507674" y="2731012"/>
                  <a:pt x="2508271" y="2728218"/>
                </a:cubicBezTo>
                <a:cubicBezTo>
                  <a:pt x="2508271" y="2728218"/>
                  <a:pt x="2508271" y="2728218"/>
                  <a:pt x="2508868" y="2725424"/>
                </a:cubicBezTo>
                <a:cubicBezTo>
                  <a:pt x="2511662" y="2726021"/>
                  <a:pt x="2511662" y="2726021"/>
                  <a:pt x="2511662" y="2726021"/>
                </a:cubicBezTo>
                <a:cubicBezTo>
                  <a:pt x="2509465" y="2722630"/>
                  <a:pt x="2509465" y="2722630"/>
                  <a:pt x="2507269" y="2719240"/>
                </a:cubicBezTo>
                <a:cubicBezTo>
                  <a:pt x="2511256" y="2714248"/>
                  <a:pt x="2509656" y="2708063"/>
                  <a:pt x="2510850" y="2702476"/>
                </a:cubicBezTo>
                <a:cubicBezTo>
                  <a:pt x="2510253" y="2705270"/>
                  <a:pt x="2509656" y="2708063"/>
                  <a:pt x="2509656" y="2708063"/>
                </a:cubicBezTo>
                <a:cubicBezTo>
                  <a:pt x="2509250" y="2696291"/>
                  <a:pt x="2511447" y="2699682"/>
                  <a:pt x="2507649" y="2690106"/>
                </a:cubicBezTo>
                <a:cubicBezTo>
                  <a:pt x="2507053" y="2692900"/>
                  <a:pt x="2504258" y="2692303"/>
                  <a:pt x="2504258" y="2692303"/>
                </a:cubicBezTo>
                <a:cubicBezTo>
                  <a:pt x="2504258" y="2692303"/>
                  <a:pt x="2504855" y="2689509"/>
                  <a:pt x="2504855" y="2689509"/>
                </a:cubicBezTo>
                <a:cubicBezTo>
                  <a:pt x="2502061" y="2688912"/>
                  <a:pt x="2502061" y="2688912"/>
                  <a:pt x="2502061" y="2688912"/>
                </a:cubicBezTo>
                <a:cubicBezTo>
                  <a:pt x="2504067" y="2706870"/>
                  <a:pt x="2501465" y="2691706"/>
                  <a:pt x="2498671" y="2691109"/>
                </a:cubicBezTo>
                <a:cubicBezTo>
                  <a:pt x="2499674" y="2700089"/>
                  <a:pt x="2500677" y="2709067"/>
                  <a:pt x="2498886" y="2717449"/>
                </a:cubicBezTo>
                <a:cubicBezTo>
                  <a:pt x="2501680" y="2718046"/>
                  <a:pt x="2501680" y="2718046"/>
                  <a:pt x="2501680" y="2718046"/>
                </a:cubicBezTo>
                <a:cubicBezTo>
                  <a:pt x="2503281" y="2724230"/>
                  <a:pt x="2502684" y="2727025"/>
                  <a:pt x="2502087" y="2729818"/>
                </a:cubicBezTo>
                <a:cubicBezTo>
                  <a:pt x="2500487" y="2723633"/>
                  <a:pt x="2501083" y="2720840"/>
                  <a:pt x="2498289" y="2720242"/>
                </a:cubicBezTo>
                <a:cubicBezTo>
                  <a:pt x="2499293" y="2729221"/>
                  <a:pt x="2496499" y="2728624"/>
                  <a:pt x="2498099" y="2734809"/>
                </a:cubicBezTo>
                <a:cubicBezTo>
                  <a:pt x="2498099" y="2734809"/>
                  <a:pt x="2497501" y="2737604"/>
                  <a:pt x="2500296" y="2738200"/>
                </a:cubicBezTo>
                <a:cubicBezTo>
                  <a:pt x="2499699" y="2740994"/>
                  <a:pt x="2499699" y="2740994"/>
                  <a:pt x="2499699" y="2740994"/>
                </a:cubicBezTo>
                <a:cubicBezTo>
                  <a:pt x="2499102" y="2743788"/>
                  <a:pt x="2498505" y="2746582"/>
                  <a:pt x="2496308" y="2743191"/>
                </a:cubicBezTo>
                <a:cubicBezTo>
                  <a:pt x="2494111" y="2739800"/>
                  <a:pt x="2494111" y="2739800"/>
                  <a:pt x="2494111" y="2739800"/>
                </a:cubicBezTo>
                <a:cubicBezTo>
                  <a:pt x="2491317" y="2739203"/>
                  <a:pt x="2491914" y="2736410"/>
                  <a:pt x="2492511" y="2733616"/>
                </a:cubicBezTo>
                <a:cubicBezTo>
                  <a:pt x="2493108" y="2730822"/>
                  <a:pt x="2493108" y="2730822"/>
                  <a:pt x="2493108" y="2730822"/>
                </a:cubicBezTo>
                <a:cubicBezTo>
                  <a:pt x="2495902" y="2731418"/>
                  <a:pt x="2495902" y="2731418"/>
                  <a:pt x="2495902" y="2731418"/>
                </a:cubicBezTo>
                <a:cubicBezTo>
                  <a:pt x="2497692" y="2723037"/>
                  <a:pt x="2493489" y="2701688"/>
                  <a:pt x="2495876" y="2690512"/>
                </a:cubicBezTo>
                <a:cubicBezTo>
                  <a:pt x="2493680" y="2687121"/>
                  <a:pt x="2493680" y="2687121"/>
                  <a:pt x="2493680" y="2687121"/>
                </a:cubicBezTo>
                <a:cubicBezTo>
                  <a:pt x="2493680" y="2687121"/>
                  <a:pt x="2493680" y="2687121"/>
                  <a:pt x="2494277" y="2684328"/>
                </a:cubicBezTo>
                <a:cubicBezTo>
                  <a:pt x="2494277" y="2684328"/>
                  <a:pt x="2494874" y="2681534"/>
                  <a:pt x="2494874" y="2681534"/>
                </a:cubicBezTo>
                <a:cubicBezTo>
                  <a:pt x="2496067" y="2675946"/>
                  <a:pt x="2495064" y="2666967"/>
                  <a:pt x="2492867" y="2663576"/>
                </a:cubicBezTo>
                <a:cubicBezTo>
                  <a:pt x="2495661" y="2664173"/>
                  <a:pt x="2495661" y="2664173"/>
                  <a:pt x="2495661" y="2664173"/>
                </a:cubicBezTo>
                <a:cubicBezTo>
                  <a:pt x="2493464" y="2660783"/>
                  <a:pt x="2493464" y="2660783"/>
                  <a:pt x="2493464" y="2660783"/>
                </a:cubicBezTo>
                <a:cubicBezTo>
                  <a:pt x="2493464" y="2660783"/>
                  <a:pt x="2491267" y="2657391"/>
                  <a:pt x="2491863" y="2654597"/>
                </a:cubicBezTo>
                <a:cubicBezTo>
                  <a:pt x="2491863" y="2654597"/>
                  <a:pt x="2492460" y="2651803"/>
                  <a:pt x="2495255" y="2652400"/>
                </a:cubicBezTo>
                <a:cubicBezTo>
                  <a:pt x="2498429" y="2623864"/>
                  <a:pt x="2493032" y="2608103"/>
                  <a:pt x="2500005" y="2589143"/>
                </a:cubicBezTo>
                <a:cubicBezTo>
                  <a:pt x="2497211" y="2588546"/>
                  <a:pt x="2497807" y="2585752"/>
                  <a:pt x="2498405" y="2582958"/>
                </a:cubicBezTo>
                <a:cubicBezTo>
                  <a:pt x="2498405" y="2582958"/>
                  <a:pt x="2499001" y="2580164"/>
                  <a:pt x="2499001" y="2580164"/>
                </a:cubicBezTo>
                <a:cubicBezTo>
                  <a:pt x="2501795" y="2580761"/>
                  <a:pt x="2501795" y="2580761"/>
                  <a:pt x="2501795" y="2580761"/>
                </a:cubicBezTo>
                <a:cubicBezTo>
                  <a:pt x="2496805" y="2576773"/>
                  <a:pt x="2498596" y="2568391"/>
                  <a:pt x="2499789" y="2562803"/>
                </a:cubicBezTo>
                <a:cubicBezTo>
                  <a:pt x="2499789" y="2562803"/>
                  <a:pt x="2500387" y="2560009"/>
                  <a:pt x="2500387" y="2560009"/>
                </a:cubicBezTo>
                <a:cubicBezTo>
                  <a:pt x="2498189" y="2556619"/>
                  <a:pt x="2498189" y="2556619"/>
                  <a:pt x="2501580" y="2554422"/>
                </a:cubicBezTo>
                <a:cubicBezTo>
                  <a:pt x="2502177" y="2551628"/>
                  <a:pt x="2502177" y="2551628"/>
                  <a:pt x="2502177" y="2551628"/>
                </a:cubicBezTo>
                <a:cubicBezTo>
                  <a:pt x="2502177" y="2551628"/>
                  <a:pt x="2499383" y="2551030"/>
                  <a:pt x="2499980" y="2548237"/>
                </a:cubicBezTo>
                <a:cubicBezTo>
                  <a:pt x="2499980" y="2548237"/>
                  <a:pt x="2499980" y="2548237"/>
                  <a:pt x="2500577" y="2545443"/>
                </a:cubicBezTo>
                <a:cubicBezTo>
                  <a:pt x="2504565" y="2540451"/>
                  <a:pt x="2498570" y="2527485"/>
                  <a:pt x="2504158" y="2528680"/>
                </a:cubicBezTo>
                <a:cubicBezTo>
                  <a:pt x="2504158" y="2528680"/>
                  <a:pt x="2504158" y="2528680"/>
                  <a:pt x="2504755" y="2525885"/>
                </a:cubicBezTo>
                <a:lnTo>
                  <a:pt x="2505154" y="2524021"/>
                </a:lnTo>
                <a:lnTo>
                  <a:pt x="2516063" y="2519975"/>
                </a:lnTo>
                <a:close/>
                <a:moveTo>
                  <a:pt x="2504921" y="2470412"/>
                </a:moveTo>
                <a:lnTo>
                  <a:pt x="2504530" y="2473073"/>
                </a:lnTo>
                <a:lnTo>
                  <a:pt x="2504324" y="2473207"/>
                </a:lnTo>
                <a:cubicBezTo>
                  <a:pt x="2504921" y="2470412"/>
                  <a:pt x="2504921" y="2470412"/>
                  <a:pt x="2504921" y="2470412"/>
                </a:cubicBezTo>
                <a:close/>
                <a:moveTo>
                  <a:pt x="2511180" y="2468464"/>
                </a:moveTo>
                <a:cubicBezTo>
                  <a:pt x="2512102" y="2467565"/>
                  <a:pt x="2512800" y="2467714"/>
                  <a:pt x="2513302" y="2472203"/>
                </a:cubicBezTo>
                <a:cubicBezTo>
                  <a:pt x="2510509" y="2471607"/>
                  <a:pt x="2512109" y="2477791"/>
                  <a:pt x="2508121" y="2482782"/>
                </a:cubicBezTo>
                <a:cubicBezTo>
                  <a:pt x="2508717" y="2479988"/>
                  <a:pt x="2508717" y="2479988"/>
                  <a:pt x="2508717" y="2479988"/>
                </a:cubicBezTo>
                <a:cubicBezTo>
                  <a:pt x="2506521" y="2476597"/>
                  <a:pt x="2506521" y="2476597"/>
                  <a:pt x="2505924" y="2479392"/>
                </a:cubicBezTo>
                <a:cubicBezTo>
                  <a:pt x="2505924" y="2479392"/>
                  <a:pt x="2505327" y="2482185"/>
                  <a:pt x="2505327" y="2482185"/>
                </a:cubicBezTo>
                <a:cubicBezTo>
                  <a:pt x="2508121" y="2482782"/>
                  <a:pt x="2507524" y="2485576"/>
                  <a:pt x="2507524" y="2485576"/>
                </a:cubicBezTo>
                <a:cubicBezTo>
                  <a:pt x="2505733" y="2493958"/>
                  <a:pt x="2512515" y="2489564"/>
                  <a:pt x="2510724" y="2497946"/>
                </a:cubicBezTo>
                <a:cubicBezTo>
                  <a:pt x="2509531" y="2503533"/>
                  <a:pt x="2501555" y="2513515"/>
                  <a:pt x="2506546" y="2517503"/>
                </a:cubicBezTo>
                <a:cubicBezTo>
                  <a:pt x="2506546" y="2517503"/>
                  <a:pt x="2505949" y="2520298"/>
                  <a:pt x="2505949" y="2520298"/>
                </a:cubicBezTo>
                <a:lnTo>
                  <a:pt x="2505153" y="2524021"/>
                </a:lnTo>
                <a:lnTo>
                  <a:pt x="2492478" y="2528720"/>
                </a:lnTo>
                <a:lnTo>
                  <a:pt x="2497351" y="2509451"/>
                </a:lnTo>
                <a:cubicBezTo>
                  <a:pt x="2499041" y="2503221"/>
                  <a:pt x="2500713" y="2496834"/>
                  <a:pt x="2502210" y="2488869"/>
                </a:cubicBezTo>
                <a:lnTo>
                  <a:pt x="2504530" y="2473073"/>
                </a:lnTo>
                <a:lnTo>
                  <a:pt x="2507715" y="2471010"/>
                </a:lnTo>
                <a:cubicBezTo>
                  <a:pt x="2509112" y="2471309"/>
                  <a:pt x="2510258" y="2469362"/>
                  <a:pt x="2511180" y="2468464"/>
                </a:cubicBezTo>
                <a:close/>
                <a:moveTo>
                  <a:pt x="2508180" y="2468187"/>
                </a:moveTo>
                <a:lnTo>
                  <a:pt x="2508312" y="2468215"/>
                </a:lnTo>
                <a:cubicBezTo>
                  <a:pt x="2507715" y="2471010"/>
                  <a:pt x="2507715" y="2471010"/>
                  <a:pt x="2507715" y="2471010"/>
                </a:cubicBezTo>
                <a:close/>
                <a:moveTo>
                  <a:pt x="5612194" y="2459847"/>
                </a:moveTo>
                <a:lnTo>
                  <a:pt x="5603823" y="2463017"/>
                </a:lnTo>
                <a:lnTo>
                  <a:pt x="5593618" y="2471137"/>
                </a:lnTo>
                <a:lnTo>
                  <a:pt x="5596612" y="2537303"/>
                </a:lnTo>
                <a:cubicBezTo>
                  <a:pt x="5595822" y="2597783"/>
                  <a:pt x="5590143" y="2658430"/>
                  <a:pt x="5583304" y="2718832"/>
                </a:cubicBezTo>
                <a:cubicBezTo>
                  <a:pt x="5580994" y="2735319"/>
                  <a:pt x="5577277" y="2752720"/>
                  <a:pt x="5593112" y="2769445"/>
                </a:cubicBezTo>
                <a:cubicBezTo>
                  <a:pt x="5607734" y="2701004"/>
                  <a:pt x="5608604" y="2634477"/>
                  <a:pt x="5613202" y="2567533"/>
                </a:cubicBezTo>
                <a:lnTo>
                  <a:pt x="5612907" y="2536042"/>
                </a:lnTo>
                <a:lnTo>
                  <a:pt x="5608833" y="2533108"/>
                </a:lnTo>
                <a:cubicBezTo>
                  <a:pt x="5605838" y="2527853"/>
                  <a:pt x="5611881" y="2521301"/>
                  <a:pt x="5612020" y="2516013"/>
                </a:cubicBezTo>
                <a:lnTo>
                  <a:pt x="5612691" y="2512990"/>
                </a:lnTo>
                <a:close/>
                <a:moveTo>
                  <a:pt x="2541954" y="2338094"/>
                </a:moveTo>
                <a:cubicBezTo>
                  <a:pt x="2541954" y="2338094"/>
                  <a:pt x="2541954" y="2338094"/>
                  <a:pt x="2541357" y="2340888"/>
                </a:cubicBezTo>
                <a:cubicBezTo>
                  <a:pt x="2541357" y="2340888"/>
                  <a:pt x="2541357" y="2340888"/>
                  <a:pt x="2538563" y="2340291"/>
                </a:cubicBezTo>
                <a:cubicBezTo>
                  <a:pt x="2538563" y="2340291"/>
                  <a:pt x="2541357" y="2340888"/>
                  <a:pt x="2541954" y="2338094"/>
                </a:cubicBezTo>
                <a:close/>
                <a:moveTo>
                  <a:pt x="2542933" y="2306167"/>
                </a:moveTo>
                <a:cubicBezTo>
                  <a:pt x="2541739" y="2311755"/>
                  <a:pt x="2539948" y="2320136"/>
                  <a:pt x="2542145" y="2323527"/>
                </a:cubicBezTo>
                <a:cubicBezTo>
                  <a:pt x="2541548" y="2326321"/>
                  <a:pt x="2540951" y="2329116"/>
                  <a:pt x="2538157" y="2328519"/>
                </a:cubicBezTo>
                <a:cubicBezTo>
                  <a:pt x="2537561" y="2331312"/>
                  <a:pt x="2536964" y="2334106"/>
                  <a:pt x="2539757" y="2334703"/>
                </a:cubicBezTo>
                <a:cubicBezTo>
                  <a:pt x="2539757" y="2334703"/>
                  <a:pt x="2539757" y="2334703"/>
                  <a:pt x="2539160" y="2337497"/>
                </a:cubicBezTo>
                <a:cubicBezTo>
                  <a:pt x="2539160" y="2337497"/>
                  <a:pt x="2539160" y="2337497"/>
                  <a:pt x="2538563" y="2340291"/>
                </a:cubicBezTo>
                <a:cubicBezTo>
                  <a:pt x="2538563" y="2340291"/>
                  <a:pt x="2537966" y="2343085"/>
                  <a:pt x="2537966" y="2343085"/>
                </a:cubicBezTo>
                <a:cubicBezTo>
                  <a:pt x="2537369" y="2345879"/>
                  <a:pt x="2537369" y="2345879"/>
                  <a:pt x="2537369" y="2345879"/>
                </a:cubicBezTo>
                <a:cubicBezTo>
                  <a:pt x="2540163" y="2346476"/>
                  <a:pt x="2540163" y="2346476"/>
                  <a:pt x="2540163" y="2346476"/>
                </a:cubicBezTo>
                <a:cubicBezTo>
                  <a:pt x="2537179" y="2360445"/>
                  <a:pt x="2537369" y="2345879"/>
                  <a:pt x="2533979" y="2348076"/>
                </a:cubicBezTo>
                <a:cubicBezTo>
                  <a:pt x="2530588" y="2350273"/>
                  <a:pt x="2532785" y="2353664"/>
                  <a:pt x="2536175" y="2351467"/>
                </a:cubicBezTo>
                <a:cubicBezTo>
                  <a:pt x="2533191" y="2365436"/>
                  <a:pt x="2533382" y="2350869"/>
                  <a:pt x="2531591" y="2359252"/>
                </a:cubicBezTo>
                <a:cubicBezTo>
                  <a:pt x="2531591" y="2359252"/>
                  <a:pt x="2529800" y="2367634"/>
                  <a:pt x="2528010" y="2376015"/>
                </a:cubicBezTo>
                <a:cubicBezTo>
                  <a:pt x="2525215" y="2375418"/>
                  <a:pt x="2525215" y="2375418"/>
                  <a:pt x="2524619" y="2378213"/>
                </a:cubicBezTo>
                <a:cubicBezTo>
                  <a:pt x="2524619" y="2378213"/>
                  <a:pt x="2524022" y="2381006"/>
                  <a:pt x="2526816" y="2381603"/>
                </a:cubicBezTo>
                <a:cubicBezTo>
                  <a:pt x="2526816" y="2381603"/>
                  <a:pt x="2526816" y="2381603"/>
                  <a:pt x="2524022" y="2381006"/>
                </a:cubicBezTo>
                <a:cubicBezTo>
                  <a:pt x="2527222" y="2393376"/>
                  <a:pt x="2517049" y="2399967"/>
                  <a:pt x="2520847" y="2409543"/>
                </a:cubicBezTo>
                <a:cubicBezTo>
                  <a:pt x="2520250" y="2412336"/>
                  <a:pt x="2520250" y="2412336"/>
                  <a:pt x="2520250" y="2412336"/>
                </a:cubicBezTo>
                <a:cubicBezTo>
                  <a:pt x="2520250" y="2412336"/>
                  <a:pt x="2516859" y="2414533"/>
                  <a:pt x="2519056" y="2417925"/>
                </a:cubicBezTo>
                <a:cubicBezTo>
                  <a:pt x="2518459" y="2420718"/>
                  <a:pt x="2518459" y="2420718"/>
                  <a:pt x="2521850" y="2418521"/>
                </a:cubicBezTo>
                <a:cubicBezTo>
                  <a:pt x="2515068" y="2422915"/>
                  <a:pt x="2516071" y="2431894"/>
                  <a:pt x="2514281" y="2440276"/>
                </a:cubicBezTo>
                <a:cubicBezTo>
                  <a:pt x="2513684" y="2443070"/>
                  <a:pt x="2514281" y="2440276"/>
                  <a:pt x="2511487" y="2439679"/>
                </a:cubicBezTo>
                <a:cubicBezTo>
                  <a:pt x="2510890" y="2442473"/>
                  <a:pt x="2510890" y="2442473"/>
                  <a:pt x="2510890" y="2442473"/>
                </a:cubicBezTo>
                <a:cubicBezTo>
                  <a:pt x="2510293" y="2445267"/>
                  <a:pt x="2510293" y="2445267"/>
                  <a:pt x="2513087" y="2445865"/>
                </a:cubicBezTo>
                <a:cubicBezTo>
                  <a:pt x="2513087" y="2445865"/>
                  <a:pt x="2513087" y="2445865"/>
                  <a:pt x="2512490" y="2448658"/>
                </a:cubicBezTo>
                <a:cubicBezTo>
                  <a:pt x="2511893" y="2451452"/>
                  <a:pt x="2511893" y="2451452"/>
                  <a:pt x="2514687" y="2452048"/>
                </a:cubicBezTo>
                <a:cubicBezTo>
                  <a:pt x="2514992" y="2460878"/>
                  <a:pt x="2511025" y="2458935"/>
                  <a:pt x="2508941" y="2463557"/>
                </a:cubicBezTo>
                <a:lnTo>
                  <a:pt x="2508180" y="2468187"/>
                </a:lnTo>
                <a:lnTo>
                  <a:pt x="2505517" y="2467618"/>
                </a:lnTo>
                <a:cubicBezTo>
                  <a:pt x="2505517" y="2467618"/>
                  <a:pt x="2505517" y="2467618"/>
                  <a:pt x="2506115" y="2464825"/>
                </a:cubicBezTo>
                <a:cubicBezTo>
                  <a:pt x="2506115" y="2464825"/>
                  <a:pt x="2506115" y="2464825"/>
                  <a:pt x="2505708" y="2453052"/>
                </a:cubicBezTo>
                <a:cubicBezTo>
                  <a:pt x="2505708" y="2453052"/>
                  <a:pt x="2506305" y="2450258"/>
                  <a:pt x="2506305" y="2450258"/>
                </a:cubicBezTo>
                <a:cubicBezTo>
                  <a:pt x="2503511" y="2449661"/>
                  <a:pt x="2503511" y="2449661"/>
                  <a:pt x="2502914" y="2452455"/>
                </a:cubicBezTo>
                <a:cubicBezTo>
                  <a:pt x="2503105" y="2437888"/>
                  <a:pt x="2501695" y="2417137"/>
                  <a:pt x="2507474" y="2403764"/>
                </a:cubicBezTo>
                <a:cubicBezTo>
                  <a:pt x="2510268" y="2404361"/>
                  <a:pt x="2513253" y="2390391"/>
                  <a:pt x="2516237" y="2376422"/>
                </a:cubicBezTo>
                <a:cubicBezTo>
                  <a:pt x="2519221" y="2362452"/>
                  <a:pt x="2524403" y="2351873"/>
                  <a:pt x="2529394" y="2355861"/>
                </a:cubicBezTo>
                <a:cubicBezTo>
                  <a:pt x="2536366" y="2336901"/>
                  <a:pt x="2538157" y="2328519"/>
                  <a:pt x="2542933" y="2306167"/>
                </a:cubicBezTo>
                <a:close/>
                <a:moveTo>
                  <a:pt x="2415414" y="2287687"/>
                </a:moveTo>
                <a:cubicBezTo>
                  <a:pt x="2419210" y="2297263"/>
                  <a:pt x="2422601" y="2295066"/>
                  <a:pt x="2424798" y="2298457"/>
                </a:cubicBezTo>
                <a:cubicBezTo>
                  <a:pt x="2419236" y="2338169"/>
                  <a:pt x="2420264" y="2388054"/>
                  <a:pt x="2437219" y="2377069"/>
                </a:cubicBezTo>
                <a:cubicBezTo>
                  <a:pt x="2440800" y="2360305"/>
                  <a:pt x="2441588" y="2342944"/>
                  <a:pt x="2446769" y="2332365"/>
                </a:cubicBezTo>
                <a:cubicBezTo>
                  <a:pt x="2446769" y="2332365"/>
                  <a:pt x="2446769" y="2332365"/>
                  <a:pt x="2445576" y="2337953"/>
                </a:cubicBezTo>
                <a:cubicBezTo>
                  <a:pt x="2444979" y="2340747"/>
                  <a:pt x="2447773" y="2341344"/>
                  <a:pt x="2447773" y="2341344"/>
                </a:cubicBezTo>
                <a:cubicBezTo>
                  <a:pt x="2447773" y="2341344"/>
                  <a:pt x="2447773" y="2341344"/>
                  <a:pt x="2448369" y="2338550"/>
                </a:cubicBezTo>
                <a:cubicBezTo>
                  <a:pt x="2448369" y="2338550"/>
                  <a:pt x="2448369" y="2338550"/>
                  <a:pt x="2449563" y="2332962"/>
                </a:cubicBezTo>
                <a:cubicBezTo>
                  <a:pt x="2459735" y="2326371"/>
                  <a:pt x="2458161" y="2361092"/>
                  <a:pt x="2459164" y="2370071"/>
                </a:cubicBezTo>
                <a:cubicBezTo>
                  <a:pt x="2459761" y="2367278"/>
                  <a:pt x="2460955" y="2361689"/>
                  <a:pt x="2463151" y="2365080"/>
                </a:cubicBezTo>
                <a:cubicBezTo>
                  <a:pt x="2462961" y="2379647"/>
                  <a:pt x="2460979" y="2402595"/>
                  <a:pt x="2462986" y="2420552"/>
                </a:cubicBezTo>
                <a:cubicBezTo>
                  <a:pt x="2462986" y="2420552"/>
                  <a:pt x="2462389" y="2423347"/>
                  <a:pt x="2461195" y="2428935"/>
                </a:cubicBezTo>
                <a:cubicBezTo>
                  <a:pt x="2463989" y="2429532"/>
                  <a:pt x="2464586" y="2426738"/>
                  <a:pt x="2464586" y="2426738"/>
                </a:cubicBezTo>
                <a:cubicBezTo>
                  <a:pt x="2463989" y="2429532"/>
                  <a:pt x="2466783" y="2430128"/>
                  <a:pt x="2466783" y="2430128"/>
                </a:cubicBezTo>
                <a:cubicBezTo>
                  <a:pt x="2466783" y="2430128"/>
                  <a:pt x="2469578" y="2430726"/>
                  <a:pt x="2468981" y="2433520"/>
                </a:cubicBezTo>
                <a:cubicBezTo>
                  <a:pt x="2470389" y="2454271"/>
                  <a:pt x="2472803" y="2484001"/>
                  <a:pt x="2480994" y="2500358"/>
                </a:cubicBezTo>
                <a:cubicBezTo>
                  <a:pt x="2480301" y="2510436"/>
                  <a:pt x="2481203" y="2516471"/>
                  <a:pt x="2482827" y="2520836"/>
                </a:cubicBezTo>
                <a:lnTo>
                  <a:pt x="2488380" y="2530240"/>
                </a:lnTo>
                <a:lnTo>
                  <a:pt x="2492478" y="2528721"/>
                </a:lnTo>
                <a:lnTo>
                  <a:pt x="2492386" y="2529085"/>
                </a:lnTo>
                <a:cubicBezTo>
                  <a:pt x="2492386" y="2529085"/>
                  <a:pt x="2495180" y="2529682"/>
                  <a:pt x="2494583" y="2532477"/>
                </a:cubicBezTo>
                <a:cubicBezTo>
                  <a:pt x="2494583" y="2532477"/>
                  <a:pt x="2493985" y="2535270"/>
                  <a:pt x="2493985" y="2535270"/>
                </a:cubicBezTo>
                <a:cubicBezTo>
                  <a:pt x="2492195" y="2543652"/>
                  <a:pt x="2491598" y="2546446"/>
                  <a:pt x="2488207" y="2548643"/>
                </a:cubicBezTo>
                <a:cubicBezTo>
                  <a:pt x="2490595" y="2537467"/>
                  <a:pt x="2490595" y="2537467"/>
                  <a:pt x="2490595" y="2537467"/>
                </a:cubicBezTo>
                <a:cubicBezTo>
                  <a:pt x="2490595" y="2537467"/>
                  <a:pt x="2489997" y="2540261"/>
                  <a:pt x="2487203" y="2539664"/>
                </a:cubicBezTo>
                <a:cubicBezTo>
                  <a:pt x="2487203" y="2539664"/>
                  <a:pt x="2487800" y="2536870"/>
                  <a:pt x="2487800" y="2536870"/>
                </a:cubicBezTo>
                <a:cubicBezTo>
                  <a:pt x="2488398" y="2534076"/>
                  <a:pt x="2488398" y="2534076"/>
                  <a:pt x="2488398" y="2534076"/>
                </a:cubicBezTo>
                <a:cubicBezTo>
                  <a:pt x="2488995" y="2531282"/>
                  <a:pt x="2488995" y="2531282"/>
                  <a:pt x="2488995" y="2531282"/>
                </a:cubicBezTo>
                <a:lnTo>
                  <a:pt x="2488379" y="2530240"/>
                </a:lnTo>
                <a:lnTo>
                  <a:pt x="2471272" y="2536583"/>
                </a:lnTo>
                <a:cubicBezTo>
                  <a:pt x="2460444" y="2540798"/>
                  <a:pt x="2451580" y="2545350"/>
                  <a:pt x="2441901" y="2548751"/>
                </a:cubicBezTo>
                <a:cubicBezTo>
                  <a:pt x="2428772" y="2554595"/>
                  <a:pt x="2418091" y="2563894"/>
                  <a:pt x="2412640" y="2578135"/>
                </a:cubicBezTo>
                <a:cubicBezTo>
                  <a:pt x="2406039" y="2593190"/>
                  <a:pt x="2397509" y="2595776"/>
                  <a:pt x="2382451" y="2589151"/>
                </a:cubicBezTo>
                <a:cubicBezTo>
                  <a:pt x="2378854" y="2586512"/>
                  <a:pt x="2376073" y="2585023"/>
                  <a:pt x="2372475" y="2582385"/>
                </a:cubicBezTo>
                <a:cubicBezTo>
                  <a:pt x="2370473" y="2594181"/>
                  <a:pt x="2378150" y="2602577"/>
                  <a:pt x="2380746" y="2611114"/>
                </a:cubicBezTo>
                <a:cubicBezTo>
                  <a:pt x="2382860" y="2616535"/>
                  <a:pt x="2385308" y="2619989"/>
                  <a:pt x="2381525" y="2624398"/>
                </a:cubicBezTo>
                <a:cubicBezTo>
                  <a:pt x="2371660" y="2634849"/>
                  <a:pt x="2371623" y="2646983"/>
                  <a:pt x="2372402" y="2660267"/>
                </a:cubicBezTo>
                <a:cubicBezTo>
                  <a:pt x="2373366" y="2666501"/>
                  <a:pt x="2372365" y="2672400"/>
                  <a:pt x="2372514" y="2677483"/>
                </a:cubicBezTo>
                <a:cubicBezTo>
                  <a:pt x="2373126" y="2691750"/>
                  <a:pt x="2370762" y="2701209"/>
                  <a:pt x="2364620" y="2706859"/>
                </a:cubicBezTo>
                <a:lnTo>
                  <a:pt x="2361473" y="2707531"/>
                </a:lnTo>
                <a:lnTo>
                  <a:pt x="2356916" y="2561494"/>
                </a:lnTo>
                <a:cubicBezTo>
                  <a:pt x="2354719" y="2558103"/>
                  <a:pt x="2355913" y="2552515"/>
                  <a:pt x="2357107" y="2546927"/>
                </a:cubicBezTo>
                <a:cubicBezTo>
                  <a:pt x="2358872" y="2497639"/>
                  <a:pt x="2363432" y="2448949"/>
                  <a:pt x="2367991" y="2400257"/>
                </a:cubicBezTo>
                <a:cubicBezTo>
                  <a:pt x="2368995" y="2409236"/>
                  <a:pt x="2372385" y="2407039"/>
                  <a:pt x="2373985" y="2413224"/>
                </a:cubicBezTo>
                <a:cubicBezTo>
                  <a:pt x="2373579" y="2401452"/>
                  <a:pt x="2377567" y="2396460"/>
                  <a:pt x="2378761" y="2390872"/>
                </a:cubicBezTo>
                <a:cubicBezTo>
                  <a:pt x="2376373" y="2402048"/>
                  <a:pt x="2377973" y="2408233"/>
                  <a:pt x="2380767" y="2408830"/>
                </a:cubicBezTo>
                <a:cubicBezTo>
                  <a:pt x="2381555" y="2391469"/>
                  <a:pt x="2385543" y="2386478"/>
                  <a:pt x="2385733" y="2371912"/>
                </a:cubicBezTo>
                <a:cubicBezTo>
                  <a:pt x="2393709" y="2361930"/>
                  <a:pt x="2396313" y="2377093"/>
                  <a:pt x="2399297" y="2363124"/>
                </a:cubicBezTo>
                <a:cubicBezTo>
                  <a:pt x="2404072" y="2340772"/>
                  <a:pt x="2406053" y="2317824"/>
                  <a:pt x="2410829" y="2295472"/>
                </a:cubicBezTo>
                <a:cubicBezTo>
                  <a:pt x="2413623" y="2296069"/>
                  <a:pt x="2416417" y="2296666"/>
                  <a:pt x="2415414" y="2287687"/>
                </a:cubicBezTo>
                <a:close/>
                <a:moveTo>
                  <a:pt x="5794995" y="2277183"/>
                </a:moveTo>
                <a:lnTo>
                  <a:pt x="5774270" y="2298987"/>
                </a:lnTo>
                <a:lnTo>
                  <a:pt x="5757607" y="2318790"/>
                </a:lnTo>
                <a:lnTo>
                  <a:pt x="5770564" y="2460334"/>
                </a:lnTo>
                <a:cubicBezTo>
                  <a:pt x="5772800" y="2512856"/>
                  <a:pt x="5772487" y="2565781"/>
                  <a:pt x="5769579" y="2619136"/>
                </a:cubicBezTo>
                <a:cubicBezTo>
                  <a:pt x="5763684" y="2731896"/>
                  <a:pt x="5745941" y="2843338"/>
                  <a:pt x="5721236" y="2953292"/>
                </a:cubicBezTo>
                <a:cubicBezTo>
                  <a:pt x="5710975" y="2972933"/>
                  <a:pt x="5709994" y="2994557"/>
                  <a:pt x="5705533" y="3015437"/>
                </a:cubicBezTo>
                <a:cubicBezTo>
                  <a:pt x="5715794" y="2995796"/>
                  <a:pt x="5722576" y="2975412"/>
                  <a:pt x="5725876" y="2954283"/>
                </a:cubicBezTo>
                <a:cubicBezTo>
                  <a:pt x="5764818" y="2823112"/>
                  <a:pt x="5777743" y="2688808"/>
                  <a:pt x="5789754" y="2553095"/>
                </a:cubicBezTo>
                <a:cubicBezTo>
                  <a:pt x="5793403" y="2558726"/>
                  <a:pt x="5796556" y="2566677"/>
                  <a:pt x="5798797" y="2573222"/>
                </a:cubicBezTo>
                <a:cubicBezTo>
                  <a:pt x="5801287" y="2578605"/>
                  <a:pt x="5803776" y="2583988"/>
                  <a:pt x="5809824" y="2584067"/>
                </a:cubicBezTo>
                <a:cubicBezTo>
                  <a:pt x="5818192" y="2584643"/>
                  <a:pt x="5816199" y="2576939"/>
                  <a:pt x="5817190" y="2572299"/>
                </a:cubicBezTo>
                <a:cubicBezTo>
                  <a:pt x="5818835" y="2553243"/>
                  <a:pt x="5823048" y="2533522"/>
                  <a:pt x="5821214" y="2513723"/>
                </a:cubicBezTo>
                <a:close/>
                <a:moveTo>
                  <a:pt x="5927408" y="2213302"/>
                </a:moveTo>
                <a:cubicBezTo>
                  <a:pt x="5935881" y="2237061"/>
                  <a:pt x="5940174" y="2266426"/>
                  <a:pt x="5949086" y="2281791"/>
                </a:cubicBezTo>
                <a:cubicBezTo>
                  <a:pt x="5949162" y="2305105"/>
                  <a:pt x="5952978" y="2331207"/>
                  <a:pt x="5956318" y="2354046"/>
                </a:cubicBezTo>
                <a:cubicBezTo>
                  <a:pt x="5957711" y="2352178"/>
                  <a:pt x="5957711" y="2352178"/>
                  <a:pt x="5957711" y="2352178"/>
                </a:cubicBezTo>
                <a:cubicBezTo>
                  <a:pt x="5957234" y="2348915"/>
                  <a:pt x="5957234" y="2348915"/>
                  <a:pt x="5958627" y="2347046"/>
                </a:cubicBezTo>
                <a:cubicBezTo>
                  <a:pt x="5958627" y="2347046"/>
                  <a:pt x="5960497" y="2348441"/>
                  <a:pt x="5959104" y="2350309"/>
                </a:cubicBezTo>
                <a:cubicBezTo>
                  <a:pt x="5961451" y="2354966"/>
                  <a:pt x="5961451" y="2354966"/>
                  <a:pt x="5961451" y="2354966"/>
                </a:cubicBezTo>
                <a:cubicBezTo>
                  <a:pt x="5960974" y="2351703"/>
                  <a:pt x="5960497" y="2348441"/>
                  <a:pt x="5960020" y="2345178"/>
                </a:cubicBezTo>
                <a:cubicBezTo>
                  <a:pt x="5968932" y="2360543"/>
                  <a:pt x="5972272" y="2383382"/>
                  <a:pt x="5974217" y="2408090"/>
                </a:cubicBezTo>
                <a:cubicBezTo>
                  <a:pt x="5974771" y="2434667"/>
                  <a:pt x="5975801" y="2464506"/>
                  <a:pt x="5976355" y="2491083"/>
                </a:cubicBezTo>
                <a:cubicBezTo>
                  <a:pt x="5978263" y="2504134"/>
                  <a:pt x="5979733" y="2525579"/>
                  <a:pt x="5977939" y="2547499"/>
                </a:cubicBezTo>
                <a:cubicBezTo>
                  <a:pt x="5979408" y="2568945"/>
                  <a:pt x="5975744" y="2589470"/>
                  <a:pt x="5972519" y="2601601"/>
                </a:cubicBezTo>
                <a:cubicBezTo>
                  <a:pt x="5973035" y="2616521"/>
                  <a:pt x="5972157" y="2633309"/>
                  <a:pt x="5968932" y="2645440"/>
                </a:cubicBezTo>
                <a:cubicBezTo>
                  <a:pt x="5968932" y="2645440"/>
                  <a:pt x="5970801" y="2646835"/>
                  <a:pt x="5969409" y="2648703"/>
                </a:cubicBezTo>
                <a:cubicBezTo>
                  <a:pt x="5969886" y="2651966"/>
                  <a:pt x="5969886" y="2651966"/>
                  <a:pt x="5968493" y="2653835"/>
                </a:cubicBezTo>
                <a:cubicBezTo>
                  <a:pt x="5967691" y="2693937"/>
                  <a:pt x="5960325" y="2723331"/>
                  <a:pt x="5952520" y="2761119"/>
                </a:cubicBezTo>
                <a:cubicBezTo>
                  <a:pt x="5956737" y="2767171"/>
                  <a:pt x="5959046" y="2760170"/>
                  <a:pt x="5962310" y="2759696"/>
                </a:cubicBezTo>
                <a:cubicBezTo>
                  <a:pt x="5964656" y="2764353"/>
                  <a:pt x="5963741" y="2769484"/>
                  <a:pt x="5964695" y="2776009"/>
                </a:cubicBezTo>
                <a:cubicBezTo>
                  <a:pt x="5964218" y="2772747"/>
                  <a:pt x="5965611" y="2770878"/>
                  <a:pt x="5965611" y="2770878"/>
                </a:cubicBezTo>
                <a:cubicBezTo>
                  <a:pt x="5965134" y="2767615"/>
                  <a:pt x="5965134" y="2767615"/>
                  <a:pt x="5966527" y="2765747"/>
                </a:cubicBezTo>
                <a:cubicBezTo>
                  <a:pt x="5968397" y="2767141"/>
                  <a:pt x="5967004" y="2769010"/>
                  <a:pt x="5967004" y="2769010"/>
                </a:cubicBezTo>
                <a:cubicBezTo>
                  <a:pt x="5967481" y="2772273"/>
                  <a:pt x="5966088" y="2774141"/>
                  <a:pt x="5966088" y="2774141"/>
                </a:cubicBezTo>
                <a:cubicBezTo>
                  <a:pt x="5966088" y="2774141"/>
                  <a:pt x="5966565" y="2777404"/>
                  <a:pt x="5966565" y="2777404"/>
                </a:cubicBezTo>
                <a:cubicBezTo>
                  <a:pt x="5965649" y="2782535"/>
                  <a:pt x="5964733" y="2787667"/>
                  <a:pt x="5965210" y="2790929"/>
                </a:cubicBezTo>
                <a:cubicBezTo>
                  <a:pt x="5965210" y="2790929"/>
                  <a:pt x="5965210" y="2790929"/>
                  <a:pt x="5963817" y="2792798"/>
                </a:cubicBezTo>
                <a:cubicBezTo>
                  <a:pt x="5963817" y="2792798"/>
                  <a:pt x="5962424" y="2794667"/>
                  <a:pt x="5962424" y="2794667"/>
                </a:cubicBezTo>
                <a:lnTo>
                  <a:pt x="5961021" y="2793621"/>
                </a:lnTo>
                <a:lnTo>
                  <a:pt x="5961947" y="2791404"/>
                </a:lnTo>
                <a:cubicBezTo>
                  <a:pt x="5961947" y="2791404"/>
                  <a:pt x="5961947" y="2791404"/>
                  <a:pt x="5960554" y="2793272"/>
                </a:cubicBezTo>
                <a:lnTo>
                  <a:pt x="5961021" y="2793621"/>
                </a:lnTo>
                <a:lnTo>
                  <a:pt x="5960096" y="2795838"/>
                </a:lnTo>
                <a:cubicBezTo>
                  <a:pt x="5959399" y="2796773"/>
                  <a:pt x="5958703" y="2797707"/>
                  <a:pt x="5958245" y="2800273"/>
                </a:cubicBezTo>
                <a:cubicBezTo>
                  <a:pt x="5952196" y="2804484"/>
                  <a:pt x="5956814" y="2790484"/>
                  <a:pt x="5953073" y="2787696"/>
                </a:cubicBezTo>
                <a:cubicBezTo>
                  <a:pt x="5949848" y="2799827"/>
                  <a:pt x="5946585" y="2800302"/>
                  <a:pt x="5945669" y="2805433"/>
                </a:cubicBezTo>
                <a:cubicBezTo>
                  <a:pt x="5942406" y="2805908"/>
                  <a:pt x="5942406" y="2805908"/>
                  <a:pt x="5942406" y="2805908"/>
                </a:cubicBezTo>
                <a:cubicBezTo>
                  <a:pt x="5942406" y="2805908"/>
                  <a:pt x="5942406" y="2805908"/>
                  <a:pt x="5944276" y="2807301"/>
                </a:cubicBezTo>
                <a:cubicBezTo>
                  <a:pt x="5944276" y="2807301"/>
                  <a:pt x="5942883" y="2809171"/>
                  <a:pt x="5942883" y="2809171"/>
                </a:cubicBezTo>
                <a:cubicBezTo>
                  <a:pt x="5943360" y="2812433"/>
                  <a:pt x="5943360" y="2812433"/>
                  <a:pt x="5941490" y="2811039"/>
                </a:cubicBezTo>
                <a:cubicBezTo>
                  <a:pt x="5940097" y="2812907"/>
                  <a:pt x="5940097" y="2812907"/>
                  <a:pt x="5940097" y="2812907"/>
                </a:cubicBezTo>
                <a:cubicBezTo>
                  <a:pt x="5937826" y="2831565"/>
                  <a:pt x="5936948" y="2848352"/>
                  <a:pt x="5930422" y="2849301"/>
                </a:cubicBezTo>
                <a:cubicBezTo>
                  <a:pt x="5928552" y="2847908"/>
                  <a:pt x="5928552" y="2847908"/>
                  <a:pt x="5928552" y="2847908"/>
                </a:cubicBezTo>
                <a:cubicBezTo>
                  <a:pt x="5930422" y="2849301"/>
                  <a:pt x="5929029" y="2851170"/>
                  <a:pt x="5929029" y="2851170"/>
                </a:cubicBezTo>
                <a:cubicBezTo>
                  <a:pt x="5930899" y="2852564"/>
                  <a:pt x="5928113" y="2856302"/>
                  <a:pt x="5928590" y="2859564"/>
                </a:cubicBezTo>
                <a:cubicBezTo>
                  <a:pt x="5927197" y="2861433"/>
                  <a:pt x="5927197" y="2861433"/>
                  <a:pt x="5925327" y="2860038"/>
                </a:cubicBezTo>
                <a:cubicBezTo>
                  <a:pt x="5929545" y="2866090"/>
                  <a:pt x="5926797" y="2881484"/>
                  <a:pt x="5921262" y="2900615"/>
                </a:cubicBezTo>
                <a:cubicBezTo>
                  <a:pt x="5915728" y="2919747"/>
                  <a:pt x="5906454" y="2936090"/>
                  <a:pt x="5901359" y="2946827"/>
                </a:cubicBezTo>
                <a:cubicBezTo>
                  <a:pt x="5902237" y="2930038"/>
                  <a:pt x="5911950" y="2905301"/>
                  <a:pt x="5917961" y="2889433"/>
                </a:cubicBezTo>
                <a:cubicBezTo>
                  <a:pt x="5910957" y="2887119"/>
                  <a:pt x="5916453" y="2856330"/>
                  <a:pt x="5923419" y="2846988"/>
                </a:cubicBezTo>
                <a:cubicBezTo>
                  <a:pt x="5923419" y="2846988"/>
                  <a:pt x="5923419" y="2846988"/>
                  <a:pt x="5924812" y="2845119"/>
                </a:cubicBezTo>
                <a:cubicBezTo>
                  <a:pt x="5924812" y="2845119"/>
                  <a:pt x="5924335" y="2841856"/>
                  <a:pt x="5924335" y="2841856"/>
                </a:cubicBezTo>
                <a:cubicBezTo>
                  <a:pt x="5925728" y="2839987"/>
                  <a:pt x="5927598" y="2841382"/>
                  <a:pt x="5927598" y="2841382"/>
                </a:cubicBezTo>
                <a:cubicBezTo>
                  <a:pt x="5929468" y="2842776"/>
                  <a:pt x="5928074" y="2844645"/>
                  <a:pt x="5928074" y="2844645"/>
                </a:cubicBezTo>
                <a:cubicBezTo>
                  <a:pt x="5929430" y="2831119"/>
                  <a:pt x="5926605" y="2823199"/>
                  <a:pt x="5933056" y="2798936"/>
                </a:cubicBezTo>
                <a:cubicBezTo>
                  <a:pt x="5934449" y="2797068"/>
                  <a:pt x="5932579" y="2795674"/>
                  <a:pt x="5933972" y="2793805"/>
                </a:cubicBezTo>
                <a:cubicBezTo>
                  <a:pt x="5935364" y="2791937"/>
                  <a:pt x="5933495" y="2790542"/>
                  <a:pt x="5933495" y="2790542"/>
                </a:cubicBezTo>
                <a:cubicBezTo>
                  <a:pt x="5936281" y="2786806"/>
                  <a:pt x="5936281" y="2786806"/>
                  <a:pt x="5938151" y="2788199"/>
                </a:cubicBezTo>
                <a:cubicBezTo>
                  <a:pt x="5937674" y="2784937"/>
                  <a:pt x="5939506" y="2774674"/>
                  <a:pt x="5937635" y="2773279"/>
                </a:cubicBezTo>
                <a:cubicBezTo>
                  <a:pt x="5946394" y="2742017"/>
                  <a:pt x="5945326" y="2700520"/>
                  <a:pt x="5955955" y="2670652"/>
                </a:cubicBezTo>
                <a:lnTo>
                  <a:pt x="5955925" y="2674594"/>
                </a:lnTo>
                <a:lnTo>
                  <a:pt x="5955039" y="2675783"/>
                </a:lnTo>
                <a:cubicBezTo>
                  <a:pt x="5955039" y="2675783"/>
                  <a:pt x="5956909" y="2677178"/>
                  <a:pt x="5955516" y="2679046"/>
                </a:cubicBezTo>
                <a:cubicBezTo>
                  <a:pt x="5956213" y="2678112"/>
                  <a:pt x="5956094" y="2677296"/>
                  <a:pt x="5955914" y="2676073"/>
                </a:cubicBezTo>
                <a:lnTo>
                  <a:pt x="5955925" y="2674594"/>
                </a:lnTo>
                <a:lnTo>
                  <a:pt x="5956432" y="2673915"/>
                </a:lnTo>
                <a:cubicBezTo>
                  <a:pt x="5955955" y="2670652"/>
                  <a:pt x="5955955" y="2670652"/>
                  <a:pt x="5957348" y="2668784"/>
                </a:cubicBezTo>
                <a:cubicBezTo>
                  <a:pt x="5957348" y="2668784"/>
                  <a:pt x="5959218" y="2670177"/>
                  <a:pt x="5959218" y="2670177"/>
                </a:cubicBezTo>
                <a:cubicBezTo>
                  <a:pt x="5959695" y="2673440"/>
                  <a:pt x="5959695" y="2673440"/>
                  <a:pt x="5958303" y="2675309"/>
                </a:cubicBezTo>
                <a:cubicBezTo>
                  <a:pt x="5961088" y="2671572"/>
                  <a:pt x="5964313" y="2659441"/>
                  <a:pt x="5966622" y="2652441"/>
                </a:cubicBezTo>
                <a:cubicBezTo>
                  <a:pt x="5965230" y="2654309"/>
                  <a:pt x="5965230" y="2654309"/>
                  <a:pt x="5965230" y="2654309"/>
                </a:cubicBezTo>
                <a:cubicBezTo>
                  <a:pt x="5965230" y="2654309"/>
                  <a:pt x="5964752" y="2651046"/>
                  <a:pt x="5966145" y="2649178"/>
                </a:cubicBezTo>
                <a:cubicBezTo>
                  <a:pt x="5964275" y="2647783"/>
                  <a:pt x="5965668" y="2645915"/>
                  <a:pt x="5965668" y="2645915"/>
                </a:cubicBezTo>
                <a:lnTo>
                  <a:pt x="5964126" y="2581163"/>
                </a:lnTo>
                <a:lnTo>
                  <a:pt x="5964524" y="2581105"/>
                </a:lnTo>
                <a:cubicBezTo>
                  <a:pt x="5964524" y="2581105"/>
                  <a:pt x="5965916" y="2579236"/>
                  <a:pt x="5964047" y="2577842"/>
                </a:cubicBezTo>
                <a:cubicBezTo>
                  <a:pt x="5962176" y="2576448"/>
                  <a:pt x="5963569" y="2574579"/>
                  <a:pt x="5963569" y="2574579"/>
                </a:cubicBezTo>
                <a:cubicBezTo>
                  <a:pt x="5960306" y="2575053"/>
                  <a:pt x="5960745" y="2566659"/>
                  <a:pt x="5961184" y="2558265"/>
                </a:cubicBezTo>
                <a:cubicBezTo>
                  <a:pt x="5964447" y="2557791"/>
                  <a:pt x="5963531" y="2562922"/>
                  <a:pt x="5963531" y="2562922"/>
                </a:cubicBezTo>
                <a:cubicBezTo>
                  <a:pt x="5964924" y="2561053"/>
                  <a:pt x="5964924" y="2561053"/>
                  <a:pt x="5964924" y="2561053"/>
                </a:cubicBezTo>
                <a:cubicBezTo>
                  <a:pt x="5966317" y="2559185"/>
                  <a:pt x="5966317" y="2559185"/>
                  <a:pt x="5966317" y="2559185"/>
                </a:cubicBezTo>
                <a:cubicBezTo>
                  <a:pt x="5966317" y="2559185"/>
                  <a:pt x="5966794" y="2562448"/>
                  <a:pt x="5966794" y="2562448"/>
                </a:cubicBezTo>
                <a:cubicBezTo>
                  <a:pt x="5967233" y="2554054"/>
                  <a:pt x="5969104" y="2555448"/>
                  <a:pt x="5969065" y="2543791"/>
                </a:cubicBezTo>
                <a:cubicBezTo>
                  <a:pt x="5967672" y="2545660"/>
                  <a:pt x="5967672" y="2545660"/>
                  <a:pt x="5967672" y="2545660"/>
                </a:cubicBezTo>
                <a:cubicBezTo>
                  <a:pt x="5967672" y="2545660"/>
                  <a:pt x="5967672" y="2545660"/>
                  <a:pt x="5968149" y="2548922"/>
                </a:cubicBezTo>
                <a:cubicBezTo>
                  <a:pt x="5966756" y="2550791"/>
                  <a:pt x="5966756" y="2550791"/>
                  <a:pt x="5966756" y="2550791"/>
                </a:cubicBezTo>
                <a:cubicBezTo>
                  <a:pt x="5964886" y="2549397"/>
                  <a:pt x="5964409" y="2546134"/>
                  <a:pt x="5965802" y="2544266"/>
                </a:cubicBezTo>
                <a:cubicBezTo>
                  <a:pt x="5965802" y="2544266"/>
                  <a:pt x="5963932" y="2542871"/>
                  <a:pt x="5965325" y="2541003"/>
                </a:cubicBezTo>
                <a:cubicBezTo>
                  <a:pt x="5961585" y="2538215"/>
                  <a:pt x="5960154" y="2528426"/>
                  <a:pt x="5958245" y="2515375"/>
                </a:cubicBezTo>
                <a:cubicBezTo>
                  <a:pt x="5958207" y="2503718"/>
                  <a:pt x="5959562" y="2490193"/>
                  <a:pt x="5961871" y="2483192"/>
                </a:cubicBezTo>
                <a:cubicBezTo>
                  <a:pt x="5961871" y="2483192"/>
                  <a:pt x="5961871" y="2483192"/>
                  <a:pt x="5960001" y="2481798"/>
                </a:cubicBezTo>
                <a:cubicBezTo>
                  <a:pt x="5960001" y="2481798"/>
                  <a:pt x="5959524" y="2478535"/>
                  <a:pt x="5960917" y="2476667"/>
                </a:cubicBezTo>
                <a:cubicBezTo>
                  <a:pt x="5959047" y="2475273"/>
                  <a:pt x="5959047" y="2475273"/>
                  <a:pt x="5959047" y="2475273"/>
                </a:cubicBezTo>
                <a:cubicBezTo>
                  <a:pt x="5960440" y="2473404"/>
                  <a:pt x="5960440" y="2473404"/>
                  <a:pt x="5960440" y="2473404"/>
                </a:cubicBezTo>
                <a:cubicBezTo>
                  <a:pt x="5960879" y="2465010"/>
                  <a:pt x="5957615" y="2465485"/>
                  <a:pt x="5959448" y="2455222"/>
                </a:cubicBezTo>
                <a:cubicBezTo>
                  <a:pt x="5962234" y="2451485"/>
                  <a:pt x="5961795" y="2459879"/>
                  <a:pt x="5963665" y="2461273"/>
                </a:cubicBezTo>
                <a:cubicBezTo>
                  <a:pt x="5963665" y="2461273"/>
                  <a:pt x="5965058" y="2459404"/>
                  <a:pt x="5965058" y="2459404"/>
                </a:cubicBezTo>
                <a:cubicBezTo>
                  <a:pt x="5966451" y="2457535"/>
                  <a:pt x="5966928" y="2460798"/>
                  <a:pt x="5965535" y="2462667"/>
                </a:cubicBezTo>
                <a:cubicBezTo>
                  <a:pt x="5967405" y="2464061"/>
                  <a:pt x="5967405" y="2464061"/>
                  <a:pt x="5967405" y="2464061"/>
                </a:cubicBezTo>
                <a:cubicBezTo>
                  <a:pt x="5967844" y="2455667"/>
                  <a:pt x="5966413" y="2445879"/>
                  <a:pt x="5965459" y="2439353"/>
                </a:cubicBezTo>
                <a:cubicBezTo>
                  <a:pt x="5958932" y="2440302"/>
                  <a:pt x="5958932" y="2440302"/>
                  <a:pt x="5958932" y="2440302"/>
                </a:cubicBezTo>
                <a:cubicBezTo>
                  <a:pt x="5955631" y="2429119"/>
                  <a:pt x="5952330" y="2417937"/>
                  <a:pt x="5949028" y="2406755"/>
                </a:cubicBezTo>
                <a:cubicBezTo>
                  <a:pt x="5948990" y="2395098"/>
                  <a:pt x="5953646" y="2392755"/>
                  <a:pt x="5951738" y="2379703"/>
                </a:cubicBezTo>
                <a:cubicBezTo>
                  <a:pt x="5948914" y="2371784"/>
                  <a:pt x="5946090" y="2363864"/>
                  <a:pt x="5943705" y="2347550"/>
                </a:cubicBezTo>
                <a:cubicBezTo>
                  <a:pt x="5944143" y="2339156"/>
                  <a:pt x="5949753" y="2343338"/>
                  <a:pt x="5946453" y="2332156"/>
                </a:cubicBezTo>
                <a:cubicBezTo>
                  <a:pt x="5937464" y="2293477"/>
                  <a:pt x="5937789" y="2250112"/>
                  <a:pt x="5927408" y="2213302"/>
                </a:cubicBezTo>
                <a:close/>
                <a:moveTo>
                  <a:pt x="2613253" y="2113766"/>
                </a:moveTo>
                <a:cubicBezTo>
                  <a:pt x="2612656" y="2116559"/>
                  <a:pt x="2612059" y="2119353"/>
                  <a:pt x="2610865" y="2124942"/>
                </a:cubicBezTo>
                <a:cubicBezTo>
                  <a:pt x="2607474" y="2127138"/>
                  <a:pt x="2606877" y="2129932"/>
                  <a:pt x="2606877" y="2129932"/>
                </a:cubicBezTo>
                <a:lnTo>
                  <a:pt x="2607474" y="2127138"/>
                </a:lnTo>
                <a:cubicBezTo>
                  <a:pt x="2607474" y="2127138"/>
                  <a:pt x="2607474" y="2127138"/>
                  <a:pt x="2608071" y="2124344"/>
                </a:cubicBezTo>
                <a:cubicBezTo>
                  <a:pt x="2608668" y="2121551"/>
                  <a:pt x="2608668" y="2121551"/>
                  <a:pt x="2608668" y="2121551"/>
                </a:cubicBezTo>
                <a:cubicBezTo>
                  <a:pt x="2609265" y="2118757"/>
                  <a:pt x="2609862" y="2115962"/>
                  <a:pt x="2613253" y="2113766"/>
                </a:cubicBezTo>
                <a:close/>
                <a:moveTo>
                  <a:pt x="2787447" y="1777032"/>
                </a:moveTo>
                <a:cubicBezTo>
                  <a:pt x="2790241" y="1777630"/>
                  <a:pt x="2790241" y="1777630"/>
                  <a:pt x="2789644" y="1780423"/>
                </a:cubicBezTo>
                <a:cubicBezTo>
                  <a:pt x="2789047" y="1783217"/>
                  <a:pt x="2789047" y="1783217"/>
                  <a:pt x="2785656" y="1785414"/>
                </a:cubicBezTo>
                <a:cubicBezTo>
                  <a:pt x="2785656" y="1785414"/>
                  <a:pt x="2782265" y="1787612"/>
                  <a:pt x="2782265" y="1787612"/>
                </a:cubicBezTo>
                <a:cubicBezTo>
                  <a:pt x="2781668" y="1790406"/>
                  <a:pt x="2777681" y="1795396"/>
                  <a:pt x="2774289" y="1797593"/>
                </a:cubicBezTo>
                <a:cubicBezTo>
                  <a:pt x="2773692" y="1800387"/>
                  <a:pt x="2769704" y="1805378"/>
                  <a:pt x="2769107" y="1808172"/>
                </a:cubicBezTo>
                <a:cubicBezTo>
                  <a:pt x="2769107" y="1808172"/>
                  <a:pt x="2769107" y="1808172"/>
                  <a:pt x="2766314" y="1807575"/>
                </a:cubicBezTo>
                <a:cubicBezTo>
                  <a:pt x="2774289" y="1797593"/>
                  <a:pt x="2779471" y="1787015"/>
                  <a:pt x="2787447" y="1777032"/>
                </a:cubicBezTo>
                <a:close/>
                <a:moveTo>
                  <a:pt x="2919668" y="1445312"/>
                </a:moveTo>
                <a:lnTo>
                  <a:pt x="2919540" y="1445913"/>
                </a:lnTo>
                <a:cubicBezTo>
                  <a:pt x="2919540" y="1445913"/>
                  <a:pt x="2916149" y="1448110"/>
                  <a:pt x="2916149" y="1448110"/>
                </a:cubicBezTo>
                <a:close/>
                <a:moveTo>
                  <a:pt x="3284264" y="1420645"/>
                </a:moveTo>
                <a:cubicBezTo>
                  <a:pt x="3269688" y="1427264"/>
                  <a:pt x="3260492" y="1430924"/>
                  <a:pt x="3244708" y="1441713"/>
                </a:cubicBezTo>
                <a:cubicBezTo>
                  <a:pt x="3244708" y="1441713"/>
                  <a:pt x="3245058" y="1443622"/>
                  <a:pt x="3248877" y="1442923"/>
                </a:cubicBezTo>
                <a:cubicBezTo>
                  <a:pt x="3248877" y="1442923"/>
                  <a:pt x="3234652" y="1451452"/>
                  <a:pt x="3230483" y="1450243"/>
                </a:cubicBezTo>
                <a:cubicBezTo>
                  <a:pt x="3227365" y="1454762"/>
                  <a:pt x="3225805" y="1457022"/>
                  <a:pt x="3228065" y="1458581"/>
                </a:cubicBezTo>
                <a:cubicBezTo>
                  <a:pt x="3220427" y="1459982"/>
                  <a:pt x="3203785" y="1476850"/>
                  <a:pt x="3193029" y="1482770"/>
                </a:cubicBezTo>
                <a:cubicBezTo>
                  <a:pt x="3189560" y="1485380"/>
                  <a:pt x="3187651" y="1485730"/>
                  <a:pt x="3184182" y="1488339"/>
                </a:cubicBezTo>
                <a:cubicBezTo>
                  <a:pt x="3156083" y="1507309"/>
                  <a:pt x="3131293" y="1533566"/>
                  <a:pt x="3107713" y="1555655"/>
                </a:cubicBezTo>
                <a:cubicBezTo>
                  <a:pt x="3099216" y="1563134"/>
                  <a:pt x="3081523" y="1574273"/>
                  <a:pt x="3086042" y="1577392"/>
                </a:cubicBezTo>
                <a:cubicBezTo>
                  <a:pt x="3079105" y="1582612"/>
                  <a:pt x="3074077" y="1587482"/>
                  <a:pt x="3070257" y="1588182"/>
                </a:cubicBezTo>
                <a:cubicBezTo>
                  <a:pt x="3065580" y="1594961"/>
                  <a:pt x="3069399" y="1594261"/>
                  <a:pt x="3071309" y="1593911"/>
                </a:cubicBezTo>
                <a:cubicBezTo>
                  <a:pt x="3090561" y="1580512"/>
                  <a:pt x="3110323" y="1559124"/>
                  <a:pt x="3123847" y="1546775"/>
                </a:cubicBezTo>
                <a:cubicBezTo>
                  <a:pt x="3125407" y="1544515"/>
                  <a:pt x="3127316" y="1544165"/>
                  <a:pt x="3127665" y="1546075"/>
                </a:cubicBezTo>
                <a:cubicBezTo>
                  <a:pt x="3125756" y="1546425"/>
                  <a:pt x="3125756" y="1546425"/>
                  <a:pt x="3124197" y="1548685"/>
                </a:cubicBezTo>
                <a:cubicBezTo>
                  <a:pt x="3122288" y="1549034"/>
                  <a:pt x="3120728" y="1551294"/>
                  <a:pt x="3121079" y="1553204"/>
                </a:cubicBezTo>
                <a:cubicBezTo>
                  <a:pt x="3121079" y="1553204"/>
                  <a:pt x="3122988" y="1552854"/>
                  <a:pt x="3124547" y="1550595"/>
                </a:cubicBezTo>
                <a:cubicBezTo>
                  <a:pt x="3124547" y="1550595"/>
                  <a:pt x="3124547" y="1550595"/>
                  <a:pt x="3126457" y="1550244"/>
                </a:cubicBezTo>
                <a:cubicBezTo>
                  <a:pt x="3110163" y="1569023"/>
                  <a:pt x="3091611" y="1586241"/>
                  <a:pt x="3071499" y="1605720"/>
                </a:cubicBezTo>
                <a:cubicBezTo>
                  <a:pt x="3052947" y="1622938"/>
                  <a:pt x="3034745" y="1642067"/>
                  <a:pt x="3016893" y="1663104"/>
                </a:cubicBezTo>
                <a:cubicBezTo>
                  <a:pt x="3011515" y="1666064"/>
                  <a:pt x="3008046" y="1668674"/>
                  <a:pt x="3004927" y="1673194"/>
                </a:cubicBezTo>
                <a:cubicBezTo>
                  <a:pt x="2988635" y="1691972"/>
                  <a:pt x="2978579" y="1701711"/>
                  <a:pt x="2966105" y="1719790"/>
                </a:cubicBezTo>
                <a:cubicBezTo>
                  <a:pt x="2964195" y="1720139"/>
                  <a:pt x="2960026" y="1718930"/>
                  <a:pt x="2957767" y="1717370"/>
                </a:cubicBezTo>
                <a:cubicBezTo>
                  <a:pt x="2952739" y="1722239"/>
                  <a:pt x="2949271" y="1724850"/>
                  <a:pt x="2947361" y="1725200"/>
                </a:cubicBezTo>
                <a:cubicBezTo>
                  <a:pt x="2947361" y="1725200"/>
                  <a:pt x="2948921" y="1722940"/>
                  <a:pt x="2948921" y="1722940"/>
                </a:cubicBezTo>
                <a:cubicBezTo>
                  <a:pt x="2948569" y="1721030"/>
                  <a:pt x="2948569" y="1721030"/>
                  <a:pt x="2948569" y="1721030"/>
                </a:cubicBezTo>
                <a:cubicBezTo>
                  <a:pt x="2946660" y="1721380"/>
                  <a:pt x="2945101" y="1723640"/>
                  <a:pt x="2945451" y="1725549"/>
                </a:cubicBezTo>
                <a:cubicBezTo>
                  <a:pt x="2945451" y="1725549"/>
                  <a:pt x="2943542" y="1725900"/>
                  <a:pt x="2943893" y="1727809"/>
                </a:cubicBezTo>
                <a:cubicBezTo>
                  <a:pt x="2939373" y="1724690"/>
                  <a:pt x="2932786" y="1731820"/>
                  <a:pt x="2924990" y="1743119"/>
                </a:cubicBezTo>
                <a:cubicBezTo>
                  <a:pt x="2917193" y="1754417"/>
                  <a:pt x="2907837" y="1767975"/>
                  <a:pt x="2900041" y="1779275"/>
                </a:cubicBezTo>
                <a:cubicBezTo>
                  <a:pt x="2899182" y="1785354"/>
                  <a:pt x="2906629" y="1772145"/>
                  <a:pt x="2906979" y="1774055"/>
                </a:cubicBezTo>
                <a:cubicBezTo>
                  <a:pt x="2906979" y="1774055"/>
                  <a:pt x="2905419" y="1776314"/>
                  <a:pt x="2905419" y="1776314"/>
                </a:cubicBezTo>
                <a:cubicBezTo>
                  <a:pt x="2903860" y="1778575"/>
                  <a:pt x="2901951" y="1778925"/>
                  <a:pt x="2904210" y="1780484"/>
                </a:cubicBezTo>
                <a:cubicBezTo>
                  <a:pt x="2904210" y="1780484"/>
                  <a:pt x="2904210" y="1780484"/>
                  <a:pt x="2905769" y="1778224"/>
                </a:cubicBezTo>
                <a:cubicBezTo>
                  <a:pt x="2905769" y="1778224"/>
                  <a:pt x="2905769" y="1778224"/>
                  <a:pt x="2907679" y="1777875"/>
                </a:cubicBezTo>
                <a:cubicBezTo>
                  <a:pt x="2903001" y="1784654"/>
                  <a:pt x="2898323" y="1791433"/>
                  <a:pt x="2900583" y="1792993"/>
                </a:cubicBezTo>
                <a:cubicBezTo>
                  <a:pt x="2905961" y="1790033"/>
                  <a:pt x="2913757" y="1778734"/>
                  <a:pt x="2917226" y="1776124"/>
                </a:cubicBezTo>
                <a:cubicBezTo>
                  <a:pt x="2917226" y="1776124"/>
                  <a:pt x="2917226" y="1776124"/>
                  <a:pt x="2915667" y="1778384"/>
                </a:cubicBezTo>
                <a:cubicBezTo>
                  <a:pt x="2914108" y="1780644"/>
                  <a:pt x="2914108" y="1780644"/>
                  <a:pt x="2912548" y="1782903"/>
                </a:cubicBezTo>
                <a:cubicBezTo>
                  <a:pt x="2912548" y="1782903"/>
                  <a:pt x="2914458" y="1782553"/>
                  <a:pt x="2914458" y="1782553"/>
                </a:cubicBezTo>
                <a:cubicBezTo>
                  <a:pt x="2914108" y="1780644"/>
                  <a:pt x="2916017" y="1780293"/>
                  <a:pt x="2916017" y="1780293"/>
                </a:cubicBezTo>
                <a:cubicBezTo>
                  <a:pt x="2912548" y="1782903"/>
                  <a:pt x="2911689" y="1788983"/>
                  <a:pt x="2908571" y="1793502"/>
                </a:cubicBezTo>
                <a:cubicBezTo>
                  <a:pt x="2894537" y="1813840"/>
                  <a:pt x="2876685" y="1834878"/>
                  <a:pt x="2863001" y="1857126"/>
                </a:cubicBezTo>
                <a:cubicBezTo>
                  <a:pt x="2858324" y="1863905"/>
                  <a:pt x="2857115" y="1868075"/>
                  <a:pt x="2852787" y="1876764"/>
                </a:cubicBezTo>
                <a:cubicBezTo>
                  <a:pt x="2840663" y="1896751"/>
                  <a:pt x="2827329" y="1920909"/>
                  <a:pt x="2815206" y="1940897"/>
                </a:cubicBezTo>
                <a:cubicBezTo>
                  <a:pt x="2804991" y="1960535"/>
                  <a:pt x="2795985" y="1976003"/>
                  <a:pt x="2797036" y="1981732"/>
                </a:cubicBezTo>
                <a:cubicBezTo>
                  <a:pt x="2797036" y="1981732"/>
                  <a:pt x="2797036" y="1981732"/>
                  <a:pt x="2797386" y="1983642"/>
                </a:cubicBezTo>
                <a:cubicBezTo>
                  <a:pt x="2797386" y="1983642"/>
                  <a:pt x="2797386" y="1983642"/>
                  <a:pt x="2795827" y="1985902"/>
                </a:cubicBezTo>
                <a:cubicBezTo>
                  <a:pt x="2793918" y="1986252"/>
                  <a:pt x="2794268" y="1988161"/>
                  <a:pt x="2794617" y="1990071"/>
                </a:cubicBezTo>
                <a:cubicBezTo>
                  <a:pt x="2794617" y="1990071"/>
                  <a:pt x="2794617" y="1990071"/>
                  <a:pt x="2796177" y="1987812"/>
                </a:cubicBezTo>
                <a:cubicBezTo>
                  <a:pt x="2796177" y="1987812"/>
                  <a:pt x="2796177" y="1987812"/>
                  <a:pt x="2797736" y="1985552"/>
                </a:cubicBezTo>
                <a:cubicBezTo>
                  <a:pt x="2795318" y="1993891"/>
                  <a:pt x="2790990" y="2002580"/>
                  <a:pt x="2788221" y="2009009"/>
                </a:cubicBezTo>
                <a:cubicBezTo>
                  <a:pt x="2790481" y="2010569"/>
                  <a:pt x="2788063" y="2018908"/>
                  <a:pt x="2791881" y="2018208"/>
                </a:cubicBezTo>
                <a:cubicBezTo>
                  <a:pt x="2771802" y="2059393"/>
                  <a:pt x="2767857" y="2091700"/>
                  <a:pt x="2749146" y="2118816"/>
                </a:cubicBezTo>
                <a:cubicBezTo>
                  <a:pt x="2742241" y="2145744"/>
                  <a:pt x="2745392" y="2162931"/>
                  <a:pt x="2734668" y="2190557"/>
                </a:cubicBezTo>
                <a:cubicBezTo>
                  <a:pt x="2735019" y="2192467"/>
                  <a:pt x="2734159" y="2198546"/>
                  <a:pt x="2732601" y="2200806"/>
                </a:cubicBezTo>
                <a:cubicBezTo>
                  <a:pt x="2728973" y="2213315"/>
                  <a:pt x="2724136" y="2229993"/>
                  <a:pt x="2720859" y="2244411"/>
                </a:cubicBezTo>
                <a:cubicBezTo>
                  <a:pt x="2717582" y="2258830"/>
                  <a:pt x="2716563" y="2274807"/>
                  <a:pt x="2717964" y="2282446"/>
                </a:cubicBezTo>
                <a:cubicBezTo>
                  <a:pt x="2721432" y="2279836"/>
                  <a:pt x="2723851" y="2271497"/>
                  <a:pt x="2725919" y="2261249"/>
                </a:cubicBezTo>
                <a:cubicBezTo>
                  <a:pt x="2726078" y="2251350"/>
                  <a:pt x="2728146" y="2241102"/>
                  <a:pt x="2731265" y="2236581"/>
                </a:cubicBezTo>
                <a:cubicBezTo>
                  <a:pt x="2732124" y="2230503"/>
                  <a:pt x="2731423" y="2226683"/>
                  <a:pt x="2730373" y="2220954"/>
                </a:cubicBezTo>
                <a:cubicBezTo>
                  <a:pt x="2734860" y="2202366"/>
                  <a:pt x="2737628" y="2195937"/>
                  <a:pt x="2742815" y="2181168"/>
                </a:cubicBezTo>
                <a:cubicBezTo>
                  <a:pt x="2739347" y="2183778"/>
                  <a:pt x="2743324" y="2173180"/>
                  <a:pt x="2744183" y="2167100"/>
                </a:cubicBezTo>
                <a:cubicBezTo>
                  <a:pt x="2745742" y="2164840"/>
                  <a:pt x="2750421" y="2158061"/>
                  <a:pt x="2748002" y="2166400"/>
                </a:cubicBezTo>
                <a:cubicBezTo>
                  <a:pt x="2753189" y="2151632"/>
                  <a:pt x="2759585" y="2132694"/>
                  <a:pt x="2765630" y="2111846"/>
                </a:cubicBezTo>
                <a:cubicBezTo>
                  <a:pt x="2770117" y="2093258"/>
                  <a:pt x="2778072" y="2072061"/>
                  <a:pt x="2784468" y="2053124"/>
                </a:cubicBezTo>
                <a:cubicBezTo>
                  <a:pt x="2784468" y="2053124"/>
                  <a:pt x="2785677" y="2048954"/>
                  <a:pt x="2781858" y="2049654"/>
                </a:cubicBezTo>
                <a:cubicBezTo>
                  <a:pt x="2791373" y="2026196"/>
                  <a:pt x="2795000" y="2013688"/>
                  <a:pt x="2805056" y="2003949"/>
                </a:cubicBezTo>
                <a:cubicBezTo>
                  <a:pt x="2808683" y="1991440"/>
                  <a:pt x="2813361" y="1984662"/>
                  <a:pt x="2815780" y="1976323"/>
                </a:cubicBezTo>
                <a:cubicBezTo>
                  <a:pt x="2818898" y="1971802"/>
                  <a:pt x="2816129" y="1978232"/>
                  <a:pt x="2818039" y="1977882"/>
                </a:cubicBezTo>
                <a:cubicBezTo>
                  <a:pt x="2822366" y="1969193"/>
                  <a:pt x="2826694" y="1960504"/>
                  <a:pt x="2831021" y="1951815"/>
                </a:cubicBezTo>
                <a:cubicBezTo>
                  <a:pt x="2825294" y="1952865"/>
                  <a:pt x="2829972" y="1946086"/>
                  <a:pt x="2831181" y="1941916"/>
                </a:cubicBezTo>
                <a:cubicBezTo>
                  <a:pt x="2828571" y="1938447"/>
                  <a:pt x="2821984" y="1945576"/>
                  <a:pt x="2815047" y="1950796"/>
                </a:cubicBezTo>
                <a:cubicBezTo>
                  <a:pt x="2815206" y="1940897"/>
                  <a:pt x="2836177" y="1915340"/>
                  <a:pt x="2842063" y="1904390"/>
                </a:cubicBezTo>
                <a:cubicBezTo>
                  <a:pt x="2842413" y="1906300"/>
                  <a:pt x="2842413" y="1906300"/>
                  <a:pt x="2842413" y="1906300"/>
                </a:cubicBezTo>
                <a:cubicBezTo>
                  <a:pt x="2840854" y="1908560"/>
                  <a:pt x="2841204" y="1910470"/>
                  <a:pt x="2841204" y="1910470"/>
                </a:cubicBezTo>
                <a:cubicBezTo>
                  <a:pt x="2842764" y="1908210"/>
                  <a:pt x="2844672" y="1907860"/>
                  <a:pt x="2844323" y="1905950"/>
                </a:cubicBezTo>
                <a:cubicBezTo>
                  <a:pt x="2846582" y="1907510"/>
                  <a:pt x="2855588" y="1892042"/>
                  <a:pt x="2851769" y="1892742"/>
                </a:cubicBezTo>
                <a:cubicBezTo>
                  <a:pt x="2853679" y="1892392"/>
                  <a:pt x="2853679" y="1892392"/>
                  <a:pt x="2855238" y="1890132"/>
                </a:cubicBezTo>
                <a:cubicBezTo>
                  <a:pt x="2855238" y="1890132"/>
                  <a:pt x="2855238" y="1890132"/>
                  <a:pt x="2854888" y="1888222"/>
                </a:cubicBezTo>
                <a:cubicBezTo>
                  <a:pt x="2854888" y="1888222"/>
                  <a:pt x="2854537" y="1886313"/>
                  <a:pt x="2854537" y="1886313"/>
                </a:cubicBezTo>
                <a:cubicBezTo>
                  <a:pt x="2854537" y="1886313"/>
                  <a:pt x="2854537" y="1886313"/>
                  <a:pt x="2852978" y="1888572"/>
                </a:cubicBezTo>
                <a:cubicBezTo>
                  <a:pt x="2861984" y="1873103"/>
                  <a:pt x="2856447" y="1885963"/>
                  <a:pt x="2858707" y="1887522"/>
                </a:cubicBezTo>
                <a:cubicBezTo>
                  <a:pt x="2860966" y="1889082"/>
                  <a:pt x="2864085" y="1884563"/>
                  <a:pt x="2864085" y="1884563"/>
                </a:cubicBezTo>
                <a:cubicBezTo>
                  <a:pt x="2866344" y="1886122"/>
                  <a:pt x="2858897" y="1899331"/>
                  <a:pt x="2863925" y="1894461"/>
                </a:cubicBezTo>
                <a:cubicBezTo>
                  <a:pt x="2868953" y="1889591"/>
                  <a:pt x="2873981" y="1884722"/>
                  <a:pt x="2878659" y="1877943"/>
                </a:cubicBezTo>
                <a:cubicBezTo>
                  <a:pt x="2881427" y="1871514"/>
                  <a:pt x="2886455" y="1866643"/>
                  <a:pt x="2890783" y="1857955"/>
                </a:cubicBezTo>
                <a:cubicBezTo>
                  <a:pt x="2888173" y="1854485"/>
                  <a:pt x="2880377" y="1865784"/>
                  <a:pt x="2876909" y="1868394"/>
                </a:cubicBezTo>
                <a:cubicBezTo>
                  <a:pt x="2872740" y="1867184"/>
                  <a:pt x="2879327" y="1860054"/>
                  <a:pt x="2878977" y="1858145"/>
                </a:cubicBezTo>
                <a:cubicBezTo>
                  <a:pt x="2882445" y="1855535"/>
                  <a:pt x="2885214" y="1849106"/>
                  <a:pt x="2887123" y="1848756"/>
                </a:cubicBezTo>
                <a:cubicBezTo>
                  <a:pt x="2908253" y="1813300"/>
                  <a:pt x="2932183" y="1793121"/>
                  <a:pt x="2948285" y="1762535"/>
                </a:cubicBezTo>
                <a:cubicBezTo>
                  <a:pt x="2951403" y="1758014"/>
                  <a:pt x="2956431" y="1753145"/>
                  <a:pt x="2959550" y="1748626"/>
                </a:cubicBezTo>
                <a:cubicBezTo>
                  <a:pt x="2967346" y="1737327"/>
                  <a:pt x="2965787" y="1739587"/>
                  <a:pt x="2975493" y="1727938"/>
                </a:cubicBezTo>
                <a:cubicBezTo>
                  <a:pt x="2977051" y="1725678"/>
                  <a:pt x="2978961" y="1725328"/>
                  <a:pt x="2979311" y="1727238"/>
                </a:cubicBezTo>
                <a:cubicBezTo>
                  <a:pt x="2992486" y="1712979"/>
                  <a:pt x="3000632" y="1703590"/>
                  <a:pt x="3008779" y="1694201"/>
                </a:cubicBezTo>
                <a:cubicBezTo>
                  <a:pt x="3016925" y="1684811"/>
                  <a:pt x="3023162" y="1675772"/>
                  <a:pt x="3032868" y="1664124"/>
                </a:cubicBezTo>
                <a:cubicBezTo>
                  <a:pt x="3038245" y="1661163"/>
                  <a:pt x="3033568" y="1667943"/>
                  <a:pt x="3036178" y="1671412"/>
                </a:cubicBezTo>
                <a:cubicBezTo>
                  <a:pt x="3039646" y="1668802"/>
                  <a:pt x="3039646" y="1668802"/>
                  <a:pt x="3041555" y="1668452"/>
                </a:cubicBezTo>
                <a:cubicBezTo>
                  <a:pt x="3051611" y="1658714"/>
                  <a:pt x="3052821" y="1654544"/>
                  <a:pt x="3062877" y="1644805"/>
                </a:cubicBezTo>
                <a:cubicBezTo>
                  <a:pt x="3062527" y="1642895"/>
                  <a:pt x="3060617" y="1643245"/>
                  <a:pt x="3062176" y="1640986"/>
                </a:cubicBezTo>
                <a:cubicBezTo>
                  <a:pt x="3060267" y="1641335"/>
                  <a:pt x="3058007" y="1639775"/>
                  <a:pt x="3051420" y="1646905"/>
                </a:cubicBezTo>
                <a:cubicBezTo>
                  <a:pt x="3057658" y="1637866"/>
                  <a:pt x="3069273" y="1625867"/>
                  <a:pt x="3079329" y="1616128"/>
                </a:cubicBezTo>
                <a:cubicBezTo>
                  <a:pt x="3091293" y="1606039"/>
                  <a:pt x="3101349" y="1596300"/>
                  <a:pt x="3105677" y="1587610"/>
                </a:cubicBezTo>
                <a:cubicBezTo>
                  <a:pt x="3128398" y="1571601"/>
                  <a:pt x="3139663" y="1557692"/>
                  <a:pt x="3160125" y="1540124"/>
                </a:cubicBezTo>
                <a:cubicBezTo>
                  <a:pt x="3170881" y="1534204"/>
                  <a:pt x="3155797" y="1548814"/>
                  <a:pt x="3164994" y="1545153"/>
                </a:cubicBezTo>
                <a:cubicBezTo>
                  <a:pt x="3168112" y="1540634"/>
                  <a:pt x="3170372" y="1542193"/>
                  <a:pt x="3175401" y="1537323"/>
                </a:cubicBezTo>
                <a:cubicBezTo>
                  <a:pt x="3171231" y="1536114"/>
                  <a:pt x="3177819" y="1528985"/>
                  <a:pt x="3170181" y="1530385"/>
                </a:cubicBezTo>
                <a:cubicBezTo>
                  <a:pt x="3174859" y="1523606"/>
                  <a:pt x="3192202" y="1510557"/>
                  <a:pt x="3203308" y="1506546"/>
                </a:cubicBezTo>
                <a:cubicBezTo>
                  <a:pt x="3230007" y="1479939"/>
                  <a:pt x="3263484" y="1458010"/>
                  <a:pt x="3309627" y="1429812"/>
                </a:cubicBezTo>
                <a:cubicBezTo>
                  <a:pt x="3297820" y="1430003"/>
                  <a:pt x="3283596" y="1438531"/>
                  <a:pt x="3269021" y="1445151"/>
                </a:cubicBezTo>
                <a:cubicBezTo>
                  <a:pt x="3253587" y="1457851"/>
                  <a:pt x="3227047" y="1474560"/>
                  <a:pt x="3207444" y="1486049"/>
                </a:cubicBezTo>
                <a:cubicBezTo>
                  <a:pt x="3209353" y="1485699"/>
                  <a:pt x="3210913" y="1483439"/>
                  <a:pt x="3210913" y="1483439"/>
                </a:cubicBezTo>
                <a:cubicBezTo>
                  <a:pt x="3208654" y="1481879"/>
                  <a:pt x="3206744" y="1482229"/>
                  <a:pt x="3205185" y="1484489"/>
                </a:cubicBezTo>
                <a:cubicBezTo>
                  <a:pt x="3205185" y="1484489"/>
                  <a:pt x="3205185" y="1484489"/>
                  <a:pt x="3203276" y="1484840"/>
                </a:cubicBezTo>
                <a:cubicBezTo>
                  <a:pt x="3222178" y="1469531"/>
                  <a:pt x="3243690" y="1457691"/>
                  <a:pt x="3256514" y="1441523"/>
                </a:cubicBezTo>
                <a:cubicBezTo>
                  <a:pt x="3269180" y="1435253"/>
                  <a:pt x="3287223" y="1426023"/>
                  <a:pt x="3284264" y="1420645"/>
                </a:cubicBezTo>
                <a:close/>
                <a:moveTo>
                  <a:pt x="4308425" y="1248046"/>
                </a:moveTo>
                <a:cubicBezTo>
                  <a:pt x="4358399" y="1269639"/>
                  <a:pt x="4413443" y="1273894"/>
                  <a:pt x="4464312" y="1292096"/>
                </a:cubicBezTo>
                <a:lnTo>
                  <a:pt x="4494295" y="1306748"/>
                </a:lnTo>
                <a:lnTo>
                  <a:pt x="4494891" y="1304511"/>
                </a:lnTo>
                <a:cubicBezTo>
                  <a:pt x="4497123" y="1298902"/>
                  <a:pt x="4499814" y="1294779"/>
                  <a:pt x="4503439" y="1291670"/>
                </a:cubicBezTo>
                <a:lnTo>
                  <a:pt x="4510402" y="1288344"/>
                </a:lnTo>
                <a:lnTo>
                  <a:pt x="4411337" y="1260328"/>
                </a:lnTo>
                <a:cubicBezTo>
                  <a:pt x="4377942" y="1251981"/>
                  <a:pt x="4344051" y="1245953"/>
                  <a:pt x="4308425" y="1248046"/>
                </a:cubicBezTo>
                <a:close/>
                <a:moveTo>
                  <a:pt x="3221925" y="1247583"/>
                </a:moveTo>
                <a:cubicBezTo>
                  <a:pt x="3221925" y="1247583"/>
                  <a:pt x="3221925" y="1247583"/>
                  <a:pt x="3224719" y="1248180"/>
                </a:cubicBezTo>
                <a:cubicBezTo>
                  <a:pt x="3224719" y="1248180"/>
                  <a:pt x="3224719" y="1248180"/>
                  <a:pt x="3221329" y="1250377"/>
                </a:cubicBezTo>
                <a:cubicBezTo>
                  <a:pt x="3215740" y="1249183"/>
                  <a:pt x="3215740" y="1249183"/>
                  <a:pt x="3221925" y="1247583"/>
                </a:cubicBezTo>
                <a:close/>
                <a:moveTo>
                  <a:pt x="3224910" y="1233613"/>
                </a:moveTo>
                <a:cubicBezTo>
                  <a:pt x="3224910" y="1233613"/>
                  <a:pt x="3224313" y="1236407"/>
                  <a:pt x="3224313" y="1236407"/>
                </a:cubicBezTo>
                <a:cubicBezTo>
                  <a:pt x="3224313" y="1236407"/>
                  <a:pt x="3224313" y="1236407"/>
                  <a:pt x="3221519" y="1235811"/>
                </a:cubicBezTo>
                <a:cubicBezTo>
                  <a:pt x="3222116" y="1233016"/>
                  <a:pt x="3224910" y="1233613"/>
                  <a:pt x="3224910" y="1233613"/>
                </a:cubicBezTo>
                <a:close/>
                <a:moveTo>
                  <a:pt x="3226104" y="1228026"/>
                </a:moveTo>
                <a:lnTo>
                  <a:pt x="3228898" y="1228622"/>
                </a:lnTo>
                <a:lnTo>
                  <a:pt x="3222713" y="1230222"/>
                </a:lnTo>
                <a:cubicBezTo>
                  <a:pt x="3225507" y="1230819"/>
                  <a:pt x="3225507" y="1230819"/>
                  <a:pt x="3226104" y="1228026"/>
                </a:cubicBezTo>
                <a:close/>
                <a:moveTo>
                  <a:pt x="3573129" y="1197634"/>
                </a:moveTo>
                <a:lnTo>
                  <a:pt x="3571096" y="1199480"/>
                </a:lnTo>
                <a:cubicBezTo>
                  <a:pt x="3568302" y="1198883"/>
                  <a:pt x="3568302" y="1198883"/>
                  <a:pt x="3568302" y="1198883"/>
                </a:cubicBezTo>
                <a:close/>
                <a:moveTo>
                  <a:pt x="4439703" y="1195157"/>
                </a:moveTo>
                <a:lnTo>
                  <a:pt x="4472633" y="1205114"/>
                </a:lnTo>
                <a:lnTo>
                  <a:pt x="4469840" y="1204517"/>
                </a:lnTo>
                <a:cubicBezTo>
                  <a:pt x="4464251" y="1203323"/>
                  <a:pt x="4461457" y="1202726"/>
                  <a:pt x="4455870" y="1201533"/>
                </a:cubicBezTo>
                <a:cubicBezTo>
                  <a:pt x="4453075" y="1200936"/>
                  <a:pt x="4450282" y="1200339"/>
                  <a:pt x="4444693" y="1199145"/>
                </a:cubicBezTo>
                <a:cubicBezTo>
                  <a:pt x="4444693" y="1199145"/>
                  <a:pt x="4444693" y="1199145"/>
                  <a:pt x="4441900" y="1198548"/>
                </a:cubicBezTo>
                <a:cubicBezTo>
                  <a:pt x="4441900" y="1198548"/>
                  <a:pt x="4441900" y="1198548"/>
                  <a:pt x="4439703" y="1195157"/>
                </a:cubicBezTo>
                <a:close/>
                <a:moveTo>
                  <a:pt x="3992096" y="1143351"/>
                </a:moveTo>
                <a:cubicBezTo>
                  <a:pt x="3994341" y="1143100"/>
                  <a:pt x="3994865" y="1143212"/>
                  <a:pt x="3994363" y="1143424"/>
                </a:cubicBezTo>
                <a:lnTo>
                  <a:pt x="3994308" y="1143433"/>
                </a:lnTo>
                <a:close/>
                <a:moveTo>
                  <a:pt x="3616545" y="1088255"/>
                </a:moveTo>
                <a:lnTo>
                  <a:pt x="3609562" y="1090467"/>
                </a:lnTo>
                <a:lnTo>
                  <a:pt x="3612439" y="1089041"/>
                </a:lnTo>
                <a:close/>
                <a:moveTo>
                  <a:pt x="4483122" y="1080366"/>
                </a:moveTo>
                <a:lnTo>
                  <a:pt x="4497996" y="1083952"/>
                </a:lnTo>
                <a:lnTo>
                  <a:pt x="4566778" y="1104799"/>
                </a:lnTo>
                <a:lnTo>
                  <a:pt x="4566956" y="1105486"/>
                </a:lnTo>
                <a:cubicBezTo>
                  <a:pt x="4552389" y="1105295"/>
                  <a:pt x="4542407" y="1097319"/>
                  <a:pt x="4528437" y="1094334"/>
                </a:cubicBezTo>
                <a:cubicBezTo>
                  <a:pt x="4520055" y="1092544"/>
                  <a:pt x="4514467" y="1091350"/>
                  <a:pt x="4506086" y="1089559"/>
                </a:cubicBezTo>
                <a:cubicBezTo>
                  <a:pt x="4503292" y="1088962"/>
                  <a:pt x="4497703" y="1087768"/>
                  <a:pt x="4494910" y="1087172"/>
                </a:cubicBezTo>
                <a:cubicBezTo>
                  <a:pt x="4492713" y="1083781"/>
                  <a:pt x="4487125" y="1082587"/>
                  <a:pt x="4481536" y="1081393"/>
                </a:cubicBezTo>
                <a:close/>
                <a:moveTo>
                  <a:pt x="4402600" y="1061608"/>
                </a:moveTo>
                <a:lnTo>
                  <a:pt x="4413745" y="1063638"/>
                </a:lnTo>
                <a:lnTo>
                  <a:pt x="4426502" y="1066714"/>
                </a:lnTo>
                <a:close/>
                <a:moveTo>
                  <a:pt x="4077218" y="847779"/>
                </a:moveTo>
                <a:cubicBezTo>
                  <a:pt x="3955297" y="849420"/>
                  <a:pt x="3834116" y="861967"/>
                  <a:pt x="3713638" y="880804"/>
                </a:cubicBezTo>
                <a:cubicBezTo>
                  <a:pt x="3654652" y="890035"/>
                  <a:pt x="3595666" y="899266"/>
                  <a:pt x="3541162" y="921585"/>
                </a:cubicBezTo>
                <a:cubicBezTo>
                  <a:pt x="3500738" y="934783"/>
                  <a:pt x="3461057" y="944499"/>
                  <a:pt x="3424699" y="967055"/>
                </a:cubicBezTo>
                <a:cubicBezTo>
                  <a:pt x="3467364" y="960403"/>
                  <a:pt x="3504635" y="939253"/>
                  <a:pt x="3545971" y="927464"/>
                </a:cubicBezTo>
                <a:cubicBezTo>
                  <a:pt x="3614565" y="913008"/>
                  <a:pt x="3683486" y="891344"/>
                  <a:pt x="3758307" y="898838"/>
                </a:cubicBezTo>
                <a:cubicBezTo>
                  <a:pt x="3747877" y="913591"/>
                  <a:pt x="3732301" y="912689"/>
                  <a:pt x="3719955" y="913691"/>
                </a:cubicBezTo>
                <a:cubicBezTo>
                  <a:pt x="3709683" y="916348"/>
                  <a:pt x="3695097" y="910806"/>
                  <a:pt x="3696268" y="928037"/>
                </a:cubicBezTo>
                <a:cubicBezTo>
                  <a:pt x="3696279" y="945021"/>
                  <a:pt x="3710279" y="941947"/>
                  <a:pt x="3720968" y="943019"/>
                </a:cubicBezTo>
                <a:cubicBezTo>
                  <a:pt x="3762811" y="945893"/>
                  <a:pt x="3799338" y="928224"/>
                  <a:pt x="3839683" y="921075"/>
                </a:cubicBezTo>
                <a:cubicBezTo>
                  <a:pt x="3972151" y="897219"/>
                  <a:pt x="4106206" y="894322"/>
                  <a:pt x="4241016" y="904929"/>
                </a:cubicBezTo>
                <a:cubicBezTo>
                  <a:pt x="4384816" y="917456"/>
                  <a:pt x="4522432" y="952543"/>
                  <a:pt x="4656933" y="1000611"/>
                </a:cubicBezTo>
                <a:lnTo>
                  <a:pt x="4781288" y="1049057"/>
                </a:lnTo>
                <a:lnTo>
                  <a:pt x="4782484" y="1045707"/>
                </a:lnTo>
                <a:lnTo>
                  <a:pt x="4787044" y="1037509"/>
                </a:lnTo>
                <a:lnTo>
                  <a:pt x="4754542" y="1020858"/>
                </a:lnTo>
                <a:cubicBezTo>
                  <a:pt x="4685350" y="989852"/>
                  <a:pt x="4614390" y="962865"/>
                  <a:pt x="4541382" y="941202"/>
                </a:cubicBezTo>
                <a:cubicBezTo>
                  <a:pt x="4353187" y="885227"/>
                  <a:pt x="4159471" y="877803"/>
                  <a:pt x="3964436" y="882227"/>
                </a:cubicBezTo>
                <a:cubicBezTo>
                  <a:pt x="3919282" y="883497"/>
                  <a:pt x="3875873" y="893631"/>
                  <a:pt x="3832295" y="898876"/>
                </a:cubicBezTo>
                <a:cubicBezTo>
                  <a:pt x="3823431" y="900622"/>
                  <a:pt x="3809927" y="901375"/>
                  <a:pt x="3808925" y="889032"/>
                </a:cubicBezTo>
                <a:cubicBezTo>
                  <a:pt x="3807923" y="876688"/>
                  <a:pt x="3821597" y="880822"/>
                  <a:pt x="3829052" y="879989"/>
                </a:cubicBezTo>
                <a:cubicBezTo>
                  <a:pt x="3966825" y="859692"/>
                  <a:pt x="4104608" y="856378"/>
                  <a:pt x="4241985" y="866321"/>
                </a:cubicBezTo>
                <a:cubicBezTo>
                  <a:pt x="4249194" y="866648"/>
                  <a:pt x="4259139" y="871199"/>
                  <a:pt x="4261865" y="858439"/>
                </a:cubicBezTo>
                <a:cubicBezTo>
                  <a:pt x="4241727" y="850497"/>
                  <a:pt x="4219606" y="851836"/>
                  <a:pt x="4199389" y="849943"/>
                </a:cubicBezTo>
                <a:cubicBezTo>
                  <a:pt x="4158582" y="847896"/>
                  <a:pt x="4117859" y="847232"/>
                  <a:pt x="4077218" y="847779"/>
                </a:cubicBezTo>
                <a:close/>
                <a:moveTo>
                  <a:pt x="3049485" y="831722"/>
                </a:moveTo>
                <a:cubicBezTo>
                  <a:pt x="3051945" y="839105"/>
                  <a:pt x="3027343" y="846487"/>
                  <a:pt x="3010121" y="851408"/>
                </a:cubicBezTo>
                <a:cubicBezTo>
                  <a:pt x="2990440" y="868633"/>
                  <a:pt x="2960918" y="878475"/>
                  <a:pt x="2933855" y="893239"/>
                </a:cubicBezTo>
                <a:cubicBezTo>
                  <a:pt x="2936315" y="893239"/>
                  <a:pt x="2936315" y="893239"/>
                  <a:pt x="2936315" y="893239"/>
                </a:cubicBezTo>
                <a:cubicBezTo>
                  <a:pt x="2938775" y="890779"/>
                  <a:pt x="2941235" y="890779"/>
                  <a:pt x="2943696" y="893239"/>
                </a:cubicBezTo>
                <a:cubicBezTo>
                  <a:pt x="2943696" y="893239"/>
                  <a:pt x="2941235" y="895700"/>
                  <a:pt x="2938775" y="895700"/>
                </a:cubicBezTo>
                <a:cubicBezTo>
                  <a:pt x="2965837" y="885857"/>
                  <a:pt x="3002741" y="871093"/>
                  <a:pt x="3024883" y="858790"/>
                </a:cubicBezTo>
                <a:cubicBezTo>
                  <a:pt x="3044565" y="853868"/>
                  <a:pt x="3064246" y="846487"/>
                  <a:pt x="3079008" y="848947"/>
                </a:cubicBezTo>
                <a:cubicBezTo>
                  <a:pt x="3015042" y="873554"/>
                  <a:pt x="2968298" y="893239"/>
                  <a:pt x="2928935" y="920306"/>
                </a:cubicBezTo>
                <a:cubicBezTo>
                  <a:pt x="2914173" y="922767"/>
                  <a:pt x="2889571" y="935071"/>
                  <a:pt x="2882191" y="942452"/>
                </a:cubicBezTo>
                <a:cubicBezTo>
                  <a:pt x="2892031" y="942452"/>
                  <a:pt x="2882191" y="949835"/>
                  <a:pt x="2887111" y="952296"/>
                </a:cubicBezTo>
                <a:cubicBezTo>
                  <a:pt x="2879730" y="957217"/>
                  <a:pt x="2877269" y="954756"/>
                  <a:pt x="2872349" y="959677"/>
                </a:cubicBezTo>
                <a:cubicBezTo>
                  <a:pt x="2860048" y="962138"/>
                  <a:pt x="2882191" y="947374"/>
                  <a:pt x="2867429" y="952295"/>
                </a:cubicBezTo>
                <a:cubicBezTo>
                  <a:pt x="2837907" y="969520"/>
                  <a:pt x="2820685" y="984284"/>
                  <a:pt x="2788702" y="999048"/>
                </a:cubicBezTo>
                <a:cubicBezTo>
                  <a:pt x="2781322" y="1008890"/>
                  <a:pt x="2766560" y="1018733"/>
                  <a:pt x="2749339" y="1028576"/>
                </a:cubicBezTo>
                <a:cubicBezTo>
                  <a:pt x="2734577" y="1038419"/>
                  <a:pt x="2717355" y="1050722"/>
                  <a:pt x="2707515" y="1060565"/>
                </a:cubicBezTo>
                <a:cubicBezTo>
                  <a:pt x="2717355" y="1053182"/>
                  <a:pt x="2719816" y="1055643"/>
                  <a:pt x="2722277" y="1055643"/>
                </a:cubicBezTo>
                <a:cubicBezTo>
                  <a:pt x="2719816" y="1058104"/>
                  <a:pt x="2722276" y="1058104"/>
                  <a:pt x="2722276" y="1060565"/>
                </a:cubicBezTo>
                <a:cubicBezTo>
                  <a:pt x="2707515" y="1070407"/>
                  <a:pt x="2705055" y="1075328"/>
                  <a:pt x="2690293" y="1085171"/>
                </a:cubicBezTo>
                <a:cubicBezTo>
                  <a:pt x="2687833" y="1085172"/>
                  <a:pt x="2687833" y="1085172"/>
                  <a:pt x="2682913" y="1087632"/>
                </a:cubicBezTo>
                <a:cubicBezTo>
                  <a:pt x="2680452" y="1082711"/>
                  <a:pt x="2687833" y="1075328"/>
                  <a:pt x="2680453" y="1077789"/>
                </a:cubicBezTo>
                <a:cubicBezTo>
                  <a:pt x="2665691" y="1090093"/>
                  <a:pt x="2655850" y="1099935"/>
                  <a:pt x="2643549" y="1109778"/>
                </a:cubicBezTo>
                <a:cubicBezTo>
                  <a:pt x="2631248" y="1119620"/>
                  <a:pt x="2618947" y="1129464"/>
                  <a:pt x="2599265" y="1144227"/>
                </a:cubicBezTo>
                <a:cubicBezTo>
                  <a:pt x="2599265" y="1141766"/>
                  <a:pt x="2596805" y="1141766"/>
                  <a:pt x="2594345" y="1144227"/>
                </a:cubicBezTo>
                <a:cubicBezTo>
                  <a:pt x="2579583" y="1156531"/>
                  <a:pt x="2582043" y="1154070"/>
                  <a:pt x="2569743" y="1166373"/>
                </a:cubicBezTo>
                <a:cubicBezTo>
                  <a:pt x="2564822" y="1171295"/>
                  <a:pt x="2557442" y="1176216"/>
                  <a:pt x="2552521" y="1181137"/>
                </a:cubicBezTo>
                <a:cubicBezTo>
                  <a:pt x="2525459" y="1215587"/>
                  <a:pt x="2491015" y="1235272"/>
                  <a:pt x="2456572" y="1274643"/>
                </a:cubicBezTo>
                <a:cubicBezTo>
                  <a:pt x="2454113" y="1274643"/>
                  <a:pt x="2449192" y="1282025"/>
                  <a:pt x="2444271" y="1284486"/>
                </a:cubicBezTo>
                <a:cubicBezTo>
                  <a:pt x="2444272" y="1286946"/>
                  <a:pt x="2434431" y="1294328"/>
                  <a:pt x="2439351" y="1296789"/>
                </a:cubicBezTo>
                <a:cubicBezTo>
                  <a:pt x="2444271" y="1294328"/>
                  <a:pt x="2456573" y="1282025"/>
                  <a:pt x="2459033" y="1286946"/>
                </a:cubicBezTo>
                <a:cubicBezTo>
                  <a:pt x="2451652" y="1296789"/>
                  <a:pt x="2444271" y="1301710"/>
                  <a:pt x="2439351" y="1309092"/>
                </a:cubicBezTo>
                <a:cubicBezTo>
                  <a:pt x="2431971" y="1316474"/>
                  <a:pt x="2424589" y="1321395"/>
                  <a:pt x="2417209" y="1326317"/>
                </a:cubicBezTo>
                <a:cubicBezTo>
                  <a:pt x="2409828" y="1331238"/>
                  <a:pt x="2422130" y="1316474"/>
                  <a:pt x="2419669" y="1314014"/>
                </a:cubicBezTo>
                <a:cubicBezTo>
                  <a:pt x="2419669" y="1314014"/>
                  <a:pt x="2414749" y="1318935"/>
                  <a:pt x="2412288" y="1316474"/>
                </a:cubicBezTo>
                <a:cubicBezTo>
                  <a:pt x="2409829" y="1314014"/>
                  <a:pt x="2419669" y="1299249"/>
                  <a:pt x="2404908" y="1316474"/>
                </a:cubicBezTo>
                <a:cubicBezTo>
                  <a:pt x="2407368" y="1314014"/>
                  <a:pt x="2407368" y="1314014"/>
                  <a:pt x="2407368" y="1314014"/>
                </a:cubicBezTo>
                <a:cubicBezTo>
                  <a:pt x="2407368" y="1314014"/>
                  <a:pt x="2407368" y="1316474"/>
                  <a:pt x="2407368" y="1316474"/>
                </a:cubicBezTo>
                <a:cubicBezTo>
                  <a:pt x="2407369" y="1318935"/>
                  <a:pt x="2407369" y="1318935"/>
                  <a:pt x="2407369" y="1318935"/>
                </a:cubicBezTo>
                <a:cubicBezTo>
                  <a:pt x="2404908" y="1321395"/>
                  <a:pt x="2404908" y="1321395"/>
                  <a:pt x="2402448" y="1321395"/>
                </a:cubicBezTo>
                <a:cubicBezTo>
                  <a:pt x="2407369" y="1321395"/>
                  <a:pt x="2392607" y="1338620"/>
                  <a:pt x="2390147" y="1336160"/>
                </a:cubicBezTo>
                <a:cubicBezTo>
                  <a:pt x="2390147" y="1338620"/>
                  <a:pt x="2387687" y="1338620"/>
                  <a:pt x="2385226" y="1341081"/>
                </a:cubicBezTo>
                <a:cubicBezTo>
                  <a:pt x="2385226" y="1341081"/>
                  <a:pt x="2385226" y="1338620"/>
                  <a:pt x="2387687" y="1336160"/>
                </a:cubicBezTo>
                <a:cubicBezTo>
                  <a:pt x="2387687" y="1336160"/>
                  <a:pt x="2387687" y="1336160"/>
                  <a:pt x="2387687" y="1333699"/>
                </a:cubicBezTo>
                <a:cubicBezTo>
                  <a:pt x="2377846" y="1346002"/>
                  <a:pt x="2345863" y="1373069"/>
                  <a:pt x="2343403" y="1385373"/>
                </a:cubicBezTo>
                <a:cubicBezTo>
                  <a:pt x="2353243" y="1380452"/>
                  <a:pt x="2363085" y="1373070"/>
                  <a:pt x="2365545" y="1377991"/>
                </a:cubicBezTo>
                <a:cubicBezTo>
                  <a:pt x="2363085" y="1382912"/>
                  <a:pt x="2355704" y="1390294"/>
                  <a:pt x="2363084" y="1390294"/>
                </a:cubicBezTo>
                <a:cubicBezTo>
                  <a:pt x="2355704" y="1400137"/>
                  <a:pt x="2348323" y="1409979"/>
                  <a:pt x="2340942" y="1419823"/>
                </a:cubicBezTo>
                <a:cubicBezTo>
                  <a:pt x="2338482" y="1419822"/>
                  <a:pt x="2343403" y="1412440"/>
                  <a:pt x="2338482" y="1417362"/>
                </a:cubicBezTo>
                <a:cubicBezTo>
                  <a:pt x="2333561" y="1427204"/>
                  <a:pt x="2326181" y="1434586"/>
                  <a:pt x="2318800" y="1449350"/>
                </a:cubicBezTo>
                <a:cubicBezTo>
                  <a:pt x="2304039" y="1459192"/>
                  <a:pt x="2296658" y="1473957"/>
                  <a:pt x="2279437" y="1501024"/>
                </a:cubicBezTo>
                <a:cubicBezTo>
                  <a:pt x="2284357" y="1501024"/>
                  <a:pt x="2281897" y="1505945"/>
                  <a:pt x="2281897" y="1505945"/>
                </a:cubicBezTo>
                <a:cubicBezTo>
                  <a:pt x="2269596" y="1528092"/>
                  <a:pt x="2254835" y="1552698"/>
                  <a:pt x="2244994" y="1574844"/>
                </a:cubicBezTo>
                <a:cubicBezTo>
                  <a:pt x="2232693" y="1599451"/>
                  <a:pt x="2220392" y="1621597"/>
                  <a:pt x="2210551" y="1638821"/>
                </a:cubicBezTo>
                <a:cubicBezTo>
                  <a:pt x="2215471" y="1628979"/>
                  <a:pt x="2208091" y="1636361"/>
                  <a:pt x="2205630" y="1638821"/>
                </a:cubicBezTo>
                <a:cubicBezTo>
                  <a:pt x="2203170" y="1646204"/>
                  <a:pt x="2195789" y="1658507"/>
                  <a:pt x="2200710" y="1656046"/>
                </a:cubicBezTo>
                <a:cubicBezTo>
                  <a:pt x="2190869" y="1673271"/>
                  <a:pt x="2185948" y="1680653"/>
                  <a:pt x="2176107" y="1702799"/>
                </a:cubicBezTo>
                <a:cubicBezTo>
                  <a:pt x="2176108" y="1710181"/>
                  <a:pt x="2176107" y="1715102"/>
                  <a:pt x="2173647" y="1722484"/>
                </a:cubicBezTo>
                <a:cubicBezTo>
                  <a:pt x="2168727" y="1727406"/>
                  <a:pt x="2163807" y="1739709"/>
                  <a:pt x="2161346" y="1752012"/>
                </a:cubicBezTo>
                <a:cubicBezTo>
                  <a:pt x="2156427" y="1764316"/>
                  <a:pt x="2151505" y="1774158"/>
                  <a:pt x="2146585" y="1776619"/>
                </a:cubicBezTo>
                <a:cubicBezTo>
                  <a:pt x="2146585" y="1766776"/>
                  <a:pt x="2151505" y="1747091"/>
                  <a:pt x="2158886" y="1729867"/>
                </a:cubicBezTo>
                <a:cubicBezTo>
                  <a:pt x="2166267" y="1712642"/>
                  <a:pt x="2176107" y="1692957"/>
                  <a:pt x="2183489" y="1678192"/>
                </a:cubicBezTo>
                <a:cubicBezTo>
                  <a:pt x="2185949" y="1675732"/>
                  <a:pt x="2188409" y="1668350"/>
                  <a:pt x="2188409" y="1665889"/>
                </a:cubicBezTo>
                <a:cubicBezTo>
                  <a:pt x="2208091" y="1633900"/>
                  <a:pt x="2208091" y="1611754"/>
                  <a:pt x="2222851" y="1579766"/>
                </a:cubicBezTo>
                <a:cubicBezTo>
                  <a:pt x="2252375" y="1550237"/>
                  <a:pt x="2264675" y="1510867"/>
                  <a:pt x="2299119" y="1464114"/>
                </a:cubicBezTo>
                <a:cubicBezTo>
                  <a:pt x="2294198" y="1464114"/>
                  <a:pt x="2299119" y="1454271"/>
                  <a:pt x="2296658" y="1451811"/>
                </a:cubicBezTo>
                <a:cubicBezTo>
                  <a:pt x="2301579" y="1444429"/>
                  <a:pt x="2308960" y="1434586"/>
                  <a:pt x="2313880" y="1424744"/>
                </a:cubicBezTo>
                <a:cubicBezTo>
                  <a:pt x="2311420" y="1427204"/>
                  <a:pt x="2311420" y="1427204"/>
                  <a:pt x="2311420" y="1427204"/>
                </a:cubicBezTo>
                <a:cubicBezTo>
                  <a:pt x="2308959" y="1429665"/>
                  <a:pt x="2308959" y="1429665"/>
                  <a:pt x="2308959" y="1429665"/>
                </a:cubicBezTo>
                <a:cubicBezTo>
                  <a:pt x="2308959" y="1427204"/>
                  <a:pt x="2308959" y="1424744"/>
                  <a:pt x="2311419" y="1424744"/>
                </a:cubicBezTo>
                <a:cubicBezTo>
                  <a:pt x="2313880" y="1422283"/>
                  <a:pt x="2313880" y="1422283"/>
                  <a:pt x="2313880" y="1422283"/>
                </a:cubicBezTo>
                <a:cubicBezTo>
                  <a:pt x="2313880" y="1419823"/>
                  <a:pt x="2313880" y="1419823"/>
                  <a:pt x="2313880" y="1419823"/>
                </a:cubicBezTo>
                <a:cubicBezTo>
                  <a:pt x="2313880" y="1412440"/>
                  <a:pt x="2328641" y="1395216"/>
                  <a:pt x="2345863" y="1373069"/>
                </a:cubicBezTo>
                <a:cubicBezTo>
                  <a:pt x="2365544" y="1350924"/>
                  <a:pt x="2387687" y="1323856"/>
                  <a:pt x="2407368" y="1301710"/>
                </a:cubicBezTo>
                <a:cubicBezTo>
                  <a:pt x="2414749" y="1291868"/>
                  <a:pt x="2417209" y="1286946"/>
                  <a:pt x="2424590" y="1279564"/>
                </a:cubicBezTo>
                <a:cubicBezTo>
                  <a:pt x="2446731" y="1254957"/>
                  <a:pt x="2473794" y="1232811"/>
                  <a:pt x="2495936" y="1210665"/>
                </a:cubicBezTo>
                <a:cubicBezTo>
                  <a:pt x="2500857" y="1205744"/>
                  <a:pt x="2503317" y="1198362"/>
                  <a:pt x="2508237" y="1195902"/>
                </a:cubicBezTo>
                <a:cubicBezTo>
                  <a:pt x="2508237" y="1195902"/>
                  <a:pt x="2505777" y="1195902"/>
                  <a:pt x="2505777" y="1198362"/>
                </a:cubicBezTo>
                <a:cubicBezTo>
                  <a:pt x="2505777" y="1198362"/>
                  <a:pt x="2503317" y="1198362"/>
                  <a:pt x="2503317" y="1198362"/>
                </a:cubicBezTo>
                <a:cubicBezTo>
                  <a:pt x="2505777" y="1195902"/>
                  <a:pt x="2505777" y="1195902"/>
                  <a:pt x="2508237" y="1193441"/>
                </a:cubicBezTo>
                <a:cubicBezTo>
                  <a:pt x="2510697" y="1190980"/>
                  <a:pt x="2510697" y="1190980"/>
                  <a:pt x="2510697" y="1190980"/>
                </a:cubicBezTo>
                <a:cubicBezTo>
                  <a:pt x="2505777" y="1193441"/>
                  <a:pt x="2493476" y="1205744"/>
                  <a:pt x="2486096" y="1208205"/>
                </a:cubicBezTo>
                <a:cubicBezTo>
                  <a:pt x="2483635" y="1205744"/>
                  <a:pt x="2491016" y="1198362"/>
                  <a:pt x="2498397" y="1190980"/>
                </a:cubicBezTo>
                <a:cubicBezTo>
                  <a:pt x="2495936" y="1190980"/>
                  <a:pt x="2495936" y="1190980"/>
                  <a:pt x="2495936" y="1190980"/>
                </a:cubicBezTo>
                <a:cubicBezTo>
                  <a:pt x="2493476" y="1193441"/>
                  <a:pt x="2493476" y="1193441"/>
                  <a:pt x="2493476" y="1193441"/>
                </a:cubicBezTo>
                <a:cubicBezTo>
                  <a:pt x="2491015" y="1190980"/>
                  <a:pt x="2493476" y="1190980"/>
                  <a:pt x="2495936" y="1188519"/>
                </a:cubicBezTo>
                <a:cubicBezTo>
                  <a:pt x="2495936" y="1188519"/>
                  <a:pt x="2498396" y="1186059"/>
                  <a:pt x="2498396" y="1186059"/>
                </a:cubicBezTo>
                <a:cubicBezTo>
                  <a:pt x="2498396" y="1183598"/>
                  <a:pt x="2486095" y="1198362"/>
                  <a:pt x="2488556" y="1190980"/>
                </a:cubicBezTo>
                <a:cubicBezTo>
                  <a:pt x="2500856" y="1178677"/>
                  <a:pt x="2515618" y="1163913"/>
                  <a:pt x="2527919" y="1151610"/>
                </a:cubicBezTo>
                <a:cubicBezTo>
                  <a:pt x="2540220" y="1139306"/>
                  <a:pt x="2550061" y="1131924"/>
                  <a:pt x="2554981" y="1136845"/>
                </a:cubicBezTo>
                <a:cubicBezTo>
                  <a:pt x="2554981" y="1134385"/>
                  <a:pt x="2557441" y="1134385"/>
                  <a:pt x="2557441" y="1134385"/>
                </a:cubicBezTo>
                <a:cubicBezTo>
                  <a:pt x="2557442" y="1131924"/>
                  <a:pt x="2559901" y="1129464"/>
                  <a:pt x="2562362" y="1129463"/>
                </a:cubicBezTo>
                <a:cubicBezTo>
                  <a:pt x="2562362" y="1129463"/>
                  <a:pt x="2562362" y="1129463"/>
                  <a:pt x="2562362" y="1131924"/>
                </a:cubicBezTo>
                <a:cubicBezTo>
                  <a:pt x="2562362" y="1131924"/>
                  <a:pt x="2559902" y="1134385"/>
                  <a:pt x="2559902" y="1134385"/>
                </a:cubicBezTo>
                <a:cubicBezTo>
                  <a:pt x="2562361" y="1134385"/>
                  <a:pt x="2567283" y="1131924"/>
                  <a:pt x="2574663" y="1127003"/>
                </a:cubicBezTo>
                <a:cubicBezTo>
                  <a:pt x="2577123" y="1129464"/>
                  <a:pt x="2582043" y="1131924"/>
                  <a:pt x="2584504" y="1131924"/>
                </a:cubicBezTo>
                <a:cubicBezTo>
                  <a:pt x="2604185" y="1112239"/>
                  <a:pt x="2618947" y="1102396"/>
                  <a:pt x="2643549" y="1082711"/>
                </a:cubicBezTo>
                <a:cubicBezTo>
                  <a:pt x="2648470" y="1077789"/>
                  <a:pt x="2653390" y="1075328"/>
                  <a:pt x="2660771" y="1072868"/>
                </a:cubicBezTo>
                <a:cubicBezTo>
                  <a:pt x="2687833" y="1050722"/>
                  <a:pt x="2714895" y="1031036"/>
                  <a:pt x="2741957" y="1013812"/>
                </a:cubicBezTo>
                <a:cubicBezTo>
                  <a:pt x="2771481" y="994127"/>
                  <a:pt x="2798543" y="976902"/>
                  <a:pt x="2823145" y="957217"/>
                </a:cubicBezTo>
                <a:cubicBezTo>
                  <a:pt x="2820685" y="957217"/>
                  <a:pt x="2820685" y="957217"/>
                  <a:pt x="2820685" y="957217"/>
                </a:cubicBezTo>
                <a:cubicBezTo>
                  <a:pt x="2818225" y="959677"/>
                  <a:pt x="2815764" y="959677"/>
                  <a:pt x="2815764" y="959677"/>
                </a:cubicBezTo>
                <a:cubicBezTo>
                  <a:pt x="2815765" y="957217"/>
                  <a:pt x="2818225" y="954756"/>
                  <a:pt x="2820685" y="954756"/>
                </a:cubicBezTo>
                <a:cubicBezTo>
                  <a:pt x="2823145" y="952296"/>
                  <a:pt x="2823145" y="952296"/>
                  <a:pt x="2825605" y="952296"/>
                </a:cubicBezTo>
                <a:cubicBezTo>
                  <a:pt x="2825605" y="949835"/>
                  <a:pt x="2823145" y="949835"/>
                  <a:pt x="2820685" y="952296"/>
                </a:cubicBezTo>
                <a:cubicBezTo>
                  <a:pt x="2801003" y="964598"/>
                  <a:pt x="2771480" y="986744"/>
                  <a:pt x="2744418" y="999048"/>
                </a:cubicBezTo>
                <a:cubicBezTo>
                  <a:pt x="2741958" y="999048"/>
                  <a:pt x="2737038" y="999048"/>
                  <a:pt x="2744418" y="991666"/>
                </a:cubicBezTo>
                <a:cubicBezTo>
                  <a:pt x="2749339" y="991666"/>
                  <a:pt x="2756719" y="986744"/>
                  <a:pt x="2766561" y="981823"/>
                </a:cubicBezTo>
                <a:cubicBezTo>
                  <a:pt x="2761639" y="976902"/>
                  <a:pt x="2786242" y="967059"/>
                  <a:pt x="2798543" y="959677"/>
                </a:cubicBezTo>
                <a:cubicBezTo>
                  <a:pt x="2832985" y="937531"/>
                  <a:pt x="2869889" y="910464"/>
                  <a:pt x="2909253" y="893239"/>
                </a:cubicBezTo>
                <a:cubicBezTo>
                  <a:pt x="2914173" y="890779"/>
                  <a:pt x="2916633" y="890779"/>
                  <a:pt x="2921554" y="888318"/>
                </a:cubicBezTo>
                <a:cubicBezTo>
                  <a:pt x="2936315" y="883397"/>
                  <a:pt x="2960918" y="866172"/>
                  <a:pt x="2970759" y="866172"/>
                </a:cubicBezTo>
                <a:cubicBezTo>
                  <a:pt x="2968297" y="863711"/>
                  <a:pt x="2970759" y="861251"/>
                  <a:pt x="2975679" y="856329"/>
                </a:cubicBezTo>
                <a:cubicBezTo>
                  <a:pt x="2980599" y="858790"/>
                  <a:pt x="3000281" y="851408"/>
                  <a:pt x="3000281" y="851408"/>
                </a:cubicBezTo>
                <a:cubicBezTo>
                  <a:pt x="2995360" y="851408"/>
                  <a:pt x="2995360" y="848947"/>
                  <a:pt x="2995360" y="848947"/>
                </a:cubicBezTo>
                <a:cubicBezTo>
                  <a:pt x="3017503" y="839105"/>
                  <a:pt x="3029803" y="836644"/>
                  <a:pt x="3049485" y="831722"/>
                </a:cubicBezTo>
                <a:close/>
                <a:moveTo>
                  <a:pt x="4155294" y="823540"/>
                </a:moveTo>
                <a:cubicBezTo>
                  <a:pt x="4150406" y="823709"/>
                  <a:pt x="4142285" y="821974"/>
                  <a:pt x="4143118" y="829430"/>
                </a:cubicBezTo>
                <a:cubicBezTo>
                  <a:pt x="4142543" y="837798"/>
                  <a:pt x="4151656" y="834893"/>
                  <a:pt x="4155384" y="834477"/>
                </a:cubicBezTo>
                <a:cubicBezTo>
                  <a:pt x="4209740" y="841237"/>
                  <a:pt x="4263432" y="845430"/>
                  <a:pt x="4316876" y="850783"/>
                </a:cubicBezTo>
                <a:cubicBezTo>
                  <a:pt x="4352422" y="854739"/>
                  <a:pt x="4388386" y="862423"/>
                  <a:pt x="4430150" y="871345"/>
                </a:cubicBezTo>
                <a:cubicBezTo>
                  <a:pt x="4413085" y="877403"/>
                  <a:pt x="4400403" y="868629"/>
                  <a:pt x="4389308" y="880814"/>
                </a:cubicBezTo>
                <a:cubicBezTo>
                  <a:pt x="4508923" y="905763"/>
                  <a:pt x="4623035" y="942272"/>
                  <a:pt x="4731707" y="990052"/>
                </a:cubicBezTo>
                <a:lnTo>
                  <a:pt x="4795547" y="1022221"/>
                </a:lnTo>
                <a:lnTo>
                  <a:pt x="4797768" y="1018229"/>
                </a:lnTo>
                <a:cubicBezTo>
                  <a:pt x="4801240" y="1008201"/>
                  <a:pt x="4803771" y="997760"/>
                  <a:pt x="4807405" y="988266"/>
                </a:cubicBezTo>
                <a:lnTo>
                  <a:pt x="4812753" y="976649"/>
                </a:lnTo>
                <a:lnTo>
                  <a:pt x="4603411" y="895019"/>
                </a:lnTo>
                <a:cubicBezTo>
                  <a:pt x="4537611" y="873683"/>
                  <a:pt x="4474460" y="845635"/>
                  <a:pt x="4404696" y="842861"/>
                </a:cubicBezTo>
                <a:cubicBezTo>
                  <a:pt x="4387958" y="841711"/>
                  <a:pt x="4369982" y="846361"/>
                  <a:pt x="4355396" y="840819"/>
                </a:cubicBezTo>
                <a:cubicBezTo>
                  <a:pt x="4289349" y="820643"/>
                  <a:pt x="4222986" y="824660"/>
                  <a:pt x="4155294" y="823540"/>
                </a:cubicBezTo>
                <a:close/>
                <a:moveTo>
                  <a:pt x="6018898" y="0"/>
                </a:moveTo>
                <a:cubicBezTo>
                  <a:pt x="6047195" y="17997"/>
                  <a:pt x="6080128" y="20601"/>
                  <a:pt x="6111726" y="31070"/>
                </a:cubicBezTo>
                <a:cubicBezTo>
                  <a:pt x="6147255" y="42213"/>
                  <a:pt x="6174402" y="61024"/>
                  <a:pt x="6178371" y="103180"/>
                </a:cubicBezTo>
                <a:cubicBezTo>
                  <a:pt x="6181746" y="125002"/>
                  <a:pt x="6185122" y="146824"/>
                  <a:pt x="6186531" y="168309"/>
                </a:cubicBezTo>
                <a:cubicBezTo>
                  <a:pt x="6186976" y="183560"/>
                  <a:pt x="6182341" y="198952"/>
                  <a:pt x="6172142" y="211368"/>
                </a:cubicBezTo>
                <a:cubicBezTo>
                  <a:pt x="6166097" y="205275"/>
                  <a:pt x="6163983" y="199855"/>
                  <a:pt x="6157604" y="195727"/>
                </a:cubicBezTo>
                <a:cubicBezTo>
                  <a:pt x="6146553" y="219125"/>
                  <a:pt x="6145366" y="232073"/>
                  <a:pt x="6152672" y="254568"/>
                </a:cubicBezTo>
                <a:cubicBezTo>
                  <a:pt x="6155417" y="268189"/>
                  <a:pt x="6155380" y="280322"/>
                  <a:pt x="6144699" y="289621"/>
                </a:cubicBezTo>
                <a:cubicBezTo>
                  <a:pt x="6132869" y="299735"/>
                  <a:pt x="6125452" y="313639"/>
                  <a:pt x="6117552" y="324425"/>
                </a:cubicBezTo>
                <a:cubicBezTo>
                  <a:pt x="6109319" y="337178"/>
                  <a:pt x="6098639" y="346477"/>
                  <a:pt x="6086660" y="351507"/>
                </a:cubicBezTo>
                <a:cubicBezTo>
                  <a:pt x="6063852" y="360752"/>
                  <a:pt x="6058252" y="369909"/>
                  <a:pt x="6067857" y="390775"/>
                </a:cubicBezTo>
                <a:cubicBezTo>
                  <a:pt x="6075349" y="406220"/>
                  <a:pt x="6073347" y="418017"/>
                  <a:pt x="6065929" y="431921"/>
                </a:cubicBezTo>
                <a:cubicBezTo>
                  <a:pt x="6060997" y="437146"/>
                  <a:pt x="6057696" y="444674"/>
                  <a:pt x="6054396" y="452201"/>
                </a:cubicBezTo>
                <a:cubicBezTo>
                  <a:pt x="6033962" y="489167"/>
                  <a:pt x="5998322" y="514424"/>
                  <a:pt x="5972658" y="546447"/>
                </a:cubicBezTo>
                <a:cubicBezTo>
                  <a:pt x="5965093" y="555267"/>
                  <a:pt x="5956711" y="562937"/>
                  <a:pt x="5945548" y="569118"/>
                </a:cubicBezTo>
                <a:cubicBezTo>
                  <a:pt x="5915990" y="588335"/>
                  <a:pt x="5911688" y="601761"/>
                  <a:pt x="5922073" y="635911"/>
                </a:cubicBezTo>
                <a:cubicBezTo>
                  <a:pt x="5926783" y="649869"/>
                  <a:pt x="5927562" y="663153"/>
                  <a:pt x="5923261" y="676579"/>
                </a:cubicBezTo>
                <a:cubicBezTo>
                  <a:pt x="5916474" y="698684"/>
                  <a:pt x="5923446" y="723146"/>
                  <a:pt x="5940284" y="737157"/>
                </a:cubicBezTo>
                <a:cubicBezTo>
                  <a:pt x="5943881" y="739796"/>
                  <a:pt x="5946663" y="741284"/>
                  <a:pt x="5950112" y="738840"/>
                </a:cubicBezTo>
                <a:cubicBezTo>
                  <a:pt x="5954377" y="737547"/>
                  <a:pt x="5956194" y="732800"/>
                  <a:pt x="5953746" y="729346"/>
                </a:cubicBezTo>
                <a:cubicBezTo>
                  <a:pt x="5952448" y="725077"/>
                  <a:pt x="5950816" y="722774"/>
                  <a:pt x="5948369" y="719320"/>
                </a:cubicBezTo>
                <a:cubicBezTo>
                  <a:pt x="5932199" y="701377"/>
                  <a:pt x="5934350" y="694664"/>
                  <a:pt x="5951929" y="680477"/>
                </a:cubicBezTo>
                <a:cubicBezTo>
                  <a:pt x="5967208" y="667919"/>
                  <a:pt x="5987050" y="664236"/>
                  <a:pt x="6002329" y="651678"/>
                </a:cubicBezTo>
                <a:cubicBezTo>
                  <a:pt x="6003108" y="664962"/>
                  <a:pt x="6005037" y="677432"/>
                  <a:pt x="6005816" y="690716"/>
                </a:cubicBezTo>
                <a:cubicBezTo>
                  <a:pt x="6007114" y="694985"/>
                  <a:pt x="6008078" y="701220"/>
                  <a:pt x="6013159" y="701078"/>
                </a:cubicBezTo>
                <a:cubicBezTo>
                  <a:pt x="6018240" y="700937"/>
                  <a:pt x="6020391" y="694224"/>
                  <a:pt x="6021058" y="690292"/>
                </a:cubicBezTo>
                <a:cubicBezTo>
                  <a:pt x="6021244" y="683242"/>
                  <a:pt x="6021429" y="676192"/>
                  <a:pt x="6025545" y="669816"/>
                </a:cubicBezTo>
                <a:cubicBezTo>
                  <a:pt x="6031813" y="656727"/>
                  <a:pt x="6038044" y="655771"/>
                  <a:pt x="6047352" y="666469"/>
                </a:cubicBezTo>
                <a:cubicBezTo>
                  <a:pt x="6059109" y="680622"/>
                  <a:pt x="6064190" y="680480"/>
                  <a:pt x="6078320" y="668737"/>
                </a:cubicBezTo>
                <a:cubicBezTo>
                  <a:pt x="6086701" y="661068"/>
                  <a:pt x="6092598" y="662078"/>
                  <a:pt x="6096826" y="672918"/>
                </a:cubicBezTo>
                <a:cubicBezTo>
                  <a:pt x="6098124" y="677187"/>
                  <a:pt x="6098606" y="680304"/>
                  <a:pt x="6099088" y="683422"/>
                </a:cubicBezTo>
                <a:cubicBezTo>
                  <a:pt x="6102501" y="693111"/>
                  <a:pt x="6108879" y="697238"/>
                  <a:pt x="6118893" y="691871"/>
                </a:cubicBezTo>
                <a:cubicBezTo>
                  <a:pt x="6140736" y="676391"/>
                  <a:pt x="6166957" y="676835"/>
                  <a:pt x="6191397" y="669892"/>
                </a:cubicBezTo>
                <a:cubicBezTo>
                  <a:pt x="6197627" y="668936"/>
                  <a:pt x="6203524" y="669946"/>
                  <a:pt x="6210237" y="672107"/>
                </a:cubicBezTo>
                <a:cubicBezTo>
                  <a:pt x="6228743" y="676288"/>
                  <a:pt x="6235753" y="688616"/>
                  <a:pt x="6226852" y="705301"/>
                </a:cubicBezTo>
                <a:cubicBezTo>
                  <a:pt x="6220251" y="720356"/>
                  <a:pt x="6212834" y="734260"/>
                  <a:pt x="6203451" y="747828"/>
                </a:cubicBezTo>
                <a:cubicBezTo>
                  <a:pt x="6174635" y="792462"/>
                  <a:pt x="6147452" y="839400"/>
                  <a:pt x="6125015" y="888161"/>
                </a:cubicBezTo>
                <a:cubicBezTo>
                  <a:pt x="6119081" y="899285"/>
                  <a:pt x="6111998" y="911223"/>
                  <a:pt x="6110811" y="924171"/>
                </a:cubicBezTo>
                <a:cubicBezTo>
                  <a:pt x="6105583" y="972844"/>
                  <a:pt x="6085297" y="1014893"/>
                  <a:pt x="6054701" y="1052142"/>
                </a:cubicBezTo>
                <a:cubicBezTo>
                  <a:pt x="6052068" y="1055737"/>
                  <a:pt x="6048285" y="1060148"/>
                  <a:pt x="6050733" y="1063602"/>
                </a:cubicBezTo>
                <a:cubicBezTo>
                  <a:pt x="6058559" y="1077081"/>
                  <a:pt x="6060153" y="1091517"/>
                  <a:pt x="6064863" y="1105474"/>
                </a:cubicBezTo>
                <a:cubicBezTo>
                  <a:pt x="6068609" y="1113197"/>
                  <a:pt x="6071873" y="1117803"/>
                  <a:pt x="6080885" y="1118334"/>
                </a:cubicBezTo>
                <a:cubicBezTo>
                  <a:pt x="6088748" y="1119681"/>
                  <a:pt x="6090083" y="1111816"/>
                  <a:pt x="6091900" y="1107069"/>
                </a:cubicBezTo>
                <a:cubicBezTo>
                  <a:pt x="6110702" y="1067801"/>
                  <a:pt x="6128688" y="1027382"/>
                  <a:pt x="6148641" y="987299"/>
                </a:cubicBezTo>
                <a:cubicBezTo>
                  <a:pt x="6170076" y="944436"/>
                  <a:pt x="6195925" y="905363"/>
                  <a:pt x="6232566" y="874208"/>
                </a:cubicBezTo>
                <a:cubicBezTo>
                  <a:pt x="6237164" y="870949"/>
                  <a:pt x="6242431" y="863758"/>
                  <a:pt x="6247178" y="865582"/>
                </a:cubicBezTo>
                <a:cubicBezTo>
                  <a:pt x="6252741" y="868558"/>
                  <a:pt x="6253371" y="876759"/>
                  <a:pt x="6254336" y="882994"/>
                </a:cubicBezTo>
                <a:cubicBezTo>
                  <a:pt x="6253668" y="886926"/>
                  <a:pt x="6254150" y="890043"/>
                  <a:pt x="6253483" y="893975"/>
                </a:cubicBezTo>
                <a:cubicBezTo>
                  <a:pt x="6254929" y="903328"/>
                  <a:pt x="6253260" y="913158"/>
                  <a:pt x="6257822" y="922032"/>
                </a:cubicBezTo>
                <a:cubicBezTo>
                  <a:pt x="6285081" y="904444"/>
                  <a:pt x="6317383" y="898848"/>
                  <a:pt x="6341378" y="876655"/>
                </a:cubicBezTo>
                <a:cubicBezTo>
                  <a:pt x="6346310" y="871430"/>
                  <a:pt x="6353356" y="871625"/>
                  <a:pt x="6352504" y="882607"/>
                </a:cubicBezTo>
                <a:cubicBezTo>
                  <a:pt x="6352318" y="889657"/>
                  <a:pt x="6356064" y="897379"/>
                  <a:pt x="6361294" y="902321"/>
                </a:cubicBezTo>
                <a:cubicBezTo>
                  <a:pt x="6382211" y="922089"/>
                  <a:pt x="6387552" y="944248"/>
                  <a:pt x="6383695" y="972924"/>
                </a:cubicBezTo>
                <a:cubicBezTo>
                  <a:pt x="6377984" y="1018481"/>
                  <a:pt x="6379320" y="1064232"/>
                  <a:pt x="6366897" y="1107627"/>
                </a:cubicBezTo>
                <a:cubicBezTo>
                  <a:pt x="6358441" y="1139563"/>
                  <a:pt x="6350320" y="1169532"/>
                  <a:pt x="6345796" y="1202141"/>
                </a:cubicBezTo>
                <a:cubicBezTo>
                  <a:pt x="6341457" y="1227699"/>
                  <a:pt x="6331555" y="1250283"/>
                  <a:pt x="6315757" y="1271856"/>
                </a:cubicBezTo>
                <a:cubicBezTo>
                  <a:pt x="6306040" y="1287389"/>
                  <a:pt x="6297139" y="1304074"/>
                  <a:pt x="6294136" y="1321769"/>
                </a:cubicBezTo>
                <a:cubicBezTo>
                  <a:pt x="6285495" y="1360754"/>
                  <a:pt x="6266396" y="1389855"/>
                  <a:pt x="6233389" y="1411516"/>
                </a:cubicBezTo>
                <a:cubicBezTo>
                  <a:pt x="6208097" y="1429441"/>
                  <a:pt x="6193930" y="1453317"/>
                  <a:pt x="6194486" y="1485784"/>
                </a:cubicBezTo>
                <a:cubicBezTo>
                  <a:pt x="6195080" y="1506118"/>
                  <a:pt x="6194524" y="1527266"/>
                  <a:pt x="6194784" y="1549566"/>
                </a:cubicBezTo>
                <a:cubicBezTo>
                  <a:pt x="6194043" y="1577765"/>
                  <a:pt x="6193302" y="1605963"/>
                  <a:pt x="6183548" y="1633630"/>
                </a:cubicBezTo>
                <a:cubicBezTo>
                  <a:pt x="6180581" y="1639191"/>
                  <a:pt x="6178282" y="1640821"/>
                  <a:pt x="6172385" y="1639811"/>
                </a:cubicBezTo>
                <a:cubicBezTo>
                  <a:pt x="6157477" y="1638269"/>
                  <a:pt x="6144199" y="1639031"/>
                  <a:pt x="6130589" y="1641758"/>
                </a:cubicBezTo>
                <a:cubicBezTo>
                  <a:pt x="6108115" y="1649037"/>
                  <a:pt x="6097582" y="1663419"/>
                  <a:pt x="6096693" y="1686534"/>
                </a:cubicBezTo>
                <a:cubicBezTo>
                  <a:pt x="6097805" y="1697852"/>
                  <a:pt x="6100067" y="1708356"/>
                  <a:pt x="6102330" y="1718860"/>
                </a:cubicBezTo>
                <a:cubicBezTo>
                  <a:pt x="6107003" y="1744950"/>
                  <a:pt x="6101403" y="1754108"/>
                  <a:pt x="6074849" y="1755630"/>
                </a:cubicBezTo>
                <a:cubicBezTo>
                  <a:pt x="6074849" y="1755630"/>
                  <a:pt x="6074516" y="1757596"/>
                  <a:pt x="6073366" y="1758411"/>
                </a:cubicBezTo>
                <a:cubicBezTo>
                  <a:pt x="6074664" y="1762680"/>
                  <a:pt x="6075146" y="1765797"/>
                  <a:pt x="6076444" y="1770066"/>
                </a:cubicBezTo>
                <a:cubicBezTo>
                  <a:pt x="6082119" y="1790258"/>
                  <a:pt x="6079968" y="1796971"/>
                  <a:pt x="6060460" y="1798689"/>
                </a:cubicBezTo>
                <a:cubicBezTo>
                  <a:pt x="6025377" y="1802797"/>
                  <a:pt x="6000566" y="1823838"/>
                  <a:pt x="5979019" y="1849486"/>
                </a:cubicBezTo>
                <a:cubicBezTo>
                  <a:pt x="5956804" y="1879065"/>
                  <a:pt x="5941636" y="1908839"/>
                  <a:pt x="5951353" y="1946921"/>
                </a:cubicBezTo>
                <a:cubicBezTo>
                  <a:pt x="5954432" y="1958576"/>
                  <a:pt x="5955211" y="1971860"/>
                  <a:pt x="5954024" y="1984808"/>
                </a:cubicBezTo>
                <a:cubicBezTo>
                  <a:pt x="5952801" y="2009889"/>
                  <a:pt x="5938819" y="2026715"/>
                  <a:pt x="5916011" y="2035961"/>
                </a:cubicBezTo>
                <a:cubicBezTo>
                  <a:pt x="5904032" y="2040991"/>
                  <a:pt x="5896800" y="2047845"/>
                  <a:pt x="5892832" y="2059305"/>
                </a:cubicBezTo>
                <a:cubicBezTo>
                  <a:pt x="5886713" y="2077478"/>
                  <a:pt x="5879778" y="2094499"/>
                  <a:pt x="5871212" y="2109218"/>
                </a:cubicBezTo>
                <a:cubicBezTo>
                  <a:pt x="5857379" y="2131128"/>
                  <a:pt x="5844936" y="2153782"/>
                  <a:pt x="5834131" y="2177222"/>
                </a:cubicBezTo>
                <a:lnTo>
                  <a:pt x="5812471" y="2234996"/>
                </a:lnTo>
                <a:lnTo>
                  <a:pt x="5827932" y="2325037"/>
                </a:lnTo>
                <a:cubicBezTo>
                  <a:pt x="5855411" y="2537480"/>
                  <a:pt x="5839001" y="2752687"/>
                  <a:pt x="5788027" y="2969987"/>
                </a:cubicBezTo>
                <a:cubicBezTo>
                  <a:pt x="5777944" y="3011500"/>
                  <a:pt x="5765295" y="3053677"/>
                  <a:pt x="5751733" y="3094447"/>
                </a:cubicBezTo>
                <a:cubicBezTo>
                  <a:pt x="5749998" y="3102566"/>
                  <a:pt x="5747350" y="3109279"/>
                  <a:pt x="5757791" y="3111510"/>
                </a:cubicBezTo>
                <a:cubicBezTo>
                  <a:pt x="5768232" y="3113740"/>
                  <a:pt x="5765327" y="3104629"/>
                  <a:pt x="5767726" y="3099077"/>
                </a:cubicBezTo>
                <a:cubicBezTo>
                  <a:pt x="5769956" y="3088637"/>
                  <a:pt x="5772435" y="3077036"/>
                  <a:pt x="5775825" y="3066844"/>
                </a:cubicBezTo>
                <a:cubicBezTo>
                  <a:pt x="5799549" y="2978513"/>
                  <a:pt x="5827913" y="2891175"/>
                  <a:pt x="5837715" y="2799870"/>
                </a:cubicBezTo>
                <a:cubicBezTo>
                  <a:pt x="5857905" y="2625878"/>
                  <a:pt x="5873207" y="2452053"/>
                  <a:pt x="5852466" y="2276592"/>
                </a:cubicBezTo>
                <a:cubicBezTo>
                  <a:pt x="5851802" y="2274025"/>
                  <a:pt x="5851633" y="2269137"/>
                  <a:pt x="5857682" y="2269216"/>
                </a:cubicBezTo>
                <a:cubicBezTo>
                  <a:pt x="5864394" y="2271864"/>
                  <a:pt x="5863155" y="2277664"/>
                  <a:pt x="5864484" y="2282799"/>
                </a:cubicBezTo>
                <a:cubicBezTo>
                  <a:pt x="5877277" y="2336477"/>
                  <a:pt x="5874245" y="2390414"/>
                  <a:pt x="5877013" y="2445588"/>
                </a:cubicBezTo>
                <a:cubicBezTo>
                  <a:pt x="5892525" y="2736376"/>
                  <a:pt x="5842821" y="3014444"/>
                  <a:pt x="5725088" y="3281616"/>
                </a:cubicBezTo>
                <a:cubicBezTo>
                  <a:pt x="5667336" y="3409982"/>
                  <a:pt x="5590190" y="3526927"/>
                  <a:pt x="5513044" y="3643872"/>
                </a:cubicBezTo>
                <a:cubicBezTo>
                  <a:pt x="5487791" y="3671227"/>
                  <a:pt x="5463698" y="3698830"/>
                  <a:pt x="5439605" y="3726433"/>
                </a:cubicBezTo>
                <a:cubicBezTo>
                  <a:pt x="5441677" y="3728088"/>
                  <a:pt x="5443750" y="3729744"/>
                  <a:pt x="5445822" y="3731400"/>
                </a:cubicBezTo>
                <a:cubicBezTo>
                  <a:pt x="5472652" y="3708021"/>
                  <a:pt x="5495833" y="3679010"/>
                  <a:pt x="5516941" y="3648344"/>
                </a:cubicBezTo>
                <a:cubicBezTo>
                  <a:pt x="5528453" y="3639886"/>
                  <a:pt x="5536731" y="3629526"/>
                  <a:pt x="5545258" y="3618004"/>
                </a:cubicBezTo>
                <a:cubicBezTo>
                  <a:pt x="5553537" y="3607643"/>
                  <a:pt x="5559991" y="3594467"/>
                  <a:pt x="5576976" y="3594457"/>
                </a:cubicBezTo>
                <a:cubicBezTo>
                  <a:pt x="5478395" y="3749276"/>
                  <a:pt x="5357096" y="3879834"/>
                  <a:pt x="5210017" y="3989115"/>
                </a:cubicBezTo>
                <a:cubicBezTo>
                  <a:pt x="5214625" y="3939155"/>
                  <a:pt x="5258608" y="3920654"/>
                  <a:pt x="5287669" y="3886835"/>
                </a:cubicBezTo>
                <a:cubicBezTo>
                  <a:pt x="5276068" y="3884356"/>
                  <a:pt x="5272261" y="3890821"/>
                  <a:pt x="5267790" y="3894717"/>
                </a:cubicBezTo>
                <a:cubicBezTo>
                  <a:pt x="5246175" y="3910719"/>
                  <a:pt x="5226880" y="3927218"/>
                  <a:pt x="5206426" y="3943469"/>
                </a:cubicBezTo>
                <a:cubicBezTo>
                  <a:pt x="5140838" y="3994956"/>
                  <a:pt x="5070441" y="4040565"/>
                  <a:pt x="5002781" y="4090397"/>
                </a:cubicBezTo>
                <a:cubicBezTo>
                  <a:pt x="5000461" y="4089901"/>
                  <a:pt x="4997892" y="4090566"/>
                  <a:pt x="4999717" y="4093382"/>
                </a:cubicBezTo>
                <a:cubicBezTo>
                  <a:pt x="4999469" y="4094541"/>
                  <a:pt x="5003197" y="4094125"/>
                  <a:pt x="5004357" y="4094373"/>
                </a:cubicBezTo>
                <a:cubicBezTo>
                  <a:pt x="5012726" y="4094948"/>
                  <a:pt x="5019766" y="4090387"/>
                  <a:pt x="5026557" y="4086986"/>
                </a:cubicBezTo>
                <a:cubicBezTo>
                  <a:pt x="5067309" y="4066581"/>
                  <a:pt x="5104411" y="4040545"/>
                  <a:pt x="5139440" y="4012852"/>
                </a:cubicBezTo>
                <a:cubicBezTo>
                  <a:pt x="5145320" y="4008044"/>
                  <a:pt x="5150287" y="4001827"/>
                  <a:pt x="5157169" y="4009363"/>
                </a:cubicBezTo>
                <a:cubicBezTo>
                  <a:pt x="5162890" y="4016649"/>
                  <a:pt x="5164636" y="4025513"/>
                  <a:pt x="5155940" y="4032146"/>
                </a:cubicBezTo>
                <a:cubicBezTo>
                  <a:pt x="5151469" y="4036042"/>
                  <a:pt x="5145837" y="4039691"/>
                  <a:pt x="5141365" y="4043588"/>
                </a:cubicBezTo>
                <a:cubicBezTo>
                  <a:pt x="5072050" y="4095492"/>
                  <a:pt x="4996843" y="4135222"/>
                  <a:pt x="4921389" y="4176111"/>
                </a:cubicBezTo>
                <a:cubicBezTo>
                  <a:pt x="4802121" y="4240389"/>
                  <a:pt x="4683517" y="4307235"/>
                  <a:pt x="4549561" y="4338052"/>
                </a:cubicBezTo>
                <a:cubicBezTo>
                  <a:pt x="4503584" y="4348850"/>
                  <a:pt x="4458024" y="4363376"/>
                  <a:pt x="4412712" y="4376742"/>
                </a:cubicBezTo>
                <a:cubicBezTo>
                  <a:pt x="4386783" y="4384545"/>
                  <a:pt x="4360438" y="4388619"/>
                  <a:pt x="4333756" y="4382919"/>
                </a:cubicBezTo>
                <a:cubicBezTo>
                  <a:pt x="4316355" y="4379201"/>
                  <a:pt x="4302107" y="4383435"/>
                  <a:pt x="4291676" y="4398188"/>
                </a:cubicBezTo>
                <a:cubicBezTo>
                  <a:pt x="4282902" y="4410870"/>
                  <a:pt x="4271717" y="4412119"/>
                  <a:pt x="4258291" y="4406825"/>
                </a:cubicBezTo>
                <a:cubicBezTo>
                  <a:pt x="4234672" y="4398140"/>
                  <a:pt x="4210479" y="4397823"/>
                  <a:pt x="4187119" y="4404962"/>
                </a:cubicBezTo>
                <a:cubicBezTo>
                  <a:pt x="4170303" y="4409860"/>
                  <a:pt x="4151909" y="4410782"/>
                  <a:pt x="4134925" y="4410792"/>
                </a:cubicBezTo>
                <a:cubicBezTo>
                  <a:pt x="4093995" y="4409326"/>
                  <a:pt x="4052816" y="4409019"/>
                  <a:pt x="4012381" y="4405232"/>
                </a:cubicBezTo>
                <a:cubicBezTo>
                  <a:pt x="3892901" y="4396687"/>
                  <a:pt x="3774412" y="4383502"/>
                  <a:pt x="3658233" y="4353829"/>
                </a:cubicBezTo>
                <a:lnTo>
                  <a:pt x="3519858" y="4311868"/>
                </a:lnTo>
                <a:lnTo>
                  <a:pt x="3525891" y="4307442"/>
                </a:lnTo>
                <a:lnTo>
                  <a:pt x="3577312" y="4267716"/>
                </a:lnTo>
                <a:lnTo>
                  <a:pt x="3652153" y="4286998"/>
                </a:lnTo>
                <a:cubicBezTo>
                  <a:pt x="4158509" y="4399693"/>
                  <a:pt x="4676576" y="4269126"/>
                  <a:pt x="5066967" y="3961418"/>
                </a:cubicBezTo>
                <a:cubicBezTo>
                  <a:pt x="5073749" y="3957024"/>
                  <a:pt x="5081127" y="3949836"/>
                  <a:pt x="5086715" y="3951030"/>
                </a:cubicBezTo>
                <a:cubicBezTo>
                  <a:pt x="5091300" y="3943245"/>
                  <a:pt x="5105460" y="3931663"/>
                  <a:pt x="5116230" y="3922278"/>
                </a:cubicBezTo>
                <a:cubicBezTo>
                  <a:pt x="5135979" y="3911889"/>
                  <a:pt x="5157517" y="3893120"/>
                  <a:pt x="5159905" y="3881943"/>
                </a:cubicBezTo>
                <a:cubicBezTo>
                  <a:pt x="5186028" y="3855389"/>
                  <a:pt x="5211555" y="3831627"/>
                  <a:pt x="5234289" y="3807270"/>
                </a:cubicBezTo>
                <a:cubicBezTo>
                  <a:pt x="5226313" y="3817251"/>
                  <a:pt x="5215544" y="3826636"/>
                  <a:pt x="5207568" y="3836619"/>
                </a:cubicBezTo>
                <a:cubicBezTo>
                  <a:pt x="5213156" y="3837813"/>
                  <a:pt x="5223926" y="3828427"/>
                  <a:pt x="5238086" y="3816845"/>
                </a:cubicBezTo>
                <a:cubicBezTo>
                  <a:pt x="5249452" y="3804666"/>
                  <a:pt x="5264210" y="3790290"/>
                  <a:pt x="5269391" y="3779711"/>
                </a:cubicBezTo>
                <a:cubicBezTo>
                  <a:pt x="5263207" y="3781312"/>
                  <a:pt x="5249643" y="3790100"/>
                  <a:pt x="5237680" y="3805073"/>
                </a:cubicBezTo>
                <a:cubicBezTo>
                  <a:pt x="5271182" y="3771329"/>
                  <a:pt x="5302488" y="3734196"/>
                  <a:pt x="5330999" y="3696465"/>
                </a:cubicBezTo>
                <a:cubicBezTo>
                  <a:pt x="5357618" y="3664173"/>
                  <a:pt x="5382889" y="3630497"/>
                  <a:pt x="5406829" y="3595578"/>
                </a:cubicBezTo>
                <a:lnTo>
                  <a:pt x="5413364" y="3585142"/>
                </a:lnTo>
                <a:lnTo>
                  <a:pt x="5469118" y="3509784"/>
                </a:lnTo>
                <a:cubicBezTo>
                  <a:pt x="5510682" y="3443436"/>
                  <a:pt x="5547604" y="3373175"/>
                  <a:pt x="5579385" y="3299624"/>
                </a:cubicBezTo>
                <a:cubicBezTo>
                  <a:pt x="5582180" y="3300221"/>
                  <a:pt x="5582180" y="3300221"/>
                  <a:pt x="5582180" y="3300221"/>
                </a:cubicBezTo>
                <a:cubicBezTo>
                  <a:pt x="5583374" y="3294633"/>
                  <a:pt x="5584567" y="3289046"/>
                  <a:pt x="5585164" y="3286252"/>
                </a:cubicBezTo>
                <a:cubicBezTo>
                  <a:pt x="5594334" y="3270682"/>
                  <a:pt x="5600709" y="3254515"/>
                  <a:pt x="5607084" y="3238348"/>
                </a:cubicBezTo>
                <a:cubicBezTo>
                  <a:pt x="5633183" y="3170887"/>
                  <a:pt x="5656488" y="3102830"/>
                  <a:pt x="5674802" y="3030784"/>
                </a:cubicBezTo>
                <a:cubicBezTo>
                  <a:pt x="5679577" y="3008432"/>
                  <a:pt x="5684352" y="2986080"/>
                  <a:pt x="5689128" y="2963729"/>
                </a:cubicBezTo>
                <a:lnTo>
                  <a:pt x="5712718" y="2817250"/>
                </a:lnTo>
                <a:lnTo>
                  <a:pt x="5711633" y="2833582"/>
                </a:lnTo>
                <a:cubicBezTo>
                  <a:pt x="5746881" y="2691311"/>
                  <a:pt x="5756465" y="2549925"/>
                  <a:pt x="5747864" y="2409202"/>
                </a:cubicBezTo>
                <a:lnTo>
                  <a:pt x="5739894" y="2343648"/>
                </a:lnTo>
                <a:lnTo>
                  <a:pt x="5727369" y="2378509"/>
                </a:lnTo>
                <a:lnTo>
                  <a:pt x="5727579" y="2383490"/>
                </a:lnTo>
                <a:cubicBezTo>
                  <a:pt x="5727352" y="2400878"/>
                  <a:pt x="5726949" y="2418380"/>
                  <a:pt x="5728700" y="2435735"/>
                </a:cubicBezTo>
                <a:cubicBezTo>
                  <a:pt x="5739780" y="2531501"/>
                  <a:pt x="5736195" y="2627772"/>
                  <a:pt x="5724241" y="2723470"/>
                </a:cubicBezTo>
                <a:lnTo>
                  <a:pt x="5721718" y="2738895"/>
                </a:lnTo>
                <a:lnTo>
                  <a:pt x="5727802" y="2622845"/>
                </a:lnTo>
                <a:cubicBezTo>
                  <a:pt x="5728092" y="2570643"/>
                  <a:pt x="5725950" y="2518782"/>
                  <a:pt x="5721462" y="2467396"/>
                </a:cubicBezTo>
                <a:lnTo>
                  <a:pt x="5713500" y="2407881"/>
                </a:lnTo>
                <a:lnTo>
                  <a:pt x="5705736" y="2416737"/>
                </a:lnTo>
                <a:cubicBezTo>
                  <a:pt x="5701137" y="2419996"/>
                  <a:pt x="5698504" y="2423592"/>
                  <a:pt x="5697503" y="2429490"/>
                </a:cubicBezTo>
                <a:lnTo>
                  <a:pt x="5689124" y="2450936"/>
                </a:lnTo>
                <a:lnTo>
                  <a:pt x="5698271" y="2517655"/>
                </a:lnTo>
                <a:cubicBezTo>
                  <a:pt x="5708586" y="2652470"/>
                  <a:pt x="5702752" y="2789708"/>
                  <a:pt x="5679527" y="2926620"/>
                </a:cubicBezTo>
                <a:cubicBezTo>
                  <a:pt x="5678333" y="2932208"/>
                  <a:pt x="5677139" y="2937796"/>
                  <a:pt x="5675946" y="2943383"/>
                </a:cubicBezTo>
                <a:cubicBezTo>
                  <a:pt x="5665798" y="2990881"/>
                  <a:pt x="5655651" y="3038378"/>
                  <a:pt x="5642709" y="3085278"/>
                </a:cubicBezTo>
                <a:cubicBezTo>
                  <a:pt x="5642709" y="3085278"/>
                  <a:pt x="5642709" y="3085278"/>
                  <a:pt x="5642112" y="3088072"/>
                </a:cubicBezTo>
                <a:cubicBezTo>
                  <a:pt x="5644499" y="3076896"/>
                  <a:pt x="5641705" y="3076300"/>
                  <a:pt x="5639508" y="3072908"/>
                </a:cubicBezTo>
                <a:cubicBezTo>
                  <a:pt x="5637121" y="3084085"/>
                  <a:pt x="5633133" y="3089075"/>
                  <a:pt x="5632536" y="3091869"/>
                </a:cubicBezTo>
                <a:cubicBezTo>
                  <a:pt x="5634327" y="3083487"/>
                  <a:pt x="5635521" y="3077899"/>
                  <a:pt x="5633324" y="3074509"/>
                </a:cubicBezTo>
                <a:cubicBezTo>
                  <a:pt x="5629145" y="3094066"/>
                  <a:pt x="5625755" y="3096263"/>
                  <a:pt x="5619378" y="3112430"/>
                </a:cubicBezTo>
                <a:cubicBezTo>
                  <a:pt x="5612000" y="3119618"/>
                  <a:pt x="5612191" y="3105051"/>
                  <a:pt x="5606412" y="3118424"/>
                </a:cubicBezTo>
                <a:cubicBezTo>
                  <a:pt x="5604621" y="3126805"/>
                  <a:pt x="5600037" y="3134591"/>
                  <a:pt x="5598246" y="3142973"/>
                </a:cubicBezTo>
                <a:cubicBezTo>
                  <a:pt x="5598246" y="3142973"/>
                  <a:pt x="5597243" y="3133994"/>
                  <a:pt x="5598437" y="3128406"/>
                </a:cubicBezTo>
                <a:lnTo>
                  <a:pt x="5597765" y="3131550"/>
                </a:lnTo>
                <a:cubicBezTo>
                  <a:pt x="5596795" y="3136090"/>
                  <a:pt x="5595452" y="3142376"/>
                  <a:pt x="5594855" y="3145169"/>
                </a:cubicBezTo>
                <a:cubicBezTo>
                  <a:pt x="5592061" y="3144573"/>
                  <a:pt x="5591464" y="3147367"/>
                  <a:pt x="5594258" y="3147964"/>
                </a:cubicBezTo>
                <a:cubicBezTo>
                  <a:pt x="5594258" y="3147964"/>
                  <a:pt x="5594258" y="3147964"/>
                  <a:pt x="5593661" y="3150758"/>
                </a:cubicBezTo>
                <a:cubicBezTo>
                  <a:pt x="5590867" y="3150161"/>
                  <a:pt x="5590270" y="3152954"/>
                  <a:pt x="5589673" y="3155748"/>
                </a:cubicBezTo>
                <a:cubicBezTo>
                  <a:pt x="5589673" y="3155748"/>
                  <a:pt x="5589076" y="3158543"/>
                  <a:pt x="5586880" y="3155152"/>
                </a:cubicBezTo>
                <a:cubicBezTo>
                  <a:pt x="5586880" y="3155152"/>
                  <a:pt x="5586283" y="3157946"/>
                  <a:pt x="5586283" y="3157946"/>
                </a:cubicBezTo>
                <a:cubicBezTo>
                  <a:pt x="5585686" y="3160739"/>
                  <a:pt x="5585686" y="3160739"/>
                  <a:pt x="5585686" y="3160739"/>
                </a:cubicBezTo>
                <a:cubicBezTo>
                  <a:pt x="5585686" y="3160739"/>
                  <a:pt x="5588480" y="3161336"/>
                  <a:pt x="5588480" y="3161336"/>
                </a:cubicBezTo>
                <a:cubicBezTo>
                  <a:pt x="5588480" y="3161336"/>
                  <a:pt x="5588480" y="3161336"/>
                  <a:pt x="5588256" y="3162384"/>
                </a:cubicBezTo>
                <a:lnTo>
                  <a:pt x="5587226" y="3167204"/>
                </a:lnTo>
                <a:lnTo>
                  <a:pt x="5586065" y="3169220"/>
                </a:lnTo>
                <a:cubicBezTo>
                  <a:pt x="5583997" y="3172065"/>
                  <a:pt x="5583000" y="3173313"/>
                  <a:pt x="5586689" y="3169719"/>
                </a:cubicBezTo>
                <a:lnTo>
                  <a:pt x="5587226" y="3167204"/>
                </a:lnTo>
                <a:lnTo>
                  <a:pt x="5591871" y="3159140"/>
                </a:lnTo>
                <a:cubicBezTo>
                  <a:pt x="5590677" y="3164727"/>
                  <a:pt x="5590080" y="3167521"/>
                  <a:pt x="5588886" y="3173109"/>
                </a:cubicBezTo>
                <a:cubicBezTo>
                  <a:pt x="5588289" y="3175903"/>
                  <a:pt x="5584898" y="3178100"/>
                  <a:pt x="5584898" y="3178100"/>
                </a:cubicBezTo>
                <a:cubicBezTo>
                  <a:pt x="5584898" y="3178100"/>
                  <a:pt x="5585495" y="3175306"/>
                  <a:pt x="5585495" y="3175306"/>
                </a:cubicBezTo>
                <a:cubicBezTo>
                  <a:pt x="5586092" y="3172512"/>
                  <a:pt x="5586092" y="3172512"/>
                  <a:pt x="5586092" y="3172512"/>
                </a:cubicBezTo>
                <a:cubicBezTo>
                  <a:pt x="5586092" y="3172512"/>
                  <a:pt x="5582701" y="3174710"/>
                  <a:pt x="5582701" y="3174710"/>
                </a:cubicBezTo>
                <a:cubicBezTo>
                  <a:pt x="5582701" y="3174710"/>
                  <a:pt x="5582105" y="3177504"/>
                  <a:pt x="5582105" y="3177504"/>
                </a:cubicBezTo>
                <a:cubicBezTo>
                  <a:pt x="5581508" y="3180297"/>
                  <a:pt x="5580911" y="3183091"/>
                  <a:pt x="5577520" y="3185289"/>
                </a:cubicBezTo>
                <a:cubicBezTo>
                  <a:pt x="5575323" y="3181897"/>
                  <a:pt x="5575323" y="3181897"/>
                  <a:pt x="5573126" y="3178507"/>
                </a:cubicBezTo>
                <a:cubicBezTo>
                  <a:pt x="5582485" y="3148370"/>
                  <a:pt x="5587452" y="3111452"/>
                  <a:pt x="5580860" y="3101279"/>
                </a:cubicBezTo>
                <a:cubicBezTo>
                  <a:pt x="5582651" y="3092898"/>
                  <a:pt x="5583845" y="3087309"/>
                  <a:pt x="5587236" y="3085112"/>
                </a:cubicBezTo>
                <a:cubicBezTo>
                  <a:pt x="5584442" y="3084515"/>
                  <a:pt x="5585635" y="3078927"/>
                  <a:pt x="5589027" y="3076730"/>
                </a:cubicBezTo>
                <a:cubicBezTo>
                  <a:pt x="5590818" y="3068348"/>
                  <a:pt x="5585039" y="3081722"/>
                  <a:pt x="5583439" y="3075537"/>
                </a:cubicBezTo>
                <a:cubicBezTo>
                  <a:pt x="5582245" y="3081125"/>
                  <a:pt x="5586042" y="3090700"/>
                  <a:pt x="5580454" y="3089507"/>
                </a:cubicBezTo>
                <a:cubicBezTo>
                  <a:pt x="5580454" y="3089507"/>
                  <a:pt x="5580454" y="3089507"/>
                  <a:pt x="5577660" y="3088910"/>
                </a:cubicBezTo>
                <a:cubicBezTo>
                  <a:pt x="5577660" y="3088910"/>
                  <a:pt x="5577660" y="3088910"/>
                  <a:pt x="5577063" y="3091704"/>
                </a:cubicBezTo>
                <a:cubicBezTo>
                  <a:pt x="5575463" y="3085519"/>
                  <a:pt x="5573672" y="3093901"/>
                  <a:pt x="5571881" y="3102282"/>
                </a:cubicBezTo>
                <a:cubicBezTo>
                  <a:pt x="5565506" y="3118449"/>
                  <a:pt x="5562521" y="3132419"/>
                  <a:pt x="5555143" y="3139607"/>
                </a:cubicBezTo>
                <a:cubicBezTo>
                  <a:pt x="5555143" y="3139607"/>
                  <a:pt x="5555143" y="3139607"/>
                  <a:pt x="5556336" y="3134019"/>
                </a:cubicBezTo>
                <a:cubicBezTo>
                  <a:pt x="5556336" y="3134019"/>
                  <a:pt x="5556336" y="3134019"/>
                  <a:pt x="5552348" y="3139010"/>
                </a:cubicBezTo>
                <a:cubicBezTo>
                  <a:pt x="5542176" y="3145601"/>
                  <a:pt x="5549339" y="3112073"/>
                  <a:pt x="5548336" y="3103095"/>
                </a:cubicBezTo>
                <a:cubicBezTo>
                  <a:pt x="5547739" y="3105889"/>
                  <a:pt x="5543751" y="3110880"/>
                  <a:pt x="5544348" y="3108086"/>
                </a:cubicBezTo>
                <a:cubicBezTo>
                  <a:pt x="5545136" y="3090725"/>
                  <a:pt x="5553302" y="3066177"/>
                  <a:pt x="5551295" y="3048220"/>
                </a:cubicBezTo>
                <a:cubicBezTo>
                  <a:pt x="5552489" y="3042631"/>
                  <a:pt x="5549098" y="3044828"/>
                  <a:pt x="5547498" y="3038643"/>
                </a:cubicBezTo>
                <a:cubicBezTo>
                  <a:pt x="5549289" y="3030261"/>
                  <a:pt x="5548286" y="3021283"/>
                  <a:pt x="5550077" y="3012901"/>
                </a:cubicBezTo>
                <a:cubicBezTo>
                  <a:pt x="5558840" y="2985558"/>
                  <a:pt x="5556642" y="2982168"/>
                  <a:pt x="5562421" y="2968795"/>
                </a:cubicBezTo>
                <a:cubicBezTo>
                  <a:pt x="5559627" y="2968198"/>
                  <a:pt x="5567387" y="2931876"/>
                  <a:pt x="5571972" y="2924092"/>
                </a:cubicBezTo>
                <a:cubicBezTo>
                  <a:pt x="5572569" y="2921297"/>
                  <a:pt x="5568581" y="2926289"/>
                  <a:pt x="5574360" y="2912916"/>
                </a:cubicBezTo>
                <a:cubicBezTo>
                  <a:pt x="5574957" y="2910122"/>
                  <a:pt x="5575553" y="2907328"/>
                  <a:pt x="5575553" y="2907328"/>
                </a:cubicBezTo>
                <a:cubicBezTo>
                  <a:pt x="5572759" y="2906731"/>
                  <a:pt x="5572759" y="2906731"/>
                  <a:pt x="5572759" y="2906731"/>
                </a:cubicBezTo>
                <a:cubicBezTo>
                  <a:pt x="5577941" y="2896152"/>
                  <a:pt x="5587300" y="2866015"/>
                  <a:pt x="5589282" y="2843067"/>
                </a:cubicBezTo>
                <a:cubicBezTo>
                  <a:pt x="5589282" y="2843067"/>
                  <a:pt x="5589282" y="2843067"/>
                  <a:pt x="5589880" y="2840273"/>
                </a:cubicBezTo>
                <a:cubicBezTo>
                  <a:pt x="5590476" y="2837480"/>
                  <a:pt x="5590476" y="2837480"/>
                  <a:pt x="5590476" y="2837480"/>
                </a:cubicBezTo>
                <a:cubicBezTo>
                  <a:pt x="5590476" y="2837480"/>
                  <a:pt x="5590476" y="2837480"/>
                  <a:pt x="5587682" y="2836883"/>
                </a:cubicBezTo>
                <a:lnTo>
                  <a:pt x="5588279" y="2834089"/>
                </a:lnTo>
                <a:cubicBezTo>
                  <a:pt x="5586679" y="2827903"/>
                  <a:pt x="5590069" y="2825707"/>
                  <a:pt x="5590667" y="2822912"/>
                </a:cubicBezTo>
                <a:cubicBezTo>
                  <a:pt x="5590667" y="2822912"/>
                  <a:pt x="5590667" y="2822912"/>
                  <a:pt x="5593461" y="2823510"/>
                </a:cubicBezTo>
                <a:cubicBezTo>
                  <a:pt x="5593461" y="2823510"/>
                  <a:pt x="5594057" y="2820716"/>
                  <a:pt x="5594057" y="2820716"/>
                </a:cubicBezTo>
                <a:cubicBezTo>
                  <a:pt x="5594654" y="2817922"/>
                  <a:pt x="5594654" y="2817922"/>
                  <a:pt x="5594654" y="2817922"/>
                </a:cubicBezTo>
                <a:cubicBezTo>
                  <a:pt x="5594654" y="2817922"/>
                  <a:pt x="5594654" y="2817922"/>
                  <a:pt x="5591860" y="2817325"/>
                </a:cubicBezTo>
                <a:cubicBezTo>
                  <a:pt x="5593054" y="2811737"/>
                  <a:pt x="5593651" y="2808943"/>
                  <a:pt x="5595252" y="2815128"/>
                </a:cubicBezTo>
                <a:cubicBezTo>
                  <a:pt x="5599836" y="2807343"/>
                  <a:pt x="5592051" y="2802758"/>
                  <a:pt x="5596636" y="2794973"/>
                </a:cubicBezTo>
                <a:cubicBezTo>
                  <a:pt x="5593842" y="2794377"/>
                  <a:pt x="5592051" y="2802758"/>
                  <a:pt x="5589257" y="2802162"/>
                </a:cubicBezTo>
                <a:cubicBezTo>
                  <a:pt x="5590857" y="2808346"/>
                  <a:pt x="5594248" y="2806149"/>
                  <a:pt x="5591860" y="2817325"/>
                </a:cubicBezTo>
                <a:cubicBezTo>
                  <a:pt x="5591860" y="2817325"/>
                  <a:pt x="5591860" y="2817325"/>
                  <a:pt x="5589066" y="2816728"/>
                </a:cubicBezTo>
                <a:cubicBezTo>
                  <a:pt x="5589066" y="2816728"/>
                  <a:pt x="5589066" y="2816728"/>
                  <a:pt x="5588469" y="2819522"/>
                </a:cubicBezTo>
                <a:cubicBezTo>
                  <a:pt x="5588469" y="2819522"/>
                  <a:pt x="5587872" y="2822316"/>
                  <a:pt x="5587872" y="2822316"/>
                </a:cubicBezTo>
                <a:cubicBezTo>
                  <a:pt x="5587872" y="2822316"/>
                  <a:pt x="5587872" y="2822316"/>
                  <a:pt x="5590667" y="2822912"/>
                </a:cubicBezTo>
                <a:cubicBezTo>
                  <a:pt x="5588971" y="2824011"/>
                  <a:pt x="5589073" y="2826955"/>
                  <a:pt x="5589174" y="2829897"/>
                </a:cubicBezTo>
                <a:lnTo>
                  <a:pt x="5588279" y="2834089"/>
                </a:lnTo>
                <a:cubicBezTo>
                  <a:pt x="5588876" y="2831295"/>
                  <a:pt x="5586081" y="2830697"/>
                  <a:pt x="5586081" y="2830697"/>
                </a:cubicBezTo>
                <a:cubicBezTo>
                  <a:pt x="5587276" y="2825110"/>
                  <a:pt x="5587276" y="2825110"/>
                  <a:pt x="5584482" y="2824513"/>
                </a:cubicBezTo>
                <a:cubicBezTo>
                  <a:pt x="5584482" y="2824513"/>
                  <a:pt x="5583885" y="2827307"/>
                  <a:pt x="5583288" y="2830101"/>
                </a:cubicBezTo>
                <a:cubicBezTo>
                  <a:pt x="5583288" y="2830101"/>
                  <a:pt x="5582691" y="2832895"/>
                  <a:pt x="5582691" y="2832895"/>
                </a:cubicBezTo>
                <a:cubicBezTo>
                  <a:pt x="5582691" y="2832895"/>
                  <a:pt x="5582095" y="2835689"/>
                  <a:pt x="5582095" y="2835689"/>
                </a:cubicBezTo>
                <a:cubicBezTo>
                  <a:pt x="5578703" y="2837886"/>
                  <a:pt x="5577916" y="2855246"/>
                  <a:pt x="5573331" y="2863031"/>
                </a:cubicBezTo>
                <a:cubicBezTo>
                  <a:pt x="5573331" y="2863031"/>
                  <a:pt x="5573331" y="2863031"/>
                  <a:pt x="5572734" y="2865825"/>
                </a:cubicBezTo>
                <a:cubicBezTo>
                  <a:pt x="5572734" y="2865825"/>
                  <a:pt x="5572137" y="2868619"/>
                  <a:pt x="5572137" y="2868619"/>
                </a:cubicBezTo>
                <a:cubicBezTo>
                  <a:pt x="5571540" y="2871413"/>
                  <a:pt x="5571947" y="2883186"/>
                  <a:pt x="5567959" y="2888177"/>
                </a:cubicBezTo>
                <a:cubicBezTo>
                  <a:pt x="5567362" y="2890970"/>
                  <a:pt x="5567362" y="2890970"/>
                  <a:pt x="5566765" y="2893765"/>
                </a:cubicBezTo>
                <a:lnTo>
                  <a:pt x="5566168" y="2896559"/>
                </a:lnTo>
                <a:cubicBezTo>
                  <a:pt x="5568962" y="2897156"/>
                  <a:pt x="5568962" y="2897156"/>
                  <a:pt x="5568962" y="2897156"/>
                </a:cubicBezTo>
                <a:cubicBezTo>
                  <a:pt x="5564377" y="2904940"/>
                  <a:pt x="5562587" y="2913322"/>
                  <a:pt x="5562396" y="2927888"/>
                </a:cubicBezTo>
                <a:lnTo>
                  <a:pt x="5563590" y="2922301"/>
                </a:lnTo>
                <a:cubicBezTo>
                  <a:pt x="5563590" y="2922301"/>
                  <a:pt x="5565786" y="2925692"/>
                  <a:pt x="5565786" y="2925692"/>
                </a:cubicBezTo>
                <a:cubicBezTo>
                  <a:pt x="5565190" y="2928486"/>
                  <a:pt x="5565786" y="2925692"/>
                  <a:pt x="5569178" y="2923495"/>
                </a:cubicBezTo>
                <a:cubicBezTo>
                  <a:pt x="5561608" y="2945250"/>
                  <a:pt x="5562612" y="2954228"/>
                  <a:pt x="5555639" y="2973189"/>
                </a:cubicBezTo>
                <a:cubicBezTo>
                  <a:pt x="5555639" y="2973189"/>
                  <a:pt x="5556236" y="2970395"/>
                  <a:pt x="5556236" y="2970395"/>
                </a:cubicBezTo>
                <a:cubicBezTo>
                  <a:pt x="5556833" y="2967601"/>
                  <a:pt x="5556236" y="2970395"/>
                  <a:pt x="5553443" y="2969798"/>
                </a:cubicBezTo>
                <a:cubicBezTo>
                  <a:pt x="5552845" y="2972592"/>
                  <a:pt x="5552845" y="2972592"/>
                  <a:pt x="5552249" y="2975386"/>
                </a:cubicBezTo>
                <a:cubicBezTo>
                  <a:pt x="5549455" y="2974789"/>
                  <a:pt x="5549455" y="2974789"/>
                  <a:pt x="5546063" y="2976986"/>
                </a:cubicBezTo>
                <a:cubicBezTo>
                  <a:pt x="5546661" y="2974192"/>
                  <a:pt x="5546661" y="2974192"/>
                  <a:pt x="5547257" y="2971398"/>
                </a:cubicBezTo>
                <a:cubicBezTo>
                  <a:pt x="5551436" y="2951841"/>
                  <a:pt x="5546445" y="2947853"/>
                  <a:pt x="5542647" y="2938277"/>
                </a:cubicBezTo>
                <a:cubicBezTo>
                  <a:pt x="5543245" y="2935483"/>
                  <a:pt x="5543245" y="2935483"/>
                  <a:pt x="5543245" y="2935483"/>
                </a:cubicBezTo>
                <a:cubicBezTo>
                  <a:pt x="5546039" y="2936080"/>
                  <a:pt x="5546635" y="2933286"/>
                  <a:pt x="5544438" y="2929895"/>
                </a:cubicBezTo>
                <a:cubicBezTo>
                  <a:pt x="5543841" y="2932690"/>
                  <a:pt x="5541047" y="2932093"/>
                  <a:pt x="5541047" y="2932093"/>
                </a:cubicBezTo>
                <a:cubicBezTo>
                  <a:pt x="5541047" y="2932093"/>
                  <a:pt x="5541047" y="2932093"/>
                  <a:pt x="5542838" y="2923711"/>
                </a:cubicBezTo>
                <a:cubicBezTo>
                  <a:pt x="5542838" y="2923711"/>
                  <a:pt x="5539447" y="2925908"/>
                  <a:pt x="5538254" y="2931496"/>
                </a:cubicBezTo>
                <a:cubicBezTo>
                  <a:pt x="5538850" y="2928702"/>
                  <a:pt x="5536653" y="2925310"/>
                  <a:pt x="5540044" y="2923113"/>
                </a:cubicBezTo>
                <a:cubicBezTo>
                  <a:pt x="5537847" y="2919723"/>
                  <a:pt x="5530277" y="2941477"/>
                  <a:pt x="5533478" y="2953847"/>
                </a:cubicBezTo>
                <a:cubicBezTo>
                  <a:pt x="5533478" y="2953847"/>
                  <a:pt x="5533478" y="2953847"/>
                  <a:pt x="5531281" y="2950456"/>
                </a:cubicBezTo>
                <a:cubicBezTo>
                  <a:pt x="5531281" y="2950456"/>
                  <a:pt x="5530684" y="2953250"/>
                  <a:pt x="5530684" y="2953250"/>
                </a:cubicBezTo>
                <a:cubicBezTo>
                  <a:pt x="5530684" y="2953250"/>
                  <a:pt x="5530684" y="2953250"/>
                  <a:pt x="5530087" y="2956044"/>
                </a:cubicBezTo>
                <a:cubicBezTo>
                  <a:pt x="5527293" y="2955447"/>
                  <a:pt x="5528297" y="2964426"/>
                  <a:pt x="5526506" y="2972808"/>
                </a:cubicBezTo>
                <a:cubicBezTo>
                  <a:pt x="5526506" y="2972808"/>
                  <a:pt x="5523115" y="2975005"/>
                  <a:pt x="5523115" y="2975005"/>
                </a:cubicBezTo>
                <a:cubicBezTo>
                  <a:pt x="5522518" y="2977799"/>
                  <a:pt x="5519725" y="2977202"/>
                  <a:pt x="5519534" y="2991768"/>
                </a:cubicBezTo>
                <a:cubicBezTo>
                  <a:pt x="5519534" y="2991768"/>
                  <a:pt x="5516740" y="2991171"/>
                  <a:pt x="5516143" y="2993965"/>
                </a:cubicBezTo>
                <a:cubicBezTo>
                  <a:pt x="5516143" y="2993965"/>
                  <a:pt x="5516143" y="2993965"/>
                  <a:pt x="5515546" y="2996759"/>
                </a:cubicBezTo>
                <a:cubicBezTo>
                  <a:pt x="5514949" y="2999553"/>
                  <a:pt x="5514949" y="2999553"/>
                  <a:pt x="5514949" y="2999553"/>
                </a:cubicBezTo>
                <a:cubicBezTo>
                  <a:pt x="5514949" y="2999553"/>
                  <a:pt x="5514949" y="2999553"/>
                  <a:pt x="5517145" y="3002944"/>
                </a:cubicBezTo>
                <a:cubicBezTo>
                  <a:pt x="5517145" y="3002944"/>
                  <a:pt x="5517145" y="3002944"/>
                  <a:pt x="5511964" y="3013523"/>
                </a:cubicBezTo>
                <a:cubicBezTo>
                  <a:pt x="5514758" y="3014120"/>
                  <a:pt x="5514758" y="3014120"/>
                  <a:pt x="5515355" y="3011326"/>
                </a:cubicBezTo>
                <a:cubicBezTo>
                  <a:pt x="5514758" y="3014120"/>
                  <a:pt x="5514758" y="3014120"/>
                  <a:pt x="5514758" y="3014120"/>
                </a:cubicBezTo>
                <a:cubicBezTo>
                  <a:pt x="5514758" y="3014120"/>
                  <a:pt x="5514161" y="3016914"/>
                  <a:pt x="5514161" y="3016914"/>
                </a:cubicBezTo>
                <a:cubicBezTo>
                  <a:pt x="5513564" y="3019708"/>
                  <a:pt x="5512967" y="3022501"/>
                  <a:pt x="5512370" y="3025296"/>
                </a:cubicBezTo>
                <a:cubicBezTo>
                  <a:pt x="5507189" y="3035875"/>
                  <a:pt x="5516955" y="3017511"/>
                  <a:pt x="5513374" y="3034274"/>
                </a:cubicBezTo>
                <a:lnTo>
                  <a:pt x="5509195" y="3053832"/>
                </a:lnTo>
                <a:cubicBezTo>
                  <a:pt x="5506592" y="3038669"/>
                  <a:pt x="5503416" y="3067205"/>
                  <a:pt x="5501220" y="3063815"/>
                </a:cubicBezTo>
                <a:cubicBezTo>
                  <a:pt x="5500623" y="3066608"/>
                  <a:pt x="5499429" y="3072196"/>
                  <a:pt x="5498832" y="3074990"/>
                </a:cubicBezTo>
                <a:cubicBezTo>
                  <a:pt x="5497639" y="3080578"/>
                  <a:pt x="5497041" y="3083372"/>
                  <a:pt x="5493053" y="3088362"/>
                </a:cubicBezTo>
                <a:cubicBezTo>
                  <a:pt x="5487275" y="3101735"/>
                  <a:pt x="5482093" y="3112314"/>
                  <a:pt x="5477103" y="3108327"/>
                </a:cubicBezTo>
                <a:cubicBezTo>
                  <a:pt x="5467336" y="3126690"/>
                  <a:pt x="5465545" y="3135072"/>
                  <a:pt x="5458573" y="3154033"/>
                </a:cubicBezTo>
                <a:cubicBezTo>
                  <a:pt x="5456376" y="3150642"/>
                  <a:pt x="5453582" y="3150045"/>
                  <a:pt x="5450191" y="3152242"/>
                </a:cubicBezTo>
                <a:lnTo>
                  <a:pt x="5454248" y="3141954"/>
                </a:lnTo>
                <a:lnTo>
                  <a:pt x="5455099" y="3141240"/>
                </a:lnTo>
                <a:cubicBezTo>
                  <a:pt x="5455820" y="3139568"/>
                  <a:pt x="5456268" y="3137472"/>
                  <a:pt x="5456566" y="3136076"/>
                </a:cubicBezTo>
                <a:lnTo>
                  <a:pt x="5454248" y="3141954"/>
                </a:lnTo>
                <a:lnTo>
                  <a:pt x="5451982" y="3143861"/>
                </a:lnTo>
                <a:cubicBezTo>
                  <a:pt x="5458954" y="3124899"/>
                  <a:pt x="5457164" y="3133281"/>
                  <a:pt x="5461151" y="3128290"/>
                </a:cubicBezTo>
                <a:cubicBezTo>
                  <a:pt x="5460148" y="3119311"/>
                  <a:pt x="5465736" y="3120505"/>
                  <a:pt x="5460745" y="3116517"/>
                </a:cubicBezTo>
                <a:cubicBezTo>
                  <a:pt x="5463539" y="3117114"/>
                  <a:pt x="5464135" y="3114321"/>
                  <a:pt x="5468124" y="3109330"/>
                </a:cubicBezTo>
                <a:cubicBezTo>
                  <a:pt x="5464733" y="3111527"/>
                  <a:pt x="5464135" y="3114321"/>
                  <a:pt x="5462536" y="3108136"/>
                </a:cubicBezTo>
                <a:cubicBezTo>
                  <a:pt x="5471108" y="3095360"/>
                  <a:pt x="5479872" y="3068018"/>
                  <a:pt x="5473090" y="3072412"/>
                </a:cubicBezTo>
                <a:cubicBezTo>
                  <a:pt x="5476480" y="3070215"/>
                  <a:pt x="5479872" y="3068018"/>
                  <a:pt x="5480468" y="3065223"/>
                </a:cubicBezTo>
                <a:cubicBezTo>
                  <a:pt x="5480659" y="3050657"/>
                  <a:pt x="5481065" y="3062429"/>
                  <a:pt x="5486247" y="3051851"/>
                </a:cubicBezTo>
                <a:cubicBezTo>
                  <a:pt x="5480062" y="3053451"/>
                  <a:pt x="5485244" y="3042872"/>
                  <a:pt x="5483644" y="3036687"/>
                </a:cubicBezTo>
                <a:cubicBezTo>
                  <a:pt x="5489231" y="3037881"/>
                  <a:pt x="5491022" y="3029499"/>
                  <a:pt x="5495010" y="3024508"/>
                </a:cubicBezTo>
                <a:cubicBezTo>
                  <a:pt x="5493409" y="3018323"/>
                  <a:pt x="5499595" y="3016724"/>
                  <a:pt x="5501982" y="3005547"/>
                </a:cubicBezTo>
                <a:cubicBezTo>
                  <a:pt x="5499188" y="3004951"/>
                  <a:pt x="5496394" y="3004354"/>
                  <a:pt x="5498782" y="2993178"/>
                </a:cubicBezTo>
                <a:cubicBezTo>
                  <a:pt x="5498782" y="2993178"/>
                  <a:pt x="5502173" y="2990980"/>
                  <a:pt x="5499379" y="2990384"/>
                </a:cubicBezTo>
                <a:cubicBezTo>
                  <a:pt x="5499976" y="2987590"/>
                  <a:pt x="5499976" y="2987590"/>
                  <a:pt x="5499976" y="2987590"/>
                </a:cubicBezTo>
                <a:cubicBezTo>
                  <a:pt x="5499976" y="2987590"/>
                  <a:pt x="5499976" y="2987590"/>
                  <a:pt x="5500572" y="2984796"/>
                </a:cubicBezTo>
                <a:cubicBezTo>
                  <a:pt x="5505564" y="2988784"/>
                  <a:pt x="5501766" y="2979208"/>
                  <a:pt x="5498972" y="2978611"/>
                </a:cubicBezTo>
                <a:cubicBezTo>
                  <a:pt x="5504154" y="2968032"/>
                  <a:pt x="5505564" y="2988784"/>
                  <a:pt x="5506948" y="2968629"/>
                </a:cubicBezTo>
                <a:cubicBezTo>
                  <a:pt x="5507545" y="2965835"/>
                  <a:pt x="5507545" y="2965835"/>
                  <a:pt x="5507545" y="2965835"/>
                </a:cubicBezTo>
                <a:cubicBezTo>
                  <a:pt x="5508142" y="2963042"/>
                  <a:pt x="5508142" y="2963042"/>
                  <a:pt x="5508142" y="2963042"/>
                </a:cubicBezTo>
                <a:cubicBezTo>
                  <a:pt x="5510530" y="2951866"/>
                  <a:pt x="5511723" y="2946277"/>
                  <a:pt x="5515305" y="2929514"/>
                </a:cubicBezTo>
                <a:cubicBezTo>
                  <a:pt x="5515902" y="2926720"/>
                  <a:pt x="5515902" y="2926720"/>
                  <a:pt x="5516498" y="2923926"/>
                </a:cubicBezTo>
                <a:cubicBezTo>
                  <a:pt x="5516498" y="2923926"/>
                  <a:pt x="5513704" y="2923329"/>
                  <a:pt x="5513704" y="2923329"/>
                </a:cubicBezTo>
                <a:cubicBezTo>
                  <a:pt x="5521871" y="2898781"/>
                  <a:pt x="5520677" y="2904368"/>
                  <a:pt x="5526049" y="2879223"/>
                </a:cubicBezTo>
                <a:cubicBezTo>
                  <a:pt x="5528843" y="2879820"/>
                  <a:pt x="5529034" y="2865253"/>
                  <a:pt x="5534024" y="2869241"/>
                </a:cubicBezTo>
                <a:cubicBezTo>
                  <a:pt x="5532425" y="2863056"/>
                  <a:pt x="5529034" y="2865253"/>
                  <a:pt x="5527840" y="2870841"/>
                </a:cubicBezTo>
                <a:cubicBezTo>
                  <a:pt x="5525643" y="2867450"/>
                  <a:pt x="5525643" y="2867450"/>
                  <a:pt x="5525643" y="2867450"/>
                </a:cubicBezTo>
                <a:cubicBezTo>
                  <a:pt x="5525643" y="2867450"/>
                  <a:pt x="5525643" y="2867450"/>
                  <a:pt x="5528031" y="2856274"/>
                </a:cubicBezTo>
                <a:cubicBezTo>
                  <a:pt x="5528031" y="2856274"/>
                  <a:pt x="5528031" y="2856274"/>
                  <a:pt x="5530825" y="2856871"/>
                </a:cubicBezTo>
                <a:cubicBezTo>
                  <a:pt x="5529224" y="2850687"/>
                  <a:pt x="5530418" y="2845098"/>
                  <a:pt x="5532209" y="2836716"/>
                </a:cubicBezTo>
                <a:cubicBezTo>
                  <a:pt x="5535003" y="2837314"/>
                  <a:pt x="5535003" y="2837314"/>
                  <a:pt x="5535600" y="2834520"/>
                </a:cubicBezTo>
                <a:cubicBezTo>
                  <a:pt x="5535600" y="2834520"/>
                  <a:pt x="5535600" y="2834520"/>
                  <a:pt x="5536197" y="2831726"/>
                </a:cubicBezTo>
                <a:cubicBezTo>
                  <a:pt x="5536794" y="2828932"/>
                  <a:pt x="5537987" y="2823344"/>
                  <a:pt x="5536388" y="2817159"/>
                </a:cubicBezTo>
                <a:cubicBezTo>
                  <a:pt x="5536388" y="2817159"/>
                  <a:pt x="5536388" y="2817159"/>
                  <a:pt x="5539182" y="2817756"/>
                </a:cubicBezTo>
                <a:cubicBezTo>
                  <a:pt x="5539182" y="2817756"/>
                  <a:pt x="5539778" y="2814962"/>
                  <a:pt x="5539778" y="2814962"/>
                </a:cubicBezTo>
                <a:cubicBezTo>
                  <a:pt x="5539778" y="2814962"/>
                  <a:pt x="5540375" y="2812168"/>
                  <a:pt x="5537581" y="2811571"/>
                </a:cubicBezTo>
                <a:cubicBezTo>
                  <a:pt x="5536578" y="2802593"/>
                  <a:pt x="5539969" y="2800395"/>
                  <a:pt x="5542953" y="2786426"/>
                </a:cubicBezTo>
                <a:cubicBezTo>
                  <a:pt x="5543550" y="2783632"/>
                  <a:pt x="5544147" y="2780838"/>
                  <a:pt x="5544147" y="2780838"/>
                </a:cubicBezTo>
                <a:cubicBezTo>
                  <a:pt x="5544147" y="2780838"/>
                  <a:pt x="5544147" y="2780838"/>
                  <a:pt x="5541951" y="2777447"/>
                </a:cubicBezTo>
                <a:cubicBezTo>
                  <a:pt x="5544744" y="2778044"/>
                  <a:pt x="5544744" y="2778044"/>
                  <a:pt x="5544744" y="2778044"/>
                </a:cubicBezTo>
                <a:cubicBezTo>
                  <a:pt x="5545341" y="2775250"/>
                  <a:pt x="5545341" y="2775250"/>
                  <a:pt x="5545938" y="2772456"/>
                </a:cubicBezTo>
                <a:cubicBezTo>
                  <a:pt x="5545938" y="2772456"/>
                  <a:pt x="5545938" y="2772456"/>
                  <a:pt x="5546535" y="2769662"/>
                </a:cubicBezTo>
                <a:cubicBezTo>
                  <a:pt x="5546535" y="2769662"/>
                  <a:pt x="5547132" y="2766868"/>
                  <a:pt x="5545532" y="2760684"/>
                </a:cubicBezTo>
                <a:cubicBezTo>
                  <a:pt x="5546129" y="2757889"/>
                  <a:pt x="5546726" y="2755095"/>
                  <a:pt x="5547323" y="2752302"/>
                </a:cubicBezTo>
                <a:cubicBezTo>
                  <a:pt x="5547323" y="2752302"/>
                  <a:pt x="5547919" y="2749508"/>
                  <a:pt x="5547919" y="2749508"/>
                </a:cubicBezTo>
                <a:cubicBezTo>
                  <a:pt x="5547919" y="2749508"/>
                  <a:pt x="5547919" y="2749508"/>
                  <a:pt x="5548517" y="2746714"/>
                </a:cubicBezTo>
                <a:cubicBezTo>
                  <a:pt x="5548517" y="2746714"/>
                  <a:pt x="5548517" y="2746714"/>
                  <a:pt x="5551907" y="2744517"/>
                </a:cubicBezTo>
                <a:cubicBezTo>
                  <a:pt x="5551907" y="2744517"/>
                  <a:pt x="5551907" y="2744517"/>
                  <a:pt x="5552504" y="2741723"/>
                </a:cubicBezTo>
                <a:cubicBezTo>
                  <a:pt x="5550307" y="2738332"/>
                  <a:pt x="5550307" y="2738332"/>
                  <a:pt x="5550307" y="2738332"/>
                </a:cubicBezTo>
                <a:cubicBezTo>
                  <a:pt x="5550307" y="2738332"/>
                  <a:pt x="5550307" y="2738332"/>
                  <a:pt x="5547513" y="2737735"/>
                </a:cubicBezTo>
                <a:cubicBezTo>
                  <a:pt x="5547513" y="2737735"/>
                  <a:pt x="5548110" y="2734941"/>
                  <a:pt x="5548110" y="2734941"/>
                </a:cubicBezTo>
                <a:cubicBezTo>
                  <a:pt x="5548110" y="2734941"/>
                  <a:pt x="5548707" y="2732147"/>
                  <a:pt x="5548707" y="2732147"/>
                </a:cubicBezTo>
                <a:cubicBezTo>
                  <a:pt x="5549304" y="2729353"/>
                  <a:pt x="5549304" y="2729353"/>
                  <a:pt x="5547107" y="2725962"/>
                </a:cubicBezTo>
                <a:cubicBezTo>
                  <a:pt x="5547703" y="2723168"/>
                  <a:pt x="5548300" y="2720374"/>
                  <a:pt x="5545506" y="2719778"/>
                </a:cubicBezTo>
                <a:cubicBezTo>
                  <a:pt x="5546103" y="2716984"/>
                  <a:pt x="5546700" y="2714190"/>
                  <a:pt x="5546700" y="2714190"/>
                </a:cubicBezTo>
                <a:cubicBezTo>
                  <a:pt x="5547297" y="2711396"/>
                  <a:pt x="5547894" y="2708601"/>
                  <a:pt x="5547894" y="2708601"/>
                </a:cubicBezTo>
                <a:cubicBezTo>
                  <a:pt x="5547894" y="2708601"/>
                  <a:pt x="5547894" y="2708601"/>
                  <a:pt x="5548491" y="2705807"/>
                </a:cubicBezTo>
                <a:cubicBezTo>
                  <a:pt x="5548491" y="2705807"/>
                  <a:pt x="5548491" y="2705807"/>
                  <a:pt x="5546294" y="2702417"/>
                </a:cubicBezTo>
                <a:cubicBezTo>
                  <a:pt x="5546294" y="2702417"/>
                  <a:pt x="5546891" y="2699623"/>
                  <a:pt x="5546891" y="2699623"/>
                </a:cubicBezTo>
                <a:cubicBezTo>
                  <a:pt x="5547488" y="2696829"/>
                  <a:pt x="5547488" y="2696829"/>
                  <a:pt x="5544694" y="2696232"/>
                </a:cubicBezTo>
                <a:cubicBezTo>
                  <a:pt x="5544741" y="2692590"/>
                  <a:pt x="5544940" y="2690807"/>
                  <a:pt x="5545264" y="2690146"/>
                </a:cubicBezTo>
                <a:lnTo>
                  <a:pt x="5545947" y="2690481"/>
                </a:lnTo>
                <a:lnTo>
                  <a:pt x="5545888" y="2690644"/>
                </a:lnTo>
                <a:lnTo>
                  <a:pt x="5546308" y="2690657"/>
                </a:lnTo>
                <a:lnTo>
                  <a:pt x="5546586" y="2690793"/>
                </a:lnTo>
                <a:cubicBezTo>
                  <a:pt x="5547685" y="2692489"/>
                  <a:pt x="5549183" y="2695730"/>
                  <a:pt x="5550878" y="2694632"/>
                </a:cubicBezTo>
                <a:cubicBezTo>
                  <a:pt x="5551177" y="2693235"/>
                  <a:pt x="5550777" y="2691689"/>
                  <a:pt x="5549879" y="2690766"/>
                </a:cubicBezTo>
                <a:lnTo>
                  <a:pt x="5546308" y="2690657"/>
                </a:lnTo>
                <a:lnTo>
                  <a:pt x="5545947" y="2690481"/>
                </a:lnTo>
                <a:lnTo>
                  <a:pt x="5548004" y="2684797"/>
                </a:lnTo>
                <a:cubicBezTo>
                  <a:pt x="5549948" y="2682748"/>
                  <a:pt x="5551225" y="2689593"/>
                  <a:pt x="5550473" y="2682859"/>
                </a:cubicBezTo>
                <a:cubicBezTo>
                  <a:pt x="5550473" y="2682859"/>
                  <a:pt x="5552263" y="2674478"/>
                  <a:pt x="5554054" y="2666096"/>
                </a:cubicBezTo>
                <a:cubicBezTo>
                  <a:pt x="5554054" y="2666096"/>
                  <a:pt x="5554054" y="2666096"/>
                  <a:pt x="5554651" y="2663301"/>
                </a:cubicBezTo>
                <a:cubicBezTo>
                  <a:pt x="5555248" y="2660507"/>
                  <a:pt x="5555248" y="2660507"/>
                  <a:pt x="5552454" y="2659911"/>
                </a:cubicBezTo>
                <a:cubicBezTo>
                  <a:pt x="5552454" y="2659911"/>
                  <a:pt x="5552454" y="2659911"/>
                  <a:pt x="5555248" y="2660507"/>
                </a:cubicBezTo>
                <a:cubicBezTo>
                  <a:pt x="5549253" y="2647541"/>
                  <a:pt x="5559426" y="2640951"/>
                  <a:pt x="5555629" y="2631374"/>
                </a:cubicBezTo>
                <a:cubicBezTo>
                  <a:pt x="5555629" y="2631374"/>
                  <a:pt x="5555629" y="2631374"/>
                  <a:pt x="5556225" y="2628580"/>
                </a:cubicBezTo>
                <a:cubicBezTo>
                  <a:pt x="5556225" y="2628580"/>
                  <a:pt x="5556823" y="2625786"/>
                  <a:pt x="5557420" y="2622992"/>
                </a:cubicBezTo>
                <a:cubicBezTo>
                  <a:pt x="5555222" y="2619602"/>
                  <a:pt x="5555222" y="2619602"/>
                  <a:pt x="5554626" y="2622396"/>
                </a:cubicBezTo>
                <a:cubicBezTo>
                  <a:pt x="5551832" y="2621798"/>
                  <a:pt x="5551832" y="2621798"/>
                  <a:pt x="5551235" y="2624593"/>
                </a:cubicBezTo>
                <a:cubicBezTo>
                  <a:pt x="5555819" y="2616808"/>
                  <a:pt x="5554817" y="2607829"/>
                  <a:pt x="5556607" y="2599447"/>
                </a:cubicBezTo>
                <a:cubicBezTo>
                  <a:pt x="5556607" y="2599447"/>
                  <a:pt x="5556607" y="2599447"/>
                  <a:pt x="5559401" y="2600044"/>
                </a:cubicBezTo>
                <a:cubicBezTo>
                  <a:pt x="5559401" y="2600044"/>
                  <a:pt x="5559998" y="2597250"/>
                  <a:pt x="5559998" y="2597250"/>
                </a:cubicBezTo>
                <a:cubicBezTo>
                  <a:pt x="5560595" y="2594456"/>
                  <a:pt x="5557801" y="2593859"/>
                  <a:pt x="5557801" y="2593859"/>
                </a:cubicBezTo>
                <a:cubicBezTo>
                  <a:pt x="5557801" y="2593859"/>
                  <a:pt x="5557801" y="2593859"/>
                  <a:pt x="5558398" y="2591066"/>
                </a:cubicBezTo>
                <a:cubicBezTo>
                  <a:pt x="5558398" y="2591066"/>
                  <a:pt x="5556201" y="2587674"/>
                  <a:pt x="5556201" y="2587674"/>
                </a:cubicBezTo>
                <a:cubicBezTo>
                  <a:pt x="5556798" y="2584880"/>
                  <a:pt x="5557395" y="2582087"/>
                  <a:pt x="5557991" y="2579293"/>
                </a:cubicBezTo>
                <a:cubicBezTo>
                  <a:pt x="5558589" y="2576498"/>
                  <a:pt x="5558589" y="2576498"/>
                  <a:pt x="5557585" y="2567520"/>
                </a:cubicBezTo>
                <a:cubicBezTo>
                  <a:pt x="5557585" y="2567520"/>
                  <a:pt x="5556988" y="2570314"/>
                  <a:pt x="5556988" y="2570314"/>
                </a:cubicBezTo>
                <a:cubicBezTo>
                  <a:pt x="5557585" y="2567520"/>
                  <a:pt x="5558182" y="2564726"/>
                  <a:pt x="5555985" y="2561335"/>
                </a:cubicBezTo>
                <a:cubicBezTo>
                  <a:pt x="5555985" y="2561335"/>
                  <a:pt x="5558779" y="2561932"/>
                  <a:pt x="5558779" y="2561932"/>
                </a:cubicBezTo>
                <a:cubicBezTo>
                  <a:pt x="5558779" y="2561932"/>
                  <a:pt x="5558779" y="2561932"/>
                  <a:pt x="5559376" y="2559138"/>
                </a:cubicBezTo>
                <a:cubicBezTo>
                  <a:pt x="5559376" y="2559138"/>
                  <a:pt x="5559376" y="2559138"/>
                  <a:pt x="5559973" y="2556344"/>
                </a:cubicBezTo>
                <a:cubicBezTo>
                  <a:pt x="5557179" y="2555747"/>
                  <a:pt x="5557179" y="2555747"/>
                  <a:pt x="5557179" y="2555747"/>
                </a:cubicBezTo>
                <a:cubicBezTo>
                  <a:pt x="5557179" y="2555747"/>
                  <a:pt x="5557179" y="2555747"/>
                  <a:pt x="5557776" y="2552953"/>
                </a:cubicBezTo>
                <a:cubicBezTo>
                  <a:pt x="5556773" y="2543975"/>
                  <a:pt x="5555172" y="2537790"/>
                  <a:pt x="5554169" y="2528810"/>
                </a:cubicBezTo>
                <a:cubicBezTo>
                  <a:pt x="5554766" y="2526017"/>
                  <a:pt x="5554766" y="2526017"/>
                  <a:pt x="5554766" y="2526017"/>
                </a:cubicBezTo>
                <a:lnTo>
                  <a:pt x="5554707" y="2525493"/>
                </a:lnTo>
                <a:lnTo>
                  <a:pt x="5547879" y="2536389"/>
                </a:lnTo>
                <a:lnTo>
                  <a:pt x="5536518" y="2547031"/>
                </a:lnTo>
                <a:lnTo>
                  <a:pt x="5537126" y="2557306"/>
                </a:lnTo>
                <a:cubicBezTo>
                  <a:pt x="5537884" y="2574266"/>
                  <a:pt x="5538243" y="2589681"/>
                  <a:pt x="5538052" y="2604247"/>
                </a:cubicBezTo>
                <a:cubicBezTo>
                  <a:pt x="5538052" y="2604247"/>
                  <a:pt x="5538052" y="2604247"/>
                  <a:pt x="5540846" y="2604844"/>
                </a:cubicBezTo>
                <a:cubicBezTo>
                  <a:pt x="5540249" y="2607638"/>
                  <a:pt x="5539652" y="2610432"/>
                  <a:pt x="5539056" y="2613226"/>
                </a:cubicBezTo>
                <a:cubicBezTo>
                  <a:pt x="5538459" y="2616021"/>
                  <a:pt x="5538459" y="2616021"/>
                  <a:pt x="5538459" y="2616021"/>
                </a:cubicBezTo>
                <a:cubicBezTo>
                  <a:pt x="5540059" y="2622205"/>
                  <a:pt x="5539462" y="2624999"/>
                  <a:pt x="5538865" y="2627793"/>
                </a:cubicBezTo>
                <a:cubicBezTo>
                  <a:pt x="5538268" y="2630587"/>
                  <a:pt x="5541062" y="2631184"/>
                  <a:pt x="5540466" y="2633978"/>
                </a:cubicBezTo>
                <a:cubicBezTo>
                  <a:pt x="5537672" y="2633381"/>
                  <a:pt x="5537672" y="2633381"/>
                  <a:pt x="5537074" y="2636175"/>
                </a:cubicBezTo>
                <a:cubicBezTo>
                  <a:pt x="5537074" y="2636175"/>
                  <a:pt x="5539869" y="2636772"/>
                  <a:pt x="5539272" y="2639565"/>
                </a:cubicBezTo>
                <a:cubicBezTo>
                  <a:pt x="5538078" y="2645154"/>
                  <a:pt x="5540275" y="2648544"/>
                  <a:pt x="5539081" y="2654132"/>
                </a:cubicBezTo>
                <a:cubicBezTo>
                  <a:pt x="5539081" y="2654132"/>
                  <a:pt x="5539081" y="2654132"/>
                  <a:pt x="5536884" y="2650742"/>
                </a:cubicBezTo>
                <a:cubicBezTo>
                  <a:pt x="5536884" y="2650742"/>
                  <a:pt x="5536884" y="2650742"/>
                  <a:pt x="5536287" y="2653536"/>
                </a:cubicBezTo>
                <a:cubicBezTo>
                  <a:pt x="5535690" y="2656329"/>
                  <a:pt x="5538484" y="2656926"/>
                  <a:pt x="5537887" y="2659720"/>
                </a:cubicBezTo>
                <a:cubicBezTo>
                  <a:pt x="5539894" y="2677677"/>
                  <a:pt x="5539106" y="2695038"/>
                  <a:pt x="5537125" y="2717987"/>
                </a:cubicBezTo>
                <a:cubicBezTo>
                  <a:pt x="5537125" y="2717987"/>
                  <a:pt x="5537125" y="2717987"/>
                  <a:pt x="5534331" y="2717390"/>
                </a:cubicBezTo>
                <a:cubicBezTo>
                  <a:pt x="5534140" y="2731956"/>
                  <a:pt x="5528361" y="2745329"/>
                  <a:pt x="5533352" y="2749317"/>
                </a:cubicBezTo>
                <a:cubicBezTo>
                  <a:pt x="5532756" y="2752110"/>
                  <a:pt x="5532159" y="2754905"/>
                  <a:pt x="5534356" y="2758296"/>
                </a:cubicBezTo>
                <a:cubicBezTo>
                  <a:pt x="5533759" y="2761090"/>
                  <a:pt x="5533163" y="2763884"/>
                  <a:pt x="5532565" y="2766678"/>
                </a:cubicBezTo>
                <a:cubicBezTo>
                  <a:pt x="5531968" y="2769471"/>
                  <a:pt x="5531372" y="2772265"/>
                  <a:pt x="5530178" y="2777854"/>
                </a:cubicBezTo>
                <a:cubicBezTo>
                  <a:pt x="5529581" y="2780647"/>
                  <a:pt x="5529581" y="2780647"/>
                  <a:pt x="5529581" y="2780647"/>
                </a:cubicBezTo>
                <a:cubicBezTo>
                  <a:pt x="5529581" y="2780647"/>
                  <a:pt x="5529581" y="2780647"/>
                  <a:pt x="5528984" y="2783442"/>
                </a:cubicBezTo>
                <a:cubicBezTo>
                  <a:pt x="5528387" y="2786235"/>
                  <a:pt x="5528387" y="2786235"/>
                  <a:pt x="5527790" y="2789029"/>
                </a:cubicBezTo>
                <a:cubicBezTo>
                  <a:pt x="5527790" y="2789029"/>
                  <a:pt x="5527790" y="2789029"/>
                  <a:pt x="5527193" y="2791823"/>
                </a:cubicBezTo>
                <a:cubicBezTo>
                  <a:pt x="5527193" y="2791823"/>
                  <a:pt x="5529987" y="2792420"/>
                  <a:pt x="5530583" y="2789626"/>
                </a:cubicBezTo>
                <a:cubicBezTo>
                  <a:pt x="5532184" y="2795811"/>
                  <a:pt x="5531587" y="2798605"/>
                  <a:pt x="5530393" y="2804193"/>
                </a:cubicBezTo>
                <a:cubicBezTo>
                  <a:pt x="5527002" y="2806390"/>
                  <a:pt x="5525808" y="2811977"/>
                  <a:pt x="5525808" y="2811977"/>
                </a:cubicBezTo>
                <a:cubicBezTo>
                  <a:pt x="5525808" y="2811977"/>
                  <a:pt x="5523015" y="2811381"/>
                  <a:pt x="5523612" y="2808587"/>
                </a:cubicBezTo>
                <a:cubicBezTo>
                  <a:pt x="5520818" y="2807990"/>
                  <a:pt x="5520221" y="2810784"/>
                  <a:pt x="5516830" y="2812981"/>
                </a:cubicBezTo>
                <a:cubicBezTo>
                  <a:pt x="5516232" y="2815775"/>
                  <a:pt x="5513438" y="2815178"/>
                  <a:pt x="5512842" y="2817972"/>
                </a:cubicBezTo>
                <a:cubicBezTo>
                  <a:pt x="5512842" y="2817972"/>
                  <a:pt x="5512842" y="2817972"/>
                  <a:pt x="5515635" y="2818569"/>
                </a:cubicBezTo>
                <a:cubicBezTo>
                  <a:pt x="5515039" y="2821363"/>
                  <a:pt x="5515039" y="2821363"/>
                  <a:pt x="5515039" y="2821363"/>
                </a:cubicBezTo>
                <a:cubicBezTo>
                  <a:pt x="5515635" y="2818569"/>
                  <a:pt x="5518430" y="2819166"/>
                  <a:pt x="5518430" y="2819166"/>
                </a:cubicBezTo>
                <a:cubicBezTo>
                  <a:pt x="5519027" y="2816372"/>
                  <a:pt x="5519027" y="2816372"/>
                  <a:pt x="5521821" y="2816968"/>
                </a:cubicBezTo>
                <a:cubicBezTo>
                  <a:pt x="5521821" y="2816968"/>
                  <a:pt x="5524017" y="2820359"/>
                  <a:pt x="5523420" y="2823154"/>
                </a:cubicBezTo>
                <a:cubicBezTo>
                  <a:pt x="5522824" y="2825947"/>
                  <a:pt x="5522824" y="2825947"/>
                  <a:pt x="5522227" y="2828742"/>
                </a:cubicBezTo>
                <a:cubicBezTo>
                  <a:pt x="5521630" y="2831535"/>
                  <a:pt x="5520436" y="2837123"/>
                  <a:pt x="5522633" y="2840514"/>
                </a:cubicBezTo>
                <a:cubicBezTo>
                  <a:pt x="5520246" y="2851690"/>
                  <a:pt x="5517261" y="2865659"/>
                  <a:pt x="5517668" y="2877432"/>
                </a:cubicBezTo>
                <a:cubicBezTo>
                  <a:pt x="5517071" y="2880226"/>
                  <a:pt x="5517071" y="2880226"/>
                  <a:pt x="5516474" y="2883020"/>
                </a:cubicBezTo>
                <a:cubicBezTo>
                  <a:pt x="5514276" y="2879629"/>
                  <a:pt x="5514276" y="2879629"/>
                  <a:pt x="5514276" y="2879629"/>
                </a:cubicBezTo>
                <a:cubicBezTo>
                  <a:pt x="5514276" y="2879629"/>
                  <a:pt x="5514276" y="2879629"/>
                  <a:pt x="5509692" y="2887414"/>
                </a:cubicBezTo>
                <a:cubicBezTo>
                  <a:pt x="5512486" y="2888011"/>
                  <a:pt x="5512486" y="2888011"/>
                  <a:pt x="5514683" y="2891402"/>
                </a:cubicBezTo>
                <a:cubicBezTo>
                  <a:pt x="5511889" y="2890805"/>
                  <a:pt x="5511889" y="2890805"/>
                  <a:pt x="5511889" y="2890805"/>
                </a:cubicBezTo>
                <a:cubicBezTo>
                  <a:pt x="5511889" y="2890805"/>
                  <a:pt x="5511889" y="2890805"/>
                  <a:pt x="5511292" y="2893599"/>
                </a:cubicBezTo>
                <a:cubicBezTo>
                  <a:pt x="5511292" y="2893599"/>
                  <a:pt x="5511292" y="2893599"/>
                  <a:pt x="5510695" y="2896393"/>
                </a:cubicBezTo>
                <a:cubicBezTo>
                  <a:pt x="5509501" y="2901981"/>
                  <a:pt x="5508307" y="2907569"/>
                  <a:pt x="5507114" y="2913156"/>
                </a:cubicBezTo>
                <a:cubicBezTo>
                  <a:pt x="5506517" y="2915950"/>
                  <a:pt x="5505919" y="2918744"/>
                  <a:pt x="5505323" y="2921539"/>
                </a:cubicBezTo>
                <a:cubicBezTo>
                  <a:pt x="5504726" y="2924333"/>
                  <a:pt x="5504726" y="2924333"/>
                  <a:pt x="5504129" y="2927126"/>
                </a:cubicBezTo>
                <a:cubicBezTo>
                  <a:pt x="5501741" y="2938302"/>
                  <a:pt x="5495963" y="2951674"/>
                  <a:pt x="5492978" y="2965645"/>
                </a:cubicBezTo>
                <a:cubicBezTo>
                  <a:pt x="5492381" y="2968439"/>
                  <a:pt x="5492381" y="2968439"/>
                  <a:pt x="5491784" y="2971233"/>
                </a:cubicBezTo>
                <a:cubicBezTo>
                  <a:pt x="5491784" y="2971233"/>
                  <a:pt x="5491784" y="2971233"/>
                  <a:pt x="5491187" y="2974026"/>
                </a:cubicBezTo>
                <a:cubicBezTo>
                  <a:pt x="5491187" y="2974026"/>
                  <a:pt x="5490590" y="2976820"/>
                  <a:pt x="5490590" y="2976820"/>
                </a:cubicBezTo>
                <a:cubicBezTo>
                  <a:pt x="5491187" y="2974026"/>
                  <a:pt x="5488991" y="2970636"/>
                  <a:pt x="5488991" y="2970636"/>
                </a:cubicBezTo>
                <a:cubicBezTo>
                  <a:pt x="5483618" y="2995782"/>
                  <a:pt x="5479440" y="3015338"/>
                  <a:pt x="5474665" y="3037690"/>
                </a:cubicBezTo>
                <a:cubicBezTo>
                  <a:pt x="5470677" y="3042681"/>
                  <a:pt x="5469483" y="3048269"/>
                  <a:pt x="5468289" y="3053857"/>
                </a:cubicBezTo>
                <a:cubicBezTo>
                  <a:pt x="5463107" y="3064436"/>
                  <a:pt x="5463514" y="3076209"/>
                  <a:pt x="5462320" y="3081796"/>
                </a:cubicBezTo>
                <a:cubicBezTo>
                  <a:pt x="5457735" y="3089581"/>
                  <a:pt x="5456541" y="3095169"/>
                  <a:pt x="5452553" y="3100160"/>
                </a:cubicBezTo>
                <a:cubicBezTo>
                  <a:pt x="5449759" y="3099564"/>
                  <a:pt x="5447563" y="3096172"/>
                  <a:pt x="5451550" y="3091182"/>
                </a:cubicBezTo>
                <a:cubicBezTo>
                  <a:pt x="5448756" y="3090585"/>
                  <a:pt x="5444578" y="3110142"/>
                  <a:pt x="5442190" y="3121318"/>
                </a:cubicBezTo>
                <a:cubicBezTo>
                  <a:pt x="5439993" y="3117927"/>
                  <a:pt x="5439993" y="3117927"/>
                  <a:pt x="5439993" y="3117927"/>
                </a:cubicBezTo>
                <a:cubicBezTo>
                  <a:pt x="5440590" y="3115134"/>
                  <a:pt x="5441187" y="3112339"/>
                  <a:pt x="5444578" y="3110142"/>
                </a:cubicBezTo>
                <a:cubicBezTo>
                  <a:pt x="5441187" y="3112339"/>
                  <a:pt x="5441187" y="3112339"/>
                  <a:pt x="5440590" y="3115134"/>
                </a:cubicBezTo>
                <a:cubicBezTo>
                  <a:pt x="5437797" y="3114536"/>
                  <a:pt x="5437797" y="3114536"/>
                  <a:pt x="5437797" y="3114536"/>
                </a:cubicBezTo>
                <a:cubicBezTo>
                  <a:pt x="5436577" y="3079218"/>
                  <a:pt x="5446128" y="3034515"/>
                  <a:pt x="5455487" y="3004379"/>
                </a:cubicBezTo>
                <a:cubicBezTo>
                  <a:pt x="5456085" y="3001584"/>
                  <a:pt x="5453290" y="3000987"/>
                  <a:pt x="5453290" y="3000987"/>
                </a:cubicBezTo>
                <a:cubicBezTo>
                  <a:pt x="5453290" y="3000987"/>
                  <a:pt x="5450497" y="3000391"/>
                  <a:pt x="5449900" y="3003185"/>
                </a:cubicBezTo>
                <a:cubicBezTo>
                  <a:pt x="5442737" y="3036712"/>
                  <a:pt x="5433186" y="3081415"/>
                  <a:pt x="5433212" y="3122321"/>
                </a:cubicBezTo>
                <a:cubicBezTo>
                  <a:pt x="5428030" y="3132900"/>
                  <a:pt x="5432425" y="3139682"/>
                  <a:pt x="5426646" y="3153055"/>
                </a:cubicBezTo>
                <a:cubicBezTo>
                  <a:pt x="5428246" y="3159239"/>
                  <a:pt x="5431039" y="3159836"/>
                  <a:pt x="5433833" y="3160434"/>
                </a:cubicBezTo>
                <a:cubicBezTo>
                  <a:pt x="5428055" y="3173806"/>
                  <a:pt x="5428652" y="3171012"/>
                  <a:pt x="5429655" y="3179991"/>
                </a:cubicBezTo>
                <a:cubicBezTo>
                  <a:pt x="5426861" y="3179394"/>
                  <a:pt x="5426264" y="3182188"/>
                  <a:pt x="5426264" y="3182188"/>
                </a:cubicBezTo>
                <a:cubicBezTo>
                  <a:pt x="5426264" y="3182188"/>
                  <a:pt x="5426264" y="3182188"/>
                  <a:pt x="5425668" y="3184981"/>
                </a:cubicBezTo>
                <a:cubicBezTo>
                  <a:pt x="5425668" y="3184981"/>
                  <a:pt x="5425668" y="3184981"/>
                  <a:pt x="5422277" y="3187179"/>
                </a:cubicBezTo>
                <a:cubicBezTo>
                  <a:pt x="5420486" y="3195561"/>
                  <a:pt x="5422086" y="3201746"/>
                  <a:pt x="5422086" y="3201746"/>
                </a:cubicBezTo>
                <a:cubicBezTo>
                  <a:pt x="5422086" y="3201746"/>
                  <a:pt x="5422086" y="3201746"/>
                  <a:pt x="5424880" y="3202342"/>
                </a:cubicBezTo>
                <a:cubicBezTo>
                  <a:pt x="5424880" y="3202342"/>
                  <a:pt x="5424880" y="3202342"/>
                  <a:pt x="5425477" y="3199549"/>
                </a:cubicBezTo>
                <a:cubicBezTo>
                  <a:pt x="5425477" y="3199549"/>
                  <a:pt x="5425477" y="3199549"/>
                  <a:pt x="5426074" y="3196754"/>
                </a:cubicBezTo>
                <a:cubicBezTo>
                  <a:pt x="5430061" y="3191764"/>
                  <a:pt x="5434646" y="3183979"/>
                  <a:pt x="5435840" y="3178391"/>
                </a:cubicBezTo>
                <a:cubicBezTo>
                  <a:pt x="5438634" y="3178987"/>
                  <a:pt x="5439828" y="3173400"/>
                  <a:pt x="5443816" y="3168408"/>
                </a:cubicBezTo>
                <a:cubicBezTo>
                  <a:pt x="5440424" y="3170606"/>
                  <a:pt x="5439876" y="3169758"/>
                  <a:pt x="5439900" y="3167938"/>
                </a:cubicBezTo>
                <a:lnTo>
                  <a:pt x="5439540" y="3163205"/>
                </a:lnTo>
                <a:lnTo>
                  <a:pt x="5443409" y="3156637"/>
                </a:lnTo>
                <a:cubicBezTo>
                  <a:pt x="5446203" y="3157233"/>
                  <a:pt x="5446801" y="3154439"/>
                  <a:pt x="5450191" y="3152242"/>
                </a:cubicBezTo>
                <a:cubicBezTo>
                  <a:pt x="5447804" y="3163418"/>
                  <a:pt x="5442025" y="3176791"/>
                  <a:pt x="5436843" y="3187369"/>
                </a:cubicBezTo>
                <a:cubicBezTo>
                  <a:pt x="5441428" y="3179585"/>
                  <a:pt x="5441428" y="3179585"/>
                  <a:pt x="5439637" y="3187966"/>
                </a:cubicBezTo>
                <a:cubicBezTo>
                  <a:pt x="5434049" y="3186772"/>
                  <a:pt x="5435459" y="3207524"/>
                  <a:pt x="5425883" y="3211321"/>
                </a:cubicBezTo>
                <a:cubicBezTo>
                  <a:pt x="5427483" y="3217506"/>
                  <a:pt x="5414923" y="3235273"/>
                  <a:pt x="5425096" y="3228682"/>
                </a:cubicBezTo>
                <a:cubicBezTo>
                  <a:pt x="5420511" y="3236467"/>
                  <a:pt x="5417717" y="3235870"/>
                  <a:pt x="5413729" y="3240861"/>
                </a:cubicBezTo>
                <a:cubicBezTo>
                  <a:pt x="5418123" y="3247643"/>
                  <a:pt x="5404560" y="3256430"/>
                  <a:pt x="5408954" y="3263212"/>
                </a:cubicBezTo>
                <a:cubicBezTo>
                  <a:pt x="5396584" y="3266413"/>
                  <a:pt x="5400191" y="3290555"/>
                  <a:pt x="5391212" y="3291558"/>
                </a:cubicBezTo>
                <a:cubicBezTo>
                  <a:pt x="5390615" y="3294352"/>
                  <a:pt x="5393409" y="3294949"/>
                  <a:pt x="5393409" y="3294949"/>
                </a:cubicBezTo>
                <a:cubicBezTo>
                  <a:pt x="5388227" y="3305528"/>
                  <a:pt x="5389421" y="3299940"/>
                  <a:pt x="5387225" y="3296550"/>
                </a:cubicBezTo>
                <a:cubicBezTo>
                  <a:pt x="5385434" y="3304931"/>
                  <a:pt x="5381446" y="3309922"/>
                  <a:pt x="5376861" y="3317707"/>
                </a:cubicBezTo>
                <a:cubicBezTo>
                  <a:pt x="5386030" y="3302137"/>
                  <a:pt x="5374473" y="3328882"/>
                  <a:pt x="5370079" y="3322101"/>
                </a:cubicBezTo>
                <a:cubicBezTo>
                  <a:pt x="5371083" y="3331080"/>
                  <a:pt x="5360909" y="3337671"/>
                  <a:pt x="5365304" y="3344452"/>
                </a:cubicBezTo>
                <a:cubicBezTo>
                  <a:pt x="5349950" y="3361622"/>
                  <a:pt x="5338799" y="3400141"/>
                  <a:pt x="5328626" y="3406732"/>
                </a:cubicBezTo>
                <a:cubicBezTo>
                  <a:pt x="5325832" y="3406135"/>
                  <a:pt x="5323445" y="3417311"/>
                  <a:pt x="5326835" y="3415114"/>
                </a:cubicBezTo>
                <a:cubicBezTo>
                  <a:pt x="5322848" y="3420105"/>
                  <a:pt x="5320651" y="3416714"/>
                  <a:pt x="5321845" y="3411126"/>
                </a:cubicBezTo>
                <a:cubicBezTo>
                  <a:pt x="5315062" y="3415520"/>
                  <a:pt x="5319457" y="3422302"/>
                  <a:pt x="5318860" y="3425096"/>
                </a:cubicBezTo>
                <a:cubicBezTo>
                  <a:pt x="5313678" y="3435674"/>
                  <a:pt x="5321248" y="3413920"/>
                  <a:pt x="5312675" y="3426696"/>
                </a:cubicBezTo>
                <a:cubicBezTo>
                  <a:pt x="5310884" y="3435077"/>
                  <a:pt x="5314872" y="3430087"/>
                  <a:pt x="5301715" y="3450648"/>
                </a:cubicBezTo>
                <a:cubicBezTo>
                  <a:pt x="5298921" y="3450051"/>
                  <a:pt x="5290945" y="3460032"/>
                  <a:pt x="5286958" y="3465024"/>
                </a:cubicBezTo>
                <a:lnTo>
                  <a:pt x="5283567" y="3467221"/>
                </a:lnTo>
                <a:lnTo>
                  <a:pt x="5284760" y="3461633"/>
                </a:lnTo>
                <a:cubicBezTo>
                  <a:pt x="5284760" y="3461633"/>
                  <a:pt x="5281966" y="3461036"/>
                  <a:pt x="5278576" y="3463233"/>
                </a:cubicBezTo>
                <a:cubicBezTo>
                  <a:pt x="5277979" y="3466026"/>
                  <a:pt x="5277979" y="3466026"/>
                  <a:pt x="5277979" y="3466026"/>
                </a:cubicBezTo>
                <a:cubicBezTo>
                  <a:pt x="5277979" y="3466026"/>
                  <a:pt x="5277979" y="3466026"/>
                  <a:pt x="5275185" y="3465430"/>
                </a:cubicBezTo>
                <a:cubicBezTo>
                  <a:pt x="5275185" y="3465430"/>
                  <a:pt x="5272391" y="3464833"/>
                  <a:pt x="5272391" y="3464833"/>
                </a:cubicBezTo>
                <a:cubicBezTo>
                  <a:pt x="5271794" y="3467627"/>
                  <a:pt x="5271794" y="3467627"/>
                  <a:pt x="5271794" y="3467627"/>
                </a:cubicBezTo>
                <a:cubicBezTo>
                  <a:pt x="5267806" y="3472618"/>
                  <a:pt x="5260428" y="3479806"/>
                  <a:pt x="5253049" y="3486994"/>
                </a:cubicBezTo>
                <a:cubicBezTo>
                  <a:pt x="5255843" y="3487591"/>
                  <a:pt x="5255246" y="3490384"/>
                  <a:pt x="5255246" y="3490384"/>
                </a:cubicBezTo>
                <a:cubicBezTo>
                  <a:pt x="5251855" y="3492582"/>
                  <a:pt x="5251258" y="3495376"/>
                  <a:pt x="5247867" y="3497573"/>
                </a:cubicBezTo>
                <a:cubicBezTo>
                  <a:pt x="5247867" y="3497573"/>
                  <a:pt x="5248464" y="3494779"/>
                  <a:pt x="5248464" y="3494779"/>
                </a:cubicBezTo>
                <a:cubicBezTo>
                  <a:pt x="5248464" y="3494779"/>
                  <a:pt x="5245670" y="3494182"/>
                  <a:pt x="5245073" y="3496975"/>
                </a:cubicBezTo>
                <a:cubicBezTo>
                  <a:pt x="5241682" y="3499172"/>
                  <a:pt x="5241682" y="3499172"/>
                  <a:pt x="5241085" y="3501967"/>
                </a:cubicBezTo>
                <a:cubicBezTo>
                  <a:pt x="5243879" y="3502564"/>
                  <a:pt x="5243879" y="3502564"/>
                  <a:pt x="5243283" y="3505358"/>
                </a:cubicBezTo>
                <a:cubicBezTo>
                  <a:pt x="5236501" y="3509752"/>
                  <a:pt x="5225731" y="3519137"/>
                  <a:pt x="5218353" y="3526325"/>
                </a:cubicBezTo>
                <a:cubicBezTo>
                  <a:pt x="5202998" y="3543495"/>
                  <a:pt x="5189244" y="3566850"/>
                  <a:pt x="5179477" y="3585213"/>
                </a:cubicBezTo>
                <a:cubicBezTo>
                  <a:pt x="5176087" y="3587410"/>
                  <a:pt x="5175490" y="3590204"/>
                  <a:pt x="5172099" y="3592401"/>
                </a:cubicBezTo>
                <a:cubicBezTo>
                  <a:pt x="5171502" y="3595195"/>
                  <a:pt x="5174296" y="3595792"/>
                  <a:pt x="5170308" y="3600783"/>
                </a:cubicBezTo>
                <a:cubicBezTo>
                  <a:pt x="5173103" y="3601380"/>
                  <a:pt x="5177090" y="3596389"/>
                  <a:pt x="5181675" y="3588604"/>
                </a:cubicBezTo>
                <a:cubicBezTo>
                  <a:pt x="5183872" y="3591995"/>
                  <a:pt x="5183275" y="3594789"/>
                  <a:pt x="5179287" y="3599780"/>
                </a:cubicBezTo>
                <a:cubicBezTo>
                  <a:pt x="5179287" y="3599780"/>
                  <a:pt x="5178690" y="3602574"/>
                  <a:pt x="5175896" y="3601977"/>
                </a:cubicBezTo>
                <a:cubicBezTo>
                  <a:pt x="5175299" y="3604771"/>
                  <a:pt x="5171909" y="3606968"/>
                  <a:pt x="5171312" y="3609762"/>
                </a:cubicBezTo>
                <a:cubicBezTo>
                  <a:pt x="5168517" y="3609165"/>
                  <a:pt x="5167921" y="3611959"/>
                  <a:pt x="5167921" y="3611959"/>
                </a:cubicBezTo>
                <a:cubicBezTo>
                  <a:pt x="5167921" y="3611959"/>
                  <a:pt x="5167921" y="3611959"/>
                  <a:pt x="5167324" y="3614753"/>
                </a:cubicBezTo>
                <a:cubicBezTo>
                  <a:pt x="5167324" y="3614753"/>
                  <a:pt x="5167324" y="3614753"/>
                  <a:pt x="5170118" y="3615350"/>
                </a:cubicBezTo>
                <a:cubicBezTo>
                  <a:pt x="5166130" y="3620341"/>
                  <a:pt x="5162142" y="3625332"/>
                  <a:pt x="5160948" y="3630920"/>
                </a:cubicBezTo>
                <a:cubicBezTo>
                  <a:pt x="5158752" y="3627529"/>
                  <a:pt x="5151970" y="3631923"/>
                  <a:pt x="5148578" y="3634120"/>
                </a:cubicBezTo>
                <a:cubicBezTo>
                  <a:pt x="5144591" y="3639111"/>
                  <a:pt x="5138406" y="3640711"/>
                  <a:pt x="5138406" y="3640711"/>
                </a:cubicBezTo>
                <a:cubicBezTo>
                  <a:pt x="5139003" y="3637917"/>
                  <a:pt x="5139003" y="3637917"/>
                  <a:pt x="5142394" y="3635720"/>
                </a:cubicBezTo>
                <a:cubicBezTo>
                  <a:pt x="5142394" y="3635720"/>
                  <a:pt x="5142394" y="3635720"/>
                  <a:pt x="5142991" y="3632926"/>
                </a:cubicBezTo>
                <a:cubicBezTo>
                  <a:pt x="5139600" y="3635123"/>
                  <a:pt x="5139600" y="3635123"/>
                  <a:pt x="5136209" y="3637320"/>
                </a:cubicBezTo>
                <a:cubicBezTo>
                  <a:pt x="5136209" y="3637320"/>
                  <a:pt x="5133415" y="3636723"/>
                  <a:pt x="5133415" y="3636723"/>
                </a:cubicBezTo>
                <a:cubicBezTo>
                  <a:pt x="5132818" y="3639517"/>
                  <a:pt x="5132818" y="3639517"/>
                  <a:pt x="5132818" y="3639517"/>
                </a:cubicBezTo>
                <a:cubicBezTo>
                  <a:pt x="5129427" y="3641714"/>
                  <a:pt x="5117464" y="3656687"/>
                  <a:pt x="5115863" y="3650502"/>
                </a:cubicBezTo>
                <a:cubicBezTo>
                  <a:pt x="5107291" y="3663278"/>
                  <a:pt x="5100509" y="3667672"/>
                  <a:pt x="5092534" y="3677654"/>
                </a:cubicBezTo>
                <a:cubicBezTo>
                  <a:pt x="5092534" y="3677654"/>
                  <a:pt x="5092534" y="3677654"/>
                  <a:pt x="5091937" y="3680448"/>
                </a:cubicBezTo>
                <a:cubicBezTo>
                  <a:pt x="5089143" y="3679852"/>
                  <a:pt x="5089143" y="3679852"/>
                  <a:pt x="5088546" y="3682645"/>
                </a:cubicBezTo>
                <a:cubicBezTo>
                  <a:pt x="5113882" y="3673451"/>
                  <a:pt x="5083771" y="3704997"/>
                  <a:pt x="5072405" y="3717176"/>
                </a:cubicBezTo>
                <a:cubicBezTo>
                  <a:pt x="5072405" y="3717176"/>
                  <a:pt x="5072405" y="3717176"/>
                  <a:pt x="5071807" y="3719969"/>
                </a:cubicBezTo>
                <a:cubicBezTo>
                  <a:pt x="5074195" y="3708794"/>
                  <a:pt x="5059438" y="3723170"/>
                  <a:pt x="5057240" y="3719779"/>
                </a:cubicBezTo>
                <a:cubicBezTo>
                  <a:pt x="5057240" y="3719779"/>
                  <a:pt x="5060632" y="3717582"/>
                  <a:pt x="5061228" y="3714788"/>
                </a:cubicBezTo>
                <a:cubicBezTo>
                  <a:pt x="5064620" y="3712591"/>
                  <a:pt x="5064620" y="3712591"/>
                  <a:pt x="5061826" y="3711994"/>
                </a:cubicBezTo>
                <a:cubicBezTo>
                  <a:pt x="5061826" y="3711994"/>
                  <a:pt x="5059031" y="3711397"/>
                  <a:pt x="5058434" y="3714191"/>
                </a:cubicBezTo>
                <a:cubicBezTo>
                  <a:pt x="5052847" y="3712997"/>
                  <a:pt x="5039880" y="3718991"/>
                  <a:pt x="5044274" y="3725773"/>
                </a:cubicBezTo>
                <a:cubicBezTo>
                  <a:pt x="5041480" y="3725176"/>
                  <a:pt x="5040883" y="3727970"/>
                  <a:pt x="5040883" y="3727970"/>
                </a:cubicBezTo>
                <a:cubicBezTo>
                  <a:pt x="5038686" y="3724580"/>
                  <a:pt x="5037492" y="3730167"/>
                  <a:pt x="5037492" y="3730167"/>
                </a:cubicBezTo>
                <a:cubicBezTo>
                  <a:pt x="5034101" y="3732364"/>
                  <a:pt x="5034101" y="3732364"/>
                  <a:pt x="5033504" y="3735159"/>
                </a:cubicBezTo>
                <a:cubicBezTo>
                  <a:pt x="5035702" y="3738549"/>
                  <a:pt x="5043487" y="3743134"/>
                  <a:pt x="5022545" y="3759110"/>
                </a:cubicBezTo>
                <a:cubicBezTo>
                  <a:pt x="5023141" y="3756316"/>
                  <a:pt x="5023738" y="3753522"/>
                  <a:pt x="5019751" y="3758513"/>
                </a:cubicBezTo>
                <a:cubicBezTo>
                  <a:pt x="5020347" y="3755719"/>
                  <a:pt x="5019153" y="3761307"/>
                  <a:pt x="5018557" y="3764101"/>
                </a:cubicBezTo>
                <a:cubicBezTo>
                  <a:pt x="5015165" y="3766298"/>
                  <a:pt x="5011775" y="3768495"/>
                  <a:pt x="5008384" y="3770692"/>
                </a:cubicBezTo>
                <a:cubicBezTo>
                  <a:pt x="5001005" y="3777881"/>
                  <a:pt x="4997615" y="3780077"/>
                  <a:pt x="4987441" y="3786668"/>
                </a:cubicBezTo>
                <a:cubicBezTo>
                  <a:pt x="4985245" y="3783277"/>
                  <a:pt x="4989232" y="3778286"/>
                  <a:pt x="4993220" y="3773295"/>
                </a:cubicBezTo>
                <a:cubicBezTo>
                  <a:pt x="4963300" y="3790275"/>
                  <a:pt x="4946751" y="3813033"/>
                  <a:pt x="4914633" y="3826621"/>
                </a:cubicBezTo>
                <a:cubicBezTo>
                  <a:pt x="4887913" y="3855970"/>
                  <a:pt x="4852404" y="3871755"/>
                  <a:pt x="4821289" y="3894323"/>
                </a:cubicBezTo>
                <a:cubicBezTo>
                  <a:pt x="4814507" y="3898717"/>
                  <a:pt x="4809922" y="3906502"/>
                  <a:pt x="4803140" y="3910896"/>
                </a:cubicBezTo>
                <a:cubicBezTo>
                  <a:pt x="4789577" y="3919684"/>
                  <a:pt x="4765841" y="3935063"/>
                  <a:pt x="4752278" y="3943851"/>
                </a:cubicBezTo>
                <a:cubicBezTo>
                  <a:pt x="4750081" y="3940461"/>
                  <a:pt x="4749483" y="3943254"/>
                  <a:pt x="4749483" y="3943254"/>
                </a:cubicBezTo>
                <a:cubicBezTo>
                  <a:pt x="4746689" y="3942657"/>
                  <a:pt x="4746689" y="3942657"/>
                  <a:pt x="4746093" y="3945451"/>
                </a:cubicBezTo>
                <a:cubicBezTo>
                  <a:pt x="4742701" y="3947648"/>
                  <a:pt x="4735920" y="3952042"/>
                  <a:pt x="4729139" y="3956436"/>
                </a:cubicBezTo>
                <a:cubicBezTo>
                  <a:pt x="4719562" y="3960233"/>
                  <a:pt x="4709986" y="3964030"/>
                  <a:pt x="4701008" y="3965034"/>
                </a:cubicBezTo>
                <a:cubicBezTo>
                  <a:pt x="4714978" y="3968018"/>
                  <a:pt x="4685247" y="3970431"/>
                  <a:pt x="4687445" y="3973822"/>
                </a:cubicBezTo>
                <a:cubicBezTo>
                  <a:pt x="4684650" y="3973225"/>
                  <a:pt x="4681259" y="3975422"/>
                  <a:pt x="4677869" y="3977619"/>
                </a:cubicBezTo>
                <a:cubicBezTo>
                  <a:pt x="4677869" y="3977619"/>
                  <a:pt x="4674477" y="3979816"/>
                  <a:pt x="4677272" y="3980413"/>
                </a:cubicBezTo>
                <a:cubicBezTo>
                  <a:pt x="4677272" y="3980413"/>
                  <a:pt x="4677272" y="3980413"/>
                  <a:pt x="4680663" y="3978216"/>
                </a:cubicBezTo>
                <a:cubicBezTo>
                  <a:pt x="4680663" y="3978216"/>
                  <a:pt x="4683456" y="3978812"/>
                  <a:pt x="4686847" y="3976616"/>
                </a:cubicBezTo>
                <a:cubicBezTo>
                  <a:pt x="4686847" y="3976616"/>
                  <a:pt x="4686847" y="3976616"/>
                  <a:pt x="4686250" y="3979410"/>
                </a:cubicBezTo>
                <a:cubicBezTo>
                  <a:pt x="4685654" y="3982204"/>
                  <a:pt x="4670491" y="3984807"/>
                  <a:pt x="4666503" y="3989798"/>
                </a:cubicBezTo>
                <a:cubicBezTo>
                  <a:pt x="4666503" y="3989798"/>
                  <a:pt x="4666503" y="3989798"/>
                  <a:pt x="4663708" y="3989202"/>
                </a:cubicBezTo>
                <a:cubicBezTo>
                  <a:pt x="4667099" y="3987004"/>
                  <a:pt x="4671087" y="3982013"/>
                  <a:pt x="4665499" y="3980819"/>
                </a:cubicBezTo>
                <a:cubicBezTo>
                  <a:pt x="4661511" y="3985810"/>
                  <a:pt x="4658120" y="3988007"/>
                  <a:pt x="4655923" y="3984616"/>
                </a:cubicBezTo>
                <a:cubicBezTo>
                  <a:pt x="4648544" y="3991804"/>
                  <a:pt x="4641166" y="3998992"/>
                  <a:pt x="4632187" y="3999996"/>
                </a:cubicBezTo>
                <a:cubicBezTo>
                  <a:pt x="4632187" y="3999996"/>
                  <a:pt x="4635578" y="3997799"/>
                  <a:pt x="4638968" y="3995601"/>
                </a:cubicBezTo>
                <a:cubicBezTo>
                  <a:pt x="4636175" y="3995005"/>
                  <a:pt x="4636175" y="3995005"/>
                  <a:pt x="4636175" y="3995005"/>
                </a:cubicBezTo>
                <a:cubicBezTo>
                  <a:pt x="4632784" y="3997202"/>
                  <a:pt x="4629393" y="3999399"/>
                  <a:pt x="4626002" y="4001596"/>
                </a:cubicBezTo>
                <a:cubicBezTo>
                  <a:pt x="4627196" y="3996008"/>
                  <a:pt x="4612439" y="4010384"/>
                  <a:pt x="4604654" y="4005799"/>
                </a:cubicBezTo>
                <a:cubicBezTo>
                  <a:pt x="4595675" y="4006802"/>
                  <a:pt x="4591687" y="4011794"/>
                  <a:pt x="4594481" y="4012390"/>
                </a:cubicBezTo>
                <a:cubicBezTo>
                  <a:pt x="4584905" y="4016187"/>
                  <a:pt x="4597872" y="4010193"/>
                  <a:pt x="4592284" y="4008999"/>
                </a:cubicBezTo>
                <a:cubicBezTo>
                  <a:pt x="4584308" y="4018981"/>
                  <a:pt x="4570338" y="4015997"/>
                  <a:pt x="4556775" y="4024785"/>
                </a:cubicBezTo>
                <a:cubicBezTo>
                  <a:pt x="4559569" y="4025382"/>
                  <a:pt x="4569741" y="4018790"/>
                  <a:pt x="4568547" y="4024379"/>
                </a:cubicBezTo>
                <a:cubicBezTo>
                  <a:pt x="4551187" y="4023591"/>
                  <a:pt x="4537026" y="4035173"/>
                  <a:pt x="4525254" y="4035580"/>
                </a:cubicBezTo>
                <a:cubicBezTo>
                  <a:pt x="4519069" y="4037180"/>
                  <a:pt x="4525254" y="4035580"/>
                  <a:pt x="4524657" y="4038373"/>
                </a:cubicBezTo>
                <a:cubicBezTo>
                  <a:pt x="4515678" y="4039377"/>
                  <a:pt x="4512884" y="4038779"/>
                  <a:pt x="4507296" y="4037586"/>
                </a:cubicBezTo>
                <a:cubicBezTo>
                  <a:pt x="4506103" y="4043173"/>
                  <a:pt x="4506700" y="4040380"/>
                  <a:pt x="4499320" y="4047568"/>
                </a:cubicBezTo>
                <a:cubicBezTo>
                  <a:pt x="4490939" y="4045777"/>
                  <a:pt x="4481960" y="4046780"/>
                  <a:pt x="4471788" y="4053372"/>
                </a:cubicBezTo>
                <a:cubicBezTo>
                  <a:pt x="4459418" y="4056571"/>
                  <a:pt x="4472384" y="4050577"/>
                  <a:pt x="4463406" y="4051581"/>
                </a:cubicBezTo>
                <a:cubicBezTo>
                  <a:pt x="4454427" y="4052583"/>
                  <a:pt x="4460014" y="4053777"/>
                  <a:pt x="4460014" y="4053777"/>
                </a:cubicBezTo>
                <a:cubicBezTo>
                  <a:pt x="4434678" y="4062972"/>
                  <a:pt x="4422906" y="4063378"/>
                  <a:pt x="4410535" y="4066578"/>
                </a:cubicBezTo>
                <a:cubicBezTo>
                  <a:pt x="4398167" y="4069779"/>
                  <a:pt x="4386394" y="4070185"/>
                  <a:pt x="4365045" y="4074388"/>
                </a:cubicBezTo>
                <a:cubicBezTo>
                  <a:pt x="4367839" y="4074985"/>
                  <a:pt x="4370633" y="4075582"/>
                  <a:pt x="4370633" y="4075582"/>
                </a:cubicBezTo>
                <a:cubicBezTo>
                  <a:pt x="4361654" y="4076585"/>
                  <a:pt x="4343100" y="4081386"/>
                  <a:pt x="4349881" y="4076992"/>
                </a:cubicBezTo>
                <a:cubicBezTo>
                  <a:pt x="4338108" y="4077398"/>
                  <a:pt x="4321751" y="4085589"/>
                  <a:pt x="4304390" y="4084802"/>
                </a:cubicBezTo>
                <a:cubicBezTo>
                  <a:pt x="4303387" y="4075823"/>
                  <a:pt x="4294815" y="4088599"/>
                  <a:pt x="4306587" y="4088192"/>
                </a:cubicBezTo>
                <a:cubicBezTo>
                  <a:pt x="4297012" y="4091990"/>
                  <a:pt x="4286433" y="4086808"/>
                  <a:pt x="4285239" y="4092395"/>
                </a:cubicBezTo>
                <a:cubicBezTo>
                  <a:pt x="4283639" y="4086211"/>
                  <a:pt x="4267281" y="4094402"/>
                  <a:pt x="4274063" y="4090008"/>
                </a:cubicBezTo>
                <a:cubicBezTo>
                  <a:pt x="4247127" y="4093018"/>
                  <a:pt x="4228572" y="4097818"/>
                  <a:pt x="4205624" y="4095836"/>
                </a:cubicBezTo>
                <a:cubicBezTo>
                  <a:pt x="4205624" y="4095836"/>
                  <a:pt x="4208417" y="4096434"/>
                  <a:pt x="4208417" y="4096434"/>
                </a:cubicBezTo>
                <a:cubicBezTo>
                  <a:pt x="4205624" y="4095836"/>
                  <a:pt x="4184275" y="4100040"/>
                  <a:pt x="4190460" y="4098440"/>
                </a:cubicBezTo>
                <a:cubicBezTo>
                  <a:pt x="4182674" y="4093856"/>
                  <a:pt x="4160132" y="4103646"/>
                  <a:pt x="4158533" y="4097462"/>
                </a:cubicBezTo>
                <a:cubicBezTo>
                  <a:pt x="4138187" y="4110644"/>
                  <a:pt x="4118032" y="4109259"/>
                  <a:pt x="4082714" y="4110478"/>
                </a:cubicBezTo>
                <a:cubicBezTo>
                  <a:pt x="4079920" y="4109882"/>
                  <a:pt x="4077126" y="4109285"/>
                  <a:pt x="4074332" y="4108687"/>
                </a:cubicBezTo>
                <a:cubicBezTo>
                  <a:pt x="4074332" y="4108687"/>
                  <a:pt x="4050787" y="4109500"/>
                  <a:pt x="4063157" y="4106300"/>
                </a:cubicBezTo>
                <a:cubicBezTo>
                  <a:pt x="4052578" y="4101118"/>
                  <a:pt x="4015468" y="4110719"/>
                  <a:pt x="4005486" y="4102744"/>
                </a:cubicBezTo>
                <a:cubicBezTo>
                  <a:pt x="3993117" y="4105943"/>
                  <a:pt x="4007087" y="4108928"/>
                  <a:pt x="3989725" y="4108140"/>
                </a:cubicBezTo>
                <a:cubicBezTo>
                  <a:pt x="3986335" y="4110338"/>
                  <a:pt x="3980747" y="4109144"/>
                  <a:pt x="3977953" y="4108547"/>
                </a:cubicBezTo>
                <a:cubicBezTo>
                  <a:pt x="3969571" y="4106756"/>
                  <a:pt x="3960592" y="4107759"/>
                  <a:pt x="3954407" y="4109359"/>
                </a:cubicBezTo>
                <a:cubicBezTo>
                  <a:pt x="3939840" y="4109169"/>
                  <a:pt x="3937643" y="4105778"/>
                  <a:pt x="3932653" y="4101790"/>
                </a:cubicBezTo>
                <a:cubicBezTo>
                  <a:pt x="3924271" y="4099999"/>
                  <a:pt x="3931459" y="4107378"/>
                  <a:pt x="3923077" y="4105588"/>
                </a:cubicBezTo>
                <a:cubicBezTo>
                  <a:pt x="3923077" y="4105588"/>
                  <a:pt x="3923077" y="4105588"/>
                  <a:pt x="3920283" y="4104990"/>
                </a:cubicBezTo>
                <a:cubicBezTo>
                  <a:pt x="3918086" y="4101600"/>
                  <a:pt x="3898528" y="4097421"/>
                  <a:pt x="3900128" y="4103606"/>
                </a:cubicBezTo>
                <a:cubicBezTo>
                  <a:pt x="3894541" y="4102412"/>
                  <a:pt x="3886158" y="4100621"/>
                  <a:pt x="3883962" y="4097231"/>
                </a:cubicBezTo>
                <a:cubicBezTo>
                  <a:pt x="3881168" y="4096633"/>
                  <a:pt x="3880570" y="4099428"/>
                  <a:pt x="3879973" y="4102221"/>
                </a:cubicBezTo>
                <a:cubicBezTo>
                  <a:pt x="3877180" y="4101624"/>
                  <a:pt x="3877777" y="4098831"/>
                  <a:pt x="3878373" y="4096037"/>
                </a:cubicBezTo>
                <a:cubicBezTo>
                  <a:pt x="3872189" y="4097637"/>
                  <a:pt x="3862613" y="4101434"/>
                  <a:pt x="3858219" y="4094653"/>
                </a:cubicBezTo>
                <a:cubicBezTo>
                  <a:pt x="3849240" y="4095655"/>
                  <a:pt x="3862613" y="4101434"/>
                  <a:pt x="3851437" y="4099046"/>
                </a:cubicBezTo>
                <a:cubicBezTo>
                  <a:pt x="3845849" y="4097852"/>
                  <a:pt x="3842459" y="4100049"/>
                  <a:pt x="3839665" y="4099453"/>
                </a:cubicBezTo>
                <a:cubicBezTo>
                  <a:pt x="3839665" y="4099453"/>
                  <a:pt x="3836870" y="4098856"/>
                  <a:pt x="3836870" y="4098856"/>
                </a:cubicBezTo>
                <a:cubicBezTo>
                  <a:pt x="3834076" y="4098259"/>
                  <a:pt x="3834673" y="4095465"/>
                  <a:pt x="3831880" y="4094868"/>
                </a:cubicBezTo>
                <a:cubicBezTo>
                  <a:pt x="3831283" y="4097662"/>
                  <a:pt x="3828488" y="4097065"/>
                  <a:pt x="3828488" y="4097065"/>
                </a:cubicBezTo>
                <a:cubicBezTo>
                  <a:pt x="3828488" y="4097065"/>
                  <a:pt x="3828488" y="4097065"/>
                  <a:pt x="3830686" y="4100456"/>
                </a:cubicBezTo>
                <a:cubicBezTo>
                  <a:pt x="3830686" y="4100456"/>
                  <a:pt x="3830686" y="4100456"/>
                  <a:pt x="3827892" y="4099858"/>
                </a:cubicBezTo>
                <a:cubicBezTo>
                  <a:pt x="3827892" y="4099858"/>
                  <a:pt x="3825098" y="4099262"/>
                  <a:pt x="3822304" y="4098665"/>
                </a:cubicBezTo>
                <a:cubicBezTo>
                  <a:pt x="3822901" y="4095872"/>
                  <a:pt x="3821301" y="4089686"/>
                  <a:pt x="3819103" y="4086296"/>
                </a:cubicBezTo>
                <a:cubicBezTo>
                  <a:pt x="3819103" y="4086296"/>
                  <a:pt x="3819103" y="4086296"/>
                  <a:pt x="3830279" y="4088683"/>
                </a:cubicBezTo>
                <a:cubicBezTo>
                  <a:pt x="3833073" y="4089280"/>
                  <a:pt x="3833671" y="4086486"/>
                  <a:pt x="3833671" y="4086486"/>
                </a:cubicBezTo>
                <a:cubicBezTo>
                  <a:pt x="3833671" y="4086486"/>
                  <a:pt x="3834267" y="4083692"/>
                  <a:pt x="3830876" y="4085889"/>
                </a:cubicBezTo>
                <a:cubicBezTo>
                  <a:pt x="3830876" y="4085889"/>
                  <a:pt x="3830876" y="4085889"/>
                  <a:pt x="3814113" y="4082308"/>
                </a:cubicBezTo>
                <a:lnTo>
                  <a:pt x="3808424" y="4081092"/>
                </a:lnTo>
                <a:lnTo>
                  <a:pt x="3978156" y="3948885"/>
                </a:lnTo>
                <a:cubicBezTo>
                  <a:pt x="4022419" y="3917517"/>
                  <a:pt x="4065661" y="3884710"/>
                  <a:pt x="4108088" y="3850752"/>
                </a:cubicBezTo>
                <a:lnTo>
                  <a:pt x="4168749" y="3799792"/>
                </a:lnTo>
                <a:lnTo>
                  <a:pt x="4193790" y="3796718"/>
                </a:lnTo>
                <a:cubicBezTo>
                  <a:pt x="4233545" y="3790201"/>
                  <a:pt x="4273102" y="3781064"/>
                  <a:pt x="4312411" y="3773087"/>
                </a:cubicBezTo>
                <a:cubicBezTo>
                  <a:pt x="4588858" y="3716917"/>
                  <a:pt x="4832126" y="3600287"/>
                  <a:pt x="5024296" y="3387832"/>
                </a:cubicBezTo>
                <a:cubicBezTo>
                  <a:pt x="5059236" y="3349204"/>
                  <a:pt x="5086799" y="3305361"/>
                  <a:pt x="5129533" y="3275676"/>
                </a:cubicBezTo>
                <a:cubicBezTo>
                  <a:pt x="5138228" y="3269043"/>
                  <a:pt x="5142779" y="3259098"/>
                  <a:pt x="5145257" y="3247498"/>
                </a:cubicBezTo>
                <a:cubicBezTo>
                  <a:pt x="5147657" y="3241946"/>
                  <a:pt x="5147488" y="3237058"/>
                  <a:pt x="5153119" y="3233409"/>
                </a:cubicBezTo>
                <a:cubicBezTo>
                  <a:pt x="5169519" y="3224783"/>
                  <a:pt x="5174149" y="3208791"/>
                  <a:pt x="5179939" y="3193046"/>
                </a:cubicBezTo>
                <a:cubicBezTo>
                  <a:pt x="5193670" y="3157164"/>
                  <a:pt x="5205328" y="3119628"/>
                  <a:pt x="5238455" y="3095168"/>
                </a:cubicBezTo>
                <a:cubicBezTo>
                  <a:pt x="5244334" y="3090359"/>
                  <a:pt x="5248389" y="3082734"/>
                  <a:pt x="5247803" y="3074119"/>
                </a:cubicBezTo>
                <a:cubicBezTo>
                  <a:pt x="5245225" y="3057799"/>
                  <a:pt x="5251928" y="3043462"/>
                  <a:pt x="5257469" y="3028878"/>
                </a:cubicBezTo>
                <a:cubicBezTo>
                  <a:pt x="5287435" y="2952495"/>
                  <a:pt x="5319359" y="2876530"/>
                  <a:pt x="5337193" y="2797043"/>
                </a:cubicBezTo>
                <a:lnTo>
                  <a:pt x="5337204" y="2796978"/>
                </a:lnTo>
                <a:lnTo>
                  <a:pt x="5309082" y="2804418"/>
                </a:lnTo>
                <a:cubicBezTo>
                  <a:pt x="5301016" y="2809486"/>
                  <a:pt x="5293988" y="2816629"/>
                  <a:pt x="5286590" y="2824466"/>
                </a:cubicBezTo>
                <a:cubicBezTo>
                  <a:pt x="5250245" y="2865788"/>
                  <a:pt x="5210972" y="2900539"/>
                  <a:pt x="5158309" y="2918834"/>
                </a:cubicBezTo>
                <a:cubicBezTo>
                  <a:pt x="5138950" y="2925635"/>
                  <a:pt x="5122038" y="2935890"/>
                  <a:pt x="5108391" y="2950751"/>
                </a:cubicBezTo>
                <a:cubicBezTo>
                  <a:pt x="5085212" y="2974095"/>
                  <a:pt x="5061217" y="2996288"/>
                  <a:pt x="5035591" y="3016178"/>
                </a:cubicBezTo>
                <a:cubicBezTo>
                  <a:pt x="5000767" y="3042587"/>
                  <a:pt x="4964311" y="3066692"/>
                  <a:pt x="4936830" y="3103463"/>
                </a:cubicBezTo>
                <a:cubicBezTo>
                  <a:pt x="4915432" y="3134193"/>
                  <a:pt x="4887988" y="3158830"/>
                  <a:pt x="4858579" y="3183131"/>
                </a:cubicBezTo>
                <a:cubicBezTo>
                  <a:pt x="4830653" y="3204651"/>
                  <a:pt x="4801912" y="3225019"/>
                  <a:pt x="4778881" y="3253447"/>
                </a:cubicBezTo>
                <a:cubicBezTo>
                  <a:pt x="4762267" y="3273869"/>
                  <a:pt x="4743204" y="3290837"/>
                  <a:pt x="4724142" y="3307805"/>
                </a:cubicBezTo>
                <a:cubicBezTo>
                  <a:pt x="4641996" y="3374667"/>
                  <a:pt x="4565080" y="3446471"/>
                  <a:pt x="4487681" y="3515158"/>
                </a:cubicBezTo>
                <a:cubicBezTo>
                  <a:pt x="4402717" y="3592665"/>
                  <a:pt x="4319719" y="3670509"/>
                  <a:pt x="4233122" y="3745713"/>
                </a:cubicBezTo>
                <a:lnTo>
                  <a:pt x="4168749" y="3799792"/>
                </a:lnTo>
                <a:lnTo>
                  <a:pt x="4134015" y="3804056"/>
                </a:lnTo>
                <a:cubicBezTo>
                  <a:pt x="4114044" y="3805532"/>
                  <a:pt x="4094030" y="3805881"/>
                  <a:pt x="4073979" y="3804629"/>
                </a:cubicBezTo>
                <a:cubicBezTo>
                  <a:pt x="4022607" y="3800932"/>
                  <a:pt x="3971379" y="3795143"/>
                  <a:pt x="3920307" y="3788628"/>
                </a:cubicBezTo>
                <a:lnTo>
                  <a:pt x="3792803" y="3771639"/>
                </a:lnTo>
                <a:lnTo>
                  <a:pt x="3828175" y="3742122"/>
                </a:lnTo>
                <a:cubicBezTo>
                  <a:pt x="3853801" y="3722232"/>
                  <a:pt x="3877462" y="3702005"/>
                  <a:pt x="3901123" y="3681778"/>
                </a:cubicBezTo>
                <a:cubicBezTo>
                  <a:pt x="3938914" y="3649808"/>
                  <a:pt x="3971475" y="3612897"/>
                  <a:pt x="4019057" y="3594743"/>
                </a:cubicBezTo>
                <a:cubicBezTo>
                  <a:pt x="4025621" y="3591821"/>
                  <a:pt x="4026289" y="3587888"/>
                  <a:pt x="4022209" y="3582132"/>
                </a:cubicBezTo>
                <a:cubicBezTo>
                  <a:pt x="4019353" y="3578102"/>
                  <a:pt x="4016247" y="3575547"/>
                  <a:pt x="4012849" y="3574712"/>
                </a:cubicBezTo>
                <a:cubicBezTo>
                  <a:pt x="4009451" y="3573877"/>
                  <a:pt x="4005761" y="3574763"/>
                  <a:pt x="4001737" y="3577614"/>
                </a:cubicBezTo>
                <a:cubicBezTo>
                  <a:pt x="3993690" y="3583317"/>
                  <a:pt x="3986458" y="3590172"/>
                  <a:pt x="3978410" y="3595875"/>
                </a:cubicBezTo>
                <a:lnTo>
                  <a:pt x="3754040" y="3765203"/>
                </a:lnTo>
                <a:lnTo>
                  <a:pt x="3734159" y="3760685"/>
                </a:lnTo>
                <a:cubicBezTo>
                  <a:pt x="3723272" y="3756994"/>
                  <a:pt x="3712746" y="3752319"/>
                  <a:pt x="3702925" y="3747188"/>
                </a:cubicBezTo>
                <a:cubicBezTo>
                  <a:pt x="3697620" y="3743630"/>
                  <a:pt x="3690907" y="3740983"/>
                  <a:pt x="3684859" y="3740903"/>
                </a:cubicBezTo>
                <a:cubicBezTo>
                  <a:pt x="3646665" y="3743659"/>
                  <a:pt x="3616661" y="3725120"/>
                  <a:pt x="3584753" y="3709812"/>
                </a:cubicBezTo>
                <a:cubicBezTo>
                  <a:pt x="3509165" y="3671830"/>
                  <a:pt x="3431677" y="3637080"/>
                  <a:pt x="3361801" y="3589401"/>
                </a:cubicBezTo>
                <a:cubicBezTo>
                  <a:pt x="3047068" y="3370539"/>
                  <a:pt x="2846131" y="3078950"/>
                  <a:pt x="2792532" y="2693905"/>
                </a:cubicBezTo>
                <a:cubicBezTo>
                  <a:pt x="2784210" y="2636330"/>
                  <a:pt x="2784609" y="2579103"/>
                  <a:pt x="2790094" y="2522204"/>
                </a:cubicBezTo>
                <a:lnTo>
                  <a:pt x="2811149" y="2394910"/>
                </a:lnTo>
                <a:lnTo>
                  <a:pt x="2828907" y="2389830"/>
                </a:lnTo>
                <a:cubicBezTo>
                  <a:pt x="2837624" y="2388841"/>
                  <a:pt x="2846975" y="2389241"/>
                  <a:pt x="2857007" y="2391212"/>
                </a:cubicBezTo>
                <a:cubicBezTo>
                  <a:pt x="2876663" y="2394578"/>
                  <a:pt x="2876663" y="2394578"/>
                  <a:pt x="2875253" y="2373093"/>
                </a:cubicBezTo>
                <a:cubicBezTo>
                  <a:pt x="2873992" y="2356691"/>
                  <a:pt x="2890607" y="2336269"/>
                  <a:pt x="2902066" y="2340254"/>
                </a:cubicBezTo>
                <a:cubicBezTo>
                  <a:pt x="2921871" y="2348704"/>
                  <a:pt x="2935333" y="2340893"/>
                  <a:pt x="2950279" y="2330302"/>
                </a:cubicBezTo>
                <a:cubicBezTo>
                  <a:pt x="2957511" y="2323447"/>
                  <a:pt x="2965076" y="2314626"/>
                  <a:pt x="2977203" y="2314680"/>
                </a:cubicBezTo>
                <a:cubicBezTo>
                  <a:pt x="2991296" y="2315070"/>
                  <a:pt x="2993447" y="2308357"/>
                  <a:pt x="2991519" y="2295887"/>
                </a:cubicBezTo>
                <a:cubicBezTo>
                  <a:pt x="2990554" y="2289653"/>
                  <a:pt x="2989590" y="2283418"/>
                  <a:pt x="2997786" y="2282798"/>
                </a:cubicBezTo>
                <a:cubicBezTo>
                  <a:pt x="3004832" y="2282993"/>
                  <a:pt x="3010729" y="2284003"/>
                  <a:pt x="3012176" y="2293355"/>
                </a:cubicBezTo>
                <a:cubicBezTo>
                  <a:pt x="3013140" y="2299590"/>
                  <a:pt x="3012955" y="2306640"/>
                  <a:pt x="3014735" y="2314026"/>
                </a:cubicBezTo>
                <a:cubicBezTo>
                  <a:pt x="3019742" y="2338150"/>
                  <a:pt x="3041030" y="2343819"/>
                  <a:pt x="3059758" y="2328817"/>
                </a:cubicBezTo>
                <a:cubicBezTo>
                  <a:pt x="3064357" y="2325558"/>
                  <a:pt x="3067324" y="2319997"/>
                  <a:pt x="3071107" y="2315586"/>
                </a:cubicBezTo>
                <a:cubicBezTo>
                  <a:pt x="3074889" y="2311176"/>
                  <a:pt x="3078672" y="2306766"/>
                  <a:pt x="3084569" y="2307776"/>
                </a:cubicBezTo>
                <a:cubicBezTo>
                  <a:pt x="3114386" y="2310858"/>
                  <a:pt x="3131001" y="2290436"/>
                  <a:pt x="3148098" y="2273132"/>
                </a:cubicBezTo>
                <a:cubicBezTo>
                  <a:pt x="3149581" y="2270351"/>
                  <a:pt x="3151880" y="2268722"/>
                  <a:pt x="3148283" y="2266082"/>
                </a:cubicBezTo>
                <a:cubicBezTo>
                  <a:pt x="3144685" y="2263443"/>
                  <a:pt x="3141422" y="2258838"/>
                  <a:pt x="3135525" y="2257828"/>
                </a:cubicBezTo>
                <a:cubicBezTo>
                  <a:pt x="3131594" y="2257155"/>
                  <a:pt x="3132892" y="2261423"/>
                  <a:pt x="3132558" y="2263389"/>
                </a:cubicBezTo>
                <a:cubicBezTo>
                  <a:pt x="3127923" y="2278782"/>
                  <a:pt x="3119541" y="2286451"/>
                  <a:pt x="3105448" y="2286061"/>
                </a:cubicBezTo>
                <a:cubicBezTo>
                  <a:pt x="3090206" y="2286485"/>
                  <a:pt x="3076632" y="2277080"/>
                  <a:pt x="3072738" y="2264273"/>
                </a:cubicBezTo>
                <a:cubicBezTo>
                  <a:pt x="3069808" y="2257702"/>
                  <a:pt x="3072441" y="2254106"/>
                  <a:pt x="3080303" y="2255453"/>
                </a:cubicBezTo>
                <a:cubicBezTo>
                  <a:pt x="3093246" y="2256657"/>
                  <a:pt x="3096213" y="2251096"/>
                  <a:pt x="3098549" y="2237333"/>
                </a:cubicBezTo>
                <a:cubicBezTo>
                  <a:pt x="3099922" y="2217336"/>
                  <a:pt x="3121617" y="2196772"/>
                  <a:pt x="3136525" y="2198314"/>
                </a:cubicBezTo>
                <a:cubicBezTo>
                  <a:pt x="3148319" y="2200333"/>
                  <a:pt x="3154067" y="2196260"/>
                  <a:pt x="3159334" y="2189069"/>
                </a:cubicBezTo>
                <a:cubicBezTo>
                  <a:pt x="3166899" y="2180248"/>
                  <a:pt x="3176097" y="2173730"/>
                  <a:pt x="3189188" y="2180019"/>
                </a:cubicBezTo>
                <a:cubicBezTo>
                  <a:pt x="3197533" y="2184482"/>
                  <a:pt x="3202799" y="2177291"/>
                  <a:pt x="3206915" y="2170915"/>
                </a:cubicBezTo>
                <a:cubicBezTo>
                  <a:pt x="3211032" y="2164538"/>
                  <a:pt x="3214332" y="2157011"/>
                  <a:pt x="3221713" y="2155240"/>
                </a:cubicBezTo>
                <a:cubicBezTo>
                  <a:pt x="3230576" y="2150688"/>
                  <a:pt x="3232839" y="2161191"/>
                  <a:pt x="3243965" y="2167143"/>
                </a:cubicBezTo>
                <a:cubicBezTo>
                  <a:pt x="3232579" y="2138891"/>
                  <a:pt x="3259318" y="2130319"/>
                  <a:pt x="3266921" y="2109366"/>
                </a:cubicBezTo>
                <a:cubicBezTo>
                  <a:pt x="3267885" y="2115601"/>
                  <a:pt x="3268367" y="2118718"/>
                  <a:pt x="3268849" y="2121835"/>
                </a:cubicBezTo>
                <a:cubicBezTo>
                  <a:pt x="3274190" y="2143994"/>
                  <a:pt x="3283684" y="2147643"/>
                  <a:pt x="3302079" y="2134607"/>
                </a:cubicBezTo>
                <a:cubicBezTo>
                  <a:pt x="3313909" y="2124494"/>
                  <a:pt x="3325406" y="2116346"/>
                  <a:pt x="3338869" y="2108536"/>
                </a:cubicBezTo>
                <a:cubicBezTo>
                  <a:pt x="3360861" y="2098139"/>
                  <a:pt x="3384151" y="2092011"/>
                  <a:pt x="3408405" y="2092118"/>
                </a:cubicBezTo>
                <a:cubicBezTo>
                  <a:pt x="3426763" y="2091216"/>
                  <a:pt x="3430880" y="2084839"/>
                  <a:pt x="3426503" y="2068915"/>
                </a:cubicBezTo>
                <a:cubicBezTo>
                  <a:pt x="3419345" y="2051504"/>
                  <a:pt x="3424130" y="2041195"/>
                  <a:pt x="3441523" y="2034058"/>
                </a:cubicBezTo>
                <a:cubicBezTo>
                  <a:pt x="3451536" y="2028691"/>
                  <a:pt x="3462365" y="2024476"/>
                  <a:pt x="3471897" y="2015992"/>
                </a:cubicBezTo>
                <a:cubicBezTo>
                  <a:pt x="3477645" y="2011918"/>
                  <a:pt x="3485025" y="2010147"/>
                  <a:pt x="3492554" y="2013460"/>
                </a:cubicBezTo>
                <a:cubicBezTo>
                  <a:pt x="3495335" y="2014948"/>
                  <a:pt x="3496967" y="2017250"/>
                  <a:pt x="3498784" y="2012503"/>
                </a:cubicBezTo>
                <a:cubicBezTo>
                  <a:pt x="3505237" y="1992365"/>
                  <a:pt x="3522964" y="1983261"/>
                  <a:pt x="3538726" y="1973821"/>
                </a:cubicBezTo>
                <a:cubicBezTo>
                  <a:pt x="3554488" y="1964380"/>
                  <a:pt x="3567468" y="1953452"/>
                  <a:pt x="3570805" y="1933791"/>
                </a:cubicBezTo>
                <a:cubicBezTo>
                  <a:pt x="3572140" y="1925927"/>
                  <a:pt x="3576405" y="1924634"/>
                  <a:pt x="3583934" y="1927947"/>
                </a:cubicBezTo>
                <a:cubicBezTo>
                  <a:pt x="3598991" y="1934571"/>
                  <a:pt x="3600141" y="1933757"/>
                  <a:pt x="3603626" y="1919180"/>
                </a:cubicBezTo>
                <a:cubicBezTo>
                  <a:pt x="3609931" y="1893957"/>
                  <a:pt x="3620649" y="1872525"/>
                  <a:pt x="3646572" y="1862802"/>
                </a:cubicBezTo>
                <a:cubicBezTo>
                  <a:pt x="3654286" y="1859065"/>
                  <a:pt x="3663966" y="1855664"/>
                  <a:pt x="3672829" y="1851113"/>
                </a:cubicBezTo>
                <a:cubicBezTo>
                  <a:pt x="3680209" y="1849342"/>
                  <a:pt x="3687441" y="1842487"/>
                  <a:pt x="3692485" y="1854479"/>
                </a:cubicBezTo>
                <a:cubicBezTo>
                  <a:pt x="3694599" y="1859899"/>
                  <a:pt x="3703611" y="1860430"/>
                  <a:pt x="3708692" y="1860289"/>
                </a:cubicBezTo>
                <a:cubicBezTo>
                  <a:pt x="3728199" y="1858571"/>
                  <a:pt x="3745593" y="1851434"/>
                  <a:pt x="3760056" y="1837725"/>
                </a:cubicBezTo>
                <a:cubicBezTo>
                  <a:pt x="3772221" y="1825645"/>
                  <a:pt x="3771405" y="1824494"/>
                  <a:pt x="3759314" y="1812307"/>
                </a:cubicBezTo>
                <a:cubicBezTo>
                  <a:pt x="3751304" y="1805877"/>
                  <a:pt x="3748374" y="1799306"/>
                  <a:pt x="3751192" y="1788661"/>
                </a:cubicBezTo>
                <a:cubicBezTo>
                  <a:pt x="3757052" y="1801804"/>
                  <a:pt x="3767362" y="1806604"/>
                  <a:pt x="3779341" y="1801574"/>
                </a:cubicBezTo>
                <a:cubicBezTo>
                  <a:pt x="3795919" y="1793285"/>
                  <a:pt x="3811829" y="1788928"/>
                  <a:pt x="3824216" y="1811282"/>
                </a:cubicBezTo>
                <a:cubicBezTo>
                  <a:pt x="3820025" y="1788309"/>
                  <a:pt x="3831855" y="1778195"/>
                  <a:pt x="3849249" y="1771058"/>
                </a:cubicBezTo>
                <a:cubicBezTo>
                  <a:pt x="3857778" y="1768472"/>
                  <a:pt x="3861079" y="1760944"/>
                  <a:pt x="3864380" y="1753417"/>
                </a:cubicBezTo>
                <a:cubicBezTo>
                  <a:pt x="3873948" y="1732799"/>
                  <a:pt x="3885593" y="1729736"/>
                  <a:pt x="3901281" y="1744561"/>
                </a:cubicBezTo>
                <a:cubicBezTo>
                  <a:pt x="3910107" y="1752143"/>
                  <a:pt x="3912740" y="1748547"/>
                  <a:pt x="3913259" y="1739532"/>
                </a:cubicBezTo>
                <a:cubicBezTo>
                  <a:pt x="3915262" y="1727735"/>
                  <a:pt x="3919712" y="1719392"/>
                  <a:pt x="3934955" y="1718968"/>
                </a:cubicBezTo>
                <a:cubicBezTo>
                  <a:pt x="3933953" y="1724866"/>
                  <a:pt x="3932136" y="1729613"/>
                  <a:pt x="3931469" y="1733545"/>
                </a:cubicBezTo>
                <a:cubicBezTo>
                  <a:pt x="3929800" y="1743376"/>
                  <a:pt x="3933880" y="1749132"/>
                  <a:pt x="3944041" y="1748849"/>
                </a:cubicBezTo>
                <a:cubicBezTo>
                  <a:pt x="3953053" y="1749381"/>
                  <a:pt x="3957652" y="1746122"/>
                  <a:pt x="3956205" y="1736770"/>
                </a:cubicBezTo>
                <a:cubicBezTo>
                  <a:pt x="3955612" y="1716436"/>
                  <a:pt x="3964512" y="1699751"/>
                  <a:pt x="3971447" y="1682729"/>
                </a:cubicBezTo>
                <a:cubicBezTo>
                  <a:pt x="3977381" y="1671606"/>
                  <a:pt x="3984947" y="1662785"/>
                  <a:pt x="3997741" y="1658907"/>
                </a:cubicBezTo>
                <a:cubicBezTo>
                  <a:pt x="4010536" y="1655028"/>
                  <a:pt x="4020883" y="1647696"/>
                  <a:pt x="4030414" y="1639211"/>
                </a:cubicBezTo>
                <a:cubicBezTo>
                  <a:pt x="4040279" y="1628762"/>
                  <a:pt x="4052110" y="1618648"/>
                  <a:pt x="4067834" y="1621341"/>
                </a:cubicBezTo>
                <a:cubicBezTo>
                  <a:pt x="4084709" y="1623219"/>
                  <a:pt x="4088009" y="1615691"/>
                  <a:pt x="4090346" y="1601929"/>
                </a:cubicBezTo>
                <a:cubicBezTo>
                  <a:pt x="4095315" y="1584570"/>
                  <a:pt x="4102213" y="1579682"/>
                  <a:pt x="4119903" y="1582711"/>
                </a:cubicBezTo>
                <a:cubicBezTo>
                  <a:pt x="4124984" y="1582570"/>
                  <a:pt x="4129731" y="1584394"/>
                  <a:pt x="4133662" y="1585068"/>
                </a:cubicBezTo>
                <a:cubicBezTo>
                  <a:pt x="4149387" y="1587761"/>
                  <a:pt x="4161366" y="1582731"/>
                  <a:pt x="4173196" y="1572617"/>
                </a:cubicBezTo>
                <a:cubicBezTo>
                  <a:pt x="4182728" y="1564133"/>
                  <a:pt x="4180465" y="1553630"/>
                  <a:pt x="4178203" y="1543126"/>
                </a:cubicBezTo>
                <a:cubicBezTo>
                  <a:pt x="4175458" y="1529505"/>
                  <a:pt x="4182727" y="1510517"/>
                  <a:pt x="4194038" y="1509420"/>
                </a:cubicBezTo>
                <a:cubicBezTo>
                  <a:pt x="4218960" y="1505594"/>
                  <a:pt x="4224746" y="1489388"/>
                  <a:pt x="4232830" y="1471551"/>
                </a:cubicBezTo>
                <a:cubicBezTo>
                  <a:pt x="4235463" y="1467956"/>
                  <a:pt x="4240062" y="1464697"/>
                  <a:pt x="4242695" y="1461101"/>
                </a:cubicBezTo>
                <a:cubicBezTo>
                  <a:pt x="4261757" y="1444133"/>
                  <a:pt x="4288163" y="1437527"/>
                  <a:pt x="4309524" y="1418930"/>
                </a:cubicBezTo>
                <a:cubicBezTo>
                  <a:pt x="4305223" y="1432356"/>
                  <a:pt x="4306669" y="1441708"/>
                  <a:pt x="4310897" y="1452548"/>
                </a:cubicBezTo>
                <a:cubicBezTo>
                  <a:pt x="4312195" y="1456817"/>
                  <a:pt x="4315459" y="1461422"/>
                  <a:pt x="4313642" y="1466169"/>
                </a:cubicBezTo>
                <a:cubicBezTo>
                  <a:pt x="4312641" y="1472068"/>
                  <a:pt x="4313605" y="1478303"/>
                  <a:pt x="4320651" y="1478498"/>
                </a:cubicBezTo>
                <a:cubicBezTo>
                  <a:pt x="4327698" y="1478693"/>
                  <a:pt x="4330331" y="1475097"/>
                  <a:pt x="4331332" y="1469199"/>
                </a:cubicBezTo>
                <a:cubicBezTo>
                  <a:pt x="4332667" y="1461334"/>
                  <a:pt x="4332852" y="1454285"/>
                  <a:pt x="4334187" y="1446421"/>
                </a:cubicBezTo>
                <a:cubicBezTo>
                  <a:pt x="4334373" y="1439371"/>
                  <a:pt x="4338638" y="1438078"/>
                  <a:pt x="4345017" y="1442205"/>
                </a:cubicBezTo>
                <a:cubicBezTo>
                  <a:pt x="4350580" y="1445181"/>
                  <a:pt x="4353843" y="1449787"/>
                  <a:pt x="4360890" y="1449982"/>
                </a:cubicBezTo>
                <a:cubicBezTo>
                  <a:pt x="4389409" y="1448796"/>
                  <a:pt x="4410771" y="1430198"/>
                  <a:pt x="4415443" y="1402673"/>
                </a:cubicBezTo>
                <a:cubicBezTo>
                  <a:pt x="4417594" y="1395960"/>
                  <a:pt x="4418929" y="1388096"/>
                  <a:pt x="4420264" y="1380232"/>
                </a:cubicBezTo>
                <a:cubicBezTo>
                  <a:pt x="4423528" y="1384837"/>
                  <a:pt x="4426792" y="1389443"/>
                  <a:pt x="4428906" y="1394863"/>
                </a:cubicBezTo>
                <a:cubicBezTo>
                  <a:pt x="4436249" y="1405225"/>
                  <a:pt x="4441330" y="1405083"/>
                  <a:pt x="4448895" y="1396262"/>
                </a:cubicBezTo>
                <a:cubicBezTo>
                  <a:pt x="4454977" y="1390223"/>
                  <a:pt x="4459910" y="1384998"/>
                  <a:pt x="4465176" y="1377807"/>
                </a:cubicBezTo>
                <a:cubicBezTo>
                  <a:pt x="4471592" y="1369801"/>
                  <a:pt x="4471777" y="1362751"/>
                  <a:pt x="4466066" y="1354692"/>
                </a:cubicBezTo>
                <a:cubicBezTo>
                  <a:pt x="4459205" y="1347447"/>
                  <a:pt x="4450526" y="1344949"/>
                  <a:pt x="4444815" y="1336890"/>
                </a:cubicBezTo>
                <a:cubicBezTo>
                  <a:pt x="4454976" y="1336607"/>
                  <a:pt x="4462839" y="1337953"/>
                  <a:pt x="4471851" y="1338485"/>
                </a:cubicBezTo>
                <a:cubicBezTo>
                  <a:pt x="4480863" y="1339017"/>
                  <a:pt x="4486611" y="1334943"/>
                  <a:pt x="4489096" y="1326264"/>
                </a:cubicBezTo>
                <a:lnTo>
                  <a:pt x="4493143" y="1311072"/>
                </a:lnTo>
                <a:lnTo>
                  <a:pt x="4407462" y="1289825"/>
                </a:lnTo>
                <a:cubicBezTo>
                  <a:pt x="4279309" y="1259413"/>
                  <a:pt x="4151249" y="1244184"/>
                  <a:pt x="4023604" y="1246176"/>
                </a:cubicBezTo>
                <a:cubicBezTo>
                  <a:pt x="3895960" y="1248168"/>
                  <a:pt x="3768729" y="1267382"/>
                  <a:pt x="3642236" y="1305858"/>
                </a:cubicBezTo>
                <a:cubicBezTo>
                  <a:pt x="3583836" y="1323705"/>
                  <a:pt x="3530909" y="1349999"/>
                  <a:pt x="3486361" y="1393852"/>
                </a:cubicBezTo>
                <a:cubicBezTo>
                  <a:pt x="3451005" y="1428752"/>
                  <a:pt x="3409679" y="1457526"/>
                  <a:pt x="3369513" y="1486546"/>
                </a:cubicBezTo>
                <a:cubicBezTo>
                  <a:pt x="3291997" y="1542764"/>
                  <a:pt x="3219955" y="1607428"/>
                  <a:pt x="3155042" y="1678468"/>
                </a:cubicBezTo>
                <a:cubicBezTo>
                  <a:pt x="2978935" y="1872520"/>
                  <a:pt x="2872196" y="2099588"/>
                  <a:pt x="2818168" y="2352473"/>
                </a:cubicBezTo>
                <a:lnTo>
                  <a:pt x="2811149" y="2394910"/>
                </a:lnTo>
                <a:lnTo>
                  <a:pt x="2804609" y="2396780"/>
                </a:lnTo>
                <a:cubicBezTo>
                  <a:pt x="2789613" y="2403949"/>
                  <a:pt x="2776957" y="2415944"/>
                  <a:pt x="2766258" y="2431310"/>
                </a:cubicBezTo>
                <a:cubicBezTo>
                  <a:pt x="2758358" y="2442096"/>
                  <a:pt x="2748827" y="2450580"/>
                  <a:pt x="2736515" y="2457576"/>
                </a:cubicBezTo>
                <a:cubicBezTo>
                  <a:pt x="2709590" y="2473198"/>
                  <a:pt x="2706104" y="2487775"/>
                  <a:pt x="2720605" y="2515548"/>
                </a:cubicBezTo>
                <a:cubicBezTo>
                  <a:pt x="2722720" y="2520969"/>
                  <a:pt x="2725983" y="2525574"/>
                  <a:pt x="2723832" y="2532287"/>
                </a:cubicBezTo>
                <a:cubicBezTo>
                  <a:pt x="2721013" y="2542932"/>
                  <a:pt x="2719011" y="2554729"/>
                  <a:pt x="2706550" y="2556641"/>
                </a:cubicBezTo>
                <a:cubicBezTo>
                  <a:pt x="2696055" y="2558891"/>
                  <a:pt x="2681183" y="2545216"/>
                  <a:pt x="2678438" y="2531595"/>
                </a:cubicBezTo>
                <a:cubicBezTo>
                  <a:pt x="2675694" y="2517974"/>
                  <a:pt x="2679996" y="2504548"/>
                  <a:pt x="2679217" y="2491264"/>
                </a:cubicBezTo>
                <a:cubicBezTo>
                  <a:pt x="2679068" y="2486180"/>
                  <a:pt x="2678920" y="2481096"/>
                  <a:pt x="2676471" y="2477642"/>
                </a:cubicBezTo>
                <a:cubicBezTo>
                  <a:pt x="2671577" y="2470734"/>
                  <a:pt x="2665679" y="2469725"/>
                  <a:pt x="2658633" y="2469530"/>
                </a:cubicBezTo>
                <a:cubicBezTo>
                  <a:pt x="2652403" y="2470485"/>
                  <a:pt x="2649436" y="2476048"/>
                  <a:pt x="2647619" y="2480794"/>
                </a:cubicBezTo>
                <a:cubicBezTo>
                  <a:pt x="2640091" y="2531098"/>
                  <a:pt x="2603301" y="2557169"/>
                  <a:pt x="2565028" y="2586021"/>
                </a:cubicBezTo>
                <a:cubicBezTo>
                  <a:pt x="2566215" y="2573074"/>
                  <a:pt x="2572965" y="2563102"/>
                  <a:pt x="2575783" y="2552457"/>
                </a:cubicBezTo>
                <a:cubicBezTo>
                  <a:pt x="2579417" y="2542963"/>
                  <a:pt x="2581902" y="2534284"/>
                  <a:pt x="2581605" y="2524118"/>
                </a:cubicBezTo>
                <a:cubicBezTo>
                  <a:pt x="2580493" y="2512799"/>
                  <a:pt x="2575263" y="2507857"/>
                  <a:pt x="2562802" y="2509769"/>
                </a:cubicBezTo>
                <a:lnTo>
                  <a:pt x="2532998" y="2516277"/>
                </a:lnTo>
                <a:lnTo>
                  <a:pt x="2536061" y="2488752"/>
                </a:lnTo>
                <a:cubicBezTo>
                  <a:pt x="2535464" y="2491545"/>
                  <a:pt x="2538257" y="2492142"/>
                  <a:pt x="2538257" y="2492142"/>
                </a:cubicBezTo>
                <a:cubicBezTo>
                  <a:pt x="2537851" y="2480370"/>
                  <a:pt x="2539642" y="2471987"/>
                  <a:pt x="2539236" y="2460215"/>
                </a:cubicBezTo>
                <a:cubicBezTo>
                  <a:pt x="2541217" y="2437266"/>
                  <a:pt x="2545992" y="2414915"/>
                  <a:pt x="2553561" y="2393160"/>
                </a:cubicBezTo>
                <a:cubicBezTo>
                  <a:pt x="2553561" y="2393160"/>
                  <a:pt x="2556953" y="2390963"/>
                  <a:pt x="2556953" y="2390963"/>
                </a:cubicBezTo>
                <a:cubicBezTo>
                  <a:pt x="2557550" y="2388169"/>
                  <a:pt x="2557550" y="2388169"/>
                  <a:pt x="2558147" y="2385375"/>
                </a:cubicBezTo>
                <a:cubicBezTo>
                  <a:pt x="2558744" y="2382581"/>
                  <a:pt x="2558744" y="2382581"/>
                  <a:pt x="2555949" y="2381984"/>
                </a:cubicBezTo>
                <a:lnTo>
                  <a:pt x="2556546" y="2379191"/>
                </a:lnTo>
                <a:cubicBezTo>
                  <a:pt x="2557143" y="2376397"/>
                  <a:pt x="2557740" y="2373602"/>
                  <a:pt x="2558337" y="2370809"/>
                </a:cubicBezTo>
                <a:cubicBezTo>
                  <a:pt x="2558933" y="2368015"/>
                  <a:pt x="2558933" y="2368015"/>
                  <a:pt x="2559531" y="2365221"/>
                </a:cubicBezTo>
                <a:cubicBezTo>
                  <a:pt x="2560128" y="2362427"/>
                  <a:pt x="2561322" y="2356839"/>
                  <a:pt x="2559721" y="2350654"/>
                </a:cubicBezTo>
                <a:cubicBezTo>
                  <a:pt x="2559721" y="2350654"/>
                  <a:pt x="2562515" y="2351251"/>
                  <a:pt x="2562515" y="2351251"/>
                </a:cubicBezTo>
                <a:cubicBezTo>
                  <a:pt x="2563112" y="2348457"/>
                  <a:pt x="2563112" y="2348457"/>
                  <a:pt x="2563112" y="2348457"/>
                </a:cubicBezTo>
                <a:cubicBezTo>
                  <a:pt x="2563112" y="2348457"/>
                  <a:pt x="2563112" y="2348457"/>
                  <a:pt x="2563709" y="2345663"/>
                </a:cubicBezTo>
                <a:cubicBezTo>
                  <a:pt x="2560915" y="2345066"/>
                  <a:pt x="2560915" y="2345066"/>
                  <a:pt x="2560915" y="2345066"/>
                </a:cubicBezTo>
                <a:cubicBezTo>
                  <a:pt x="2561511" y="2342272"/>
                  <a:pt x="2562109" y="2339479"/>
                  <a:pt x="2562706" y="2336684"/>
                </a:cubicBezTo>
                <a:cubicBezTo>
                  <a:pt x="2564903" y="2340075"/>
                  <a:pt x="2564306" y="2342869"/>
                  <a:pt x="2567100" y="2343467"/>
                </a:cubicBezTo>
                <a:cubicBezTo>
                  <a:pt x="2567100" y="2343467"/>
                  <a:pt x="2567100" y="2343467"/>
                  <a:pt x="2567697" y="2340672"/>
                </a:cubicBezTo>
                <a:cubicBezTo>
                  <a:pt x="2573907" y="2379978"/>
                  <a:pt x="2570541" y="2423081"/>
                  <a:pt x="2566769" y="2454411"/>
                </a:cubicBezTo>
                <a:cubicBezTo>
                  <a:pt x="2566172" y="2457206"/>
                  <a:pt x="2566172" y="2457206"/>
                  <a:pt x="2568966" y="2457803"/>
                </a:cubicBezTo>
                <a:cubicBezTo>
                  <a:pt x="2568966" y="2457803"/>
                  <a:pt x="2569563" y="2455009"/>
                  <a:pt x="2569563" y="2455009"/>
                </a:cubicBezTo>
                <a:cubicBezTo>
                  <a:pt x="2569563" y="2455009"/>
                  <a:pt x="2569563" y="2455009"/>
                  <a:pt x="2570160" y="2452214"/>
                </a:cubicBezTo>
                <a:cubicBezTo>
                  <a:pt x="2573932" y="2420884"/>
                  <a:pt x="2577895" y="2374987"/>
                  <a:pt x="2571684" y="2335682"/>
                </a:cubicBezTo>
                <a:cubicBezTo>
                  <a:pt x="2574669" y="2321711"/>
                  <a:pt x="2569678" y="2317723"/>
                  <a:pt x="2572663" y="2303754"/>
                </a:cubicBezTo>
                <a:cubicBezTo>
                  <a:pt x="2571063" y="2297569"/>
                  <a:pt x="2568268" y="2296972"/>
                  <a:pt x="2565475" y="2296376"/>
                </a:cubicBezTo>
                <a:cubicBezTo>
                  <a:pt x="2567863" y="2285200"/>
                  <a:pt x="2570250" y="2274024"/>
                  <a:pt x="2575431" y="2263445"/>
                </a:cubicBezTo>
                <a:cubicBezTo>
                  <a:pt x="2575431" y="2263445"/>
                  <a:pt x="2576028" y="2260650"/>
                  <a:pt x="2573235" y="2260054"/>
                </a:cubicBezTo>
                <a:cubicBezTo>
                  <a:pt x="2573235" y="2260054"/>
                  <a:pt x="2573235" y="2260054"/>
                  <a:pt x="2572638" y="2262848"/>
                </a:cubicBezTo>
                <a:cubicBezTo>
                  <a:pt x="2567456" y="2273427"/>
                  <a:pt x="2565069" y="2284603"/>
                  <a:pt x="2562681" y="2295779"/>
                </a:cubicBezTo>
                <a:cubicBezTo>
                  <a:pt x="2562084" y="2298572"/>
                  <a:pt x="2559290" y="2297975"/>
                  <a:pt x="2559290" y="2297975"/>
                </a:cubicBezTo>
                <a:cubicBezTo>
                  <a:pt x="2559290" y="2297975"/>
                  <a:pt x="2559887" y="2295182"/>
                  <a:pt x="2557093" y="2294585"/>
                </a:cubicBezTo>
                <a:cubicBezTo>
                  <a:pt x="2554896" y="2291194"/>
                  <a:pt x="2558287" y="2288996"/>
                  <a:pt x="2560077" y="2280615"/>
                </a:cubicBezTo>
                <a:cubicBezTo>
                  <a:pt x="2560675" y="2277821"/>
                  <a:pt x="2564662" y="2272830"/>
                  <a:pt x="2565259" y="2270036"/>
                </a:cubicBezTo>
                <a:cubicBezTo>
                  <a:pt x="2565856" y="2267242"/>
                  <a:pt x="2565856" y="2267242"/>
                  <a:pt x="2565856" y="2267242"/>
                </a:cubicBezTo>
                <a:cubicBezTo>
                  <a:pt x="2565856" y="2267242"/>
                  <a:pt x="2566453" y="2264448"/>
                  <a:pt x="2566453" y="2264448"/>
                </a:cubicBezTo>
                <a:cubicBezTo>
                  <a:pt x="2566453" y="2264448"/>
                  <a:pt x="2566453" y="2264448"/>
                  <a:pt x="2569844" y="2262251"/>
                </a:cubicBezTo>
                <a:cubicBezTo>
                  <a:pt x="2569844" y="2262251"/>
                  <a:pt x="2570441" y="2259457"/>
                  <a:pt x="2570441" y="2259457"/>
                </a:cubicBezTo>
                <a:cubicBezTo>
                  <a:pt x="2571037" y="2256663"/>
                  <a:pt x="2571037" y="2256663"/>
                  <a:pt x="2571037" y="2256663"/>
                </a:cubicBezTo>
                <a:cubicBezTo>
                  <a:pt x="2568840" y="2253272"/>
                  <a:pt x="2568840" y="2253272"/>
                  <a:pt x="2568243" y="2256066"/>
                </a:cubicBezTo>
                <a:cubicBezTo>
                  <a:pt x="2568243" y="2256066"/>
                  <a:pt x="2568243" y="2256066"/>
                  <a:pt x="2564853" y="2258263"/>
                </a:cubicBezTo>
                <a:cubicBezTo>
                  <a:pt x="2566047" y="2252675"/>
                  <a:pt x="2566643" y="2249881"/>
                  <a:pt x="2567838" y="2244294"/>
                </a:cubicBezTo>
                <a:cubicBezTo>
                  <a:pt x="2567838" y="2244294"/>
                  <a:pt x="2567838" y="2244294"/>
                  <a:pt x="2569031" y="2238706"/>
                </a:cubicBezTo>
                <a:cubicBezTo>
                  <a:pt x="2569629" y="2235912"/>
                  <a:pt x="2566834" y="2235315"/>
                  <a:pt x="2567431" y="2232521"/>
                </a:cubicBezTo>
                <a:cubicBezTo>
                  <a:pt x="2571419" y="2227530"/>
                  <a:pt x="2572613" y="2221942"/>
                  <a:pt x="2573807" y="2216354"/>
                </a:cubicBezTo>
                <a:cubicBezTo>
                  <a:pt x="2575001" y="2210766"/>
                  <a:pt x="2576195" y="2205178"/>
                  <a:pt x="2579585" y="2202982"/>
                </a:cubicBezTo>
                <a:cubicBezTo>
                  <a:pt x="2578988" y="2205775"/>
                  <a:pt x="2578988" y="2205775"/>
                  <a:pt x="2578391" y="2208569"/>
                </a:cubicBezTo>
                <a:cubicBezTo>
                  <a:pt x="2580588" y="2211960"/>
                  <a:pt x="2576600" y="2216951"/>
                  <a:pt x="2576003" y="2219745"/>
                </a:cubicBezTo>
                <a:cubicBezTo>
                  <a:pt x="2576003" y="2219745"/>
                  <a:pt x="2576003" y="2219745"/>
                  <a:pt x="2575406" y="2222538"/>
                </a:cubicBezTo>
                <a:cubicBezTo>
                  <a:pt x="2574213" y="2228127"/>
                  <a:pt x="2575813" y="2234312"/>
                  <a:pt x="2575216" y="2237105"/>
                </a:cubicBezTo>
                <a:cubicBezTo>
                  <a:pt x="2575216" y="2237105"/>
                  <a:pt x="2575216" y="2237105"/>
                  <a:pt x="2578010" y="2237702"/>
                </a:cubicBezTo>
                <a:cubicBezTo>
                  <a:pt x="2578010" y="2237702"/>
                  <a:pt x="2581400" y="2235505"/>
                  <a:pt x="2581400" y="2235505"/>
                </a:cubicBezTo>
                <a:cubicBezTo>
                  <a:pt x="2584195" y="2236102"/>
                  <a:pt x="2584195" y="2236102"/>
                  <a:pt x="2584791" y="2233308"/>
                </a:cubicBezTo>
                <a:cubicBezTo>
                  <a:pt x="2584791" y="2233308"/>
                  <a:pt x="2584791" y="2233308"/>
                  <a:pt x="2585388" y="2230515"/>
                </a:cubicBezTo>
                <a:cubicBezTo>
                  <a:pt x="2585986" y="2227721"/>
                  <a:pt x="2585986" y="2227721"/>
                  <a:pt x="2585986" y="2227721"/>
                </a:cubicBezTo>
                <a:cubicBezTo>
                  <a:pt x="2585986" y="2227721"/>
                  <a:pt x="2583191" y="2227123"/>
                  <a:pt x="2582595" y="2229918"/>
                </a:cubicBezTo>
                <a:cubicBezTo>
                  <a:pt x="2582595" y="2229918"/>
                  <a:pt x="2579204" y="2232115"/>
                  <a:pt x="2579204" y="2232115"/>
                </a:cubicBezTo>
                <a:cubicBezTo>
                  <a:pt x="2579801" y="2229320"/>
                  <a:pt x="2577604" y="2225930"/>
                  <a:pt x="2578201" y="2223136"/>
                </a:cubicBezTo>
                <a:cubicBezTo>
                  <a:pt x="2579394" y="2217548"/>
                  <a:pt x="2583979" y="2209763"/>
                  <a:pt x="2581782" y="2206372"/>
                </a:cubicBezTo>
                <a:cubicBezTo>
                  <a:pt x="2582976" y="2200785"/>
                  <a:pt x="2582976" y="2200785"/>
                  <a:pt x="2583573" y="2197990"/>
                </a:cubicBezTo>
                <a:cubicBezTo>
                  <a:pt x="2584169" y="2195197"/>
                  <a:pt x="2584767" y="2192402"/>
                  <a:pt x="2585960" y="2186814"/>
                </a:cubicBezTo>
                <a:cubicBezTo>
                  <a:pt x="2586557" y="2184020"/>
                  <a:pt x="2587154" y="2181226"/>
                  <a:pt x="2591143" y="2176236"/>
                </a:cubicBezTo>
                <a:cubicBezTo>
                  <a:pt x="2591143" y="2176236"/>
                  <a:pt x="2591143" y="2176236"/>
                  <a:pt x="2591739" y="2173441"/>
                </a:cubicBezTo>
                <a:cubicBezTo>
                  <a:pt x="2592336" y="2170648"/>
                  <a:pt x="2592933" y="2167854"/>
                  <a:pt x="2593530" y="2165060"/>
                </a:cubicBezTo>
                <a:cubicBezTo>
                  <a:pt x="2596323" y="2165656"/>
                  <a:pt x="2595727" y="2168451"/>
                  <a:pt x="2595727" y="2168451"/>
                </a:cubicBezTo>
                <a:cubicBezTo>
                  <a:pt x="2595727" y="2168451"/>
                  <a:pt x="2595727" y="2168451"/>
                  <a:pt x="2599715" y="2163460"/>
                </a:cubicBezTo>
                <a:cubicBezTo>
                  <a:pt x="2597517" y="2160069"/>
                  <a:pt x="2598114" y="2157275"/>
                  <a:pt x="2598114" y="2157275"/>
                </a:cubicBezTo>
                <a:cubicBezTo>
                  <a:pt x="2600908" y="2157872"/>
                  <a:pt x="2601505" y="2155078"/>
                  <a:pt x="2601505" y="2155078"/>
                </a:cubicBezTo>
                <a:cubicBezTo>
                  <a:pt x="2602102" y="2152284"/>
                  <a:pt x="2602102" y="2152284"/>
                  <a:pt x="2599308" y="2151688"/>
                </a:cubicBezTo>
                <a:cubicBezTo>
                  <a:pt x="2599308" y="2151688"/>
                  <a:pt x="2599905" y="2148893"/>
                  <a:pt x="2600502" y="2146099"/>
                </a:cubicBezTo>
                <a:cubicBezTo>
                  <a:pt x="2601099" y="2143305"/>
                  <a:pt x="2604490" y="2141109"/>
                  <a:pt x="2605087" y="2138314"/>
                </a:cubicBezTo>
                <a:cubicBezTo>
                  <a:pt x="2605087" y="2138314"/>
                  <a:pt x="2605087" y="2138314"/>
                  <a:pt x="2608478" y="2136117"/>
                </a:cubicBezTo>
                <a:cubicBezTo>
                  <a:pt x="2609075" y="2133324"/>
                  <a:pt x="2609075" y="2133324"/>
                  <a:pt x="2609671" y="2130530"/>
                </a:cubicBezTo>
                <a:cubicBezTo>
                  <a:pt x="2610269" y="2127735"/>
                  <a:pt x="2610865" y="2124942"/>
                  <a:pt x="2614256" y="2122745"/>
                </a:cubicBezTo>
                <a:cubicBezTo>
                  <a:pt x="2614853" y="2119951"/>
                  <a:pt x="2615450" y="2117156"/>
                  <a:pt x="2615450" y="2117156"/>
                </a:cubicBezTo>
                <a:cubicBezTo>
                  <a:pt x="2616047" y="2114363"/>
                  <a:pt x="2616644" y="2111568"/>
                  <a:pt x="2616644" y="2111568"/>
                </a:cubicBezTo>
                <a:cubicBezTo>
                  <a:pt x="2616644" y="2111568"/>
                  <a:pt x="2613850" y="2110972"/>
                  <a:pt x="2613253" y="2113766"/>
                </a:cubicBezTo>
                <a:cubicBezTo>
                  <a:pt x="2614447" y="2108178"/>
                  <a:pt x="2615044" y="2105384"/>
                  <a:pt x="2615641" y="2102590"/>
                </a:cubicBezTo>
                <a:cubicBezTo>
                  <a:pt x="2616237" y="2099795"/>
                  <a:pt x="2619629" y="2097599"/>
                  <a:pt x="2620225" y="2094805"/>
                </a:cubicBezTo>
                <a:cubicBezTo>
                  <a:pt x="2620225" y="2094805"/>
                  <a:pt x="2620225" y="2094805"/>
                  <a:pt x="2620822" y="2092011"/>
                </a:cubicBezTo>
                <a:cubicBezTo>
                  <a:pt x="2620822" y="2092011"/>
                  <a:pt x="2621419" y="2089218"/>
                  <a:pt x="2622016" y="2086423"/>
                </a:cubicBezTo>
                <a:cubicBezTo>
                  <a:pt x="2622016" y="2086423"/>
                  <a:pt x="2624809" y="2087020"/>
                  <a:pt x="2624809" y="2087020"/>
                </a:cubicBezTo>
                <a:cubicBezTo>
                  <a:pt x="2624809" y="2087020"/>
                  <a:pt x="2624809" y="2087020"/>
                  <a:pt x="2619032" y="2100393"/>
                </a:cubicBezTo>
                <a:cubicBezTo>
                  <a:pt x="2619032" y="2100393"/>
                  <a:pt x="2618435" y="2103187"/>
                  <a:pt x="2618435" y="2103187"/>
                </a:cubicBezTo>
                <a:cubicBezTo>
                  <a:pt x="2618435" y="2103187"/>
                  <a:pt x="2621825" y="2100989"/>
                  <a:pt x="2621825" y="2100989"/>
                </a:cubicBezTo>
                <a:cubicBezTo>
                  <a:pt x="2621825" y="2100989"/>
                  <a:pt x="2621825" y="2100989"/>
                  <a:pt x="2624809" y="2087020"/>
                </a:cubicBezTo>
                <a:cubicBezTo>
                  <a:pt x="2627604" y="2087617"/>
                  <a:pt x="2627604" y="2087617"/>
                  <a:pt x="2627604" y="2087617"/>
                </a:cubicBezTo>
                <a:cubicBezTo>
                  <a:pt x="2630995" y="2085419"/>
                  <a:pt x="2630995" y="2085419"/>
                  <a:pt x="2631592" y="2082626"/>
                </a:cubicBezTo>
                <a:cubicBezTo>
                  <a:pt x="2631592" y="2082626"/>
                  <a:pt x="2632189" y="2079832"/>
                  <a:pt x="2632189" y="2079832"/>
                </a:cubicBezTo>
                <a:cubicBezTo>
                  <a:pt x="2632786" y="2077038"/>
                  <a:pt x="2630589" y="2073647"/>
                  <a:pt x="2631185" y="2070854"/>
                </a:cubicBezTo>
                <a:cubicBezTo>
                  <a:pt x="2631185" y="2070854"/>
                  <a:pt x="2631185" y="2070854"/>
                  <a:pt x="2631783" y="2068059"/>
                </a:cubicBezTo>
                <a:cubicBezTo>
                  <a:pt x="2634577" y="2068656"/>
                  <a:pt x="2637370" y="2069253"/>
                  <a:pt x="2636367" y="2060274"/>
                </a:cubicBezTo>
                <a:cubicBezTo>
                  <a:pt x="2640951" y="2052489"/>
                  <a:pt x="2644939" y="2047498"/>
                  <a:pt x="2646133" y="2041910"/>
                </a:cubicBezTo>
                <a:cubicBezTo>
                  <a:pt x="2650718" y="2034126"/>
                  <a:pt x="2651912" y="2028538"/>
                  <a:pt x="2656497" y="2020753"/>
                </a:cubicBezTo>
                <a:cubicBezTo>
                  <a:pt x="2656497" y="2020753"/>
                  <a:pt x="2656497" y="2020753"/>
                  <a:pt x="2657093" y="2017959"/>
                </a:cubicBezTo>
                <a:cubicBezTo>
                  <a:pt x="2660484" y="2015761"/>
                  <a:pt x="2665069" y="2007977"/>
                  <a:pt x="2666263" y="2002389"/>
                </a:cubicBezTo>
                <a:cubicBezTo>
                  <a:pt x="2670848" y="1994604"/>
                  <a:pt x="2673235" y="1983428"/>
                  <a:pt x="2677820" y="1975643"/>
                </a:cubicBezTo>
                <a:cubicBezTo>
                  <a:pt x="2681807" y="1970652"/>
                  <a:pt x="2683599" y="1962270"/>
                  <a:pt x="2687587" y="1957280"/>
                </a:cubicBezTo>
                <a:cubicBezTo>
                  <a:pt x="2691574" y="1952289"/>
                  <a:pt x="2692768" y="1946701"/>
                  <a:pt x="2693962" y="1941113"/>
                </a:cubicBezTo>
                <a:cubicBezTo>
                  <a:pt x="2700147" y="1939512"/>
                  <a:pt x="2703537" y="1937315"/>
                  <a:pt x="2702534" y="1928337"/>
                </a:cubicBezTo>
                <a:cubicBezTo>
                  <a:pt x="2722879" y="1915154"/>
                  <a:pt x="2746399" y="1873436"/>
                  <a:pt x="2759151" y="1841103"/>
                </a:cubicBezTo>
                <a:cubicBezTo>
                  <a:pt x="2756357" y="1840506"/>
                  <a:pt x="2754160" y="1837115"/>
                  <a:pt x="2754160" y="1837115"/>
                </a:cubicBezTo>
                <a:cubicBezTo>
                  <a:pt x="2754160" y="1837115"/>
                  <a:pt x="2754160" y="1837115"/>
                  <a:pt x="2754757" y="1834320"/>
                </a:cubicBezTo>
                <a:cubicBezTo>
                  <a:pt x="2755353" y="1831527"/>
                  <a:pt x="2755353" y="1831527"/>
                  <a:pt x="2755353" y="1831527"/>
                </a:cubicBezTo>
                <a:cubicBezTo>
                  <a:pt x="2755951" y="1828733"/>
                  <a:pt x="2755353" y="1831527"/>
                  <a:pt x="2752559" y="1830930"/>
                </a:cubicBezTo>
                <a:cubicBezTo>
                  <a:pt x="2752559" y="1830930"/>
                  <a:pt x="2753156" y="1828136"/>
                  <a:pt x="2753753" y="1825342"/>
                </a:cubicBezTo>
                <a:cubicBezTo>
                  <a:pt x="2756547" y="1825939"/>
                  <a:pt x="2756547" y="1825939"/>
                  <a:pt x="2762733" y="1824339"/>
                </a:cubicBezTo>
                <a:cubicBezTo>
                  <a:pt x="2763329" y="1821545"/>
                  <a:pt x="2770708" y="1814357"/>
                  <a:pt x="2768511" y="1810966"/>
                </a:cubicBezTo>
                <a:cubicBezTo>
                  <a:pt x="2772499" y="1805975"/>
                  <a:pt x="2773095" y="1803181"/>
                  <a:pt x="2776487" y="1800984"/>
                </a:cubicBezTo>
                <a:cubicBezTo>
                  <a:pt x="2780474" y="1795993"/>
                  <a:pt x="2781071" y="1793199"/>
                  <a:pt x="2785059" y="1788208"/>
                </a:cubicBezTo>
                <a:cubicBezTo>
                  <a:pt x="2785059" y="1788208"/>
                  <a:pt x="2785656" y="1785414"/>
                  <a:pt x="2785656" y="1785414"/>
                </a:cubicBezTo>
                <a:cubicBezTo>
                  <a:pt x="2785656" y="1785414"/>
                  <a:pt x="2785656" y="1785414"/>
                  <a:pt x="2787853" y="1788805"/>
                </a:cubicBezTo>
                <a:cubicBezTo>
                  <a:pt x="2788450" y="1786011"/>
                  <a:pt x="2791841" y="1783815"/>
                  <a:pt x="2792438" y="1781021"/>
                </a:cubicBezTo>
                <a:cubicBezTo>
                  <a:pt x="2792438" y="1781021"/>
                  <a:pt x="2792438" y="1781021"/>
                  <a:pt x="2795231" y="1781618"/>
                </a:cubicBezTo>
                <a:cubicBezTo>
                  <a:pt x="2798622" y="1779420"/>
                  <a:pt x="2808389" y="1761056"/>
                  <a:pt x="2809989" y="1767241"/>
                </a:cubicBezTo>
                <a:cubicBezTo>
                  <a:pt x="2819159" y="1751672"/>
                  <a:pt x="2825940" y="1747277"/>
                  <a:pt x="2832315" y="1731111"/>
                </a:cubicBezTo>
                <a:cubicBezTo>
                  <a:pt x="2828924" y="1733308"/>
                  <a:pt x="2825534" y="1735504"/>
                  <a:pt x="2825534" y="1735504"/>
                </a:cubicBezTo>
                <a:cubicBezTo>
                  <a:pt x="2826131" y="1732711"/>
                  <a:pt x="2823337" y="1732114"/>
                  <a:pt x="2823337" y="1732114"/>
                </a:cubicBezTo>
                <a:cubicBezTo>
                  <a:pt x="2823934" y="1729320"/>
                  <a:pt x="2828518" y="1721535"/>
                  <a:pt x="2833700" y="1710956"/>
                </a:cubicBezTo>
                <a:cubicBezTo>
                  <a:pt x="2833700" y="1710956"/>
                  <a:pt x="2837091" y="1708759"/>
                  <a:pt x="2837687" y="1705965"/>
                </a:cubicBezTo>
                <a:cubicBezTo>
                  <a:pt x="2837687" y="1705965"/>
                  <a:pt x="2839885" y="1709355"/>
                  <a:pt x="2839885" y="1709355"/>
                </a:cubicBezTo>
                <a:cubicBezTo>
                  <a:pt x="2839288" y="1712150"/>
                  <a:pt x="2835897" y="1714347"/>
                  <a:pt x="2835897" y="1714347"/>
                </a:cubicBezTo>
                <a:lnTo>
                  <a:pt x="2835300" y="1717141"/>
                </a:lnTo>
                <a:cubicBezTo>
                  <a:pt x="2838095" y="1717738"/>
                  <a:pt x="2838095" y="1717738"/>
                  <a:pt x="2838691" y="1714944"/>
                </a:cubicBezTo>
                <a:cubicBezTo>
                  <a:pt x="2839288" y="1712150"/>
                  <a:pt x="2842679" y="1709953"/>
                  <a:pt x="2843275" y="1707159"/>
                </a:cubicBezTo>
                <a:cubicBezTo>
                  <a:pt x="2841079" y="1703768"/>
                  <a:pt x="2841079" y="1703768"/>
                  <a:pt x="2841079" y="1703768"/>
                </a:cubicBezTo>
                <a:cubicBezTo>
                  <a:pt x="2841675" y="1700974"/>
                  <a:pt x="2841675" y="1700974"/>
                  <a:pt x="2841675" y="1700974"/>
                </a:cubicBezTo>
                <a:cubicBezTo>
                  <a:pt x="2845066" y="1698777"/>
                  <a:pt x="2845066" y="1698777"/>
                  <a:pt x="2845663" y="1695983"/>
                </a:cubicBezTo>
                <a:cubicBezTo>
                  <a:pt x="2848457" y="1696580"/>
                  <a:pt x="2848457" y="1696580"/>
                  <a:pt x="2848457" y="1696580"/>
                </a:cubicBezTo>
                <a:cubicBezTo>
                  <a:pt x="2847860" y="1699374"/>
                  <a:pt x="2847860" y="1699374"/>
                  <a:pt x="2850654" y="1699971"/>
                </a:cubicBezTo>
                <a:cubicBezTo>
                  <a:pt x="2850057" y="1702764"/>
                  <a:pt x="2850057" y="1702764"/>
                  <a:pt x="2850057" y="1702764"/>
                </a:cubicBezTo>
                <a:cubicBezTo>
                  <a:pt x="2850057" y="1702764"/>
                  <a:pt x="2850057" y="1702764"/>
                  <a:pt x="2849461" y="1705559"/>
                </a:cubicBezTo>
                <a:cubicBezTo>
                  <a:pt x="2849461" y="1705559"/>
                  <a:pt x="2852254" y="1706156"/>
                  <a:pt x="2851657" y="1708950"/>
                </a:cubicBezTo>
                <a:cubicBezTo>
                  <a:pt x="2851657" y="1708950"/>
                  <a:pt x="2855049" y="1706752"/>
                  <a:pt x="2855049" y="1706752"/>
                </a:cubicBezTo>
                <a:cubicBezTo>
                  <a:pt x="2855049" y="1706752"/>
                  <a:pt x="2855645" y="1703959"/>
                  <a:pt x="2855645" y="1703959"/>
                </a:cubicBezTo>
                <a:cubicBezTo>
                  <a:pt x="2852851" y="1703361"/>
                  <a:pt x="2852851" y="1703361"/>
                  <a:pt x="2853448" y="1700568"/>
                </a:cubicBezTo>
                <a:cubicBezTo>
                  <a:pt x="2853448" y="1700568"/>
                  <a:pt x="2853448" y="1700568"/>
                  <a:pt x="2854045" y="1697774"/>
                </a:cubicBezTo>
                <a:cubicBezTo>
                  <a:pt x="2856242" y="1701165"/>
                  <a:pt x="2859633" y="1698967"/>
                  <a:pt x="2860230" y="1696174"/>
                </a:cubicBezTo>
                <a:cubicBezTo>
                  <a:pt x="2860827" y="1693380"/>
                  <a:pt x="2861424" y="1690586"/>
                  <a:pt x="2864218" y="1691183"/>
                </a:cubicBezTo>
                <a:cubicBezTo>
                  <a:pt x="2864218" y="1691183"/>
                  <a:pt x="2864815" y="1688389"/>
                  <a:pt x="2867609" y="1688985"/>
                </a:cubicBezTo>
                <a:cubicBezTo>
                  <a:pt x="2871597" y="1683995"/>
                  <a:pt x="2875585" y="1679004"/>
                  <a:pt x="2880169" y="1671219"/>
                </a:cubicBezTo>
                <a:cubicBezTo>
                  <a:pt x="2880169" y="1671219"/>
                  <a:pt x="2880169" y="1671219"/>
                  <a:pt x="2877972" y="1667828"/>
                </a:cubicBezTo>
                <a:cubicBezTo>
                  <a:pt x="2881363" y="1665631"/>
                  <a:pt x="2884754" y="1663434"/>
                  <a:pt x="2886545" y="1655052"/>
                </a:cubicBezTo>
                <a:cubicBezTo>
                  <a:pt x="2888742" y="1658443"/>
                  <a:pt x="2889339" y="1655649"/>
                  <a:pt x="2892730" y="1653452"/>
                </a:cubicBezTo>
                <a:cubicBezTo>
                  <a:pt x="2892730" y="1653452"/>
                  <a:pt x="2893327" y="1650658"/>
                  <a:pt x="2893327" y="1650658"/>
                </a:cubicBezTo>
                <a:cubicBezTo>
                  <a:pt x="2893327" y="1650658"/>
                  <a:pt x="2890532" y="1650061"/>
                  <a:pt x="2890532" y="1650061"/>
                </a:cubicBezTo>
                <a:cubicBezTo>
                  <a:pt x="2891129" y="1647267"/>
                  <a:pt x="2891726" y="1644473"/>
                  <a:pt x="2895117" y="1642276"/>
                </a:cubicBezTo>
                <a:cubicBezTo>
                  <a:pt x="2892323" y="1641679"/>
                  <a:pt x="2888932" y="1643876"/>
                  <a:pt x="2885541" y="1646073"/>
                </a:cubicBezTo>
                <a:cubicBezTo>
                  <a:pt x="2885541" y="1646073"/>
                  <a:pt x="2885541" y="1646073"/>
                  <a:pt x="2889529" y="1641082"/>
                </a:cubicBezTo>
                <a:cubicBezTo>
                  <a:pt x="2889529" y="1641082"/>
                  <a:pt x="2889529" y="1641082"/>
                  <a:pt x="2892920" y="1638885"/>
                </a:cubicBezTo>
                <a:cubicBezTo>
                  <a:pt x="2892920" y="1638885"/>
                  <a:pt x="2892920" y="1638885"/>
                  <a:pt x="2892323" y="1641679"/>
                </a:cubicBezTo>
                <a:cubicBezTo>
                  <a:pt x="2900298" y="1631697"/>
                  <a:pt x="2903689" y="1629500"/>
                  <a:pt x="2907677" y="1624509"/>
                </a:cubicBezTo>
                <a:cubicBezTo>
                  <a:pt x="2907677" y="1624509"/>
                  <a:pt x="2910471" y="1625106"/>
                  <a:pt x="2911068" y="1622312"/>
                </a:cubicBezTo>
                <a:cubicBezTo>
                  <a:pt x="2911068" y="1622312"/>
                  <a:pt x="2911068" y="1622312"/>
                  <a:pt x="2913862" y="1622909"/>
                </a:cubicBezTo>
                <a:cubicBezTo>
                  <a:pt x="2913862" y="1622909"/>
                  <a:pt x="2916656" y="1623506"/>
                  <a:pt x="2916656" y="1623506"/>
                </a:cubicBezTo>
                <a:cubicBezTo>
                  <a:pt x="2917253" y="1620712"/>
                  <a:pt x="2917253" y="1620712"/>
                  <a:pt x="2917253" y="1620712"/>
                </a:cubicBezTo>
                <a:cubicBezTo>
                  <a:pt x="2917849" y="1617918"/>
                  <a:pt x="2920644" y="1618515"/>
                  <a:pt x="2920644" y="1618515"/>
                </a:cubicBezTo>
                <a:cubicBezTo>
                  <a:pt x="2920047" y="1621309"/>
                  <a:pt x="2916059" y="1626300"/>
                  <a:pt x="2915462" y="1629094"/>
                </a:cubicBezTo>
                <a:cubicBezTo>
                  <a:pt x="2926232" y="1619709"/>
                  <a:pt x="2937598" y="1607530"/>
                  <a:pt x="2945574" y="1597548"/>
                </a:cubicBezTo>
                <a:cubicBezTo>
                  <a:pt x="2948368" y="1598145"/>
                  <a:pt x="2948368" y="1598145"/>
                  <a:pt x="2948965" y="1595351"/>
                </a:cubicBezTo>
                <a:cubicBezTo>
                  <a:pt x="2951759" y="1595948"/>
                  <a:pt x="2952355" y="1593154"/>
                  <a:pt x="2952355" y="1593154"/>
                </a:cubicBezTo>
                <a:cubicBezTo>
                  <a:pt x="2960331" y="1583172"/>
                  <a:pt x="2967709" y="1575984"/>
                  <a:pt x="2977882" y="1569393"/>
                </a:cubicBezTo>
                <a:cubicBezTo>
                  <a:pt x="2977882" y="1569393"/>
                  <a:pt x="2980677" y="1569989"/>
                  <a:pt x="2978479" y="1566599"/>
                </a:cubicBezTo>
                <a:cubicBezTo>
                  <a:pt x="2981273" y="1567196"/>
                  <a:pt x="2981870" y="1564402"/>
                  <a:pt x="2985261" y="1562205"/>
                </a:cubicBezTo>
                <a:cubicBezTo>
                  <a:pt x="3006394" y="1531662"/>
                  <a:pt x="3043096" y="1510289"/>
                  <a:pt x="3069221" y="1483733"/>
                </a:cubicBezTo>
                <a:cubicBezTo>
                  <a:pt x="3076002" y="1479340"/>
                  <a:pt x="3077793" y="1470958"/>
                  <a:pt x="3084575" y="1466564"/>
                </a:cubicBezTo>
                <a:cubicBezTo>
                  <a:pt x="3099332" y="1452188"/>
                  <a:pt x="3123665" y="1434015"/>
                  <a:pt x="3134435" y="1424629"/>
                </a:cubicBezTo>
                <a:cubicBezTo>
                  <a:pt x="3155974" y="1405860"/>
                  <a:pt x="3180307" y="1387686"/>
                  <a:pt x="3204640" y="1369513"/>
                </a:cubicBezTo>
                <a:cubicBezTo>
                  <a:pt x="3204640" y="1369513"/>
                  <a:pt x="3207434" y="1370110"/>
                  <a:pt x="3207434" y="1370110"/>
                </a:cubicBezTo>
                <a:cubicBezTo>
                  <a:pt x="3207434" y="1370110"/>
                  <a:pt x="3207434" y="1370110"/>
                  <a:pt x="3208031" y="1367316"/>
                </a:cubicBezTo>
                <a:cubicBezTo>
                  <a:pt x="3220997" y="1361322"/>
                  <a:pt x="3234561" y="1352534"/>
                  <a:pt x="3245331" y="1343149"/>
                </a:cubicBezTo>
                <a:cubicBezTo>
                  <a:pt x="3248124" y="1343746"/>
                  <a:pt x="3248124" y="1343746"/>
                  <a:pt x="3248124" y="1343746"/>
                </a:cubicBezTo>
                <a:cubicBezTo>
                  <a:pt x="3251515" y="1341549"/>
                  <a:pt x="3258297" y="1337155"/>
                  <a:pt x="3261688" y="1334957"/>
                </a:cubicBezTo>
                <a:cubicBezTo>
                  <a:pt x="3261688" y="1334957"/>
                  <a:pt x="3264482" y="1335555"/>
                  <a:pt x="3264482" y="1335555"/>
                </a:cubicBezTo>
                <a:cubicBezTo>
                  <a:pt x="3267276" y="1336152"/>
                  <a:pt x="3267873" y="1333358"/>
                  <a:pt x="3270667" y="1333955"/>
                </a:cubicBezTo>
                <a:cubicBezTo>
                  <a:pt x="3270667" y="1333955"/>
                  <a:pt x="3271263" y="1331160"/>
                  <a:pt x="3274058" y="1331758"/>
                </a:cubicBezTo>
                <a:cubicBezTo>
                  <a:pt x="3274655" y="1328963"/>
                  <a:pt x="3274655" y="1328963"/>
                  <a:pt x="3275251" y="1326170"/>
                </a:cubicBezTo>
                <a:cubicBezTo>
                  <a:pt x="3278643" y="1323973"/>
                  <a:pt x="3285424" y="1319578"/>
                  <a:pt x="3291609" y="1317979"/>
                </a:cubicBezTo>
                <a:cubicBezTo>
                  <a:pt x="3295000" y="1315781"/>
                  <a:pt x="3297794" y="1316378"/>
                  <a:pt x="3304576" y="1311984"/>
                </a:cubicBezTo>
                <a:cubicBezTo>
                  <a:pt x="3304576" y="1311984"/>
                  <a:pt x="3307966" y="1309787"/>
                  <a:pt x="3311357" y="1307590"/>
                </a:cubicBezTo>
                <a:cubicBezTo>
                  <a:pt x="3311954" y="1304796"/>
                  <a:pt x="3315345" y="1302600"/>
                  <a:pt x="3318736" y="1300402"/>
                </a:cubicBezTo>
                <a:cubicBezTo>
                  <a:pt x="3318139" y="1303196"/>
                  <a:pt x="3320933" y="1303793"/>
                  <a:pt x="3320933" y="1303793"/>
                </a:cubicBezTo>
                <a:cubicBezTo>
                  <a:pt x="3334496" y="1295005"/>
                  <a:pt x="3335093" y="1292211"/>
                  <a:pt x="3346866" y="1291805"/>
                </a:cubicBezTo>
                <a:cubicBezTo>
                  <a:pt x="3349661" y="1292402"/>
                  <a:pt x="3350257" y="1289608"/>
                  <a:pt x="3355845" y="1290802"/>
                </a:cubicBezTo>
                <a:cubicBezTo>
                  <a:pt x="3355845" y="1290802"/>
                  <a:pt x="3355845" y="1290802"/>
                  <a:pt x="3356442" y="1288007"/>
                </a:cubicBezTo>
                <a:cubicBezTo>
                  <a:pt x="3353649" y="1287411"/>
                  <a:pt x="3350854" y="1286814"/>
                  <a:pt x="3350257" y="1289608"/>
                </a:cubicBezTo>
                <a:cubicBezTo>
                  <a:pt x="3350257" y="1289608"/>
                  <a:pt x="3350257" y="1289608"/>
                  <a:pt x="3347463" y="1289011"/>
                </a:cubicBezTo>
                <a:cubicBezTo>
                  <a:pt x="3347463" y="1289011"/>
                  <a:pt x="3347463" y="1289011"/>
                  <a:pt x="3350854" y="1286814"/>
                </a:cubicBezTo>
                <a:cubicBezTo>
                  <a:pt x="3354842" y="1281823"/>
                  <a:pt x="3376787" y="1274826"/>
                  <a:pt x="3376190" y="1277619"/>
                </a:cubicBezTo>
                <a:cubicBezTo>
                  <a:pt x="3382972" y="1273226"/>
                  <a:pt x="3376787" y="1274826"/>
                  <a:pt x="3377981" y="1269238"/>
                </a:cubicBezTo>
                <a:cubicBezTo>
                  <a:pt x="3377981" y="1269238"/>
                  <a:pt x="3380775" y="1269834"/>
                  <a:pt x="3380775" y="1269834"/>
                </a:cubicBezTo>
                <a:cubicBezTo>
                  <a:pt x="3384166" y="1267637"/>
                  <a:pt x="3393741" y="1263840"/>
                  <a:pt x="3393741" y="1263840"/>
                </a:cubicBezTo>
                <a:cubicBezTo>
                  <a:pt x="3393145" y="1266634"/>
                  <a:pt x="3393145" y="1266634"/>
                  <a:pt x="3392547" y="1269428"/>
                </a:cubicBezTo>
                <a:cubicBezTo>
                  <a:pt x="3392547" y="1269428"/>
                  <a:pt x="3392547" y="1269428"/>
                  <a:pt x="3395342" y="1270025"/>
                </a:cubicBezTo>
                <a:cubicBezTo>
                  <a:pt x="3395939" y="1267231"/>
                  <a:pt x="3395939" y="1267231"/>
                  <a:pt x="3395939" y="1267231"/>
                </a:cubicBezTo>
                <a:cubicBezTo>
                  <a:pt x="3395939" y="1267231"/>
                  <a:pt x="3396535" y="1264438"/>
                  <a:pt x="3399330" y="1265034"/>
                </a:cubicBezTo>
                <a:cubicBezTo>
                  <a:pt x="3406111" y="1260640"/>
                  <a:pt x="3405515" y="1263434"/>
                  <a:pt x="3408309" y="1264031"/>
                </a:cubicBezTo>
                <a:cubicBezTo>
                  <a:pt x="3414493" y="1262430"/>
                  <a:pt x="3412297" y="1259040"/>
                  <a:pt x="3415687" y="1256843"/>
                </a:cubicBezTo>
                <a:cubicBezTo>
                  <a:pt x="3416284" y="1254049"/>
                  <a:pt x="3416284" y="1254049"/>
                  <a:pt x="3416284" y="1254049"/>
                </a:cubicBezTo>
                <a:cubicBezTo>
                  <a:pt x="3421872" y="1255243"/>
                  <a:pt x="3424666" y="1255839"/>
                  <a:pt x="3433645" y="1254837"/>
                </a:cubicBezTo>
                <a:cubicBezTo>
                  <a:pt x="3430851" y="1254240"/>
                  <a:pt x="3431447" y="1251446"/>
                  <a:pt x="3438826" y="1244258"/>
                </a:cubicBezTo>
                <a:cubicBezTo>
                  <a:pt x="3441620" y="1244855"/>
                  <a:pt x="3445011" y="1242658"/>
                  <a:pt x="3448402" y="1240460"/>
                </a:cubicBezTo>
                <a:cubicBezTo>
                  <a:pt x="3448402" y="1240460"/>
                  <a:pt x="3447805" y="1243254"/>
                  <a:pt x="3450599" y="1243851"/>
                </a:cubicBezTo>
                <a:cubicBezTo>
                  <a:pt x="3466957" y="1235660"/>
                  <a:pt x="3466957" y="1235660"/>
                  <a:pt x="3479326" y="1232460"/>
                </a:cubicBezTo>
                <a:cubicBezTo>
                  <a:pt x="3474335" y="1228472"/>
                  <a:pt x="3489499" y="1225869"/>
                  <a:pt x="3499074" y="1222072"/>
                </a:cubicBezTo>
                <a:cubicBezTo>
                  <a:pt x="3499074" y="1222072"/>
                  <a:pt x="3498477" y="1224866"/>
                  <a:pt x="3501272" y="1225462"/>
                </a:cubicBezTo>
                <a:cubicBezTo>
                  <a:pt x="3504663" y="1223266"/>
                  <a:pt x="3504663" y="1223266"/>
                  <a:pt x="3504663" y="1223266"/>
                </a:cubicBezTo>
                <a:cubicBezTo>
                  <a:pt x="3505259" y="1220472"/>
                  <a:pt x="3502465" y="1219875"/>
                  <a:pt x="3499671" y="1219278"/>
                </a:cubicBezTo>
                <a:cubicBezTo>
                  <a:pt x="3502465" y="1219875"/>
                  <a:pt x="3502465" y="1219875"/>
                  <a:pt x="3502465" y="1219875"/>
                </a:cubicBezTo>
                <a:cubicBezTo>
                  <a:pt x="3523814" y="1215671"/>
                  <a:pt x="3536781" y="1209677"/>
                  <a:pt x="3551945" y="1207074"/>
                </a:cubicBezTo>
                <a:cubicBezTo>
                  <a:pt x="3540769" y="1204686"/>
                  <a:pt x="3569902" y="1205068"/>
                  <a:pt x="3567705" y="1201676"/>
                </a:cubicBezTo>
                <a:cubicBezTo>
                  <a:pt x="3570499" y="1202274"/>
                  <a:pt x="3573293" y="1202870"/>
                  <a:pt x="3576683" y="1200674"/>
                </a:cubicBezTo>
                <a:cubicBezTo>
                  <a:pt x="3580074" y="1198477"/>
                  <a:pt x="3580074" y="1198477"/>
                  <a:pt x="3580074" y="1198477"/>
                </a:cubicBezTo>
                <a:cubicBezTo>
                  <a:pt x="3580074" y="1198477"/>
                  <a:pt x="3577280" y="1197879"/>
                  <a:pt x="3574487" y="1197283"/>
                </a:cubicBezTo>
                <a:lnTo>
                  <a:pt x="3573129" y="1197634"/>
                </a:lnTo>
                <a:lnTo>
                  <a:pt x="3575003" y="1195932"/>
                </a:lnTo>
                <a:cubicBezTo>
                  <a:pt x="3581268" y="1192888"/>
                  <a:pt x="3592641" y="1190936"/>
                  <a:pt x="3591441" y="1186297"/>
                </a:cubicBezTo>
                <a:cubicBezTo>
                  <a:pt x="3600419" y="1185294"/>
                  <a:pt x="3581268" y="1192888"/>
                  <a:pt x="3589053" y="1197473"/>
                </a:cubicBezTo>
                <a:cubicBezTo>
                  <a:pt x="3595835" y="1193079"/>
                  <a:pt x="3598629" y="1193676"/>
                  <a:pt x="3601423" y="1194273"/>
                </a:cubicBezTo>
                <a:cubicBezTo>
                  <a:pt x="3608205" y="1189878"/>
                  <a:pt x="3615584" y="1182691"/>
                  <a:pt x="3626759" y="1185078"/>
                </a:cubicBezTo>
                <a:cubicBezTo>
                  <a:pt x="3623965" y="1184482"/>
                  <a:pt x="3623368" y="1187276"/>
                  <a:pt x="3620574" y="1186679"/>
                </a:cubicBezTo>
                <a:cubicBezTo>
                  <a:pt x="3620574" y="1186679"/>
                  <a:pt x="3619977" y="1189473"/>
                  <a:pt x="3619977" y="1189473"/>
                </a:cubicBezTo>
                <a:cubicBezTo>
                  <a:pt x="3619977" y="1189473"/>
                  <a:pt x="3619977" y="1189473"/>
                  <a:pt x="3623368" y="1187276"/>
                </a:cubicBezTo>
                <a:cubicBezTo>
                  <a:pt x="3626759" y="1185078"/>
                  <a:pt x="3629553" y="1185675"/>
                  <a:pt x="3630150" y="1182882"/>
                </a:cubicBezTo>
                <a:cubicBezTo>
                  <a:pt x="3631750" y="1189066"/>
                  <a:pt x="3645911" y="1177484"/>
                  <a:pt x="3653695" y="1182069"/>
                </a:cubicBezTo>
                <a:cubicBezTo>
                  <a:pt x="3662675" y="1181066"/>
                  <a:pt x="3666065" y="1178869"/>
                  <a:pt x="3663869" y="1175478"/>
                </a:cubicBezTo>
                <a:cubicBezTo>
                  <a:pt x="3676238" y="1172278"/>
                  <a:pt x="3662675" y="1181066"/>
                  <a:pt x="3665469" y="1181662"/>
                </a:cubicBezTo>
                <a:cubicBezTo>
                  <a:pt x="3676238" y="1172278"/>
                  <a:pt x="3689611" y="1178056"/>
                  <a:pt x="3702577" y="1172062"/>
                </a:cubicBezTo>
                <a:cubicBezTo>
                  <a:pt x="3703175" y="1169268"/>
                  <a:pt x="3690805" y="1172469"/>
                  <a:pt x="3691401" y="1169674"/>
                </a:cubicBezTo>
                <a:cubicBezTo>
                  <a:pt x="3711557" y="1171059"/>
                  <a:pt x="3725120" y="1162270"/>
                  <a:pt x="3739090" y="1165255"/>
                </a:cubicBezTo>
                <a:cubicBezTo>
                  <a:pt x="3742481" y="1163058"/>
                  <a:pt x="3736893" y="1161864"/>
                  <a:pt x="3736893" y="1161864"/>
                </a:cubicBezTo>
                <a:cubicBezTo>
                  <a:pt x="3745871" y="1160862"/>
                  <a:pt x="3751460" y="1162055"/>
                  <a:pt x="3753656" y="1165446"/>
                </a:cubicBezTo>
                <a:cubicBezTo>
                  <a:pt x="3758241" y="1157661"/>
                  <a:pt x="3754253" y="1162652"/>
                  <a:pt x="3764425" y="1156060"/>
                </a:cubicBezTo>
                <a:cubicBezTo>
                  <a:pt x="3772211" y="1160646"/>
                  <a:pt x="3781190" y="1159642"/>
                  <a:pt x="3791362" y="1153051"/>
                </a:cubicBezTo>
                <a:cubicBezTo>
                  <a:pt x="3805929" y="1153242"/>
                  <a:pt x="3792963" y="1159236"/>
                  <a:pt x="3799147" y="1157636"/>
                </a:cubicBezTo>
                <a:cubicBezTo>
                  <a:pt x="3810920" y="1157230"/>
                  <a:pt x="3805333" y="1156036"/>
                  <a:pt x="3803135" y="1152645"/>
                </a:cubicBezTo>
                <a:cubicBezTo>
                  <a:pt x="3830071" y="1149636"/>
                  <a:pt x="3841845" y="1149229"/>
                  <a:pt x="3856411" y="1149420"/>
                </a:cubicBezTo>
                <a:cubicBezTo>
                  <a:pt x="3868184" y="1149014"/>
                  <a:pt x="3879957" y="1148607"/>
                  <a:pt x="3900708" y="1147197"/>
                </a:cubicBezTo>
                <a:cubicBezTo>
                  <a:pt x="3900708" y="1147197"/>
                  <a:pt x="3895120" y="1146004"/>
                  <a:pt x="3895717" y="1143210"/>
                </a:cubicBezTo>
                <a:cubicBezTo>
                  <a:pt x="3906893" y="1145598"/>
                  <a:pt x="3924254" y="1146385"/>
                  <a:pt x="3915275" y="1147388"/>
                </a:cubicBezTo>
                <a:cubicBezTo>
                  <a:pt x="3927048" y="1146982"/>
                  <a:pt x="3945005" y="1144976"/>
                  <a:pt x="3962366" y="1145763"/>
                </a:cubicBezTo>
                <a:cubicBezTo>
                  <a:pt x="3963369" y="1154742"/>
                  <a:pt x="3971345" y="1144760"/>
                  <a:pt x="3962963" y="1142969"/>
                </a:cubicBezTo>
                <a:cubicBezTo>
                  <a:pt x="3969147" y="1141369"/>
                  <a:pt x="3979726" y="1146550"/>
                  <a:pt x="3980920" y="1140963"/>
                </a:cubicBezTo>
                <a:cubicBezTo>
                  <a:pt x="3981721" y="1144055"/>
                  <a:pt x="3986759" y="1144402"/>
                  <a:pt x="3990475" y="1144100"/>
                </a:cubicBezTo>
                <a:lnTo>
                  <a:pt x="3994308" y="1143433"/>
                </a:lnTo>
                <a:lnTo>
                  <a:pt x="4029412" y="1144750"/>
                </a:lnTo>
                <a:cubicBezTo>
                  <a:pt x="4040686" y="1144967"/>
                  <a:pt x="4051461" y="1145808"/>
                  <a:pt x="4063736" y="1149892"/>
                </a:cubicBezTo>
                <a:cubicBezTo>
                  <a:pt x="4060942" y="1149295"/>
                  <a:pt x="4058148" y="1148698"/>
                  <a:pt x="4058745" y="1145904"/>
                </a:cubicBezTo>
                <a:cubicBezTo>
                  <a:pt x="4060942" y="1149295"/>
                  <a:pt x="4084488" y="1148482"/>
                  <a:pt x="4078303" y="1150082"/>
                </a:cubicBezTo>
                <a:cubicBezTo>
                  <a:pt x="4083294" y="1154070"/>
                  <a:pt x="4108033" y="1147669"/>
                  <a:pt x="4109634" y="1153854"/>
                </a:cubicBezTo>
                <a:cubicBezTo>
                  <a:pt x="4132176" y="1144063"/>
                  <a:pt x="4151733" y="1148241"/>
                  <a:pt x="4185858" y="1152611"/>
                </a:cubicBezTo>
                <a:cubicBezTo>
                  <a:pt x="4188652" y="1153208"/>
                  <a:pt x="4191446" y="1153804"/>
                  <a:pt x="4191446" y="1153804"/>
                </a:cubicBezTo>
                <a:cubicBezTo>
                  <a:pt x="4191446" y="1153804"/>
                  <a:pt x="4191446" y="1153804"/>
                  <a:pt x="4194240" y="1154401"/>
                </a:cubicBezTo>
                <a:cubicBezTo>
                  <a:pt x="4194240" y="1154401"/>
                  <a:pt x="4199828" y="1155595"/>
                  <a:pt x="4204019" y="1156490"/>
                </a:cubicBezTo>
                <a:lnTo>
                  <a:pt x="4205416" y="1156789"/>
                </a:lnTo>
                <a:cubicBezTo>
                  <a:pt x="4212604" y="1164168"/>
                  <a:pt x="4251313" y="1160752"/>
                  <a:pt x="4261295" y="1168727"/>
                </a:cubicBezTo>
                <a:cubicBezTo>
                  <a:pt x="4275862" y="1168918"/>
                  <a:pt x="4262489" y="1163140"/>
                  <a:pt x="4279253" y="1166721"/>
                </a:cubicBezTo>
                <a:cubicBezTo>
                  <a:pt x="4282046" y="1167318"/>
                  <a:pt x="4284841" y="1167915"/>
                  <a:pt x="4287635" y="1168512"/>
                </a:cubicBezTo>
                <a:cubicBezTo>
                  <a:pt x="4296016" y="1170302"/>
                  <a:pt x="4304996" y="1169299"/>
                  <a:pt x="4313377" y="1171090"/>
                </a:cubicBezTo>
                <a:cubicBezTo>
                  <a:pt x="4327347" y="1174075"/>
                  <a:pt x="4329544" y="1177466"/>
                  <a:pt x="4334535" y="1181454"/>
                </a:cubicBezTo>
                <a:cubicBezTo>
                  <a:pt x="4342917" y="1183244"/>
                  <a:pt x="4335729" y="1175865"/>
                  <a:pt x="4344111" y="1177656"/>
                </a:cubicBezTo>
                <a:cubicBezTo>
                  <a:pt x="4344111" y="1177656"/>
                  <a:pt x="4344111" y="1177656"/>
                  <a:pt x="4346308" y="1181047"/>
                </a:cubicBezTo>
                <a:cubicBezTo>
                  <a:pt x="4346308" y="1181047"/>
                  <a:pt x="4367466" y="1191410"/>
                  <a:pt x="4365866" y="1185225"/>
                </a:cubicBezTo>
                <a:cubicBezTo>
                  <a:pt x="4371453" y="1186419"/>
                  <a:pt x="4379836" y="1188210"/>
                  <a:pt x="4379238" y="1191004"/>
                </a:cubicBezTo>
                <a:cubicBezTo>
                  <a:pt x="4384826" y="1192198"/>
                  <a:pt x="4382032" y="1191601"/>
                  <a:pt x="4385424" y="1189404"/>
                </a:cubicBezTo>
                <a:cubicBezTo>
                  <a:pt x="4388218" y="1190001"/>
                  <a:pt x="4387621" y="1192795"/>
                  <a:pt x="4387023" y="1195588"/>
                </a:cubicBezTo>
                <a:cubicBezTo>
                  <a:pt x="4389817" y="1196185"/>
                  <a:pt x="4402187" y="1192986"/>
                  <a:pt x="4407178" y="1196974"/>
                </a:cubicBezTo>
                <a:cubicBezTo>
                  <a:pt x="4412766" y="1198167"/>
                  <a:pt x="4402187" y="1192986"/>
                  <a:pt x="4413363" y="1195373"/>
                </a:cubicBezTo>
                <a:cubicBezTo>
                  <a:pt x="4418951" y="1196567"/>
                  <a:pt x="4421745" y="1197164"/>
                  <a:pt x="4424539" y="1197761"/>
                </a:cubicBezTo>
                <a:cubicBezTo>
                  <a:pt x="4424539" y="1197761"/>
                  <a:pt x="4427333" y="1198358"/>
                  <a:pt x="4427333" y="1198358"/>
                </a:cubicBezTo>
                <a:cubicBezTo>
                  <a:pt x="4427333" y="1198358"/>
                  <a:pt x="4429530" y="1201749"/>
                  <a:pt x="4429530" y="1201749"/>
                </a:cubicBezTo>
                <a:cubicBezTo>
                  <a:pt x="4429530" y="1201749"/>
                  <a:pt x="4429530" y="1201749"/>
                  <a:pt x="4432323" y="1202346"/>
                </a:cubicBezTo>
                <a:cubicBezTo>
                  <a:pt x="4432323" y="1202346"/>
                  <a:pt x="4435715" y="1200148"/>
                  <a:pt x="4435715" y="1200148"/>
                </a:cubicBezTo>
                <a:cubicBezTo>
                  <a:pt x="4435715" y="1200148"/>
                  <a:pt x="4435715" y="1200148"/>
                  <a:pt x="4433518" y="1196757"/>
                </a:cubicBezTo>
                <a:cubicBezTo>
                  <a:pt x="4430724" y="1196160"/>
                  <a:pt x="4425136" y="1194967"/>
                  <a:pt x="4422342" y="1194369"/>
                </a:cubicBezTo>
                <a:lnTo>
                  <a:pt x="4419548" y="1193773"/>
                </a:lnTo>
                <a:cubicBezTo>
                  <a:pt x="4420742" y="1188185"/>
                  <a:pt x="4392205" y="1185010"/>
                  <a:pt x="4387214" y="1181022"/>
                </a:cubicBezTo>
                <a:cubicBezTo>
                  <a:pt x="4403977" y="1184604"/>
                  <a:pt x="4422939" y="1191576"/>
                  <a:pt x="4434711" y="1191170"/>
                </a:cubicBezTo>
                <a:cubicBezTo>
                  <a:pt x="4434711" y="1191170"/>
                  <a:pt x="4434711" y="1191170"/>
                  <a:pt x="4437506" y="1191767"/>
                </a:cubicBezTo>
                <a:cubicBezTo>
                  <a:pt x="4437506" y="1191767"/>
                  <a:pt x="4437506" y="1191767"/>
                  <a:pt x="4434114" y="1193963"/>
                </a:cubicBezTo>
                <a:cubicBezTo>
                  <a:pt x="4434114" y="1193963"/>
                  <a:pt x="4434114" y="1193963"/>
                  <a:pt x="4436311" y="1197354"/>
                </a:cubicBezTo>
                <a:cubicBezTo>
                  <a:pt x="4439106" y="1197951"/>
                  <a:pt x="4439106" y="1197951"/>
                  <a:pt x="4441900" y="1198548"/>
                </a:cubicBezTo>
                <a:cubicBezTo>
                  <a:pt x="4441900" y="1198548"/>
                  <a:pt x="4441900" y="1198548"/>
                  <a:pt x="4441303" y="1201343"/>
                </a:cubicBezTo>
                <a:cubicBezTo>
                  <a:pt x="4440706" y="1204136"/>
                  <a:pt x="4442903" y="1207527"/>
                  <a:pt x="4444503" y="1213712"/>
                </a:cubicBezTo>
                <a:cubicBezTo>
                  <a:pt x="4444503" y="1213712"/>
                  <a:pt x="4444503" y="1213712"/>
                  <a:pt x="4433327" y="1211325"/>
                </a:cubicBezTo>
                <a:cubicBezTo>
                  <a:pt x="4430533" y="1210727"/>
                  <a:pt x="4427739" y="1210131"/>
                  <a:pt x="4427739" y="1210131"/>
                </a:cubicBezTo>
                <a:cubicBezTo>
                  <a:pt x="4427739" y="1210131"/>
                  <a:pt x="4429936" y="1213521"/>
                  <a:pt x="4432730" y="1214118"/>
                </a:cubicBezTo>
                <a:cubicBezTo>
                  <a:pt x="4432730" y="1214118"/>
                  <a:pt x="4432730" y="1214118"/>
                  <a:pt x="4446700" y="1217102"/>
                </a:cubicBezTo>
                <a:cubicBezTo>
                  <a:pt x="4452288" y="1218296"/>
                  <a:pt x="4455082" y="1218893"/>
                  <a:pt x="4460670" y="1220087"/>
                </a:cubicBezTo>
                <a:cubicBezTo>
                  <a:pt x="4463464" y="1220684"/>
                  <a:pt x="4468455" y="1224672"/>
                  <a:pt x="4471248" y="1225269"/>
                </a:cubicBezTo>
                <a:cubicBezTo>
                  <a:pt x="4471248" y="1225269"/>
                  <a:pt x="4470652" y="1228063"/>
                  <a:pt x="4470652" y="1228063"/>
                </a:cubicBezTo>
                <a:cubicBezTo>
                  <a:pt x="4470652" y="1228063"/>
                  <a:pt x="4473446" y="1228660"/>
                  <a:pt x="4476240" y="1229257"/>
                </a:cubicBezTo>
                <a:cubicBezTo>
                  <a:pt x="4476240" y="1229257"/>
                  <a:pt x="4479033" y="1229854"/>
                  <a:pt x="4479033" y="1229854"/>
                </a:cubicBezTo>
                <a:cubicBezTo>
                  <a:pt x="4479033" y="1229854"/>
                  <a:pt x="4479630" y="1227060"/>
                  <a:pt x="4476837" y="1226463"/>
                </a:cubicBezTo>
                <a:cubicBezTo>
                  <a:pt x="4479630" y="1227060"/>
                  <a:pt x="4479630" y="1227060"/>
                  <a:pt x="4479630" y="1227060"/>
                </a:cubicBezTo>
                <a:cubicBezTo>
                  <a:pt x="4482425" y="1227656"/>
                  <a:pt x="4481827" y="1230451"/>
                  <a:pt x="4487416" y="1231644"/>
                </a:cubicBezTo>
                <a:cubicBezTo>
                  <a:pt x="4487416" y="1231644"/>
                  <a:pt x="4490209" y="1232241"/>
                  <a:pt x="4490807" y="1229447"/>
                </a:cubicBezTo>
                <a:cubicBezTo>
                  <a:pt x="4490807" y="1229447"/>
                  <a:pt x="4488013" y="1228851"/>
                  <a:pt x="4488013" y="1228851"/>
                </a:cubicBezTo>
                <a:cubicBezTo>
                  <a:pt x="4485219" y="1228254"/>
                  <a:pt x="4482425" y="1227656"/>
                  <a:pt x="4480228" y="1224266"/>
                </a:cubicBezTo>
                <a:cubicBezTo>
                  <a:pt x="4480228" y="1224266"/>
                  <a:pt x="4477434" y="1223669"/>
                  <a:pt x="4477434" y="1223669"/>
                </a:cubicBezTo>
                <a:cubicBezTo>
                  <a:pt x="4471846" y="1222475"/>
                  <a:pt x="4466855" y="1218488"/>
                  <a:pt x="4458473" y="1216697"/>
                </a:cubicBezTo>
                <a:cubicBezTo>
                  <a:pt x="4455679" y="1216100"/>
                  <a:pt x="4452885" y="1215503"/>
                  <a:pt x="4450091" y="1214906"/>
                </a:cubicBezTo>
                <a:cubicBezTo>
                  <a:pt x="4447894" y="1211515"/>
                  <a:pt x="4449088" y="1205927"/>
                  <a:pt x="4449685" y="1203133"/>
                </a:cubicBezTo>
                <a:cubicBezTo>
                  <a:pt x="4449685" y="1203133"/>
                  <a:pt x="4452478" y="1203730"/>
                  <a:pt x="4455272" y="1204327"/>
                </a:cubicBezTo>
                <a:lnTo>
                  <a:pt x="4466448" y="1206714"/>
                </a:lnTo>
                <a:cubicBezTo>
                  <a:pt x="4469648" y="1219084"/>
                  <a:pt x="4499379" y="1216672"/>
                  <a:pt x="4523330" y="1227632"/>
                </a:cubicBezTo>
                <a:cubicBezTo>
                  <a:pt x="4522734" y="1230426"/>
                  <a:pt x="4522734" y="1230426"/>
                  <a:pt x="4522734" y="1230426"/>
                </a:cubicBezTo>
                <a:cubicBezTo>
                  <a:pt x="4522734" y="1230426"/>
                  <a:pt x="4525528" y="1231023"/>
                  <a:pt x="4525528" y="1231023"/>
                </a:cubicBezTo>
                <a:cubicBezTo>
                  <a:pt x="4528322" y="1231620"/>
                  <a:pt x="4528322" y="1231620"/>
                  <a:pt x="4528919" y="1228826"/>
                </a:cubicBezTo>
                <a:cubicBezTo>
                  <a:pt x="4542292" y="1234604"/>
                  <a:pt x="4554417" y="1239386"/>
                  <a:pt x="4566891" y="1244242"/>
                </a:cubicBezTo>
                <a:lnTo>
                  <a:pt x="4574183" y="1247129"/>
                </a:lnTo>
                <a:lnTo>
                  <a:pt x="4574434" y="1243909"/>
                </a:lnTo>
                <a:lnTo>
                  <a:pt x="4568885" y="1241746"/>
                </a:lnTo>
                <a:cubicBezTo>
                  <a:pt x="4556411" y="1236890"/>
                  <a:pt x="4544286" y="1232108"/>
                  <a:pt x="4529516" y="1226031"/>
                </a:cubicBezTo>
                <a:cubicBezTo>
                  <a:pt x="4529516" y="1226031"/>
                  <a:pt x="4529516" y="1226031"/>
                  <a:pt x="4526722" y="1225434"/>
                </a:cubicBezTo>
                <a:cubicBezTo>
                  <a:pt x="4521432" y="1222843"/>
                  <a:pt x="4512101" y="1218659"/>
                  <a:pt x="4501997" y="1214674"/>
                </a:cubicBezTo>
                <a:lnTo>
                  <a:pt x="4472634" y="1205115"/>
                </a:lnTo>
                <a:lnTo>
                  <a:pt x="4538495" y="1225029"/>
                </a:lnTo>
                <a:lnTo>
                  <a:pt x="4574791" y="1239342"/>
                </a:lnTo>
                <a:lnTo>
                  <a:pt x="4574913" y="1237775"/>
                </a:lnTo>
                <a:cubicBezTo>
                  <a:pt x="4572317" y="1229237"/>
                  <a:pt x="4575432" y="1228759"/>
                  <a:pt x="4581997" y="1225837"/>
                </a:cubicBezTo>
                <a:cubicBezTo>
                  <a:pt x="4599390" y="1218699"/>
                  <a:pt x="4600873" y="1215919"/>
                  <a:pt x="4600280" y="1195584"/>
                </a:cubicBezTo>
                <a:cubicBezTo>
                  <a:pt x="4599464" y="1194433"/>
                  <a:pt x="4598648" y="1193282"/>
                  <a:pt x="4599798" y="1192467"/>
                </a:cubicBezTo>
                <a:cubicBezTo>
                  <a:pt x="4599983" y="1185417"/>
                  <a:pt x="4601800" y="1180671"/>
                  <a:pt x="4607548" y="1176597"/>
                </a:cubicBezTo>
                <a:cubicBezTo>
                  <a:pt x="4614446" y="1171709"/>
                  <a:pt x="4616227" y="1179095"/>
                  <a:pt x="4619824" y="1181734"/>
                </a:cubicBezTo>
                <a:cubicBezTo>
                  <a:pt x="4631433" y="1190803"/>
                  <a:pt x="4637329" y="1191813"/>
                  <a:pt x="4643597" y="1178724"/>
                </a:cubicBezTo>
                <a:cubicBezTo>
                  <a:pt x="4648622" y="1169974"/>
                  <a:pt x="4654667" y="1162663"/>
                  <a:pt x="4661467" y="1156114"/>
                </a:cubicBezTo>
                <a:lnTo>
                  <a:pt x="4666988" y="1151669"/>
                </a:lnTo>
                <a:lnTo>
                  <a:pt x="4651588" y="1146938"/>
                </a:lnTo>
                <a:cubicBezTo>
                  <a:pt x="4640005" y="1132778"/>
                  <a:pt x="4604878" y="1119430"/>
                  <a:pt x="4585320" y="1115252"/>
                </a:cubicBezTo>
                <a:cubicBezTo>
                  <a:pt x="4585320" y="1115252"/>
                  <a:pt x="4585320" y="1115252"/>
                  <a:pt x="4588113" y="1115849"/>
                </a:cubicBezTo>
                <a:cubicBezTo>
                  <a:pt x="4590907" y="1116446"/>
                  <a:pt x="4590907" y="1116446"/>
                  <a:pt x="4590907" y="1116446"/>
                </a:cubicBezTo>
                <a:cubicBezTo>
                  <a:pt x="4591505" y="1113652"/>
                  <a:pt x="4588710" y="1113054"/>
                  <a:pt x="4585917" y="1112458"/>
                </a:cubicBezTo>
                <a:cubicBezTo>
                  <a:pt x="4585917" y="1112458"/>
                  <a:pt x="4583123" y="1111861"/>
                  <a:pt x="4583123" y="1111861"/>
                </a:cubicBezTo>
                <a:lnTo>
                  <a:pt x="4584157" y="1110245"/>
                </a:lnTo>
                <a:lnTo>
                  <a:pt x="4663965" y="1139633"/>
                </a:lnTo>
                <a:lnTo>
                  <a:pt x="4674952" y="1145257"/>
                </a:lnTo>
                <a:lnTo>
                  <a:pt x="4683872" y="1138075"/>
                </a:lnTo>
                <a:lnTo>
                  <a:pt x="4696786" y="1124395"/>
                </a:lnTo>
                <a:lnTo>
                  <a:pt x="4529968" y="1071906"/>
                </a:lnTo>
                <a:cubicBezTo>
                  <a:pt x="4357605" y="1026723"/>
                  <a:pt x="4181051" y="1006743"/>
                  <a:pt x="4000970" y="1006479"/>
                </a:cubicBezTo>
                <a:cubicBezTo>
                  <a:pt x="3913477" y="1007193"/>
                  <a:pt x="3827403" y="1023980"/>
                  <a:pt x="3739167" y="1028176"/>
                </a:cubicBezTo>
                <a:cubicBezTo>
                  <a:pt x="3698405" y="1031597"/>
                  <a:pt x="3660132" y="1040401"/>
                  <a:pt x="3624517" y="1059477"/>
                </a:cubicBezTo>
                <a:lnTo>
                  <a:pt x="3501395" y="1125286"/>
                </a:lnTo>
                <a:lnTo>
                  <a:pt x="3498368" y="1126242"/>
                </a:lnTo>
                <a:cubicBezTo>
                  <a:pt x="3487395" y="1129741"/>
                  <a:pt x="3475574" y="1133789"/>
                  <a:pt x="3464303" y="1138684"/>
                </a:cubicBezTo>
                <a:cubicBezTo>
                  <a:pt x="3458118" y="1140284"/>
                  <a:pt x="3451933" y="1141885"/>
                  <a:pt x="3445749" y="1143485"/>
                </a:cubicBezTo>
                <a:cubicBezTo>
                  <a:pt x="3458715" y="1137491"/>
                  <a:pt x="3429987" y="1148883"/>
                  <a:pt x="3443551" y="1140094"/>
                </a:cubicBezTo>
                <a:cubicBezTo>
                  <a:pt x="3443551" y="1140094"/>
                  <a:pt x="3443551" y="1140094"/>
                  <a:pt x="3446345" y="1140691"/>
                </a:cubicBezTo>
                <a:cubicBezTo>
                  <a:pt x="3446345" y="1140691"/>
                  <a:pt x="3449140" y="1141288"/>
                  <a:pt x="3449737" y="1138494"/>
                </a:cubicBezTo>
                <a:cubicBezTo>
                  <a:pt x="3449737" y="1138494"/>
                  <a:pt x="3449737" y="1138494"/>
                  <a:pt x="3452530" y="1139091"/>
                </a:cubicBezTo>
                <a:cubicBezTo>
                  <a:pt x="3452530" y="1139091"/>
                  <a:pt x="3453127" y="1136296"/>
                  <a:pt x="3453127" y="1136296"/>
                </a:cubicBezTo>
                <a:cubicBezTo>
                  <a:pt x="3450333" y="1135700"/>
                  <a:pt x="3450333" y="1135700"/>
                  <a:pt x="3447539" y="1135103"/>
                </a:cubicBezTo>
                <a:cubicBezTo>
                  <a:pt x="3457115" y="1131306"/>
                  <a:pt x="3482858" y="1133884"/>
                  <a:pt x="3475072" y="1129300"/>
                </a:cubicBezTo>
                <a:cubicBezTo>
                  <a:pt x="3475072" y="1129300"/>
                  <a:pt x="3477866" y="1129897"/>
                  <a:pt x="3478463" y="1127103"/>
                </a:cubicBezTo>
                <a:cubicBezTo>
                  <a:pt x="3491430" y="1121109"/>
                  <a:pt x="3464493" y="1124118"/>
                  <a:pt x="3469484" y="1128106"/>
                </a:cubicBezTo>
                <a:cubicBezTo>
                  <a:pt x="3469484" y="1128106"/>
                  <a:pt x="3466691" y="1127509"/>
                  <a:pt x="3466691" y="1127509"/>
                </a:cubicBezTo>
                <a:cubicBezTo>
                  <a:pt x="3466691" y="1127509"/>
                  <a:pt x="3463897" y="1126912"/>
                  <a:pt x="3463897" y="1126912"/>
                </a:cubicBezTo>
                <a:cubicBezTo>
                  <a:pt x="3463300" y="1129706"/>
                  <a:pt x="3463300" y="1129706"/>
                  <a:pt x="3463300" y="1129706"/>
                </a:cubicBezTo>
                <a:cubicBezTo>
                  <a:pt x="3463300" y="1129706"/>
                  <a:pt x="3466094" y="1130302"/>
                  <a:pt x="3466094" y="1130302"/>
                </a:cubicBezTo>
                <a:cubicBezTo>
                  <a:pt x="3459909" y="1131903"/>
                  <a:pt x="3454321" y="1130709"/>
                  <a:pt x="3447539" y="1135103"/>
                </a:cubicBezTo>
                <a:cubicBezTo>
                  <a:pt x="3447539" y="1135103"/>
                  <a:pt x="3447539" y="1135103"/>
                  <a:pt x="3445342" y="1131712"/>
                </a:cubicBezTo>
                <a:cubicBezTo>
                  <a:pt x="3445342" y="1131712"/>
                  <a:pt x="3445342" y="1131712"/>
                  <a:pt x="3441951" y="1133909"/>
                </a:cubicBezTo>
                <a:cubicBezTo>
                  <a:pt x="3441951" y="1133909"/>
                  <a:pt x="3441354" y="1136703"/>
                  <a:pt x="3441354" y="1136703"/>
                </a:cubicBezTo>
                <a:cubicBezTo>
                  <a:pt x="3437963" y="1138901"/>
                  <a:pt x="3437963" y="1138901"/>
                  <a:pt x="3434573" y="1141098"/>
                </a:cubicBezTo>
                <a:cubicBezTo>
                  <a:pt x="3431778" y="1140500"/>
                  <a:pt x="3431778" y="1140500"/>
                  <a:pt x="3431181" y="1143294"/>
                </a:cubicBezTo>
                <a:cubicBezTo>
                  <a:pt x="3431181" y="1143294"/>
                  <a:pt x="3431181" y="1143294"/>
                  <a:pt x="3428388" y="1142698"/>
                </a:cubicBezTo>
                <a:cubicBezTo>
                  <a:pt x="3422203" y="1144297"/>
                  <a:pt x="3416018" y="1145898"/>
                  <a:pt x="3415421" y="1148691"/>
                </a:cubicBezTo>
                <a:cubicBezTo>
                  <a:pt x="3412627" y="1148094"/>
                  <a:pt x="3412627" y="1148094"/>
                  <a:pt x="3412031" y="1150889"/>
                </a:cubicBezTo>
                <a:cubicBezTo>
                  <a:pt x="3412031" y="1150889"/>
                  <a:pt x="3412031" y="1150889"/>
                  <a:pt x="3414824" y="1151486"/>
                </a:cubicBezTo>
                <a:cubicBezTo>
                  <a:pt x="3412031" y="1150889"/>
                  <a:pt x="3411434" y="1153683"/>
                  <a:pt x="3414227" y="1154280"/>
                </a:cubicBezTo>
                <a:cubicBezTo>
                  <a:pt x="3399064" y="1156882"/>
                  <a:pt x="3386097" y="1162877"/>
                  <a:pt x="3374921" y="1160489"/>
                </a:cubicBezTo>
                <a:cubicBezTo>
                  <a:pt x="3370933" y="1165481"/>
                  <a:pt x="3377118" y="1163880"/>
                  <a:pt x="3380509" y="1161683"/>
                </a:cubicBezTo>
                <a:cubicBezTo>
                  <a:pt x="3369739" y="1171068"/>
                  <a:pt x="3379912" y="1164477"/>
                  <a:pt x="3379912" y="1164477"/>
                </a:cubicBezTo>
                <a:cubicBezTo>
                  <a:pt x="3392281" y="1161277"/>
                  <a:pt x="3401261" y="1160274"/>
                  <a:pt x="3413630" y="1157073"/>
                </a:cubicBezTo>
                <a:cubicBezTo>
                  <a:pt x="3410239" y="1159271"/>
                  <a:pt x="3406848" y="1161468"/>
                  <a:pt x="3404054" y="1160870"/>
                </a:cubicBezTo>
                <a:cubicBezTo>
                  <a:pt x="3390491" y="1169659"/>
                  <a:pt x="3374731" y="1175056"/>
                  <a:pt x="3358373" y="1183247"/>
                </a:cubicBezTo>
                <a:cubicBezTo>
                  <a:pt x="3355579" y="1182650"/>
                  <a:pt x="3355579" y="1182650"/>
                  <a:pt x="3352785" y="1182053"/>
                </a:cubicBezTo>
                <a:cubicBezTo>
                  <a:pt x="3357370" y="1174268"/>
                  <a:pt x="3352785" y="1182053"/>
                  <a:pt x="3340415" y="1185254"/>
                </a:cubicBezTo>
                <a:cubicBezTo>
                  <a:pt x="3339222" y="1190841"/>
                  <a:pt x="3339222" y="1190841"/>
                  <a:pt x="3326852" y="1194042"/>
                </a:cubicBezTo>
                <a:cubicBezTo>
                  <a:pt x="3322864" y="1199032"/>
                  <a:pt x="3329049" y="1197433"/>
                  <a:pt x="3332440" y="1195235"/>
                </a:cubicBezTo>
                <a:cubicBezTo>
                  <a:pt x="3322864" y="1199032"/>
                  <a:pt x="3312691" y="1205623"/>
                  <a:pt x="3305910" y="1210018"/>
                </a:cubicBezTo>
                <a:cubicBezTo>
                  <a:pt x="3296333" y="1213815"/>
                  <a:pt x="3286161" y="1220406"/>
                  <a:pt x="3278783" y="1227594"/>
                </a:cubicBezTo>
                <a:cubicBezTo>
                  <a:pt x="3279379" y="1224800"/>
                  <a:pt x="3279379" y="1224800"/>
                  <a:pt x="3279379" y="1224800"/>
                </a:cubicBezTo>
                <a:cubicBezTo>
                  <a:pt x="3279976" y="1222007"/>
                  <a:pt x="3279976" y="1222007"/>
                  <a:pt x="3273792" y="1223606"/>
                </a:cubicBezTo>
                <a:cubicBezTo>
                  <a:pt x="3279976" y="1222007"/>
                  <a:pt x="3283964" y="1217015"/>
                  <a:pt x="3289552" y="1218209"/>
                </a:cubicBezTo>
                <a:cubicBezTo>
                  <a:pt x="3291343" y="1209827"/>
                  <a:pt x="3277182" y="1221409"/>
                  <a:pt x="3272789" y="1214627"/>
                </a:cubicBezTo>
                <a:cubicBezTo>
                  <a:pt x="3266007" y="1219022"/>
                  <a:pt x="3266007" y="1219022"/>
                  <a:pt x="3262615" y="1221218"/>
                </a:cubicBezTo>
                <a:cubicBezTo>
                  <a:pt x="3262615" y="1221218"/>
                  <a:pt x="3262615" y="1221218"/>
                  <a:pt x="3259225" y="1223415"/>
                </a:cubicBezTo>
                <a:cubicBezTo>
                  <a:pt x="3259225" y="1223415"/>
                  <a:pt x="3256431" y="1222819"/>
                  <a:pt x="3256431" y="1222819"/>
                </a:cubicBezTo>
                <a:cubicBezTo>
                  <a:pt x="3256431" y="1222819"/>
                  <a:pt x="3256431" y="1222819"/>
                  <a:pt x="3253637" y="1222222"/>
                </a:cubicBezTo>
                <a:cubicBezTo>
                  <a:pt x="3253040" y="1225016"/>
                  <a:pt x="3253040" y="1225016"/>
                  <a:pt x="3253040" y="1225016"/>
                </a:cubicBezTo>
                <a:cubicBezTo>
                  <a:pt x="3253040" y="1225016"/>
                  <a:pt x="3253040" y="1225016"/>
                  <a:pt x="3255834" y="1225613"/>
                </a:cubicBezTo>
                <a:cubicBezTo>
                  <a:pt x="3243464" y="1228813"/>
                  <a:pt x="3251846" y="1230604"/>
                  <a:pt x="3241673" y="1237194"/>
                </a:cubicBezTo>
                <a:cubicBezTo>
                  <a:pt x="3242271" y="1234401"/>
                  <a:pt x="3242271" y="1234401"/>
                  <a:pt x="3242271" y="1234401"/>
                </a:cubicBezTo>
                <a:cubicBezTo>
                  <a:pt x="3245661" y="1232204"/>
                  <a:pt x="3246258" y="1229409"/>
                  <a:pt x="3243464" y="1228813"/>
                </a:cubicBezTo>
                <a:cubicBezTo>
                  <a:pt x="3240670" y="1228216"/>
                  <a:pt x="3237280" y="1230413"/>
                  <a:pt x="3236683" y="1233206"/>
                </a:cubicBezTo>
                <a:cubicBezTo>
                  <a:pt x="3236683" y="1233206"/>
                  <a:pt x="3236683" y="1233206"/>
                  <a:pt x="3233292" y="1235404"/>
                </a:cubicBezTo>
                <a:cubicBezTo>
                  <a:pt x="3233292" y="1235404"/>
                  <a:pt x="3233292" y="1235404"/>
                  <a:pt x="3229901" y="1237601"/>
                </a:cubicBezTo>
                <a:cubicBezTo>
                  <a:pt x="3229901" y="1237601"/>
                  <a:pt x="3223716" y="1239201"/>
                  <a:pt x="3223716" y="1239201"/>
                </a:cubicBezTo>
                <a:cubicBezTo>
                  <a:pt x="3223716" y="1239201"/>
                  <a:pt x="3223716" y="1239201"/>
                  <a:pt x="3227107" y="1237004"/>
                </a:cubicBezTo>
                <a:cubicBezTo>
                  <a:pt x="3227107" y="1237004"/>
                  <a:pt x="3227107" y="1237004"/>
                  <a:pt x="3230498" y="1234807"/>
                </a:cubicBezTo>
                <a:cubicBezTo>
                  <a:pt x="3230498" y="1234807"/>
                  <a:pt x="3231095" y="1232013"/>
                  <a:pt x="3231095" y="1232013"/>
                </a:cubicBezTo>
                <a:cubicBezTo>
                  <a:pt x="3231095" y="1232013"/>
                  <a:pt x="3228301" y="1231416"/>
                  <a:pt x="3227704" y="1234210"/>
                </a:cubicBezTo>
                <a:cubicBezTo>
                  <a:pt x="3227704" y="1234210"/>
                  <a:pt x="3227704" y="1234210"/>
                  <a:pt x="3224910" y="1233613"/>
                </a:cubicBezTo>
                <a:cubicBezTo>
                  <a:pt x="3224910" y="1233613"/>
                  <a:pt x="3224910" y="1233613"/>
                  <a:pt x="3228301" y="1231416"/>
                </a:cubicBezTo>
                <a:cubicBezTo>
                  <a:pt x="3228301" y="1231416"/>
                  <a:pt x="3231691" y="1229219"/>
                  <a:pt x="3228898" y="1228622"/>
                </a:cubicBezTo>
                <a:lnTo>
                  <a:pt x="3235083" y="1227022"/>
                </a:lnTo>
                <a:cubicBezTo>
                  <a:pt x="3242867" y="1231607"/>
                  <a:pt x="3234079" y="1218043"/>
                  <a:pt x="3242461" y="1219834"/>
                </a:cubicBezTo>
                <a:cubicBezTo>
                  <a:pt x="3249243" y="1215440"/>
                  <a:pt x="3220515" y="1226831"/>
                  <a:pt x="3219321" y="1232419"/>
                </a:cubicBezTo>
                <a:cubicBezTo>
                  <a:pt x="3219321" y="1232419"/>
                  <a:pt x="3216528" y="1231823"/>
                  <a:pt x="3216528" y="1231823"/>
                </a:cubicBezTo>
                <a:cubicBezTo>
                  <a:pt x="3213734" y="1231226"/>
                  <a:pt x="3213137" y="1234020"/>
                  <a:pt x="3210343" y="1233422"/>
                </a:cubicBezTo>
                <a:cubicBezTo>
                  <a:pt x="3209746" y="1236217"/>
                  <a:pt x="3209746" y="1236217"/>
                  <a:pt x="3209746" y="1236217"/>
                </a:cubicBezTo>
                <a:cubicBezTo>
                  <a:pt x="3212540" y="1236814"/>
                  <a:pt x="3212540" y="1236814"/>
                  <a:pt x="3212540" y="1236814"/>
                </a:cubicBezTo>
                <a:cubicBezTo>
                  <a:pt x="3208552" y="1241804"/>
                  <a:pt x="3207955" y="1244599"/>
                  <a:pt x="3205758" y="1241207"/>
                </a:cubicBezTo>
                <a:cubicBezTo>
                  <a:pt x="3202367" y="1243404"/>
                  <a:pt x="3202367" y="1243404"/>
                  <a:pt x="3201771" y="1246198"/>
                </a:cubicBezTo>
                <a:cubicBezTo>
                  <a:pt x="3198379" y="1248396"/>
                  <a:pt x="3198977" y="1245601"/>
                  <a:pt x="3196779" y="1242211"/>
                </a:cubicBezTo>
                <a:cubicBezTo>
                  <a:pt x="3192792" y="1247201"/>
                  <a:pt x="3184816" y="1257184"/>
                  <a:pt x="3174643" y="1263775"/>
                </a:cubicBezTo>
                <a:cubicBezTo>
                  <a:pt x="3174643" y="1263775"/>
                  <a:pt x="3175240" y="1260981"/>
                  <a:pt x="3175240" y="1260981"/>
                </a:cubicBezTo>
                <a:cubicBezTo>
                  <a:pt x="3172447" y="1260384"/>
                  <a:pt x="3171850" y="1263178"/>
                  <a:pt x="3171850" y="1263178"/>
                </a:cubicBezTo>
                <a:cubicBezTo>
                  <a:pt x="3171850" y="1263178"/>
                  <a:pt x="3171850" y="1263178"/>
                  <a:pt x="3171252" y="1265971"/>
                </a:cubicBezTo>
                <a:cubicBezTo>
                  <a:pt x="3171252" y="1265971"/>
                  <a:pt x="3171252" y="1265971"/>
                  <a:pt x="3169055" y="1262581"/>
                </a:cubicBezTo>
                <a:cubicBezTo>
                  <a:pt x="3152101" y="1273566"/>
                  <a:pt x="3131757" y="1286748"/>
                  <a:pt x="3126575" y="1297327"/>
                </a:cubicBezTo>
                <a:cubicBezTo>
                  <a:pt x="3120986" y="1296133"/>
                  <a:pt x="3129559" y="1283357"/>
                  <a:pt x="3114205" y="1300528"/>
                </a:cubicBezTo>
                <a:cubicBezTo>
                  <a:pt x="3114205" y="1300528"/>
                  <a:pt x="3114205" y="1300528"/>
                  <a:pt x="3114801" y="1297733"/>
                </a:cubicBezTo>
                <a:cubicBezTo>
                  <a:pt x="3114801" y="1297733"/>
                  <a:pt x="3112007" y="1297137"/>
                  <a:pt x="3112007" y="1297137"/>
                </a:cubicBezTo>
                <a:cubicBezTo>
                  <a:pt x="3111411" y="1299930"/>
                  <a:pt x="3108616" y="1299334"/>
                  <a:pt x="3108616" y="1299334"/>
                </a:cubicBezTo>
                <a:cubicBezTo>
                  <a:pt x="3103029" y="1298140"/>
                  <a:pt x="3101238" y="1306521"/>
                  <a:pt x="3094457" y="1310916"/>
                </a:cubicBezTo>
                <a:cubicBezTo>
                  <a:pt x="3094457" y="1310916"/>
                  <a:pt x="3094457" y="1310916"/>
                  <a:pt x="3095053" y="1308121"/>
                </a:cubicBezTo>
                <a:cubicBezTo>
                  <a:pt x="3095053" y="1308121"/>
                  <a:pt x="3095053" y="1308121"/>
                  <a:pt x="3092260" y="1307524"/>
                </a:cubicBezTo>
                <a:cubicBezTo>
                  <a:pt x="3092260" y="1307524"/>
                  <a:pt x="3091662" y="1310318"/>
                  <a:pt x="3088869" y="1309722"/>
                </a:cubicBezTo>
                <a:cubicBezTo>
                  <a:pt x="3088869" y="1309722"/>
                  <a:pt x="3088869" y="1309722"/>
                  <a:pt x="3088272" y="1312515"/>
                </a:cubicBezTo>
                <a:cubicBezTo>
                  <a:pt x="3081490" y="1316910"/>
                  <a:pt x="3083686" y="1320300"/>
                  <a:pt x="3080296" y="1322498"/>
                </a:cubicBezTo>
                <a:cubicBezTo>
                  <a:pt x="3080296" y="1322498"/>
                  <a:pt x="3080296" y="1322498"/>
                  <a:pt x="3076905" y="1324694"/>
                </a:cubicBezTo>
                <a:cubicBezTo>
                  <a:pt x="3076905" y="1324694"/>
                  <a:pt x="3076905" y="1324694"/>
                  <a:pt x="3074111" y="1324097"/>
                </a:cubicBezTo>
                <a:cubicBezTo>
                  <a:pt x="3074111" y="1324097"/>
                  <a:pt x="3074111" y="1324097"/>
                  <a:pt x="3070720" y="1326295"/>
                </a:cubicBezTo>
                <a:cubicBezTo>
                  <a:pt x="3070720" y="1326295"/>
                  <a:pt x="3070720" y="1326295"/>
                  <a:pt x="3073514" y="1326891"/>
                </a:cubicBezTo>
                <a:cubicBezTo>
                  <a:pt x="3073514" y="1326891"/>
                  <a:pt x="3073514" y="1326891"/>
                  <a:pt x="3076308" y="1327489"/>
                </a:cubicBezTo>
                <a:cubicBezTo>
                  <a:pt x="3065539" y="1336874"/>
                  <a:pt x="3061551" y="1341865"/>
                  <a:pt x="3052572" y="1342868"/>
                </a:cubicBezTo>
                <a:cubicBezTo>
                  <a:pt x="3052572" y="1342868"/>
                  <a:pt x="3052572" y="1342868"/>
                  <a:pt x="3053169" y="1340074"/>
                </a:cubicBezTo>
                <a:cubicBezTo>
                  <a:pt x="3055963" y="1340671"/>
                  <a:pt x="3056560" y="1337877"/>
                  <a:pt x="3056560" y="1337877"/>
                </a:cubicBezTo>
                <a:cubicBezTo>
                  <a:pt x="3056560" y="1337877"/>
                  <a:pt x="3056560" y="1337877"/>
                  <a:pt x="3053766" y="1337280"/>
                </a:cubicBezTo>
                <a:cubicBezTo>
                  <a:pt x="3053766" y="1337280"/>
                  <a:pt x="3053766" y="1337280"/>
                  <a:pt x="3057157" y="1335083"/>
                </a:cubicBezTo>
                <a:cubicBezTo>
                  <a:pt x="3057157" y="1335083"/>
                  <a:pt x="3057157" y="1335083"/>
                  <a:pt x="3059950" y="1335679"/>
                </a:cubicBezTo>
                <a:cubicBezTo>
                  <a:pt x="3060547" y="1332886"/>
                  <a:pt x="3060547" y="1332886"/>
                  <a:pt x="3060547" y="1332886"/>
                </a:cubicBezTo>
                <a:cubicBezTo>
                  <a:pt x="3060547" y="1332886"/>
                  <a:pt x="3061145" y="1330092"/>
                  <a:pt x="3061145" y="1330092"/>
                </a:cubicBezTo>
                <a:cubicBezTo>
                  <a:pt x="3061145" y="1330092"/>
                  <a:pt x="3061145" y="1330092"/>
                  <a:pt x="3057754" y="1332289"/>
                </a:cubicBezTo>
                <a:cubicBezTo>
                  <a:pt x="3065132" y="1325101"/>
                  <a:pt x="3078099" y="1319107"/>
                  <a:pt x="3062935" y="1321710"/>
                </a:cubicBezTo>
                <a:cubicBezTo>
                  <a:pt x="3062935" y="1321710"/>
                  <a:pt x="3062935" y="1321710"/>
                  <a:pt x="3066326" y="1319513"/>
                </a:cubicBezTo>
                <a:cubicBezTo>
                  <a:pt x="3069120" y="1320110"/>
                  <a:pt x="3069120" y="1320110"/>
                  <a:pt x="3069120" y="1320110"/>
                </a:cubicBezTo>
                <a:cubicBezTo>
                  <a:pt x="3072511" y="1317913"/>
                  <a:pt x="3073107" y="1315119"/>
                  <a:pt x="3073107" y="1315119"/>
                </a:cubicBezTo>
                <a:cubicBezTo>
                  <a:pt x="3073705" y="1312324"/>
                  <a:pt x="3070911" y="1311728"/>
                  <a:pt x="3067520" y="1313925"/>
                </a:cubicBezTo>
                <a:cubicBezTo>
                  <a:pt x="3067520" y="1313925"/>
                  <a:pt x="3067520" y="1313925"/>
                  <a:pt x="3064129" y="1316122"/>
                </a:cubicBezTo>
                <a:cubicBezTo>
                  <a:pt x="3064129" y="1316122"/>
                  <a:pt x="3064129" y="1316122"/>
                  <a:pt x="3060738" y="1318319"/>
                </a:cubicBezTo>
                <a:cubicBezTo>
                  <a:pt x="3057347" y="1320516"/>
                  <a:pt x="3053956" y="1322714"/>
                  <a:pt x="3053359" y="1325507"/>
                </a:cubicBezTo>
                <a:cubicBezTo>
                  <a:pt x="3053359" y="1325507"/>
                  <a:pt x="3056153" y="1326104"/>
                  <a:pt x="3059545" y="1323907"/>
                </a:cubicBezTo>
                <a:cubicBezTo>
                  <a:pt x="3059545" y="1323907"/>
                  <a:pt x="3059545" y="1323907"/>
                  <a:pt x="3062935" y="1321710"/>
                </a:cubicBezTo>
                <a:cubicBezTo>
                  <a:pt x="3058947" y="1326701"/>
                  <a:pt x="3058947" y="1326701"/>
                  <a:pt x="3054960" y="1331692"/>
                </a:cubicBezTo>
                <a:cubicBezTo>
                  <a:pt x="3052165" y="1331095"/>
                  <a:pt x="3052165" y="1331095"/>
                  <a:pt x="3051569" y="1333889"/>
                </a:cubicBezTo>
                <a:cubicBezTo>
                  <a:pt x="3048775" y="1333292"/>
                  <a:pt x="3048775" y="1333292"/>
                  <a:pt x="3045384" y="1335489"/>
                </a:cubicBezTo>
                <a:cubicBezTo>
                  <a:pt x="3045384" y="1335489"/>
                  <a:pt x="3044787" y="1338283"/>
                  <a:pt x="3048177" y="1336086"/>
                </a:cubicBezTo>
                <a:cubicBezTo>
                  <a:pt x="3048177" y="1336086"/>
                  <a:pt x="3048177" y="1336086"/>
                  <a:pt x="3047581" y="1338880"/>
                </a:cubicBezTo>
                <a:cubicBezTo>
                  <a:pt x="3041396" y="1340480"/>
                  <a:pt x="3040799" y="1343275"/>
                  <a:pt x="3046984" y="1341674"/>
                </a:cubicBezTo>
                <a:cubicBezTo>
                  <a:pt x="3043593" y="1343871"/>
                  <a:pt x="3040203" y="1346068"/>
                  <a:pt x="3040203" y="1346068"/>
                </a:cubicBezTo>
                <a:cubicBezTo>
                  <a:pt x="3042400" y="1349459"/>
                  <a:pt x="3042400" y="1349459"/>
                  <a:pt x="3045790" y="1347261"/>
                </a:cubicBezTo>
                <a:cubicBezTo>
                  <a:pt x="3045790" y="1347261"/>
                  <a:pt x="3046387" y="1344468"/>
                  <a:pt x="3049181" y="1345065"/>
                </a:cubicBezTo>
                <a:cubicBezTo>
                  <a:pt x="3042400" y="1349459"/>
                  <a:pt x="3044596" y="1352850"/>
                  <a:pt x="3033827" y="1362235"/>
                </a:cubicBezTo>
                <a:cubicBezTo>
                  <a:pt x="3034423" y="1359441"/>
                  <a:pt x="3041205" y="1355046"/>
                  <a:pt x="3039009" y="1351656"/>
                </a:cubicBezTo>
                <a:cubicBezTo>
                  <a:pt x="3033827" y="1362235"/>
                  <a:pt x="3035020" y="1356647"/>
                  <a:pt x="3028836" y="1358247"/>
                </a:cubicBezTo>
                <a:cubicBezTo>
                  <a:pt x="3028836" y="1358247"/>
                  <a:pt x="3028836" y="1358247"/>
                  <a:pt x="3029433" y="1355453"/>
                </a:cubicBezTo>
                <a:cubicBezTo>
                  <a:pt x="3032824" y="1353256"/>
                  <a:pt x="3033421" y="1350462"/>
                  <a:pt x="3033421" y="1350462"/>
                </a:cubicBezTo>
                <a:cubicBezTo>
                  <a:pt x="3030627" y="1349866"/>
                  <a:pt x="3027235" y="1352062"/>
                  <a:pt x="3023845" y="1354259"/>
                </a:cubicBezTo>
                <a:cubicBezTo>
                  <a:pt x="3023247" y="1357053"/>
                  <a:pt x="3023247" y="1357053"/>
                  <a:pt x="3020454" y="1356456"/>
                </a:cubicBezTo>
                <a:cubicBezTo>
                  <a:pt x="3017660" y="1355860"/>
                  <a:pt x="3013672" y="1360850"/>
                  <a:pt x="3006891" y="1365244"/>
                </a:cubicBezTo>
                <a:cubicBezTo>
                  <a:pt x="3009087" y="1368635"/>
                  <a:pt x="3013672" y="1360850"/>
                  <a:pt x="3016466" y="1361447"/>
                </a:cubicBezTo>
                <a:cubicBezTo>
                  <a:pt x="3016466" y="1361447"/>
                  <a:pt x="3016466" y="1361447"/>
                  <a:pt x="3013075" y="1363644"/>
                </a:cubicBezTo>
                <a:cubicBezTo>
                  <a:pt x="3009684" y="1365841"/>
                  <a:pt x="3009087" y="1368635"/>
                  <a:pt x="3009087" y="1368635"/>
                </a:cubicBezTo>
                <a:cubicBezTo>
                  <a:pt x="3008490" y="1371429"/>
                  <a:pt x="3011881" y="1369232"/>
                  <a:pt x="3015273" y="1367035"/>
                </a:cubicBezTo>
                <a:cubicBezTo>
                  <a:pt x="3015273" y="1367035"/>
                  <a:pt x="3015273" y="1367035"/>
                  <a:pt x="3018067" y="1367632"/>
                </a:cubicBezTo>
                <a:cubicBezTo>
                  <a:pt x="3007893" y="1374223"/>
                  <a:pt x="2997124" y="1383608"/>
                  <a:pt x="3006700" y="1379811"/>
                </a:cubicBezTo>
                <a:cubicBezTo>
                  <a:pt x="2995930" y="1389196"/>
                  <a:pt x="3004503" y="1376420"/>
                  <a:pt x="2994331" y="1383011"/>
                </a:cubicBezTo>
                <a:cubicBezTo>
                  <a:pt x="2984157" y="1389602"/>
                  <a:pt x="2982367" y="1397984"/>
                  <a:pt x="2976779" y="1396790"/>
                </a:cubicBezTo>
                <a:cubicBezTo>
                  <a:pt x="2972791" y="1401781"/>
                  <a:pt x="2975585" y="1402378"/>
                  <a:pt x="2974988" y="1405172"/>
                </a:cubicBezTo>
                <a:cubicBezTo>
                  <a:pt x="2972194" y="1404575"/>
                  <a:pt x="2968804" y="1406772"/>
                  <a:pt x="2959227" y="1410569"/>
                </a:cubicBezTo>
                <a:cubicBezTo>
                  <a:pt x="2943073" y="1424647"/>
                  <a:pt x="2938699" y="1429738"/>
                  <a:pt x="2928686" y="1438144"/>
                </a:cubicBezTo>
                <a:lnTo>
                  <a:pt x="2919668" y="1445312"/>
                </a:lnTo>
                <a:lnTo>
                  <a:pt x="2920137" y="1443118"/>
                </a:lnTo>
                <a:cubicBezTo>
                  <a:pt x="2917343" y="1442521"/>
                  <a:pt x="2917343" y="1442521"/>
                  <a:pt x="2913952" y="1444719"/>
                </a:cubicBezTo>
                <a:cubicBezTo>
                  <a:pt x="2913355" y="1447513"/>
                  <a:pt x="2913355" y="1447513"/>
                  <a:pt x="2909964" y="1449710"/>
                </a:cubicBezTo>
                <a:cubicBezTo>
                  <a:pt x="2903779" y="1451309"/>
                  <a:pt x="2892413" y="1463489"/>
                  <a:pt x="2881047" y="1475667"/>
                </a:cubicBezTo>
                <a:cubicBezTo>
                  <a:pt x="2881643" y="1472874"/>
                  <a:pt x="2881643" y="1472874"/>
                  <a:pt x="2881643" y="1472874"/>
                </a:cubicBezTo>
                <a:cubicBezTo>
                  <a:pt x="2881643" y="1472874"/>
                  <a:pt x="2881643" y="1472874"/>
                  <a:pt x="2878850" y="1472277"/>
                </a:cubicBezTo>
                <a:cubicBezTo>
                  <a:pt x="2878850" y="1472277"/>
                  <a:pt x="2878850" y="1472277"/>
                  <a:pt x="2878253" y="1475071"/>
                </a:cubicBezTo>
                <a:cubicBezTo>
                  <a:pt x="2878253" y="1475071"/>
                  <a:pt x="2878253" y="1475071"/>
                  <a:pt x="2874862" y="1477268"/>
                </a:cubicBezTo>
                <a:cubicBezTo>
                  <a:pt x="2874265" y="1480062"/>
                  <a:pt x="2870874" y="1482258"/>
                  <a:pt x="2873668" y="1482856"/>
                </a:cubicBezTo>
                <a:cubicBezTo>
                  <a:pt x="2870277" y="1485053"/>
                  <a:pt x="2867483" y="1484456"/>
                  <a:pt x="2868080" y="1481662"/>
                </a:cubicBezTo>
                <a:cubicBezTo>
                  <a:pt x="2864689" y="1483859"/>
                  <a:pt x="2864093" y="1486653"/>
                  <a:pt x="2863495" y="1489447"/>
                </a:cubicBezTo>
                <a:cubicBezTo>
                  <a:pt x="2863495" y="1489447"/>
                  <a:pt x="2864093" y="1486653"/>
                  <a:pt x="2864093" y="1486653"/>
                </a:cubicBezTo>
                <a:cubicBezTo>
                  <a:pt x="2864093" y="1486653"/>
                  <a:pt x="2861298" y="1486055"/>
                  <a:pt x="2861298" y="1486055"/>
                </a:cubicBezTo>
                <a:cubicBezTo>
                  <a:pt x="2857907" y="1488252"/>
                  <a:pt x="2857310" y="1491047"/>
                  <a:pt x="2857310" y="1491047"/>
                </a:cubicBezTo>
                <a:cubicBezTo>
                  <a:pt x="2856713" y="1493841"/>
                  <a:pt x="2856713" y="1493841"/>
                  <a:pt x="2856713" y="1493841"/>
                </a:cubicBezTo>
                <a:cubicBezTo>
                  <a:pt x="2853920" y="1493244"/>
                  <a:pt x="2849932" y="1498235"/>
                  <a:pt x="2845944" y="1503226"/>
                </a:cubicBezTo>
                <a:cubicBezTo>
                  <a:pt x="2845944" y="1503226"/>
                  <a:pt x="2842553" y="1505423"/>
                  <a:pt x="2842553" y="1505423"/>
                </a:cubicBezTo>
                <a:cubicBezTo>
                  <a:pt x="2841956" y="1508217"/>
                  <a:pt x="2839163" y="1507620"/>
                  <a:pt x="2838565" y="1510413"/>
                </a:cubicBezTo>
                <a:cubicBezTo>
                  <a:pt x="2838565" y="1510413"/>
                  <a:pt x="2841359" y="1511010"/>
                  <a:pt x="2841956" y="1508217"/>
                </a:cubicBezTo>
                <a:cubicBezTo>
                  <a:pt x="2841956" y="1508217"/>
                  <a:pt x="2844750" y="1508814"/>
                  <a:pt x="2844750" y="1508814"/>
                </a:cubicBezTo>
                <a:cubicBezTo>
                  <a:pt x="2847545" y="1509411"/>
                  <a:pt x="2834577" y="1515405"/>
                  <a:pt x="2836178" y="1521590"/>
                </a:cubicBezTo>
                <a:cubicBezTo>
                  <a:pt x="2832787" y="1523787"/>
                  <a:pt x="2832787" y="1523787"/>
                  <a:pt x="2832190" y="1526581"/>
                </a:cubicBezTo>
                <a:cubicBezTo>
                  <a:pt x="2832190" y="1526581"/>
                  <a:pt x="2832190" y="1526581"/>
                  <a:pt x="2829396" y="1525984"/>
                </a:cubicBezTo>
                <a:cubicBezTo>
                  <a:pt x="2829396" y="1525984"/>
                  <a:pt x="2828799" y="1528777"/>
                  <a:pt x="2828799" y="1528777"/>
                </a:cubicBezTo>
                <a:cubicBezTo>
                  <a:pt x="2828202" y="1531572"/>
                  <a:pt x="2825408" y="1530975"/>
                  <a:pt x="2825408" y="1530975"/>
                </a:cubicBezTo>
                <a:cubicBezTo>
                  <a:pt x="2825408" y="1530975"/>
                  <a:pt x="2825408" y="1530975"/>
                  <a:pt x="2824811" y="1533768"/>
                </a:cubicBezTo>
                <a:cubicBezTo>
                  <a:pt x="2817432" y="1540957"/>
                  <a:pt x="2814042" y="1543153"/>
                  <a:pt x="2811845" y="1539763"/>
                </a:cubicBezTo>
                <a:cubicBezTo>
                  <a:pt x="2807857" y="1544754"/>
                  <a:pt x="2810651" y="1545351"/>
                  <a:pt x="2810054" y="1548145"/>
                </a:cubicBezTo>
                <a:cubicBezTo>
                  <a:pt x="2806663" y="1550341"/>
                  <a:pt x="2806066" y="1553135"/>
                  <a:pt x="2806066" y="1553135"/>
                </a:cubicBezTo>
                <a:cubicBezTo>
                  <a:pt x="2806066" y="1553135"/>
                  <a:pt x="2806066" y="1553135"/>
                  <a:pt x="2808860" y="1553732"/>
                </a:cubicBezTo>
                <a:cubicBezTo>
                  <a:pt x="2808860" y="1553732"/>
                  <a:pt x="2809457" y="1550938"/>
                  <a:pt x="2809457" y="1550938"/>
                </a:cubicBezTo>
                <a:cubicBezTo>
                  <a:pt x="2808860" y="1553732"/>
                  <a:pt x="2808860" y="1553732"/>
                  <a:pt x="2811057" y="1557123"/>
                </a:cubicBezTo>
                <a:cubicBezTo>
                  <a:pt x="2769579" y="1600848"/>
                  <a:pt x="2726310" y="1652955"/>
                  <a:pt x="2698205" y="1702459"/>
                </a:cubicBezTo>
                <a:cubicBezTo>
                  <a:pt x="2689227" y="1703462"/>
                  <a:pt x="2687436" y="1711843"/>
                  <a:pt x="2682253" y="1722422"/>
                </a:cubicBezTo>
                <a:cubicBezTo>
                  <a:pt x="2678266" y="1727413"/>
                  <a:pt x="2672081" y="1729014"/>
                  <a:pt x="2670887" y="1734602"/>
                </a:cubicBezTo>
                <a:cubicBezTo>
                  <a:pt x="2663509" y="1741789"/>
                  <a:pt x="2665706" y="1745181"/>
                  <a:pt x="2660525" y="1755760"/>
                </a:cubicBezTo>
                <a:cubicBezTo>
                  <a:pt x="2650758" y="1774123"/>
                  <a:pt x="2622247" y="1811854"/>
                  <a:pt x="2618665" y="1828617"/>
                </a:cubicBezTo>
                <a:cubicBezTo>
                  <a:pt x="2615274" y="1830814"/>
                  <a:pt x="2615274" y="1830814"/>
                  <a:pt x="2615274" y="1830814"/>
                </a:cubicBezTo>
                <a:cubicBezTo>
                  <a:pt x="2614677" y="1833608"/>
                  <a:pt x="2614677" y="1833608"/>
                  <a:pt x="2614677" y="1833608"/>
                </a:cubicBezTo>
                <a:cubicBezTo>
                  <a:pt x="2614677" y="1833608"/>
                  <a:pt x="2614677" y="1833608"/>
                  <a:pt x="2617471" y="1834205"/>
                </a:cubicBezTo>
                <a:lnTo>
                  <a:pt x="2616875" y="1836999"/>
                </a:lnTo>
                <a:cubicBezTo>
                  <a:pt x="2612887" y="1841991"/>
                  <a:pt x="2610093" y="1841393"/>
                  <a:pt x="2614080" y="1836402"/>
                </a:cubicBezTo>
                <a:cubicBezTo>
                  <a:pt x="2607895" y="1838003"/>
                  <a:pt x="2602117" y="1851375"/>
                  <a:pt x="2600326" y="1859757"/>
                </a:cubicBezTo>
                <a:cubicBezTo>
                  <a:pt x="2600923" y="1856963"/>
                  <a:pt x="2600923" y="1856963"/>
                  <a:pt x="2597532" y="1859160"/>
                </a:cubicBezTo>
                <a:cubicBezTo>
                  <a:pt x="2596935" y="1861954"/>
                  <a:pt x="2596935" y="1861954"/>
                  <a:pt x="2596338" y="1864748"/>
                </a:cubicBezTo>
                <a:cubicBezTo>
                  <a:pt x="2589963" y="1880915"/>
                  <a:pt x="2591157" y="1875327"/>
                  <a:pt x="2581988" y="1890897"/>
                </a:cubicBezTo>
                <a:cubicBezTo>
                  <a:pt x="2581988" y="1890897"/>
                  <a:pt x="2581988" y="1890897"/>
                  <a:pt x="2578597" y="1893094"/>
                </a:cubicBezTo>
                <a:cubicBezTo>
                  <a:pt x="2578597" y="1893094"/>
                  <a:pt x="2578597" y="1893094"/>
                  <a:pt x="2573415" y="1903673"/>
                </a:cubicBezTo>
                <a:cubicBezTo>
                  <a:pt x="2573415" y="1903673"/>
                  <a:pt x="2573415" y="1903673"/>
                  <a:pt x="2572818" y="1906467"/>
                </a:cubicBezTo>
                <a:cubicBezTo>
                  <a:pt x="2572818" y="1906467"/>
                  <a:pt x="2572221" y="1909260"/>
                  <a:pt x="2572221" y="1909260"/>
                </a:cubicBezTo>
                <a:cubicBezTo>
                  <a:pt x="2571624" y="1912055"/>
                  <a:pt x="2571624" y="1912055"/>
                  <a:pt x="2571624" y="1912055"/>
                </a:cubicBezTo>
                <a:cubicBezTo>
                  <a:pt x="2571027" y="1914848"/>
                  <a:pt x="2568233" y="1914252"/>
                  <a:pt x="2567039" y="1919840"/>
                </a:cubicBezTo>
                <a:cubicBezTo>
                  <a:pt x="2569834" y="1920436"/>
                  <a:pt x="2571027" y="1914848"/>
                  <a:pt x="2573225" y="1918239"/>
                </a:cubicBezTo>
                <a:cubicBezTo>
                  <a:pt x="2572628" y="1921033"/>
                  <a:pt x="2572628" y="1921033"/>
                  <a:pt x="2572031" y="1923828"/>
                </a:cubicBezTo>
                <a:cubicBezTo>
                  <a:pt x="2572031" y="1923828"/>
                  <a:pt x="2569237" y="1923230"/>
                  <a:pt x="2569237" y="1923230"/>
                </a:cubicBezTo>
                <a:cubicBezTo>
                  <a:pt x="2569237" y="1923230"/>
                  <a:pt x="2569237" y="1923230"/>
                  <a:pt x="2568640" y="1926025"/>
                </a:cubicBezTo>
                <a:cubicBezTo>
                  <a:pt x="2568640" y="1926025"/>
                  <a:pt x="2568043" y="1928818"/>
                  <a:pt x="2568043" y="1928818"/>
                </a:cubicBezTo>
                <a:cubicBezTo>
                  <a:pt x="2567445" y="1931612"/>
                  <a:pt x="2566849" y="1934406"/>
                  <a:pt x="2566849" y="1934406"/>
                </a:cubicBezTo>
                <a:cubicBezTo>
                  <a:pt x="2559470" y="1941594"/>
                  <a:pt x="2557083" y="1952770"/>
                  <a:pt x="2550898" y="1954370"/>
                </a:cubicBezTo>
                <a:cubicBezTo>
                  <a:pt x="2550301" y="1957164"/>
                  <a:pt x="2549704" y="1959958"/>
                  <a:pt x="2553692" y="1954967"/>
                </a:cubicBezTo>
                <a:cubicBezTo>
                  <a:pt x="2553692" y="1954967"/>
                  <a:pt x="2551901" y="1963349"/>
                  <a:pt x="2549107" y="1962751"/>
                </a:cubicBezTo>
                <a:cubicBezTo>
                  <a:pt x="2543925" y="1973331"/>
                  <a:pt x="2553095" y="1957761"/>
                  <a:pt x="2554695" y="1963945"/>
                </a:cubicBezTo>
                <a:cubicBezTo>
                  <a:pt x="2555292" y="1961152"/>
                  <a:pt x="2554885" y="1949379"/>
                  <a:pt x="2559877" y="1953367"/>
                </a:cubicBezTo>
                <a:cubicBezTo>
                  <a:pt x="2559877" y="1953367"/>
                  <a:pt x="2559877" y="1953367"/>
                  <a:pt x="2559280" y="1956160"/>
                </a:cubicBezTo>
                <a:cubicBezTo>
                  <a:pt x="2559280" y="1956160"/>
                  <a:pt x="2559280" y="1956160"/>
                  <a:pt x="2562074" y="1956758"/>
                </a:cubicBezTo>
                <a:cubicBezTo>
                  <a:pt x="2562074" y="1956758"/>
                  <a:pt x="2562074" y="1956758"/>
                  <a:pt x="2562671" y="1953963"/>
                </a:cubicBezTo>
                <a:cubicBezTo>
                  <a:pt x="2562671" y="1953963"/>
                  <a:pt x="2562671" y="1953963"/>
                  <a:pt x="2563267" y="1951170"/>
                </a:cubicBezTo>
                <a:cubicBezTo>
                  <a:pt x="2564271" y="1960148"/>
                  <a:pt x="2573631" y="1930012"/>
                  <a:pt x="2578216" y="1922227"/>
                </a:cubicBezTo>
                <a:cubicBezTo>
                  <a:pt x="2578216" y="1922227"/>
                  <a:pt x="2581606" y="1920030"/>
                  <a:pt x="2581606" y="1920030"/>
                </a:cubicBezTo>
                <a:cubicBezTo>
                  <a:pt x="2581606" y="1920030"/>
                  <a:pt x="2582203" y="1917236"/>
                  <a:pt x="2582203" y="1917236"/>
                </a:cubicBezTo>
                <a:cubicBezTo>
                  <a:pt x="2579410" y="1916639"/>
                  <a:pt x="2579410" y="1916639"/>
                  <a:pt x="2579410" y="1916639"/>
                </a:cubicBezTo>
                <a:cubicBezTo>
                  <a:pt x="2593163" y="1893285"/>
                  <a:pt x="2612099" y="1859351"/>
                  <a:pt x="2626450" y="1833202"/>
                </a:cubicBezTo>
                <a:cubicBezTo>
                  <a:pt x="2626450" y="1833202"/>
                  <a:pt x="2627644" y="1827614"/>
                  <a:pt x="2628241" y="1824820"/>
                </a:cubicBezTo>
                <a:cubicBezTo>
                  <a:pt x="2632825" y="1817036"/>
                  <a:pt x="2640801" y="1807054"/>
                  <a:pt x="2645982" y="1796474"/>
                </a:cubicBezTo>
                <a:cubicBezTo>
                  <a:pt x="2645982" y="1796474"/>
                  <a:pt x="2642592" y="1798671"/>
                  <a:pt x="2642592" y="1798671"/>
                </a:cubicBezTo>
                <a:cubicBezTo>
                  <a:pt x="2646580" y="1793680"/>
                  <a:pt x="2653959" y="1786493"/>
                  <a:pt x="2658543" y="1778708"/>
                </a:cubicBezTo>
                <a:cubicBezTo>
                  <a:pt x="2675091" y="1755950"/>
                  <a:pt x="2693430" y="1724811"/>
                  <a:pt x="2709381" y="1704846"/>
                </a:cubicBezTo>
                <a:cubicBezTo>
                  <a:pt x="2721941" y="1687079"/>
                  <a:pt x="2732901" y="1663128"/>
                  <a:pt x="2744865" y="1648155"/>
                </a:cubicBezTo>
                <a:cubicBezTo>
                  <a:pt x="2751646" y="1643760"/>
                  <a:pt x="2755037" y="1641564"/>
                  <a:pt x="2759025" y="1636573"/>
                </a:cubicBezTo>
                <a:cubicBezTo>
                  <a:pt x="2766403" y="1629384"/>
                  <a:pt x="2768195" y="1621003"/>
                  <a:pt x="2775574" y="1613815"/>
                </a:cubicBezTo>
                <a:cubicBezTo>
                  <a:pt x="2779561" y="1608824"/>
                  <a:pt x="2778964" y="1611617"/>
                  <a:pt x="2782355" y="1609421"/>
                </a:cubicBezTo>
                <a:cubicBezTo>
                  <a:pt x="2793125" y="1600036"/>
                  <a:pt x="2809267" y="1565505"/>
                  <a:pt x="2821039" y="1565099"/>
                </a:cubicBezTo>
                <a:cubicBezTo>
                  <a:pt x="2821636" y="1562305"/>
                  <a:pt x="2822233" y="1559511"/>
                  <a:pt x="2822233" y="1559511"/>
                </a:cubicBezTo>
                <a:cubicBezTo>
                  <a:pt x="2839784" y="1545732"/>
                  <a:pt x="2848357" y="1532956"/>
                  <a:pt x="2859724" y="1520777"/>
                </a:cubicBezTo>
                <a:cubicBezTo>
                  <a:pt x="2867699" y="1510796"/>
                  <a:pt x="2875674" y="1500813"/>
                  <a:pt x="2889238" y="1492025"/>
                </a:cubicBezTo>
                <a:cubicBezTo>
                  <a:pt x="2886444" y="1491428"/>
                  <a:pt x="2896617" y="1484837"/>
                  <a:pt x="2907386" y="1475452"/>
                </a:cubicBezTo>
                <a:cubicBezTo>
                  <a:pt x="2918155" y="1466067"/>
                  <a:pt x="2932316" y="1454485"/>
                  <a:pt x="2933510" y="1448897"/>
                </a:cubicBezTo>
                <a:cubicBezTo>
                  <a:pt x="2936901" y="1446700"/>
                  <a:pt x="2939695" y="1447297"/>
                  <a:pt x="2935707" y="1452288"/>
                </a:cubicBezTo>
                <a:cubicBezTo>
                  <a:pt x="2938501" y="1452885"/>
                  <a:pt x="2943683" y="1442306"/>
                  <a:pt x="2940291" y="1444503"/>
                </a:cubicBezTo>
                <a:cubicBezTo>
                  <a:pt x="2954452" y="1432921"/>
                  <a:pt x="2972601" y="1416348"/>
                  <a:pt x="2990152" y="1402569"/>
                </a:cubicBezTo>
                <a:cubicBezTo>
                  <a:pt x="3008300" y="1385995"/>
                  <a:pt x="3028645" y="1372814"/>
                  <a:pt x="3039415" y="1363428"/>
                </a:cubicBezTo>
                <a:cubicBezTo>
                  <a:pt x="3043402" y="1358438"/>
                  <a:pt x="3049587" y="1356837"/>
                  <a:pt x="3045599" y="1361828"/>
                </a:cubicBezTo>
                <a:cubicBezTo>
                  <a:pt x="3050591" y="1365816"/>
                  <a:pt x="3052979" y="1354641"/>
                  <a:pt x="3050184" y="1354044"/>
                </a:cubicBezTo>
                <a:cubicBezTo>
                  <a:pt x="3069933" y="1343655"/>
                  <a:pt x="3090278" y="1330473"/>
                  <a:pt x="3114611" y="1312300"/>
                </a:cubicBezTo>
                <a:cubicBezTo>
                  <a:pt x="3114611" y="1312300"/>
                  <a:pt x="3117405" y="1312896"/>
                  <a:pt x="3117405" y="1312896"/>
                </a:cubicBezTo>
                <a:cubicBezTo>
                  <a:pt x="3117405" y="1312896"/>
                  <a:pt x="3117405" y="1312896"/>
                  <a:pt x="3120795" y="1310700"/>
                </a:cubicBezTo>
                <a:cubicBezTo>
                  <a:pt x="3132162" y="1298520"/>
                  <a:pt x="3135960" y="1308096"/>
                  <a:pt x="3141141" y="1297518"/>
                </a:cubicBezTo>
                <a:cubicBezTo>
                  <a:pt x="3141141" y="1297518"/>
                  <a:pt x="3141141" y="1297518"/>
                  <a:pt x="3143338" y="1300909"/>
                </a:cubicBezTo>
                <a:cubicBezTo>
                  <a:pt x="3143338" y="1300909"/>
                  <a:pt x="3146132" y="1301505"/>
                  <a:pt x="3146729" y="1298712"/>
                </a:cubicBezTo>
                <a:cubicBezTo>
                  <a:pt x="3150120" y="1296514"/>
                  <a:pt x="3150120" y="1296514"/>
                  <a:pt x="3150717" y="1293720"/>
                </a:cubicBezTo>
                <a:cubicBezTo>
                  <a:pt x="3156305" y="1294914"/>
                  <a:pt x="3159099" y="1295511"/>
                  <a:pt x="3166477" y="1288323"/>
                </a:cubicBezTo>
                <a:cubicBezTo>
                  <a:pt x="3163683" y="1287726"/>
                  <a:pt x="3156305" y="1294914"/>
                  <a:pt x="3157499" y="1289327"/>
                </a:cubicBezTo>
                <a:cubicBezTo>
                  <a:pt x="3157499" y="1289327"/>
                  <a:pt x="3157499" y="1289327"/>
                  <a:pt x="3160890" y="1287130"/>
                </a:cubicBezTo>
                <a:cubicBezTo>
                  <a:pt x="3160890" y="1287130"/>
                  <a:pt x="3160890" y="1287130"/>
                  <a:pt x="3158095" y="1286532"/>
                </a:cubicBezTo>
                <a:cubicBezTo>
                  <a:pt x="3172256" y="1274951"/>
                  <a:pt x="3177844" y="1276144"/>
                  <a:pt x="3182429" y="1268359"/>
                </a:cubicBezTo>
                <a:cubicBezTo>
                  <a:pt x="3191407" y="1267356"/>
                  <a:pt x="3193604" y="1270747"/>
                  <a:pt x="3196995" y="1268550"/>
                </a:cubicBezTo>
                <a:cubicBezTo>
                  <a:pt x="3206571" y="1264753"/>
                  <a:pt x="3190810" y="1270150"/>
                  <a:pt x="3194799" y="1265159"/>
                </a:cubicBezTo>
                <a:cubicBezTo>
                  <a:pt x="3194799" y="1265159"/>
                  <a:pt x="3195395" y="1262365"/>
                  <a:pt x="3195395" y="1262365"/>
                </a:cubicBezTo>
                <a:cubicBezTo>
                  <a:pt x="3198189" y="1262962"/>
                  <a:pt x="3198189" y="1262962"/>
                  <a:pt x="3198189" y="1262962"/>
                </a:cubicBezTo>
                <a:cubicBezTo>
                  <a:pt x="3198189" y="1262962"/>
                  <a:pt x="3201580" y="1260765"/>
                  <a:pt x="3201580" y="1260765"/>
                </a:cubicBezTo>
                <a:cubicBezTo>
                  <a:pt x="3211753" y="1254174"/>
                  <a:pt x="3211156" y="1256968"/>
                  <a:pt x="3221329" y="1250377"/>
                </a:cubicBezTo>
                <a:cubicBezTo>
                  <a:pt x="3221329" y="1250377"/>
                  <a:pt x="3224123" y="1250974"/>
                  <a:pt x="3224123" y="1250974"/>
                </a:cubicBezTo>
                <a:cubicBezTo>
                  <a:pt x="3226916" y="1251570"/>
                  <a:pt x="3227513" y="1248777"/>
                  <a:pt x="3227513" y="1248777"/>
                </a:cubicBezTo>
                <a:cubicBezTo>
                  <a:pt x="3227513" y="1248777"/>
                  <a:pt x="3230307" y="1249374"/>
                  <a:pt x="3230307" y="1249374"/>
                </a:cubicBezTo>
                <a:cubicBezTo>
                  <a:pt x="3230307" y="1249374"/>
                  <a:pt x="3230307" y="1249374"/>
                  <a:pt x="3236492" y="1247773"/>
                </a:cubicBezTo>
                <a:cubicBezTo>
                  <a:pt x="3237089" y="1244979"/>
                  <a:pt x="3237089" y="1244979"/>
                  <a:pt x="3237089" y="1244979"/>
                </a:cubicBezTo>
                <a:cubicBezTo>
                  <a:pt x="3238689" y="1251165"/>
                  <a:pt x="3244468" y="1237792"/>
                  <a:pt x="3252850" y="1239582"/>
                </a:cubicBezTo>
                <a:cubicBezTo>
                  <a:pt x="3252850" y="1239582"/>
                  <a:pt x="3252850" y="1239582"/>
                  <a:pt x="3252252" y="1242377"/>
                </a:cubicBezTo>
                <a:cubicBezTo>
                  <a:pt x="3248862" y="1244574"/>
                  <a:pt x="3246068" y="1243976"/>
                  <a:pt x="3239286" y="1248370"/>
                </a:cubicBezTo>
                <a:cubicBezTo>
                  <a:pt x="3239286" y="1248370"/>
                  <a:pt x="3231908" y="1255558"/>
                  <a:pt x="3231908" y="1255558"/>
                </a:cubicBezTo>
                <a:cubicBezTo>
                  <a:pt x="3225125" y="1259952"/>
                  <a:pt x="3212755" y="1263153"/>
                  <a:pt x="3205974" y="1267547"/>
                </a:cubicBezTo>
                <a:cubicBezTo>
                  <a:pt x="3189019" y="1278532"/>
                  <a:pt x="3174859" y="1290114"/>
                  <a:pt x="3161295" y="1298902"/>
                </a:cubicBezTo>
                <a:cubicBezTo>
                  <a:pt x="3130778" y="1318675"/>
                  <a:pt x="3087293" y="1344443"/>
                  <a:pt x="3058376" y="1370401"/>
                </a:cubicBezTo>
                <a:cubicBezTo>
                  <a:pt x="3052191" y="1372001"/>
                  <a:pt x="3050400" y="1380383"/>
                  <a:pt x="3050400" y="1380383"/>
                </a:cubicBezTo>
                <a:cubicBezTo>
                  <a:pt x="3043619" y="1384777"/>
                  <a:pt x="3041421" y="1381386"/>
                  <a:pt x="3038030" y="1383583"/>
                </a:cubicBezTo>
                <a:cubicBezTo>
                  <a:pt x="3021673" y="1391774"/>
                  <a:pt x="3011906" y="1410138"/>
                  <a:pt x="3001734" y="1416729"/>
                </a:cubicBezTo>
                <a:cubicBezTo>
                  <a:pt x="2998343" y="1418926"/>
                  <a:pt x="2995549" y="1418330"/>
                  <a:pt x="2995549" y="1418330"/>
                </a:cubicBezTo>
                <a:cubicBezTo>
                  <a:pt x="2985377" y="1424920"/>
                  <a:pt x="2971216" y="1436502"/>
                  <a:pt x="2976207" y="1440490"/>
                </a:cubicBezTo>
                <a:cubicBezTo>
                  <a:pt x="2968829" y="1447678"/>
                  <a:pt x="2966631" y="1444287"/>
                  <a:pt x="2959253" y="1451475"/>
                </a:cubicBezTo>
                <a:cubicBezTo>
                  <a:pt x="2940507" y="1470843"/>
                  <a:pt x="2905405" y="1498400"/>
                  <a:pt x="2888857" y="1521158"/>
                </a:cubicBezTo>
                <a:cubicBezTo>
                  <a:pt x="2875293" y="1529947"/>
                  <a:pt x="2860536" y="1544323"/>
                  <a:pt x="2847975" y="1562089"/>
                </a:cubicBezTo>
                <a:cubicBezTo>
                  <a:pt x="2836013" y="1577062"/>
                  <a:pt x="2843391" y="1569874"/>
                  <a:pt x="2829230" y="1581457"/>
                </a:cubicBezTo>
                <a:cubicBezTo>
                  <a:pt x="2813876" y="1598626"/>
                  <a:pt x="2800122" y="1621981"/>
                  <a:pt x="2780779" y="1644142"/>
                </a:cubicBezTo>
                <a:cubicBezTo>
                  <a:pt x="2779586" y="1649730"/>
                  <a:pt x="2773401" y="1651330"/>
                  <a:pt x="2769413" y="1656321"/>
                </a:cubicBezTo>
                <a:cubicBezTo>
                  <a:pt x="2742693" y="1685670"/>
                  <a:pt x="2723160" y="1722397"/>
                  <a:pt x="2706612" y="1745155"/>
                </a:cubicBezTo>
                <a:cubicBezTo>
                  <a:pt x="2686077" y="1772904"/>
                  <a:pt x="2667141" y="1806838"/>
                  <a:pt x="2645411" y="1840174"/>
                </a:cubicBezTo>
                <a:cubicBezTo>
                  <a:pt x="2636838" y="1852951"/>
                  <a:pt x="2625472" y="1865129"/>
                  <a:pt x="2621890" y="1881893"/>
                </a:cubicBezTo>
                <a:cubicBezTo>
                  <a:pt x="2619097" y="1881296"/>
                  <a:pt x="2618500" y="1884090"/>
                  <a:pt x="2618500" y="1884090"/>
                </a:cubicBezTo>
                <a:cubicBezTo>
                  <a:pt x="2617902" y="1886884"/>
                  <a:pt x="2617305" y="1889678"/>
                  <a:pt x="2617305" y="1889678"/>
                </a:cubicBezTo>
                <a:cubicBezTo>
                  <a:pt x="2611121" y="1891278"/>
                  <a:pt x="2604149" y="1910239"/>
                  <a:pt x="2596173" y="1920221"/>
                </a:cubicBezTo>
                <a:cubicBezTo>
                  <a:pt x="2598967" y="1920818"/>
                  <a:pt x="2600757" y="1912436"/>
                  <a:pt x="2602955" y="1915827"/>
                </a:cubicBezTo>
                <a:cubicBezTo>
                  <a:pt x="2605342" y="1904651"/>
                  <a:pt x="2613725" y="1906442"/>
                  <a:pt x="2612721" y="1897463"/>
                </a:cubicBezTo>
                <a:cubicBezTo>
                  <a:pt x="2615515" y="1898060"/>
                  <a:pt x="2614321" y="1903648"/>
                  <a:pt x="2618906" y="1895863"/>
                </a:cubicBezTo>
                <a:cubicBezTo>
                  <a:pt x="2618309" y="1898657"/>
                  <a:pt x="2618309" y="1898657"/>
                  <a:pt x="2621699" y="1896460"/>
                </a:cubicBezTo>
                <a:cubicBezTo>
                  <a:pt x="2621699" y="1896460"/>
                  <a:pt x="2621699" y="1896460"/>
                  <a:pt x="2622297" y="1893666"/>
                </a:cubicBezTo>
                <a:cubicBezTo>
                  <a:pt x="2622297" y="1893666"/>
                  <a:pt x="2622893" y="1890872"/>
                  <a:pt x="2622893" y="1890872"/>
                </a:cubicBezTo>
                <a:cubicBezTo>
                  <a:pt x="2622893" y="1890872"/>
                  <a:pt x="2623490" y="1888078"/>
                  <a:pt x="2623490" y="1888078"/>
                </a:cubicBezTo>
                <a:cubicBezTo>
                  <a:pt x="2627478" y="1883087"/>
                  <a:pt x="2634451" y="1864126"/>
                  <a:pt x="2641233" y="1859732"/>
                </a:cubicBezTo>
                <a:cubicBezTo>
                  <a:pt x="2654390" y="1839171"/>
                  <a:pt x="2665350" y="1815219"/>
                  <a:pt x="2675523" y="1808628"/>
                </a:cubicBezTo>
                <a:cubicBezTo>
                  <a:pt x="2680704" y="1798050"/>
                  <a:pt x="2692071" y="1785870"/>
                  <a:pt x="2704034" y="1770898"/>
                </a:cubicBezTo>
                <a:cubicBezTo>
                  <a:pt x="2704034" y="1770898"/>
                  <a:pt x="2704034" y="1770898"/>
                  <a:pt x="2706828" y="1771495"/>
                </a:cubicBezTo>
                <a:cubicBezTo>
                  <a:pt x="2707425" y="1768701"/>
                  <a:pt x="2707425" y="1768701"/>
                  <a:pt x="2708022" y="1765907"/>
                </a:cubicBezTo>
                <a:cubicBezTo>
                  <a:pt x="2708022" y="1765907"/>
                  <a:pt x="2708619" y="1763113"/>
                  <a:pt x="2708619" y="1763113"/>
                </a:cubicBezTo>
                <a:cubicBezTo>
                  <a:pt x="2716594" y="1753131"/>
                  <a:pt x="2722373" y="1739758"/>
                  <a:pt x="2730945" y="1726982"/>
                </a:cubicBezTo>
                <a:cubicBezTo>
                  <a:pt x="2730945" y="1726982"/>
                  <a:pt x="2734336" y="1724785"/>
                  <a:pt x="2734933" y="1721991"/>
                </a:cubicBezTo>
                <a:cubicBezTo>
                  <a:pt x="2737727" y="1722588"/>
                  <a:pt x="2741118" y="1720391"/>
                  <a:pt x="2740521" y="1723185"/>
                </a:cubicBezTo>
                <a:cubicBezTo>
                  <a:pt x="2741118" y="1720391"/>
                  <a:pt x="2741715" y="1717597"/>
                  <a:pt x="2742312" y="1714804"/>
                </a:cubicBezTo>
                <a:cubicBezTo>
                  <a:pt x="2745702" y="1712606"/>
                  <a:pt x="2749093" y="1710409"/>
                  <a:pt x="2749690" y="1707615"/>
                </a:cubicBezTo>
                <a:cubicBezTo>
                  <a:pt x="2769033" y="1685454"/>
                  <a:pt x="2786177" y="1659902"/>
                  <a:pt x="2802726" y="1637145"/>
                </a:cubicBezTo>
                <a:cubicBezTo>
                  <a:pt x="2802726" y="1637145"/>
                  <a:pt x="2802726" y="1637145"/>
                  <a:pt x="2803323" y="1634351"/>
                </a:cubicBezTo>
                <a:cubicBezTo>
                  <a:pt x="2806117" y="1634947"/>
                  <a:pt x="2806713" y="1632153"/>
                  <a:pt x="2806713" y="1632153"/>
                </a:cubicBezTo>
                <a:cubicBezTo>
                  <a:pt x="2813495" y="1627759"/>
                  <a:pt x="2822067" y="1614984"/>
                  <a:pt x="2824862" y="1615580"/>
                </a:cubicBezTo>
                <a:cubicBezTo>
                  <a:pt x="2825459" y="1612787"/>
                  <a:pt x="2826055" y="1609993"/>
                  <a:pt x="2826652" y="1607199"/>
                </a:cubicBezTo>
                <a:cubicBezTo>
                  <a:pt x="2826652" y="1607199"/>
                  <a:pt x="2830043" y="1605002"/>
                  <a:pt x="2830043" y="1605002"/>
                </a:cubicBezTo>
                <a:cubicBezTo>
                  <a:pt x="2836228" y="1603402"/>
                  <a:pt x="2840813" y="1595616"/>
                  <a:pt x="2848191" y="1588428"/>
                </a:cubicBezTo>
                <a:cubicBezTo>
                  <a:pt x="2848191" y="1588428"/>
                  <a:pt x="2850985" y="1589025"/>
                  <a:pt x="2851582" y="1586232"/>
                </a:cubicBezTo>
                <a:cubicBezTo>
                  <a:pt x="2854973" y="1584035"/>
                  <a:pt x="2855570" y="1581241"/>
                  <a:pt x="2856167" y="1578447"/>
                </a:cubicBezTo>
                <a:cubicBezTo>
                  <a:pt x="2863545" y="1571259"/>
                  <a:pt x="2860751" y="1570662"/>
                  <a:pt x="2870925" y="1564070"/>
                </a:cubicBezTo>
                <a:cubicBezTo>
                  <a:pt x="2870925" y="1564070"/>
                  <a:pt x="2873718" y="1564667"/>
                  <a:pt x="2874315" y="1561874"/>
                </a:cubicBezTo>
                <a:cubicBezTo>
                  <a:pt x="2874315" y="1561874"/>
                  <a:pt x="2874315" y="1561874"/>
                  <a:pt x="2874912" y="1559080"/>
                </a:cubicBezTo>
                <a:cubicBezTo>
                  <a:pt x="2901036" y="1532525"/>
                  <a:pt x="2923769" y="1508167"/>
                  <a:pt x="2949893" y="1481612"/>
                </a:cubicBezTo>
                <a:cubicBezTo>
                  <a:pt x="2949893" y="1481612"/>
                  <a:pt x="2953284" y="1479415"/>
                  <a:pt x="2953284" y="1479415"/>
                </a:cubicBezTo>
                <a:cubicBezTo>
                  <a:pt x="2953284" y="1479415"/>
                  <a:pt x="2956674" y="1477218"/>
                  <a:pt x="2956674" y="1477218"/>
                </a:cubicBezTo>
                <a:cubicBezTo>
                  <a:pt x="2956674" y="1477218"/>
                  <a:pt x="2956674" y="1477218"/>
                  <a:pt x="2957271" y="1474424"/>
                </a:cubicBezTo>
                <a:cubicBezTo>
                  <a:pt x="2957271" y="1474424"/>
                  <a:pt x="2960065" y="1475021"/>
                  <a:pt x="2960662" y="1472227"/>
                </a:cubicBezTo>
                <a:cubicBezTo>
                  <a:pt x="2960662" y="1472227"/>
                  <a:pt x="2960662" y="1472227"/>
                  <a:pt x="2963456" y="1472823"/>
                </a:cubicBezTo>
                <a:cubicBezTo>
                  <a:pt x="2960065" y="1475021"/>
                  <a:pt x="2960065" y="1475021"/>
                  <a:pt x="2959468" y="1477815"/>
                </a:cubicBezTo>
                <a:cubicBezTo>
                  <a:pt x="2959468" y="1477815"/>
                  <a:pt x="2958871" y="1480608"/>
                  <a:pt x="2962263" y="1478412"/>
                </a:cubicBezTo>
                <a:cubicBezTo>
                  <a:pt x="2962263" y="1478412"/>
                  <a:pt x="2965056" y="1479009"/>
                  <a:pt x="2965056" y="1479009"/>
                </a:cubicBezTo>
                <a:cubicBezTo>
                  <a:pt x="2965653" y="1476215"/>
                  <a:pt x="2968447" y="1476811"/>
                  <a:pt x="2968447" y="1476811"/>
                </a:cubicBezTo>
                <a:cubicBezTo>
                  <a:pt x="2958275" y="1483403"/>
                  <a:pt x="2958275" y="1483403"/>
                  <a:pt x="2949702" y="1496178"/>
                </a:cubicBezTo>
                <a:cubicBezTo>
                  <a:pt x="2952090" y="1485003"/>
                  <a:pt x="2940723" y="1497181"/>
                  <a:pt x="2929357" y="1509361"/>
                </a:cubicBezTo>
                <a:cubicBezTo>
                  <a:pt x="2932150" y="1509958"/>
                  <a:pt x="2935542" y="1507761"/>
                  <a:pt x="2938335" y="1508358"/>
                </a:cubicBezTo>
                <a:cubicBezTo>
                  <a:pt x="2934348" y="1513349"/>
                  <a:pt x="2929763" y="1521133"/>
                  <a:pt x="2919591" y="1527724"/>
                </a:cubicBezTo>
                <a:cubicBezTo>
                  <a:pt x="2920187" y="1524931"/>
                  <a:pt x="2920187" y="1524931"/>
                  <a:pt x="2920187" y="1524931"/>
                </a:cubicBezTo>
                <a:cubicBezTo>
                  <a:pt x="2920784" y="1522137"/>
                  <a:pt x="2920784" y="1522137"/>
                  <a:pt x="2920784" y="1522137"/>
                </a:cubicBezTo>
                <a:cubicBezTo>
                  <a:pt x="2917393" y="1524334"/>
                  <a:pt x="2917393" y="1524334"/>
                  <a:pt x="2917393" y="1524334"/>
                </a:cubicBezTo>
                <a:cubicBezTo>
                  <a:pt x="2916796" y="1527127"/>
                  <a:pt x="2913405" y="1529324"/>
                  <a:pt x="2913405" y="1529324"/>
                </a:cubicBezTo>
                <a:cubicBezTo>
                  <a:pt x="2910612" y="1528728"/>
                  <a:pt x="2906623" y="1533718"/>
                  <a:pt x="2903233" y="1535915"/>
                </a:cubicBezTo>
                <a:cubicBezTo>
                  <a:pt x="2902635" y="1538710"/>
                  <a:pt x="2899842" y="1538113"/>
                  <a:pt x="2899842" y="1538113"/>
                </a:cubicBezTo>
                <a:cubicBezTo>
                  <a:pt x="2899245" y="1540907"/>
                  <a:pt x="2899245" y="1540907"/>
                  <a:pt x="2899245" y="1540907"/>
                </a:cubicBezTo>
                <a:cubicBezTo>
                  <a:pt x="2899245" y="1540907"/>
                  <a:pt x="2899245" y="1540907"/>
                  <a:pt x="2902039" y="1541504"/>
                </a:cubicBezTo>
                <a:cubicBezTo>
                  <a:pt x="2898648" y="1543700"/>
                  <a:pt x="2895257" y="1545898"/>
                  <a:pt x="2888475" y="1550291"/>
                </a:cubicBezTo>
                <a:cubicBezTo>
                  <a:pt x="2891269" y="1550889"/>
                  <a:pt x="2894661" y="1548691"/>
                  <a:pt x="2896857" y="1552082"/>
                </a:cubicBezTo>
                <a:cubicBezTo>
                  <a:pt x="2886088" y="1561468"/>
                  <a:pt x="2890076" y="1556476"/>
                  <a:pt x="2885491" y="1564261"/>
                </a:cubicBezTo>
                <a:cubicBezTo>
                  <a:pt x="2881503" y="1569252"/>
                  <a:pt x="2882697" y="1563665"/>
                  <a:pt x="2875319" y="1570852"/>
                </a:cubicBezTo>
                <a:cubicBezTo>
                  <a:pt x="2878113" y="1571450"/>
                  <a:pt x="2878709" y="1568655"/>
                  <a:pt x="2881503" y="1569252"/>
                </a:cubicBezTo>
                <a:cubicBezTo>
                  <a:pt x="2877516" y="1574244"/>
                  <a:pt x="2874125" y="1576440"/>
                  <a:pt x="2874721" y="1573647"/>
                </a:cubicBezTo>
                <a:cubicBezTo>
                  <a:pt x="2870733" y="1578637"/>
                  <a:pt x="2870733" y="1578637"/>
                  <a:pt x="2870137" y="1581431"/>
                </a:cubicBezTo>
                <a:cubicBezTo>
                  <a:pt x="2870137" y="1581431"/>
                  <a:pt x="2870137" y="1581431"/>
                  <a:pt x="2866747" y="1583628"/>
                </a:cubicBezTo>
                <a:cubicBezTo>
                  <a:pt x="2866747" y="1583628"/>
                  <a:pt x="2863355" y="1585826"/>
                  <a:pt x="2863355" y="1585826"/>
                </a:cubicBezTo>
                <a:cubicBezTo>
                  <a:pt x="2862759" y="1588620"/>
                  <a:pt x="2862759" y="1588620"/>
                  <a:pt x="2862759" y="1588620"/>
                </a:cubicBezTo>
                <a:cubicBezTo>
                  <a:pt x="2865552" y="1589216"/>
                  <a:pt x="2865552" y="1589216"/>
                  <a:pt x="2866149" y="1586422"/>
                </a:cubicBezTo>
                <a:cubicBezTo>
                  <a:pt x="2862161" y="1591413"/>
                  <a:pt x="2862161" y="1591413"/>
                  <a:pt x="2855379" y="1595808"/>
                </a:cubicBezTo>
                <a:cubicBezTo>
                  <a:pt x="2854782" y="1598601"/>
                  <a:pt x="2854782" y="1598601"/>
                  <a:pt x="2854782" y="1598601"/>
                </a:cubicBezTo>
                <a:cubicBezTo>
                  <a:pt x="2854782" y="1598601"/>
                  <a:pt x="2854185" y="1601395"/>
                  <a:pt x="2854185" y="1601395"/>
                </a:cubicBezTo>
                <a:cubicBezTo>
                  <a:pt x="2850795" y="1603592"/>
                  <a:pt x="2846807" y="1608583"/>
                  <a:pt x="2842222" y="1616368"/>
                </a:cubicBezTo>
                <a:cubicBezTo>
                  <a:pt x="2838235" y="1621359"/>
                  <a:pt x="2833243" y="1617371"/>
                  <a:pt x="2831453" y="1625753"/>
                </a:cubicBezTo>
                <a:cubicBezTo>
                  <a:pt x="2831453" y="1625753"/>
                  <a:pt x="2828658" y="1625156"/>
                  <a:pt x="2828658" y="1625156"/>
                </a:cubicBezTo>
                <a:cubicBezTo>
                  <a:pt x="2829255" y="1622362"/>
                  <a:pt x="2828658" y="1625156"/>
                  <a:pt x="2825865" y="1624559"/>
                </a:cubicBezTo>
                <a:cubicBezTo>
                  <a:pt x="2825268" y="1627353"/>
                  <a:pt x="2824671" y="1630147"/>
                  <a:pt x="2824671" y="1630147"/>
                </a:cubicBezTo>
                <a:cubicBezTo>
                  <a:pt x="2824671" y="1630147"/>
                  <a:pt x="2824671" y="1630147"/>
                  <a:pt x="2824074" y="1632941"/>
                </a:cubicBezTo>
                <a:cubicBezTo>
                  <a:pt x="2820683" y="1635138"/>
                  <a:pt x="2820086" y="1637932"/>
                  <a:pt x="2822881" y="1638529"/>
                </a:cubicBezTo>
                <a:cubicBezTo>
                  <a:pt x="2814905" y="1648511"/>
                  <a:pt x="2805926" y="1649514"/>
                  <a:pt x="2804135" y="1657896"/>
                </a:cubicBezTo>
                <a:cubicBezTo>
                  <a:pt x="2804135" y="1657896"/>
                  <a:pt x="2800744" y="1660093"/>
                  <a:pt x="2800147" y="1662887"/>
                </a:cubicBezTo>
                <a:cubicBezTo>
                  <a:pt x="2800147" y="1662887"/>
                  <a:pt x="2799550" y="1665681"/>
                  <a:pt x="2799550" y="1665681"/>
                </a:cubicBezTo>
                <a:cubicBezTo>
                  <a:pt x="2798953" y="1668475"/>
                  <a:pt x="2798953" y="1668475"/>
                  <a:pt x="2798953" y="1668475"/>
                </a:cubicBezTo>
                <a:cubicBezTo>
                  <a:pt x="2794966" y="1673466"/>
                  <a:pt x="2791575" y="1675663"/>
                  <a:pt x="2788184" y="1677860"/>
                </a:cubicBezTo>
                <a:cubicBezTo>
                  <a:pt x="2793175" y="1681847"/>
                  <a:pt x="2778011" y="1684451"/>
                  <a:pt x="2783002" y="1688438"/>
                </a:cubicBezTo>
                <a:cubicBezTo>
                  <a:pt x="2779611" y="1690636"/>
                  <a:pt x="2798356" y="1671269"/>
                  <a:pt x="2802344" y="1666278"/>
                </a:cubicBezTo>
                <a:cubicBezTo>
                  <a:pt x="2805138" y="1666875"/>
                  <a:pt x="2805735" y="1664081"/>
                  <a:pt x="2805735" y="1664081"/>
                </a:cubicBezTo>
                <a:cubicBezTo>
                  <a:pt x="2808529" y="1664677"/>
                  <a:pt x="2809125" y="1661884"/>
                  <a:pt x="2809125" y="1661884"/>
                </a:cubicBezTo>
                <a:cubicBezTo>
                  <a:pt x="2809723" y="1659090"/>
                  <a:pt x="2809723" y="1659090"/>
                  <a:pt x="2806929" y="1658493"/>
                </a:cubicBezTo>
                <a:cubicBezTo>
                  <a:pt x="2807527" y="1655699"/>
                  <a:pt x="2810320" y="1656296"/>
                  <a:pt x="2810917" y="1653502"/>
                </a:cubicBezTo>
                <a:cubicBezTo>
                  <a:pt x="2814905" y="1648511"/>
                  <a:pt x="2814308" y="1651305"/>
                  <a:pt x="2817102" y="1651902"/>
                </a:cubicBezTo>
                <a:cubicBezTo>
                  <a:pt x="2821090" y="1646911"/>
                  <a:pt x="2818893" y="1643520"/>
                  <a:pt x="2826271" y="1636332"/>
                </a:cubicBezTo>
                <a:cubicBezTo>
                  <a:pt x="2826271" y="1636332"/>
                  <a:pt x="2826271" y="1636332"/>
                  <a:pt x="2826868" y="1633538"/>
                </a:cubicBezTo>
                <a:cubicBezTo>
                  <a:pt x="2829662" y="1634135"/>
                  <a:pt x="2829662" y="1634135"/>
                  <a:pt x="2829662" y="1634135"/>
                </a:cubicBezTo>
                <a:cubicBezTo>
                  <a:pt x="2829662" y="1634135"/>
                  <a:pt x="2832456" y="1634732"/>
                  <a:pt x="2833053" y="1631938"/>
                </a:cubicBezTo>
                <a:lnTo>
                  <a:pt x="2833650" y="1629144"/>
                </a:lnTo>
                <a:cubicBezTo>
                  <a:pt x="2833650" y="1629144"/>
                  <a:pt x="2833650" y="1629144"/>
                  <a:pt x="2830855" y="1628547"/>
                </a:cubicBezTo>
                <a:cubicBezTo>
                  <a:pt x="2841028" y="1621956"/>
                  <a:pt x="2845613" y="1614172"/>
                  <a:pt x="2856979" y="1601992"/>
                </a:cubicBezTo>
                <a:cubicBezTo>
                  <a:pt x="2856979" y="1601992"/>
                  <a:pt x="2856979" y="1601992"/>
                  <a:pt x="2856383" y="1604786"/>
                </a:cubicBezTo>
                <a:cubicBezTo>
                  <a:pt x="2856383" y="1604786"/>
                  <a:pt x="2859773" y="1602589"/>
                  <a:pt x="2859773" y="1602589"/>
                </a:cubicBezTo>
                <a:cubicBezTo>
                  <a:pt x="2859773" y="1602589"/>
                  <a:pt x="2860371" y="1599795"/>
                  <a:pt x="2860371" y="1599795"/>
                </a:cubicBezTo>
                <a:cubicBezTo>
                  <a:pt x="2864358" y="1594804"/>
                  <a:pt x="2861564" y="1594207"/>
                  <a:pt x="2868943" y="1587019"/>
                </a:cubicBezTo>
                <a:cubicBezTo>
                  <a:pt x="2868943" y="1587019"/>
                  <a:pt x="2871737" y="1587616"/>
                  <a:pt x="2871737" y="1587616"/>
                </a:cubicBezTo>
                <a:cubicBezTo>
                  <a:pt x="2871737" y="1587616"/>
                  <a:pt x="2871737" y="1587616"/>
                  <a:pt x="2872334" y="1584822"/>
                </a:cubicBezTo>
                <a:cubicBezTo>
                  <a:pt x="2872334" y="1584822"/>
                  <a:pt x="2872930" y="1582029"/>
                  <a:pt x="2872930" y="1582029"/>
                </a:cubicBezTo>
                <a:cubicBezTo>
                  <a:pt x="2883103" y="1575437"/>
                  <a:pt x="2896261" y="1554877"/>
                  <a:pt x="2905837" y="1551079"/>
                </a:cubicBezTo>
                <a:cubicBezTo>
                  <a:pt x="2906433" y="1548286"/>
                  <a:pt x="2917800" y="1536106"/>
                  <a:pt x="2929166" y="1523928"/>
                </a:cubicBezTo>
                <a:cubicBezTo>
                  <a:pt x="2943327" y="1512346"/>
                  <a:pt x="2958084" y="1497969"/>
                  <a:pt x="2965463" y="1490781"/>
                </a:cubicBezTo>
                <a:cubicBezTo>
                  <a:pt x="2966059" y="1487988"/>
                  <a:pt x="2976829" y="1478602"/>
                  <a:pt x="2987598" y="1469217"/>
                </a:cubicBezTo>
                <a:cubicBezTo>
                  <a:pt x="2998368" y="1459832"/>
                  <a:pt x="3008541" y="1453241"/>
                  <a:pt x="3011932" y="1451045"/>
                </a:cubicBezTo>
                <a:cubicBezTo>
                  <a:pt x="3015919" y="1446053"/>
                  <a:pt x="3016516" y="1443259"/>
                  <a:pt x="3014320" y="1439868"/>
                </a:cubicBezTo>
                <a:cubicBezTo>
                  <a:pt x="3034067" y="1429480"/>
                  <a:pt x="3033065" y="1420501"/>
                  <a:pt x="3041446" y="1422292"/>
                </a:cubicBezTo>
                <a:cubicBezTo>
                  <a:pt x="3040849" y="1425086"/>
                  <a:pt x="3040849" y="1425086"/>
                  <a:pt x="3040849" y="1425086"/>
                </a:cubicBezTo>
                <a:cubicBezTo>
                  <a:pt x="2992589" y="1473205"/>
                  <a:pt x="2942730" y="1515139"/>
                  <a:pt x="2914815" y="1550076"/>
                </a:cubicBezTo>
                <a:cubicBezTo>
                  <a:pt x="2915412" y="1547282"/>
                  <a:pt x="2915412" y="1547282"/>
                  <a:pt x="2912618" y="1546685"/>
                </a:cubicBezTo>
                <a:cubicBezTo>
                  <a:pt x="2912021" y="1549479"/>
                  <a:pt x="2912021" y="1549479"/>
                  <a:pt x="2908630" y="1551676"/>
                </a:cubicBezTo>
                <a:cubicBezTo>
                  <a:pt x="2908630" y="1551676"/>
                  <a:pt x="2908033" y="1554470"/>
                  <a:pt x="2908033" y="1554470"/>
                </a:cubicBezTo>
                <a:cubicBezTo>
                  <a:pt x="2904643" y="1556667"/>
                  <a:pt x="2897264" y="1563855"/>
                  <a:pt x="2891079" y="1565456"/>
                </a:cubicBezTo>
                <a:cubicBezTo>
                  <a:pt x="2884703" y="1581622"/>
                  <a:pt x="2869349" y="1598792"/>
                  <a:pt x="2857386" y="1613765"/>
                </a:cubicBezTo>
                <a:cubicBezTo>
                  <a:pt x="2842032" y="1630935"/>
                  <a:pt x="2827274" y="1645311"/>
                  <a:pt x="2822092" y="1655890"/>
                </a:cubicBezTo>
                <a:cubicBezTo>
                  <a:pt x="2810726" y="1668069"/>
                  <a:pt x="2795372" y="1685239"/>
                  <a:pt x="2780017" y="1702408"/>
                </a:cubicBezTo>
                <a:cubicBezTo>
                  <a:pt x="2767457" y="1720176"/>
                  <a:pt x="2754897" y="1737943"/>
                  <a:pt x="2746325" y="1750718"/>
                </a:cubicBezTo>
                <a:cubicBezTo>
                  <a:pt x="2746325" y="1750718"/>
                  <a:pt x="2742934" y="1752915"/>
                  <a:pt x="2742934" y="1752915"/>
                </a:cubicBezTo>
                <a:cubicBezTo>
                  <a:pt x="2742337" y="1755709"/>
                  <a:pt x="2742337" y="1755709"/>
                  <a:pt x="2742337" y="1755709"/>
                </a:cubicBezTo>
                <a:cubicBezTo>
                  <a:pt x="2742337" y="1755709"/>
                  <a:pt x="2742337" y="1755709"/>
                  <a:pt x="2745131" y="1756306"/>
                </a:cubicBezTo>
                <a:cubicBezTo>
                  <a:pt x="2737752" y="1763494"/>
                  <a:pt x="2731376" y="1779661"/>
                  <a:pt x="2739352" y="1769679"/>
                </a:cubicBezTo>
                <a:cubicBezTo>
                  <a:pt x="2739352" y="1769679"/>
                  <a:pt x="2739352" y="1769679"/>
                  <a:pt x="2738755" y="1772473"/>
                </a:cubicBezTo>
                <a:cubicBezTo>
                  <a:pt x="2738755" y="1772473"/>
                  <a:pt x="2738159" y="1775267"/>
                  <a:pt x="2741549" y="1773070"/>
                </a:cubicBezTo>
                <a:cubicBezTo>
                  <a:pt x="2741549" y="1773070"/>
                  <a:pt x="2741549" y="1773070"/>
                  <a:pt x="2744343" y="1773667"/>
                </a:cubicBezTo>
                <a:cubicBezTo>
                  <a:pt x="2740953" y="1775863"/>
                  <a:pt x="2740356" y="1778658"/>
                  <a:pt x="2743747" y="1776460"/>
                </a:cubicBezTo>
                <a:cubicBezTo>
                  <a:pt x="2733574" y="1783052"/>
                  <a:pt x="2738565" y="1787040"/>
                  <a:pt x="2731186" y="1794227"/>
                </a:cubicBezTo>
                <a:cubicBezTo>
                  <a:pt x="2733574" y="1783052"/>
                  <a:pt x="2729586" y="1788043"/>
                  <a:pt x="2721014" y="1800818"/>
                </a:cubicBezTo>
                <a:cubicBezTo>
                  <a:pt x="2721014" y="1800818"/>
                  <a:pt x="2721014" y="1800818"/>
                  <a:pt x="2726601" y="1802012"/>
                </a:cubicBezTo>
                <a:cubicBezTo>
                  <a:pt x="2710651" y="1821977"/>
                  <a:pt x="2712847" y="1825367"/>
                  <a:pt x="2701481" y="1837546"/>
                </a:cubicBezTo>
                <a:cubicBezTo>
                  <a:pt x="2696896" y="1845331"/>
                  <a:pt x="2704275" y="1838143"/>
                  <a:pt x="2703678" y="1840937"/>
                </a:cubicBezTo>
                <a:cubicBezTo>
                  <a:pt x="2703081" y="1843731"/>
                  <a:pt x="2699690" y="1845928"/>
                  <a:pt x="2696896" y="1845331"/>
                </a:cubicBezTo>
                <a:cubicBezTo>
                  <a:pt x="2695702" y="1850919"/>
                  <a:pt x="2699093" y="1848722"/>
                  <a:pt x="2695105" y="1853713"/>
                </a:cubicBezTo>
                <a:cubicBezTo>
                  <a:pt x="2686533" y="1866489"/>
                  <a:pt x="2677363" y="1882059"/>
                  <a:pt x="2663609" y="1905413"/>
                </a:cubicBezTo>
                <a:cubicBezTo>
                  <a:pt x="2659025" y="1913198"/>
                  <a:pt x="2655037" y="1918189"/>
                  <a:pt x="2654440" y="1920983"/>
                </a:cubicBezTo>
                <a:cubicBezTo>
                  <a:pt x="2640089" y="1947132"/>
                  <a:pt x="2626144" y="1985054"/>
                  <a:pt x="2617762" y="1983263"/>
                </a:cubicBezTo>
                <a:cubicBezTo>
                  <a:pt x="2618766" y="1992242"/>
                  <a:pt x="2615971" y="1991645"/>
                  <a:pt x="2609596" y="2007811"/>
                </a:cubicBezTo>
                <a:cubicBezTo>
                  <a:pt x="2604415" y="2018390"/>
                  <a:pt x="2609190" y="1996038"/>
                  <a:pt x="2602814" y="2012205"/>
                </a:cubicBezTo>
                <a:cubicBezTo>
                  <a:pt x="2601214" y="2006020"/>
                  <a:pt x="2596033" y="2016599"/>
                  <a:pt x="2601811" y="2003227"/>
                </a:cubicBezTo>
                <a:cubicBezTo>
                  <a:pt x="2599017" y="2002629"/>
                  <a:pt x="2596629" y="2013805"/>
                  <a:pt x="2593836" y="2013209"/>
                </a:cubicBezTo>
                <a:cubicBezTo>
                  <a:pt x="2593836" y="2013209"/>
                  <a:pt x="2593836" y="2013209"/>
                  <a:pt x="2593239" y="2016003"/>
                </a:cubicBezTo>
                <a:cubicBezTo>
                  <a:pt x="2593239" y="2016003"/>
                  <a:pt x="2591041" y="2012611"/>
                  <a:pt x="2590445" y="2015406"/>
                </a:cubicBezTo>
                <a:cubicBezTo>
                  <a:pt x="2590445" y="2015406"/>
                  <a:pt x="2590445" y="2015406"/>
                  <a:pt x="2589848" y="2018199"/>
                </a:cubicBezTo>
                <a:cubicBezTo>
                  <a:pt x="2589848" y="2018199"/>
                  <a:pt x="2586457" y="2020396"/>
                  <a:pt x="2586457" y="2020396"/>
                </a:cubicBezTo>
                <a:cubicBezTo>
                  <a:pt x="2585860" y="2023190"/>
                  <a:pt x="2585263" y="2025984"/>
                  <a:pt x="2581275" y="2030976"/>
                </a:cubicBezTo>
                <a:cubicBezTo>
                  <a:pt x="2572105" y="2046545"/>
                  <a:pt x="2570315" y="2054927"/>
                  <a:pt x="2566327" y="2059917"/>
                </a:cubicBezTo>
                <a:cubicBezTo>
                  <a:pt x="2566924" y="2057124"/>
                  <a:pt x="2566327" y="2059917"/>
                  <a:pt x="2562937" y="2062115"/>
                </a:cubicBezTo>
                <a:cubicBezTo>
                  <a:pt x="2562937" y="2062115"/>
                  <a:pt x="2561743" y="2067703"/>
                  <a:pt x="2561743" y="2067703"/>
                </a:cubicBezTo>
                <a:cubicBezTo>
                  <a:pt x="2561743" y="2067703"/>
                  <a:pt x="2561146" y="2070497"/>
                  <a:pt x="2561146" y="2070497"/>
                </a:cubicBezTo>
                <a:cubicBezTo>
                  <a:pt x="2547177" y="2067512"/>
                  <a:pt x="2532635" y="2108228"/>
                  <a:pt x="2518879" y="2131582"/>
                </a:cubicBezTo>
                <a:cubicBezTo>
                  <a:pt x="2513889" y="2127594"/>
                  <a:pt x="2516277" y="2116419"/>
                  <a:pt x="2510092" y="2118019"/>
                </a:cubicBezTo>
                <a:cubicBezTo>
                  <a:pt x="2505914" y="2137576"/>
                  <a:pt x="2503120" y="2136980"/>
                  <a:pt x="2500135" y="2150949"/>
                </a:cubicBezTo>
                <a:cubicBezTo>
                  <a:pt x="2489365" y="2160335"/>
                  <a:pt x="2486763" y="2145171"/>
                  <a:pt x="2490941" y="2125614"/>
                </a:cubicBezTo>
                <a:cubicBezTo>
                  <a:pt x="2490941" y="2125614"/>
                  <a:pt x="2490941" y="2125614"/>
                  <a:pt x="2491538" y="2122819"/>
                </a:cubicBezTo>
                <a:cubicBezTo>
                  <a:pt x="2492135" y="2120025"/>
                  <a:pt x="2493329" y="2114437"/>
                  <a:pt x="2493329" y="2114437"/>
                </a:cubicBezTo>
                <a:cubicBezTo>
                  <a:pt x="2493329" y="2114437"/>
                  <a:pt x="2493329" y="2114437"/>
                  <a:pt x="2495525" y="2117829"/>
                </a:cubicBezTo>
                <a:cubicBezTo>
                  <a:pt x="2495525" y="2117829"/>
                  <a:pt x="2494929" y="2120622"/>
                  <a:pt x="2494929" y="2120622"/>
                </a:cubicBezTo>
                <a:cubicBezTo>
                  <a:pt x="2494929" y="2120622"/>
                  <a:pt x="2497722" y="2121219"/>
                  <a:pt x="2498319" y="2118425"/>
                </a:cubicBezTo>
                <a:cubicBezTo>
                  <a:pt x="2501710" y="2116228"/>
                  <a:pt x="2506485" y="2093876"/>
                  <a:pt x="2497316" y="2109447"/>
                </a:cubicBezTo>
                <a:cubicBezTo>
                  <a:pt x="2497316" y="2109447"/>
                  <a:pt x="2497316" y="2109447"/>
                  <a:pt x="2497913" y="2106653"/>
                </a:cubicBezTo>
                <a:cubicBezTo>
                  <a:pt x="2497913" y="2106653"/>
                  <a:pt x="2498509" y="2103858"/>
                  <a:pt x="2498509" y="2103858"/>
                </a:cubicBezTo>
                <a:cubicBezTo>
                  <a:pt x="2499107" y="2101065"/>
                  <a:pt x="2499107" y="2101065"/>
                  <a:pt x="2496313" y="2100468"/>
                </a:cubicBezTo>
                <a:cubicBezTo>
                  <a:pt x="2495716" y="2103262"/>
                  <a:pt x="2495119" y="2106056"/>
                  <a:pt x="2495119" y="2106056"/>
                </a:cubicBezTo>
                <a:cubicBezTo>
                  <a:pt x="2495119" y="2106056"/>
                  <a:pt x="2494522" y="2108850"/>
                  <a:pt x="2494522" y="2108850"/>
                </a:cubicBezTo>
                <a:cubicBezTo>
                  <a:pt x="2494522" y="2108850"/>
                  <a:pt x="2494522" y="2108850"/>
                  <a:pt x="2493925" y="2111643"/>
                </a:cubicBezTo>
                <a:cubicBezTo>
                  <a:pt x="2493925" y="2111643"/>
                  <a:pt x="2493329" y="2114437"/>
                  <a:pt x="2490535" y="2113841"/>
                </a:cubicBezTo>
                <a:cubicBezTo>
                  <a:pt x="2493519" y="2099871"/>
                  <a:pt x="2495907" y="2088695"/>
                  <a:pt x="2490915" y="2084707"/>
                </a:cubicBezTo>
                <a:cubicBezTo>
                  <a:pt x="2490915" y="2084707"/>
                  <a:pt x="2477758" y="2105268"/>
                  <a:pt x="2469186" y="2118044"/>
                </a:cubicBezTo>
                <a:cubicBezTo>
                  <a:pt x="2462810" y="2134211"/>
                  <a:pt x="2460829" y="2157159"/>
                  <a:pt x="2452853" y="2167142"/>
                </a:cubicBezTo>
                <a:cubicBezTo>
                  <a:pt x="2454047" y="2161553"/>
                  <a:pt x="2452447" y="2155368"/>
                  <a:pt x="2452447" y="2155368"/>
                </a:cubicBezTo>
                <a:cubicBezTo>
                  <a:pt x="2435899" y="2178126"/>
                  <a:pt x="2415554" y="2191309"/>
                  <a:pt x="2404403" y="2229827"/>
                </a:cubicBezTo>
                <a:cubicBezTo>
                  <a:pt x="2401609" y="2229230"/>
                  <a:pt x="2401609" y="2229230"/>
                  <a:pt x="2398815" y="2228633"/>
                </a:cubicBezTo>
                <a:cubicBezTo>
                  <a:pt x="2459917" y="1969990"/>
                  <a:pt x="2576108" y="1740645"/>
                  <a:pt x="2734426" y="1546594"/>
                </a:cubicBezTo>
                <a:cubicBezTo>
                  <a:pt x="2878393" y="1378692"/>
                  <a:pt x="3053907" y="1240901"/>
                  <a:pt x="3247402" y="1142010"/>
                </a:cubicBezTo>
                <a:cubicBezTo>
                  <a:pt x="3250196" y="1142606"/>
                  <a:pt x="3253587" y="1140410"/>
                  <a:pt x="3256978" y="1138213"/>
                </a:cubicBezTo>
                <a:cubicBezTo>
                  <a:pt x="3256978" y="1138213"/>
                  <a:pt x="3254184" y="1137616"/>
                  <a:pt x="3254184" y="1137616"/>
                </a:cubicBezTo>
                <a:cubicBezTo>
                  <a:pt x="3267151" y="1131622"/>
                  <a:pt x="3283508" y="1123430"/>
                  <a:pt x="3299865" y="1115239"/>
                </a:cubicBezTo>
                <a:cubicBezTo>
                  <a:pt x="3306050" y="1113639"/>
                  <a:pt x="3312832" y="1109245"/>
                  <a:pt x="3319613" y="1104851"/>
                </a:cubicBezTo>
                <a:cubicBezTo>
                  <a:pt x="3338169" y="1100051"/>
                  <a:pt x="3354525" y="1091859"/>
                  <a:pt x="3370883" y="1083668"/>
                </a:cubicBezTo>
                <a:cubicBezTo>
                  <a:pt x="3373677" y="1084265"/>
                  <a:pt x="3383253" y="1080468"/>
                  <a:pt x="3386644" y="1078271"/>
                </a:cubicBezTo>
                <a:cubicBezTo>
                  <a:pt x="3390035" y="1076073"/>
                  <a:pt x="3390035" y="1076073"/>
                  <a:pt x="3392829" y="1076671"/>
                </a:cubicBezTo>
                <a:cubicBezTo>
                  <a:pt x="3395622" y="1077268"/>
                  <a:pt x="3395622" y="1077268"/>
                  <a:pt x="3396220" y="1074474"/>
                </a:cubicBezTo>
                <a:cubicBezTo>
                  <a:pt x="3396220" y="1074474"/>
                  <a:pt x="3396220" y="1074474"/>
                  <a:pt x="3399013" y="1075071"/>
                </a:cubicBezTo>
                <a:cubicBezTo>
                  <a:pt x="3399013" y="1075071"/>
                  <a:pt x="3399013" y="1075071"/>
                  <a:pt x="3399610" y="1072277"/>
                </a:cubicBezTo>
                <a:cubicBezTo>
                  <a:pt x="3405198" y="1073471"/>
                  <a:pt x="3430535" y="1064277"/>
                  <a:pt x="3434522" y="1059285"/>
                </a:cubicBezTo>
                <a:cubicBezTo>
                  <a:pt x="3453674" y="1051691"/>
                  <a:pt x="3475619" y="1044694"/>
                  <a:pt x="3494174" y="1039893"/>
                </a:cubicBezTo>
                <a:cubicBezTo>
                  <a:pt x="3515522" y="1035690"/>
                  <a:pt x="3520514" y="1039677"/>
                  <a:pt x="3543653" y="1027092"/>
                </a:cubicBezTo>
                <a:cubicBezTo>
                  <a:pt x="3544249" y="1024299"/>
                  <a:pt x="3540858" y="1026496"/>
                  <a:pt x="3535271" y="1025302"/>
                </a:cubicBezTo>
                <a:cubicBezTo>
                  <a:pt x="3703754" y="975113"/>
                  <a:pt x="3880583" y="950811"/>
                  <a:pt x="4059626" y="955466"/>
                </a:cubicBezTo>
                <a:lnTo>
                  <a:pt x="4114458" y="959119"/>
                </a:lnTo>
                <a:lnTo>
                  <a:pt x="4120159" y="963864"/>
                </a:lnTo>
                <a:cubicBezTo>
                  <a:pt x="4126427" y="967174"/>
                  <a:pt x="4134215" y="967626"/>
                  <a:pt x="4148756" y="967700"/>
                </a:cubicBezTo>
                <a:cubicBezTo>
                  <a:pt x="4176325" y="967828"/>
                  <a:pt x="4203681" y="968783"/>
                  <a:pt x="4230828" y="970544"/>
                </a:cubicBezTo>
                <a:lnTo>
                  <a:pt x="4242830" y="971684"/>
                </a:lnTo>
                <a:lnTo>
                  <a:pt x="4329083" y="984550"/>
                </a:lnTo>
                <a:cubicBezTo>
                  <a:pt x="4418943" y="1001740"/>
                  <a:pt x="4508591" y="1026553"/>
                  <a:pt x="4597258" y="1059373"/>
                </a:cubicBezTo>
                <a:cubicBezTo>
                  <a:pt x="4597258" y="1059373"/>
                  <a:pt x="4600052" y="1059969"/>
                  <a:pt x="4600052" y="1059969"/>
                </a:cubicBezTo>
                <a:cubicBezTo>
                  <a:pt x="4597258" y="1059373"/>
                  <a:pt x="4593867" y="1061570"/>
                  <a:pt x="4593270" y="1064364"/>
                </a:cubicBezTo>
                <a:cubicBezTo>
                  <a:pt x="4601652" y="1066155"/>
                  <a:pt x="4605043" y="1063957"/>
                  <a:pt x="4605640" y="1061163"/>
                </a:cubicBezTo>
                <a:lnTo>
                  <a:pt x="4712441" y="1107811"/>
                </a:lnTo>
                <a:lnTo>
                  <a:pt x="4713467" y="1106724"/>
                </a:lnTo>
                <a:cubicBezTo>
                  <a:pt x="4716434" y="1101163"/>
                  <a:pt x="4719549" y="1100685"/>
                  <a:pt x="4725112" y="1103661"/>
                </a:cubicBezTo>
                <a:cubicBezTo>
                  <a:pt x="4737387" y="1108798"/>
                  <a:pt x="4750182" y="1104919"/>
                  <a:pt x="4759714" y="1096435"/>
                </a:cubicBezTo>
                <a:lnTo>
                  <a:pt x="4767595" y="1089964"/>
                </a:lnTo>
                <a:lnTo>
                  <a:pt x="4728993" y="1070599"/>
                </a:lnTo>
                <a:cubicBezTo>
                  <a:pt x="4640364" y="1030655"/>
                  <a:pt x="4548792" y="998696"/>
                  <a:pt x="4453440" y="976846"/>
                </a:cubicBezTo>
                <a:lnTo>
                  <a:pt x="4422901" y="971031"/>
                </a:lnTo>
                <a:lnTo>
                  <a:pt x="4392867" y="963120"/>
                </a:lnTo>
                <a:cubicBezTo>
                  <a:pt x="4277616" y="938497"/>
                  <a:pt x="4162990" y="926332"/>
                  <a:pt x="4050124" y="925636"/>
                </a:cubicBezTo>
                <a:cubicBezTo>
                  <a:pt x="3862016" y="924477"/>
                  <a:pt x="3678798" y="955175"/>
                  <a:pt x="3505731" y="1013148"/>
                </a:cubicBezTo>
                <a:cubicBezTo>
                  <a:pt x="3506327" y="1010354"/>
                  <a:pt x="3504131" y="1006962"/>
                  <a:pt x="3515903" y="1006557"/>
                </a:cubicBezTo>
                <a:cubicBezTo>
                  <a:pt x="3511510" y="999775"/>
                  <a:pt x="3492955" y="1004575"/>
                  <a:pt x="3481182" y="1004981"/>
                </a:cubicBezTo>
                <a:cubicBezTo>
                  <a:pt x="3479988" y="1010569"/>
                  <a:pt x="3471607" y="1008778"/>
                  <a:pt x="3452455" y="1016373"/>
                </a:cubicBezTo>
                <a:cubicBezTo>
                  <a:pt x="3446269" y="1017973"/>
                  <a:pt x="3435500" y="1027359"/>
                  <a:pt x="3429315" y="1028958"/>
                </a:cubicBezTo>
                <a:cubicBezTo>
                  <a:pt x="3423131" y="1030558"/>
                  <a:pt x="3420933" y="1027167"/>
                  <a:pt x="3414749" y="1028767"/>
                </a:cubicBezTo>
                <a:cubicBezTo>
                  <a:pt x="3398988" y="1034165"/>
                  <a:pt x="3375849" y="1046750"/>
                  <a:pt x="3362882" y="1052744"/>
                </a:cubicBezTo>
                <a:cubicBezTo>
                  <a:pt x="3344328" y="1057544"/>
                  <a:pt x="3329164" y="1060148"/>
                  <a:pt x="3310013" y="1067743"/>
                </a:cubicBezTo>
                <a:cubicBezTo>
                  <a:pt x="3306621" y="1069939"/>
                  <a:pt x="3302634" y="1074930"/>
                  <a:pt x="3295852" y="1079324"/>
                </a:cubicBezTo>
                <a:cubicBezTo>
                  <a:pt x="3284079" y="1079731"/>
                  <a:pt x="3245180" y="1097713"/>
                  <a:pt x="3228822" y="1105905"/>
                </a:cubicBezTo>
                <a:cubicBezTo>
                  <a:pt x="3230423" y="1112089"/>
                  <a:pt x="3216859" y="1120877"/>
                  <a:pt x="3206686" y="1127468"/>
                </a:cubicBezTo>
                <a:cubicBezTo>
                  <a:pt x="3230829" y="1123862"/>
                  <a:pt x="3260750" y="1106882"/>
                  <a:pt x="3286087" y="1097688"/>
                </a:cubicBezTo>
                <a:cubicBezTo>
                  <a:pt x="3286683" y="1094894"/>
                  <a:pt x="3299053" y="1091694"/>
                  <a:pt x="3300247" y="1086106"/>
                </a:cubicBezTo>
                <a:cubicBezTo>
                  <a:pt x="3322192" y="1079109"/>
                  <a:pt x="3350322" y="1070511"/>
                  <a:pt x="3378453" y="1061914"/>
                </a:cubicBezTo>
                <a:cubicBezTo>
                  <a:pt x="3288283" y="1101078"/>
                  <a:pt x="3203105" y="1144232"/>
                  <a:pt x="3124517" y="1197558"/>
                </a:cubicBezTo>
                <a:cubicBezTo>
                  <a:pt x="3114942" y="1201355"/>
                  <a:pt x="3104770" y="1207946"/>
                  <a:pt x="3097390" y="1215133"/>
                </a:cubicBezTo>
                <a:cubicBezTo>
                  <a:pt x="3073655" y="1230513"/>
                  <a:pt x="3049321" y="1248687"/>
                  <a:pt x="3025585" y="1264065"/>
                </a:cubicBezTo>
                <a:cubicBezTo>
                  <a:pt x="3019401" y="1265665"/>
                  <a:pt x="3012021" y="1272854"/>
                  <a:pt x="3001849" y="1279444"/>
                </a:cubicBezTo>
                <a:cubicBezTo>
                  <a:pt x="2987689" y="1291026"/>
                  <a:pt x="2970137" y="1304806"/>
                  <a:pt x="2962759" y="1311994"/>
                </a:cubicBezTo>
                <a:cubicBezTo>
                  <a:pt x="2965553" y="1312591"/>
                  <a:pt x="2965553" y="1312591"/>
                  <a:pt x="2968943" y="1310393"/>
                </a:cubicBezTo>
                <a:cubicBezTo>
                  <a:pt x="2883384" y="1382680"/>
                  <a:pt x="2802218" y="1461748"/>
                  <a:pt x="2734426" y="1546594"/>
                </a:cubicBezTo>
                <a:cubicBezTo>
                  <a:pt x="2606411" y="1694533"/>
                  <a:pt x="2504951" y="1868595"/>
                  <a:pt x="2434630" y="2060996"/>
                </a:cubicBezTo>
                <a:cubicBezTo>
                  <a:pt x="2413116" y="2120673"/>
                  <a:pt x="2394993" y="2178152"/>
                  <a:pt x="2379067" y="2239021"/>
                </a:cubicBezTo>
                <a:lnTo>
                  <a:pt x="2362353" y="2317252"/>
                </a:lnTo>
                <a:cubicBezTo>
                  <a:pt x="2359559" y="2316655"/>
                  <a:pt x="2358963" y="2319448"/>
                  <a:pt x="2358963" y="2319448"/>
                </a:cubicBezTo>
                <a:cubicBezTo>
                  <a:pt x="2358963" y="2319448"/>
                  <a:pt x="2358963" y="2319448"/>
                  <a:pt x="2357172" y="2327831"/>
                </a:cubicBezTo>
                <a:cubicBezTo>
                  <a:pt x="2356574" y="2330625"/>
                  <a:pt x="2359369" y="2331221"/>
                  <a:pt x="2359369" y="2331221"/>
                </a:cubicBezTo>
                <a:cubicBezTo>
                  <a:pt x="2351609" y="2367542"/>
                  <a:pt x="2347240" y="2401667"/>
                  <a:pt x="2342273" y="2438586"/>
                </a:cubicBezTo>
                <a:cubicBezTo>
                  <a:pt x="2334057" y="2504390"/>
                  <a:pt x="2329870" y="2570141"/>
                  <a:pt x="2329559" y="2635534"/>
                </a:cubicBezTo>
                <a:lnTo>
                  <a:pt x="2330673" y="2656100"/>
                </a:lnTo>
                <a:lnTo>
                  <a:pt x="2320814" y="2648398"/>
                </a:lnTo>
                <a:cubicBezTo>
                  <a:pt x="2323893" y="2660052"/>
                  <a:pt x="2334685" y="2667970"/>
                  <a:pt x="2331866" y="2678615"/>
                </a:cubicBezTo>
                <a:cubicBezTo>
                  <a:pt x="2328715" y="2691226"/>
                  <a:pt x="2315771" y="2690022"/>
                  <a:pt x="2307724" y="2695724"/>
                </a:cubicBezTo>
                <a:cubicBezTo>
                  <a:pt x="2300826" y="2700613"/>
                  <a:pt x="2297377" y="2703057"/>
                  <a:pt x="2301938" y="2711932"/>
                </a:cubicBezTo>
                <a:cubicBezTo>
                  <a:pt x="2308280" y="2728191"/>
                  <a:pt x="2305796" y="2736871"/>
                  <a:pt x="2290850" y="2747463"/>
                </a:cubicBezTo>
                <a:cubicBezTo>
                  <a:pt x="2281653" y="2753980"/>
                  <a:pt x="2271306" y="2761313"/>
                  <a:pt x="2264556" y="2771285"/>
                </a:cubicBezTo>
                <a:cubicBezTo>
                  <a:pt x="2261589" y="2776847"/>
                  <a:pt x="2256990" y="2780105"/>
                  <a:pt x="2249795" y="2774827"/>
                </a:cubicBezTo>
                <a:cubicBezTo>
                  <a:pt x="2242118" y="2766431"/>
                  <a:pt x="2236036" y="2772471"/>
                  <a:pt x="2232736" y="2779999"/>
                </a:cubicBezTo>
                <a:lnTo>
                  <a:pt x="2214252" y="2806819"/>
                </a:lnTo>
                <a:lnTo>
                  <a:pt x="2206548" y="2756723"/>
                </a:lnTo>
                <a:cubicBezTo>
                  <a:pt x="2191640" y="2633453"/>
                  <a:pt x="2181373" y="2511175"/>
                  <a:pt x="2202755" y="2388382"/>
                </a:cubicBezTo>
                <a:cubicBezTo>
                  <a:pt x="2218933" y="2289949"/>
                  <a:pt x="2249031" y="2194490"/>
                  <a:pt x="2285843" y="2101678"/>
                </a:cubicBezTo>
                <a:cubicBezTo>
                  <a:pt x="2293536" y="2082701"/>
                  <a:pt x="2298910" y="2063229"/>
                  <a:pt x="2295002" y="2041774"/>
                </a:cubicBezTo>
                <a:cubicBezTo>
                  <a:pt x="2290283" y="2046830"/>
                  <a:pt x="2286723" y="2052134"/>
                  <a:pt x="2284323" y="2057687"/>
                </a:cubicBezTo>
                <a:cubicBezTo>
                  <a:pt x="2278534" y="2073431"/>
                  <a:pt x="2273905" y="2089424"/>
                  <a:pt x="2268114" y="2105169"/>
                </a:cubicBezTo>
                <a:cubicBezTo>
                  <a:pt x="2265467" y="2111880"/>
                  <a:pt x="2261660" y="2118345"/>
                  <a:pt x="2252627" y="2115202"/>
                </a:cubicBezTo>
                <a:cubicBezTo>
                  <a:pt x="2244755" y="2112307"/>
                  <a:pt x="2244834" y="2106260"/>
                  <a:pt x="2245160" y="2099051"/>
                </a:cubicBezTo>
                <a:cubicBezTo>
                  <a:pt x="2246151" y="2094412"/>
                  <a:pt x="2247143" y="2089772"/>
                  <a:pt x="2246974" y="2084883"/>
                </a:cubicBezTo>
                <a:cubicBezTo>
                  <a:pt x="2257293" y="2025226"/>
                  <a:pt x="2274326" y="1968217"/>
                  <a:pt x="2298318" y="1912694"/>
                </a:cubicBezTo>
                <a:cubicBezTo>
                  <a:pt x="2325702" y="1846979"/>
                  <a:pt x="2356317" y="1783168"/>
                  <a:pt x="2388093" y="1719605"/>
                </a:cubicBezTo>
                <a:cubicBezTo>
                  <a:pt x="2394548" y="1706428"/>
                  <a:pt x="2402410" y="1692339"/>
                  <a:pt x="2419158" y="1710473"/>
                </a:cubicBezTo>
                <a:cubicBezTo>
                  <a:pt x="2423055" y="1714944"/>
                  <a:pt x="2427030" y="1713368"/>
                  <a:pt x="2430342" y="1709223"/>
                </a:cubicBezTo>
                <a:cubicBezTo>
                  <a:pt x="2444827" y="1686846"/>
                  <a:pt x="2462793" y="1665212"/>
                  <a:pt x="2468077" y="1634803"/>
                </a:cubicBezTo>
                <a:cubicBezTo>
                  <a:pt x="2453333" y="1641357"/>
                  <a:pt x="2442733" y="1651222"/>
                  <a:pt x="2427573" y="1654048"/>
                </a:cubicBezTo>
                <a:cubicBezTo>
                  <a:pt x="2445349" y="1593558"/>
                  <a:pt x="2556106" y="1432849"/>
                  <a:pt x="2587418" y="1422558"/>
                </a:cubicBezTo>
                <a:cubicBezTo>
                  <a:pt x="2573676" y="1441455"/>
                  <a:pt x="2554482" y="1485874"/>
                  <a:pt x="2555236" y="1499377"/>
                </a:cubicBezTo>
                <a:cubicBezTo>
                  <a:pt x="2596135" y="1449893"/>
                  <a:pt x="2637033" y="1400407"/>
                  <a:pt x="2671715" y="1345956"/>
                </a:cubicBezTo>
                <a:cubicBezTo>
                  <a:pt x="2690007" y="1317113"/>
                  <a:pt x="2712445" y="1291583"/>
                  <a:pt x="2735794" y="1267460"/>
                </a:cubicBezTo>
                <a:cubicBezTo>
                  <a:pt x="2787630" y="1217886"/>
                  <a:pt x="2847923" y="1179823"/>
                  <a:pt x="2900671" y="1131657"/>
                </a:cubicBezTo>
                <a:cubicBezTo>
                  <a:pt x="3036803" y="1005481"/>
                  <a:pt x="3195742" y="914501"/>
                  <a:pt x="3369445" y="850935"/>
                </a:cubicBezTo>
                <a:cubicBezTo>
                  <a:pt x="3659117" y="744220"/>
                  <a:pt x="3958687" y="699054"/>
                  <a:pt x="4266669" y="722399"/>
                </a:cubicBezTo>
                <a:cubicBezTo>
                  <a:pt x="4304783" y="725691"/>
                  <a:pt x="4341490" y="729894"/>
                  <a:pt x="4378197" y="734097"/>
                </a:cubicBezTo>
                <a:cubicBezTo>
                  <a:pt x="4377949" y="735256"/>
                  <a:pt x="4378614" y="737825"/>
                  <a:pt x="4378118" y="740145"/>
                </a:cubicBezTo>
                <a:cubicBezTo>
                  <a:pt x="4245966" y="739810"/>
                  <a:pt x="4112070" y="730611"/>
                  <a:pt x="3979928" y="747260"/>
                </a:cubicBezTo>
                <a:cubicBezTo>
                  <a:pt x="4127319" y="738721"/>
                  <a:pt x="4271410" y="751310"/>
                  <a:pt x="4415510" y="780884"/>
                </a:cubicBezTo>
                <a:cubicBezTo>
                  <a:pt x="4558204" y="811370"/>
                  <a:pt x="4696514" y="856688"/>
                  <a:pt x="4831435" y="912197"/>
                </a:cubicBezTo>
                <a:cubicBezTo>
                  <a:pt x="4788511" y="903027"/>
                  <a:pt x="4743188" y="899410"/>
                  <a:pt x="4701999" y="882119"/>
                </a:cubicBezTo>
                <a:cubicBezTo>
                  <a:pt x="4595506" y="841172"/>
                  <a:pt x="4483641" y="819699"/>
                  <a:pt x="4371774" y="798225"/>
                </a:cubicBezTo>
                <a:cubicBezTo>
                  <a:pt x="4172405" y="760482"/>
                  <a:pt x="3972978" y="762756"/>
                  <a:pt x="3773989" y="802725"/>
                </a:cubicBezTo>
                <a:cubicBezTo>
                  <a:pt x="3652210" y="827652"/>
                  <a:pt x="3536907" y="873371"/>
                  <a:pt x="3420939" y="916521"/>
                </a:cubicBezTo>
                <a:cubicBezTo>
                  <a:pt x="3403875" y="922578"/>
                  <a:pt x="3398411" y="931115"/>
                  <a:pt x="3400991" y="947435"/>
                </a:cubicBezTo>
                <a:cubicBezTo>
                  <a:pt x="3404471" y="948178"/>
                  <a:pt x="3406791" y="948674"/>
                  <a:pt x="3408199" y="947762"/>
                </a:cubicBezTo>
                <a:cubicBezTo>
                  <a:pt x="3483495" y="918968"/>
                  <a:pt x="3559207" y="893903"/>
                  <a:pt x="3636913" y="876542"/>
                </a:cubicBezTo>
                <a:cubicBezTo>
                  <a:pt x="3641801" y="876373"/>
                  <a:pt x="3647185" y="873884"/>
                  <a:pt x="3647017" y="868996"/>
                </a:cubicBezTo>
                <a:cubicBezTo>
                  <a:pt x="3649326" y="852509"/>
                  <a:pt x="3661422" y="852666"/>
                  <a:pt x="3673103" y="849097"/>
                </a:cubicBezTo>
                <a:cubicBezTo>
                  <a:pt x="3799016" y="810497"/>
                  <a:pt x="3929005" y="798241"/>
                  <a:pt x="4061326" y="803464"/>
                </a:cubicBezTo>
                <a:cubicBezTo>
                  <a:pt x="4165060" y="806220"/>
                  <a:pt x="4267961" y="801518"/>
                  <a:pt x="4371290" y="817529"/>
                </a:cubicBezTo>
                <a:cubicBezTo>
                  <a:pt x="4496204" y="837545"/>
                  <a:pt x="4616010" y="870116"/>
                  <a:pt x="4731121" y="914723"/>
                </a:cubicBezTo>
                <a:lnTo>
                  <a:pt x="4822416" y="955662"/>
                </a:lnTo>
                <a:lnTo>
                  <a:pt x="4825428" y="949118"/>
                </a:lnTo>
                <a:cubicBezTo>
                  <a:pt x="4832799" y="936976"/>
                  <a:pt x="4841765" y="925866"/>
                  <a:pt x="4853020" y="916160"/>
                </a:cubicBezTo>
                <a:cubicBezTo>
                  <a:pt x="4859919" y="911272"/>
                  <a:pt x="4862700" y="912760"/>
                  <a:pt x="4865630" y="919331"/>
                </a:cubicBezTo>
                <a:cubicBezTo>
                  <a:pt x="4872158" y="928542"/>
                  <a:pt x="4868523" y="938036"/>
                  <a:pt x="4864889" y="947529"/>
                </a:cubicBezTo>
                <a:cubicBezTo>
                  <a:pt x="4863554" y="955393"/>
                  <a:pt x="4864852" y="959662"/>
                  <a:pt x="4872380" y="962975"/>
                </a:cubicBezTo>
                <a:cubicBezTo>
                  <a:pt x="4879093" y="965136"/>
                  <a:pt x="4882876" y="960726"/>
                  <a:pt x="4886659" y="956315"/>
                </a:cubicBezTo>
                <a:cubicBezTo>
                  <a:pt x="4890775" y="949939"/>
                  <a:pt x="4895225" y="941597"/>
                  <a:pt x="4899342" y="935220"/>
                </a:cubicBezTo>
                <a:cubicBezTo>
                  <a:pt x="4901159" y="930473"/>
                  <a:pt x="4904459" y="922946"/>
                  <a:pt x="4911172" y="925107"/>
                </a:cubicBezTo>
                <a:cubicBezTo>
                  <a:pt x="4919035" y="926453"/>
                  <a:pt x="4917700" y="934317"/>
                  <a:pt x="4918664" y="940552"/>
                </a:cubicBezTo>
                <a:cubicBezTo>
                  <a:pt x="4919146" y="943670"/>
                  <a:pt x="4917329" y="948417"/>
                  <a:pt x="4921260" y="949090"/>
                </a:cubicBezTo>
                <a:cubicBezTo>
                  <a:pt x="4926007" y="950914"/>
                  <a:pt x="4927009" y="945016"/>
                  <a:pt x="4928492" y="942235"/>
                </a:cubicBezTo>
                <a:cubicBezTo>
                  <a:pt x="4943475" y="919511"/>
                  <a:pt x="4954044" y="892995"/>
                  <a:pt x="4961832" y="864992"/>
                </a:cubicBezTo>
                <a:cubicBezTo>
                  <a:pt x="4972772" y="824378"/>
                  <a:pt x="4978964" y="781939"/>
                  <a:pt x="4993836" y="741997"/>
                </a:cubicBezTo>
                <a:cubicBezTo>
                  <a:pt x="4995319" y="739217"/>
                  <a:pt x="4995171" y="734133"/>
                  <a:pt x="5000251" y="733992"/>
                </a:cubicBezTo>
                <a:cubicBezTo>
                  <a:pt x="5005332" y="733850"/>
                  <a:pt x="5008930" y="736489"/>
                  <a:pt x="5010228" y="740758"/>
                </a:cubicBezTo>
                <a:cubicBezTo>
                  <a:pt x="5015123" y="747666"/>
                  <a:pt x="5017719" y="756204"/>
                  <a:pt x="5020316" y="764741"/>
                </a:cubicBezTo>
                <a:cubicBezTo>
                  <a:pt x="5022096" y="772127"/>
                  <a:pt x="5024692" y="780665"/>
                  <a:pt x="5031071" y="784792"/>
                </a:cubicBezTo>
                <a:cubicBezTo>
                  <a:pt x="5038266" y="790071"/>
                  <a:pt x="5044497" y="789114"/>
                  <a:pt x="5045015" y="780099"/>
                </a:cubicBezTo>
                <a:cubicBezTo>
                  <a:pt x="5046350" y="772234"/>
                  <a:pt x="5046536" y="765185"/>
                  <a:pt x="5047871" y="757320"/>
                </a:cubicBezTo>
                <a:cubicBezTo>
                  <a:pt x="5047574" y="747154"/>
                  <a:pt x="5050875" y="739626"/>
                  <a:pt x="5062334" y="743612"/>
                </a:cubicBezTo>
                <a:cubicBezTo>
                  <a:pt x="5066265" y="744285"/>
                  <a:pt x="5069381" y="743806"/>
                  <a:pt x="5070864" y="741026"/>
                </a:cubicBezTo>
                <a:cubicBezTo>
                  <a:pt x="5074165" y="733498"/>
                  <a:pt x="5081879" y="729761"/>
                  <a:pt x="5086811" y="724536"/>
                </a:cubicBezTo>
                <a:cubicBezTo>
                  <a:pt x="5103240" y="711163"/>
                  <a:pt x="5105391" y="704450"/>
                  <a:pt x="5098567" y="685073"/>
                </a:cubicBezTo>
                <a:cubicBezTo>
                  <a:pt x="5091409" y="667661"/>
                  <a:pt x="5095711" y="654235"/>
                  <a:pt x="5110990" y="641677"/>
                </a:cubicBezTo>
                <a:cubicBezTo>
                  <a:pt x="5115589" y="638418"/>
                  <a:pt x="5122154" y="635496"/>
                  <a:pt x="5126752" y="632237"/>
                </a:cubicBezTo>
                <a:cubicBezTo>
                  <a:pt x="5161910" y="603863"/>
                  <a:pt x="5183642" y="571166"/>
                  <a:pt x="5177559" y="523590"/>
                </a:cubicBezTo>
                <a:cubicBezTo>
                  <a:pt x="5176298" y="507188"/>
                  <a:pt x="5180934" y="491796"/>
                  <a:pt x="5193914" y="480868"/>
                </a:cubicBezTo>
                <a:cubicBezTo>
                  <a:pt x="5198846" y="475643"/>
                  <a:pt x="5203779" y="470418"/>
                  <a:pt x="5209527" y="466345"/>
                </a:cubicBezTo>
                <a:cubicBezTo>
                  <a:pt x="5220541" y="455080"/>
                  <a:pt x="5231222" y="445781"/>
                  <a:pt x="5231111" y="428564"/>
                </a:cubicBezTo>
                <a:cubicBezTo>
                  <a:pt x="5231481" y="414465"/>
                  <a:pt x="5232965" y="411684"/>
                  <a:pt x="5246057" y="417973"/>
                </a:cubicBezTo>
                <a:cubicBezTo>
                  <a:pt x="5258332" y="423110"/>
                  <a:pt x="5263265" y="417885"/>
                  <a:pt x="5264118" y="406903"/>
                </a:cubicBezTo>
                <a:cubicBezTo>
                  <a:pt x="5265452" y="399039"/>
                  <a:pt x="5264340" y="387720"/>
                  <a:pt x="5275169" y="383505"/>
                </a:cubicBezTo>
                <a:cubicBezTo>
                  <a:pt x="5279434" y="382212"/>
                  <a:pt x="5275837" y="379573"/>
                  <a:pt x="5275021" y="378422"/>
                </a:cubicBezTo>
                <a:cubicBezTo>
                  <a:pt x="5264228" y="370504"/>
                  <a:pt x="5262300" y="358034"/>
                  <a:pt x="5256922" y="348009"/>
                </a:cubicBezTo>
                <a:cubicBezTo>
                  <a:pt x="5252360" y="339135"/>
                  <a:pt x="5258442" y="333095"/>
                  <a:pt x="5266156" y="329358"/>
                </a:cubicBezTo>
                <a:cubicBezTo>
                  <a:pt x="5272721" y="326435"/>
                  <a:pt x="5277950" y="331377"/>
                  <a:pt x="5280064" y="336797"/>
                </a:cubicBezTo>
                <a:cubicBezTo>
                  <a:pt x="5283809" y="344520"/>
                  <a:pt x="5288705" y="351428"/>
                  <a:pt x="5291635" y="358000"/>
                </a:cubicBezTo>
                <a:cubicBezTo>
                  <a:pt x="5291524" y="340783"/>
                  <a:pt x="5289112" y="325196"/>
                  <a:pt x="5287852" y="308794"/>
                </a:cubicBezTo>
                <a:cubicBezTo>
                  <a:pt x="5286590" y="292392"/>
                  <a:pt x="5288111" y="277478"/>
                  <a:pt x="5296677" y="262760"/>
                </a:cubicBezTo>
                <a:cubicBezTo>
                  <a:pt x="5300794" y="256383"/>
                  <a:pt x="5304725" y="257057"/>
                  <a:pt x="5308805" y="262813"/>
                </a:cubicBezTo>
                <a:cubicBezTo>
                  <a:pt x="5313700" y="269721"/>
                  <a:pt x="5314331" y="277922"/>
                  <a:pt x="5313812" y="286938"/>
                </a:cubicBezTo>
                <a:cubicBezTo>
                  <a:pt x="5314108" y="297105"/>
                  <a:pt x="5312440" y="306935"/>
                  <a:pt x="5318967" y="316146"/>
                </a:cubicBezTo>
                <a:cubicBezTo>
                  <a:pt x="5325568" y="301091"/>
                  <a:pt x="5337881" y="294094"/>
                  <a:pt x="5355089" y="294006"/>
                </a:cubicBezTo>
                <a:cubicBezTo>
                  <a:pt x="5353903" y="306954"/>
                  <a:pt x="5348785" y="319229"/>
                  <a:pt x="5345633" y="331840"/>
                </a:cubicBezTo>
                <a:cubicBezTo>
                  <a:pt x="5341813" y="348384"/>
                  <a:pt x="5344558" y="362004"/>
                  <a:pt x="5355498" y="375006"/>
                </a:cubicBezTo>
                <a:cubicBezTo>
                  <a:pt x="5359578" y="380762"/>
                  <a:pt x="5363027" y="378318"/>
                  <a:pt x="5364844" y="373571"/>
                </a:cubicBezTo>
                <a:cubicBezTo>
                  <a:pt x="5366179" y="365707"/>
                  <a:pt x="5367514" y="357843"/>
                  <a:pt x="5368849" y="349978"/>
                </a:cubicBezTo>
                <a:cubicBezTo>
                  <a:pt x="5373188" y="324419"/>
                  <a:pt x="5377786" y="321160"/>
                  <a:pt x="5402338" y="331435"/>
                </a:cubicBezTo>
                <a:cubicBezTo>
                  <a:pt x="5402338" y="331435"/>
                  <a:pt x="5403487" y="330620"/>
                  <a:pt x="5404638" y="329805"/>
                </a:cubicBezTo>
                <a:cubicBezTo>
                  <a:pt x="5403561" y="306354"/>
                  <a:pt x="5413945" y="286888"/>
                  <a:pt x="5429892" y="270398"/>
                </a:cubicBezTo>
                <a:cubicBezTo>
                  <a:pt x="5449956" y="247532"/>
                  <a:pt x="5473283" y="229271"/>
                  <a:pt x="5482072" y="195370"/>
                </a:cubicBezTo>
                <a:cubicBezTo>
                  <a:pt x="5487450" y="205395"/>
                  <a:pt x="5486931" y="214411"/>
                  <a:pt x="5488377" y="223763"/>
                </a:cubicBezTo>
                <a:cubicBezTo>
                  <a:pt x="5491938" y="238535"/>
                  <a:pt x="5495535" y="241175"/>
                  <a:pt x="5509331" y="231398"/>
                </a:cubicBezTo>
                <a:cubicBezTo>
                  <a:pt x="5526576" y="219177"/>
                  <a:pt x="5546269" y="210409"/>
                  <a:pt x="5569522" y="216415"/>
                </a:cubicBezTo>
                <a:cubicBezTo>
                  <a:pt x="5578201" y="218912"/>
                  <a:pt x="5586545" y="223376"/>
                  <a:pt x="5594074" y="226689"/>
                </a:cubicBezTo>
                <a:cubicBezTo>
                  <a:pt x="5605200" y="232640"/>
                  <a:pt x="5616178" y="233509"/>
                  <a:pt x="5628305" y="233562"/>
                </a:cubicBezTo>
                <a:cubicBezTo>
                  <a:pt x="5637651" y="232128"/>
                  <a:pt x="5638986" y="224264"/>
                  <a:pt x="5643918" y="219038"/>
                </a:cubicBezTo>
                <a:cubicBezTo>
                  <a:pt x="5652633" y="209403"/>
                  <a:pt x="5664761" y="209457"/>
                  <a:pt x="5674070" y="220155"/>
                </a:cubicBezTo>
                <a:cubicBezTo>
                  <a:pt x="5680115" y="226249"/>
                  <a:pt x="5686160" y="232342"/>
                  <a:pt x="5692205" y="238435"/>
                </a:cubicBezTo>
                <a:cubicBezTo>
                  <a:pt x="5702664" y="248319"/>
                  <a:pt x="5705742" y="259974"/>
                  <a:pt x="5697509" y="272727"/>
                </a:cubicBezTo>
                <a:cubicBezTo>
                  <a:pt x="5691093" y="280733"/>
                  <a:pt x="5695803" y="294690"/>
                  <a:pt x="5684158" y="297754"/>
                </a:cubicBezTo>
                <a:cubicBezTo>
                  <a:pt x="5674479" y="301155"/>
                  <a:pt x="5667135" y="290793"/>
                  <a:pt x="5657641" y="287144"/>
                </a:cubicBezTo>
                <a:cubicBezTo>
                  <a:pt x="5647331" y="282343"/>
                  <a:pt x="5642732" y="285602"/>
                  <a:pt x="5641064" y="295432"/>
                </a:cubicBezTo>
                <a:cubicBezTo>
                  <a:pt x="5636094" y="312791"/>
                  <a:pt x="5635724" y="326890"/>
                  <a:pt x="5648630" y="340228"/>
                </a:cubicBezTo>
                <a:cubicBezTo>
                  <a:pt x="5653859" y="345170"/>
                  <a:pt x="5655973" y="350590"/>
                  <a:pt x="5660053" y="356346"/>
                </a:cubicBezTo>
                <a:cubicBezTo>
                  <a:pt x="5660053" y="356346"/>
                  <a:pt x="5658903" y="357161"/>
                  <a:pt x="5659719" y="358312"/>
                </a:cubicBezTo>
                <a:cubicBezTo>
                  <a:pt x="5660869" y="357498"/>
                  <a:pt x="5662018" y="356683"/>
                  <a:pt x="5662018" y="356683"/>
                </a:cubicBezTo>
                <a:cubicBezTo>
                  <a:pt x="5682898" y="334968"/>
                  <a:pt x="5697065" y="311092"/>
                  <a:pt x="5708783" y="283762"/>
                </a:cubicBezTo>
                <a:cubicBezTo>
                  <a:pt x="5713419" y="268370"/>
                  <a:pt x="5722802" y="254802"/>
                  <a:pt x="5736598" y="245026"/>
                </a:cubicBezTo>
                <a:cubicBezTo>
                  <a:pt x="5748911" y="238029"/>
                  <a:pt x="5751395" y="229350"/>
                  <a:pt x="5744386" y="217022"/>
                </a:cubicBezTo>
                <a:cubicBezTo>
                  <a:pt x="5740640" y="209300"/>
                  <a:pt x="5742457" y="204553"/>
                  <a:pt x="5751469" y="205085"/>
                </a:cubicBezTo>
                <a:cubicBezTo>
                  <a:pt x="5763263" y="207104"/>
                  <a:pt x="5769345" y="201064"/>
                  <a:pt x="5771347" y="189268"/>
                </a:cubicBezTo>
                <a:cubicBezTo>
                  <a:pt x="5773720" y="163372"/>
                  <a:pt x="5791002" y="139018"/>
                  <a:pt x="5778466" y="111581"/>
                </a:cubicBezTo>
                <a:cubicBezTo>
                  <a:pt x="5779616" y="110766"/>
                  <a:pt x="5778800" y="109615"/>
                  <a:pt x="5779134" y="107649"/>
                </a:cubicBezTo>
                <a:cubicBezTo>
                  <a:pt x="5780951" y="102902"/>
                  <a:pt x="5781619" y="98970"/>
                  <a:pt x="5787849" y="98013"/>
                </a:cubicBezTo>
                <a:cubicBezTo>
                  <a:pt x="5792930" y="97872"/>
                  <a:pt x="5796861" y="98545"/>
                  <a:pt x="5800125" y="103151"/>
                </a:cubicBezTo>
                <a:cubicBezTo>
                  <a:pt x="5804204" y="108907"/>
                  <a:pt x="5803203" y="114805"/>
                  <a:pt x="5803352" y="119889"/>
                </a:cubicBezTo>
                <a:cubicBezTo>
                  <a:pt x="5802981" y="133988"/>
                  <a:pt x="5801461" y="148902"/>
                  <a:pt x="5801090" y="163001"/>
                </a:cubicBezTo>
                <a:cubicBezTo>
                  <a:pt x="5799940" y="163816"/>
                  <a:pt x="5800756" y="164967"/>
                  <a:pt x="5801572" y="166119"/>
                </a:cubicBezTo>
                <a:cubicBezTo>
                  <a:pt x="5800423" y="166933"/>
                  <a:pt x="5801239" y="168085"/>
                  <a:pt x="5800089" y="168900"/>
                </a:cubicBezTo>
                <a:cubicBezTo>
                  <a:pt x="5801239" y="168085"/>
                  <a:pt x="5802388" y="167270"/>
                  <a:pt x="5803538" y="166455"/>
                </a:cubicBezTo>
                <a:cubicBezTo>
                  <a:pt x="5803538" y="166455"/>
                  <a:pt x="5803872" y="164489"/>
                  <a:pt x="5805021" y="163674"/>
                </a:cubicBezTo>
                <a:cubicBezTo>
                  <a:pt x="5812105" y="151736"/>
                  <a:pt x="5820338" y="138984"/>
                  <a:pt x="5827421" y="127045"/>
                </a:cubicBezTo>
                <a:cubicBezTo>
                  <a:pt x="5836804" y="113478"/>
                  <a:pt x="5846187" y="99911"/>
                  <a:pt x="5847225" y="81879"/>
                </a:cubicBezTo>
                <a:cubicBezTo>
                  <a:pt x="5846446" y="68595"/>
                  <a:pt x="5853010" y="65672"/>
                  <a:pt x="5865619" y="68844"/>
                </a:cubicBezTo>
                <a:cubicBezTo>
                  <a:pt x="5877079" y="72829"/>
                  <a:pt x="5878860" y="80215"/>
                  <a:pt x="5877191" y="90046"/>
                </a:cubicBezTo>
                <a:cubicBezTo>
                  <a:pt x="5876486" y="106111"/>
                  <a:pt x="5875782" y="122176"/>
                  <a:pt x="5876227" y="137427"/>
                </a:cubicBezTo>
                <a:cubicBezTo>
                  <a:pt x="5875041" y="150374"/>
                  <a:pt x="5878119" y="162029"/>
                  <a:pt x="5885462" y="172392"/>
                </a:cubicBezTo>
                <a:cubicBezTo>
                  <a:pt x="5893028" y="163571"/>
                  <a:pt x="5889615" y="153882"/>
                  <a:pt x="5888985" y="145681"/>
                </a:cubicBezTo>
                <a:cubicBezTo>
                  <a:pt x="5886092" y="126977"/>
                  <a:pt x="5891061" y="109618"/>
                  <a:pt x="5905525" y="95910"/>
                </a:cubicBezTo>
                <a:cubicBezTo>
                  <a:pt x="5918839" y="83015"/>
                  <a:pt x="5933784" y="72424"/>
                  <a:pt x="5943501" y="56890"/>
                </a:cubicBezTo>
                <a:cubicBezTo>
                  <a:pt x="5957334" y="34980"/>
                  <a:pt x="5969313" y="29950"/>
                  <a:pt x="5993197" y="44156"/>
                </a:cubicBezTo>
                <a:cubicBezTo>
                  <a:pt x="6005955" y="52411"/>
                  <a:pt x="6014337" y="44742"/>
                  <a:pt x="6013891" y="29491"/>
                </a:cubicBezTo>
                <a:cubicBezTo>
                  <a:pt x="6015560" y="19661"/>
                  <a:pt x="6012148" y="9972"/>
                  <a:pt x="601889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0431123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7DC9EBF-9AD7-4272-9BB4-27F9568D2306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5387008" y="670891"/>
            <a:ext cx="5724941" cy="5516217"/>
          </a:xfrm>
          <a:custGeom>
            <a:avLst/>
            <a:gdLst>
              <a:gd name="connsiteX0" fmla="*/ 0 w 5724941"/>
              <a:gd name="connsiteY0" fmla="*/ 4750906 h 5516217"/>
              <a:gd name="connsiteX1" fmla="*/ 3980624 w 5724941"/>
              <a:gd name="connsiteY1" fmla="*/ 4750906 h 5516217"/>
              <a:gd name="connsiteX2" fmla="*/ 3980624 w 5724941"/>
              <a:gd name="connsiteY2" fmla="*/ 5516217 h 5516217"/>
              <a:gd name="connsiteX3" fmla="*/ 0 w 5724941"/>
              <a:gd name="connsiteY3" fmla="*/ 5516217 h 5516217"/>
              <a:gd name="connsiteX4" fmla="*/ 4123085 w 5724941"/>
              <a:gd name="connsiteY4" fmla="*/ 2822714 h 5516217"/>
              <a:gd name="connsiteX5" fmla="*/ 5724941 w 5724941"/>
              <a:gd name="connsiteY5" fmla="*/ 2822714 h 5516217"/>
              <a:gd name="connsiteX6" fmla="*/ 5724941 w 5724941"/>
              <a:gd name="connsiteY6" fmla="*/ 4949686 h 5516217"/>
              <a:gd name="connsiteX7" fmla="*/ 4123085 w 5724941"/>
              <a:gd name="connsiteY7" fmla="*/ 4949686 h 5516217"/>
              <a:gd name="connsiteX8" fmla="*/ 2796210 w 5724941"/>
              <a:gd name="connsiteY8" fmla="*/ 2822714 h 5516217"/>
              <a:gd name="connsiteX9" fmla="*/ 3980623 w 5724941"/>
              <a:gd name="connsiteY9" fmla="*/ 2822714 h 5516217"/>
              <a:gd name="connsiteX10" fmla="*/ 3980623 w 5724941"/>
              <a:gd name="connsiteY10" fmla="*/ 4611758 h 5516217"/>
              <a:gd name="connsiteX11" fmla="*/ 2796210 w 5724941"/>
              <a:gd name="connsiteY11" fmla="*/ 4611758 h 5516217"/>
              <a:gd name="connsiteX12" fmla="*/ 0 w 5724941"/>
              <a:gd name="connsiteY12" fmla="*/ 1928192 h 5516217"/>
              <a:gd name="connsiteX13" fmla="*/ 2653748 w 5724941"/>
              <a:gd name="connsiteY13" fmla="*/ 1928192 h 5516217"/>
              <a:gd name="connsiteX14" fmla="*/ 2653748 w 5724941"/>
              <a:gd name="connsiteY14" fmla="*/ 4611758 h 5516217"/>
              <a:gd name="connsiteX15" fmla="*/ 0 w 5724941"/>
              <a:gd name="connsiteY15" fmla="*/ 4611758 h 5516217"/>
              <a:gd name="connsiteX16" fmla="*/ 2796211 w 5724941"/>
              <a:gd name="connsiteY16" fmla="*/ 894522 h 5516217"/>
              <a:gd name="connsiteX17" fmla="*/ 5449959 w 5724941"/>
              <a:gd name="connsiteY17" fmla="*/ 894522 h 5516217"/>
              <a:gd name="connsiteX18" fmla="*/ 5449959 w 5724941"/>
              <a:gd name="connsiteY18" fmla="*/ 2683566 h 5516217"/>
              <a:gd name="connsiteX19" fmla="*/ 2796211 w 5724941"/>
              <a:gd name="connsiteY19" fmla="*/ 2683566 h 5516217"/>
              <a:gd name="connsiteX20" fmla="*/ 1007166 w 5724941"/>
              <a:gd name="connsiteY20" fmla="*/ 0 h 5516217"/>
              <a:gd name="connsiteX21" fmla="*/ 2653749 w 5724941"/>
              <a:gd name="connsiteY21" fmla="*/ 0 h 5516217"/>
              <a:gd name="connsiteX22" fmla="*/ 2653749 w 5724941"/>
              <a:gd name="connsiteY22" fmla="*/ 1789044 h 5516217"/>
              <a:gd name="connsiteX23" fmla="*/ 1007166 w 5724941"/>
              <a:gd name="connsiteY23" fmla="*/ 1789044 h 5516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724941" h="5516217">
                <a:moveTo>
                  <a:pt x="0" y="4750906"/>
                </a:moveTo>
                <a:lnTo>
                  <a:pt x="3980624" y="4750906"/>
                </a:lnTo>
                <a:lnTo>
                  <a:pt x="3980624" y="5516217"/>
                </a:lnTo>
                <a:lnTo>
                  <a:pt x="0" y="5516217"/>
                </a:lnTo>
                <a:close/>
                <a:moveTo>
                  <a:pt x="4123085" y="2822714"/>
                </a:moveTo>
                <a:lnTo>
                  <a:pt x="5724941" y="2822714"/>
                </a:lnTo>
                <a:lnTo>
                  <a:pt x="5724941" y="4949686"/>
                </a:lnTo>
                <a:lnTo>
                  <a:pt x="4123085" y="4949686"/>
                </a:lnTo>
                <a:close/>
                <a:moveTo>
                  <a:pt x="2796210" y="2822714"/>
                </a:moveTo>
                <a:lnTo>
                  <a:pt x="3980623" y="2822714"/>
                </a:lnTo>
                <a:lnTo>
                  <a:pt x="3980623" y="4611758"/>
                </a:lnTo>
                <a:lnTo>
                  <a:pt x="2796210" y="4611758"/>
                </a:lnTo>
                <a:close/>
                <a:moveTo>
                  <a:pt x="0" y="1928192"/>
                </a:moveTo>
                <a:lnTo>
                  <a:pt x="2653748" y="1928192"/>
                </a:lnTo>
                <a:lnTo>
                  <a:pt x="2653748" y="4611758"/>
                </a:lnTo>
                <a:lnTo>
                  <a:pt x="0" y="4611758"/>
                </a:lnTo>
                <a:close/>
                <a:moveTo>
                  <a:pt x="2796211" y="894522"/>
                </a:moveTo>
                <a:lnTo>
                  <a:pt x="5449959" y="894522"/>
                </a:lnTo>
                <a:lnTo>
                  <a:pt x="5449959" y="2683566"/>
                </a:lnTo>
                <a:lnTo>
                  <a:pt x="2796211" y="2683566"/>
                </a:lnTo>
                <a:close/>
                <a:moveTo>
                  <a:pt x="1007166" y="0"/>
                </a:moveTo>
                <a:lnTo>
                  <a:pt x="2653749" y="0"/>
                </a:lnTo>
                <a:lnTo>
                  <a:pt x="2653749" y="1789044"/>
                </a:lnTo>
                <a:lnTo>
                  <a:pt x="1007166" y="17890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6003332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84E1F90F-9EF8-4ED2-80F5-886866FBCDEB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1" y="0"/>
            <a:ext cx="6818245" cy="6858000"/>
          </a:xfrm>
          <a:custGeom>
            <a:avLst/>
            <a:gdLst>
              <a:gd name="connsiteX0" fmla="*/ 0 w 6818245"/>
              <a:gd name="connsiteY0" fmla="*/ 0 h 6858000"/>
              <a:gd name="connsiteX1" fmla="*/ 1262271 w 6818245"/>
              <a:gd name="connsiteY1" fmla="*/ 0 h 6858000"/>
              <a:gd name="connsiteX2" fmla="*/ 1262271 w 6818245"/>
              <a:gd name="connsiteY2" fmla="*/ 1 h 6858000"/>
              <a:gd name="connsiteX3" fmla="*/ 5519930 w 6818245"/>
              <a:gd name="connsiteY3" fmla="*/ 1 h 6858000"/>
              <a:gd name="connsiteX4" fmla="*/ 5734879 w 6818245"/>
              <a:gd name="connsiteY4" fmla="*/ 214950 h 6858000"/>
              <a:gd name="connsiteX5" fmla="*/ 5563250 w 6818245"/>
              <a:gd name="connsiteY5" fmla="*/ 425532 h 6858000"/>
              <a:gd name="connsiteX6" fmla="*/ 5533401 w 6818245"/>
              <a:gd name="connsiteY6" fmla="*/ 428541 h 6858000"/>
              <a:gd name="connsiteX7" fmla="*/ 6036765 w 6818245"/>
              <a:gd name="connsiteY7" fmla="*/ 428541 h 6858000"/>
              <a:gd name="connsiteX8" fmla="*/ 6251714 w 6818245"/>
              <a:gd name="connsiteY8" fmla="*/ 643490 h 6858000"/>
              <a:gd name="connsiteX9" fmla="*/ 6080085 w 6818245"/>
              <a:gd name="connsiteY9" fmla="*/ 854072 h 6858000"/>
              <a:gd name="connsiteX10" fmla="*/ 6050237 w 6818245"/>
              <a:gd name="connsiteY10" fmla="*/ 857081 h 6858000"/>
              <a:gd name="connsiteX11" fmla="*/ 6603296 w 6818245"/>
              <a:gd name="connsiteY11" fmla="*/ 857081 h 6858000"/>
              <a:gd name="connsiteX12" fmla="*/ 6818245 w 6818245"/>
              <a:gd name="connsiteY12" fmla="*/ 1072030 h 6858000"/>
              <a:gd name="connsiteX13" fmla="*/ 6603296 w 6818245"/>
              <a:gd name="connsiteY13" fmla="*/ 1286979 h 6858000"/>
              <a:gd name="connsiteX14" fmla="*/ 5692426 w 6818245"/>
              <a:gd name="connsiteY14" fmla="*/ 1286979 h 6858000"/>
              <a:gd name="connsiteX15" fmla="*/ 5722273 w 6818245"/>
              <a:gd name="connsiteY15" fmla="*/ 1289988 h 6858000"/>
              <a:gd name="connsiteX16" fmla="*/ 5893903 w 6818245"/>
              <a:gd name="connsiteY16" fmla="*/ 1500570 h 6858000"/>
              <a:gd name="connsiteX17" fmla="*/ 5678954 w 6818245"/>
              <a:gd name="connsiteY17" fmla="*/ 1715519 h 6858000"/>
              <a:gd name="connsiteX18" fmla="*/ 5503588 w 6818245"/>
              <a:gd name="connsiteY18" fmla="*/ 1715519 h 6858000"/>
              <a:gd name="connsiteX19" fmla="*/ 5533432 w 6818245"/>
              <a:gd name="connsiteY19" fmla="*/ 1718527 h 6858000"/>
              <a:gd name="connsiteX20" fmla="*/ 5705061 w 6818245"/>
              <a:gd name="connsiteY20" fmla="*/ 1929109 h 6858000"/>
              <a:gd name="connsiteX21" fmla="*/ 5533432 w 6818245"/>
              <a:gd name="connsiteY21" fmla="*/ 2139691 h 6858000"/>
              <a:gd name="connsiteX22" fmla="*/ 5503588 w 6818245"/>
              <a:gd name="connsiteY22" fmla="*/ 2142700 h 6858000"/>
              <a:gd name="connsiteX23" fmla="*/ 6156035 w 6818245"/>
              <a:gd name="connsiteY23" fmla="*/ 2142700 h 6858000"/>
              <a:gd name="connsiteX24" fmla="*/ 6370984 w 6818245"/>
              <a:gd name="connsiteY24" fmla="*/ 2357648 h 6858000"/>
              <a:gd name="connsiteX25" fmla="*/ 6156035 w 6818245"/>
              <a:gd name="connsiteY25" fmla="*/ 2572597 h 6858000"/>
              <a:gd name="connsiteX26" fmla="*/ 5990601 w 6818245"/>
              <a:gd name="connsiteY26" fmla="*/ 2572597 h 6858000"/>
              <a:gd name="connsiteX27" fmla="*/ 6020450 w 6818245"/>
              <a:gd name="connsiteY27" fmla="*/ 2575606 h 6858000"/>
              <a:gd name="connsiteX28" fmla="*/ 6192079 w 6818245"/>
              <a:gd name="connsiteY28" fmla="*/ 2786189 h 6858000"/>
              <a:gd name="connsiteX29" fmla="*/ 5977131 w 6818245"/>
              <a:gd name="connsiteY29" fmla="*/ 3001137 h 6858000"/>
              <a:gd name="connsiteX30" fmla="*/ 5404198 w 6818245"/>
              <a:gd name="connsiteY30" fmla="*/ 3001137 h 6858000"/>
              <a:gd name="connsiteX31" fmla="*/ 5434042 w 6818245"/>
              <a:gd name="connsiteY31" fmla="*/ 3004146 h 6858000"/>
              <a:gd name="connsiteX32" fmla="*/ 5605671 w 6818245"/>
              <a:gd name="connsiteY32" fmla="*/ 3214728 h 6858000"/>
              <a:gd name="connsiteX33" fmla="*/ 5390722 w 6818245"/>
              <a:gd name="connsiteY33" fmla="*/ 3429677 h 6858000"/>
              <a:gd name="connsiteX34" fmla="*/ 4758147 w 6818245"/>
              <a:gd name="connsiteY34" fmla="*/ 3429677 h 6858000"/>
              <a:gd name="connsiteX35" fmla="*/ 4787997 w 6818245"/>
              <a:gd name="connsiteY35" fmla="*/ 3432686 h 6858000"/>
              <a:gd name="connsiteX36" fmla="*/ 4959625 w 6818245"/>
              <a:gd name="connsiteY36" fmla="*/ 3643268 h 6858000"/>
              <a:gd name="connsiteX37" fmla="*/ 4787997 w 6818245"/>
              <a:gd name="connsiteY37" fmla="*/ 3853850 h 6858000"/>
              <a:gd name="connsiteX38" fmla="*/ 4758142 w 6818245"/>
              <a:gd name="connsiteY38" fmla="*/ 3856859 h 6858000"/>
              <a:gd name="connsiteX39" fmla="*/ 5788285 w 6818245"/>
              <a:gd name="connsiteY39" fmla="*/ 3856859 h 6858000"/>
              <a:gd name="connsiteX40" fmla="*/ 6003234 w 6818245"/>
              <a:gd name="connsiteY40" fmla="*/ 4071808 h 6858000"/>
              <a:gd name="connsiteX41" fmla="*/ 5788285 w 6818245"/>
              <a:gd name="connsiteY41" fmla="*/ 4286757 h 6858000"/>
              <a:gd name="connsiteX42" fmla="*/ 5344564 w 6818245"/>
              <a:gd name="connsiteY42" fmla="*/ 4286757 h 6858000"/>
              <a:gd name="connsiteX43" fmla="*/ 5374408 w 6818245"/>
              <a:gd name="connsiteY43" fmla="*/ 4289766 h 6858000"/>
              <a:gd name="connsiteX44" fmla="*/ 5546037 w 6818245"/>
              <a:gd name="connsiteY44" fmla="*/ 4500348 h 6858000"/>
              <a:gd name="connsiteX45" fmla="*/ 5374408 w 6818245"/>
              <a:gd name="connsiteY45" fmla="*/ 4710930 h 6858000"/>
              <a:gd name="connsiteX46" fmla="*/ 5344564 w 6818245"/>
              <a:gd name="connsiteY46" fmla="*/ 4713938 h 6858000"/>
              <a:gd name="connsiteX47" fmla="*/ 6096400 w 6818245"/>
              <a:gd name="connsiteY47" fmla="*/ 4713938 h 6858000"/>
              <a:gd name="connsiteX48" fmla="*/ 6311349 w 6818245"/>
              <a:gd name="connsiteY48" fmla="*/ 4928887 h 6858000"/>
              <a:gd name="connsiteX49" fmla="*/ 6096400 w 6818245"/>
              <a:gd name="connsiteY49" fmla="*/ 5143836 h 6858000"/>
              <a:gd name="connsiteX50" fmla="*/ 5950845 w 6818245"/>
              <a:gd name="connsiteY50" fmla="*/ 5143836 h 6858000"/>
              <a:gd name="connsiteX51" fmla="*/ 5980694 w 6818245"/>
              <a:gd name="connsiteY51" fmla="*/ 5146845 h 6858000"/>
              <a:gd name="connsiteX52" fmla="*/ 6152322 w 6818245"/>
              <a:gd name="connsiteY52" fmla="*/ 5357427 h 6858000"/>
              <a:gd name="connsiteX53" fmla="*/ 5937373 w 6818245"/>
              <a:gd name="connsiteY53" fmla="*/ 5572376 h 6858000"/>
              <a:gd name="connsiteX54" fmla="*/ 5762000 w 6818245"/>
              <a:gd name="connsiteY54" fmla="*/ 5572376 h 6858000"/>
              <a:gd name="connsiteX55" fmla="*/ 5791848 w 6818245"/>
              <a:gd name="connsiteY55" fmla="*/ 5575385 h 6858000"/>
              <a:gd name="connsiteX56" fmla="*/ 5963477 w 6818245"/>
              <a:gd name="connsiteY56" fmla="*/ 5785967 h 6858000"/>
              <a:gd name="connsiteX57" fmla="*/ 5748528 w 6818245"/>
              <a:gd name="connsiteY57" fmla="*/ 6000916 h 6858000"/>
              <a:gd name="connsiteX58" fmla="*/ 5225288 w 6818245"/>
              <a:gd name="connsiteY58" fmla="*/ 6000916 h 6858000"/>
              <a:gd name="connsiteX59" fmla="*/ 5255138 w 6818245"/>
              <a:gd name="connsiteY59" fmla="*/ 6003925 h 6858000"/>
              <a:gd name="connsiteX60" fmla="*/ 5426767 w 6818245"/>
              <a:gd name="connsiteY60" fmla="*/ 6214507 h 6858000"/>
              <a:gd name="connsiteX61" fmla="*/ 5255138 w 6818245"/>
              <a:gd name="connsiteY61" fmla="*/ 6425089 h 6858000"/>
              <a:gd name="connsiteX62" fmla="*/ 5225250 w 6818245"/>
              <a:gd name="connsiteY62" fmla="*/ 6428102 h 6858000"/>
              <a:gd name="connsiteX63" fmla="*/ 6255429 w 6818245"/>
              <a:gd name="connsiteY63" fmla="*/ 6428102 h 6858000"/>
              <a:gd name="connsiteX64" fmla="*/ 6470378 w 6818245"/>
              <a:gd name="connsiteY64" fmla="*/ 6643051 h 6858000"/>
              <a:gd name="connsiteX65" fmla="*/ 6255429 w 6818245"/>
              <a:gd name="connsiteY65" fmla="*/ 6858000 h 6858000"/>
              <a:gd name="connsiteX66" fmla="*/ 735500 w 6818245"/>
              <a:gd name="connsiteY66" fmla="*/ 6858000 h 6858000"/>
              <a:gd name="connsiteX67" fmla="*/ 735500 w 6818245"/>
              <a:gd name="connsiteY67" fmla="*/ 6857995 h 6858000"/>
              <a:gd name="connsiteX68" fmla="*/ 0 w 6818245"/>
              <a:gd name="connsiteY68" fmla="*/ 68579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818245" h="6858000">
                <a:moveTo>
                  <a:pt x="0" y="0"/>
                </a:moveTo>
                <a:lnTo>
                  <a:pt x="1262271" y="0"/>
                </a:lnTo>
                <a:lnTo>
                  <a:pt x="1262271" y="1"/>
                </a:lnTo>
                <a:lnTo>
                  <a:pt x="5519930" y="1"/>
                </a:lnTo>
                <a:cubicBezTo>
                  <a:pt x="5638643" y="1"/>
                  <a:pt x="5734879" y="96237"/>
                  <a:pt x="5734879" y="214950"/>
                </a:cubicBezTo>
                <a:cubicBezTo>
                  <a:pt x="5734879" y="318824"/>
                  <a:pt x="5661198" y="405489"/>
                  <a:pt x="5563250" y="425532"/>
                </a:cubicBezTo>
                <a:lnTo>
                  <a:pt x="5533401" y="428541"/>
                </a:lnTo>
                <a:lnTo>
                  <a:pt x="6036765" y="428541"/>
                </a:lnTo>
                <a:cubicBezTo>
                  <a:pt x="6155478" y="428541"/>
                  <a:pt x="6251714" y="524777"/>
                  <a:pt x="6251714" y="643490"/>
                </a:cubicBezTo>
                <a:cubicBezTo>
                  <a:pt x="6251714" y="747364"/>
                  <a:pt x="6178034" y="834029"/>
                  <a:pt x="6080085" y="854072"/>
                </a:cubicBezTo>
                <a:lnTo>
                  <a:pt x="6050237" y="857081"/>
                </a:lnTo>
                <a:lnTo>
                  <a:pt x="6603296" y="857081"/>
                </a:lnTo>
                <a:cubicBezTo>
                  <a:pt x="6722009" y="857081"/>
                  <a:pt x="6818245" y="953317"/>
                  <a:pt x="6818245" y="1072030"/>
                </a:cubicBezTo>
                <a:cubicBezTo>
                  <a:pt x="6818245" y="1190743"/>
                  <a:pt x="6722009" y="1286979"/>
                  <a:pt x="6603296" y="1286979"/>
                </a:cubicBezTo>
                <a:lnTo>
                  <a:pt x="5692426" y="1286979"/>
                </a:lnTo>
                <a:lnTo>
                  <a:pt x="5722273" y="1289988"/>
                </a:lnTo>
                <a:cubicBezTo>
                  <a:pt x="5820223" y="1310031"/>
                  <a:pt x="5893903" y="1396696"/>
                  <a:pt x="5893903" y="1500570"/>
                </a:cubicBezTo>
                <a:cubicBezTo>
                  <a:pt x="5893903" y="1619283"/>
                  <a:pt x="5797667" y="1715519"/>
                  <a:pt x="5678954" y="1715519"/>
                </a:cubicBezTo>
                <a:lnTo>
                  <a:pt x="5503588" y="1715519"/>
                </a:lnTo>
                <a:lnTo>
                  <a:pt x="5533432" y="1718527"/>
                </a:lnTo>
                <a:cubicBezTo>
                  <a:pt x="5631381" y="1738571"/>
                  <a:pt x="5705061" y="1825235"/>
                  <a:pt x="5705061" y="1929109"/>
                </a:cubicBezTo>
                <a:cubicBezTo>
                  <a:pt x="5705061" y="2032983"/>
                  <a:pt x="5631381" y="2119648"/>
                  <a:pt x="5533432" y="2139691"/>
                </a:cubicBezTo>
                <a:lnTo>
                  <a:pt x="5503588" y="2142700"/>
                </a:lnTo>
                <a:lnTo>
                  <a:pt x="6156035" y="2142700"/>
                </a:lnTo>
                <a:cubicBezTo>
                  <a:pt x="6274748" y="2142700"/>
                  <a:pt x="6370984" y="2238935"/>
                  <a:pt x="6370984" y="2357648"/>
                </a:cubicBezTo>
                <a:cubicBezTo>
                  <a:pt x="6370984" y="2476361"/>
                  <a:pt x="6274748" y="2572597"/>
                  <a:pt x="6156035" y="2572597"/>
                </a:cubicBezTo>
                <a:lnTo>
                  <a:pt x="5990601" y="2572597"/>
                </a:lnTo>
                <a:lnTo>
                  <a:pt x="6020450" y="2575606"/>
                </a:lnTo>
                <a:cubicBezTo>
                  <a:pt x="6118399" y="2595650"/>
                  <a:pt x="6192079" y="2682314"/>
                  <a:pt x="6192079" y="2786189"/>
                </a:cubicBezTo>
                <a:cubicBezTo>
                  <a:pt x="6192079" y="2904901"/>
                  <a:pt x="6095843" y="3001137"/>
                  <a:pt x="5977131" y="3001137"/>
                </a:cubicBezTo>
                <a:lnTo>
                  <a:pt x="5404198" y="3001137"/>
                </a:lnTo>
                <a:lnTo>
                  <a:pt x="5434042" y="3004146"/>
                </a:lnTo>
                <a:cubicBezTo>
                  <a:pt x="5531991" y="3024189"/>
                  <a:pt x="5605671" y="3110854"/>
                  <a:pt x="5605671" y="3214728"/>
                </a:cubicBezTo>
                <a:cubicBezTo>
                  <a:pt x="5605671" y="3333441"/>
                  <a:pt x="5509435" y="3429677"/>
                  <a:pt x="5390722" y="3429677"/>
                </a:cubicBezTo>
                <a:lnTo>
                  <a:pt x="4758147" y="3429677"/>
                </a:lnTo>
                <a:lnTo>
                  <a:pt x="4787997" y="3432686"/>
                </a:lnTo>
                <a:cubicBezTo>
                  <a:pt x="4885945" y="3452729"/>
                  <a:pt x="4959625" y="3539394"/>
                  <a:pt x="4959625" y="3643268"/>
                </a:cubicBezTo>
                <a:cubicBezTo>
                  <a:pt x="4959625" y="3747142"/>
                  <a:pt x="4885945" y="3833806"/>
                  <a:pt x="4787997" y="3853850"/>
                </a:cubicBezTo>
                <a:lnTo>
                  <a:pt x="4758142" y="3856859"/>
                </a:lnTo>
                <a:lnTo>
                  <a:pt x="5788285" y="3856859"/>
                </a:lnTo>
                <a:cubicBezTo>
                  <a:pt x="5906998" y="3856859"/>
                  <a:pt x="6003234" y="3953095"/>
                  <a:pt x="6003234" y="4071808"/>
                </a:cubicBezTo>
                <a:cubicBezTo>
                  <a:pt x="6003234" y="4190521"/>
                  <a:pt x="5906998" y="4286757"/>
                  <a:pt x="5788285" y="4286757"/>
                </a:cubicBezTo>
                <a:lnTo>
                  <a:pt x="5344564" y="4286757"/>
                </a:lnTo>
                <a:lnTo>
                  <a:pt x="5374408" y="4289766"/>
                </a:lnTo>
                <a:cubicBezTo>
                  <a:pt x="5472357" y="4309809"/>
                  <a:pt x="5546037" y="4396474"/>
                  <a:pt x="5546037" y="4500348"/>
                </a:cubicBezTo>
                <a:cubicBezTo>
                  <a:pt x="5546037" y="4604222"/>
                  <a:pt x="5472357" y="4690887"/>
                  <a:pt x="5374408" y="4710930"/>
                </a:cubicBezTo>
                <a:lnTo>
                  <a:pt x="5344564" y="4713938"/>
                </a:lnTo>
                <a:lnTo>
                  <a:pt x="6096400" y="4713938"/>
                </a:lnTo>
                <a:cubicBezTo>
                  <a:pt x="6215113" y="4713938"/>
                  <a:pt x="6311349" y="4810174"/>
                  <a:pt x="6311349" y="4928887"/>
                </a:cubicBezTo>
                <a:cubicBezTo>
                  <a:pt x="6311349" y="5047600"/>
                  <a:pt x="6215113" y="5143836"/>
                  <a:pt x="6096400" y="5143836"/>
                </a:cubicBezTo>
                <a:lnTo>
                  <a:pt x="5950845" y="5143836"/>
                </a:lnTo>
                <a:lnTo>
                  <a:pt x="5980694" y="5146845"/>
                </a:lnTo>
                <a:cubicBezTo>
                  <a:pt x="6078642" y="5166888"/>
                  <a:pt x="6152322" y="5253553"/>
                  <a:pt x="6152322" y="5357427"/>
                </a:cubicBezTo>
                <a:cubicBezTo>
                  <a:pt x="6152322" y="5476140"/>
                  <a:pt x="6056086" y="5572376"/>
                  <a:pt x="5937373" y="5572376"/>
                </a:cubicBezTo>
                <a:lnTo>
                  <a:pt x="5762000" y="5572376"/>
                </a:lnTo>
                <a:lnTo>
                  <a:pt x="5791848" y="5575385"/>
                </a:lnTo>
                <a:cubicBezTo>
                  <a:pt x="5889797" y="5595428"/>
                  <a:pt x="5963477" y="5682093"/>
                  <a:pt x="5963477" y="5785967"/>
                </a:cubicBezTo>
                <a:cubicBezTo>
                  <a:pt x="5963477" y="5904680"/>
                  <a:pt x="5867242" y="6000916"/>
                  <a:pt x="5748528" y="6000916"/>
                </a:cubicBezTo>
                <a:lnTo>
                  <a:pt x="5225288" y="6000916"/>
                </a:lnTo>
                <a:lnTo>
                  <a:pt x="5255138" y="6003925"/>
                </a:lnTo>
                <a:cubicBezTo>
                  <a:pt x="5353086" y="6023968"/>
                  <a:pt x="5426767" y="6110633"/>
                  <a:pt x="5426767" y="6214507"/>
                </a:cubicBezTo>
                <a:cubicBezTo>
                  <a:pt x="5426767" y="6318381"/>
                  <a:pt x="5353086" y="6405046"/>
                  <a:pt x="5255138" y="6425089"/>
                </a:cubicBezTo>
                <a:lnTo>
                  <a:pt x="5225250" y="6428102"/>
                </a:lnTo>
                <a:lnTo>
                  <a:pt x="6255429" y="6428102"/>
                </a:lnTo>
                <a:cubicBezTo>
                  <a:pt x="6374142" y="6428102"/>
                  <a:pt x="6470378" y="6524338"/>
                  <a:pt x="6470378" y="6643051"/>
                </a:cubicBezTo>
                <a:cubicBezTo>
                  <a:pt x="6470378" y="6761764"/>
                  <a:pt x="6374142" y="6858000"/>
                  <a:pt x="6255429" y="6858000"/>
                </a:cubicBezTo>
                <a:lnTo>
                  <a:pt x="735500" y="6858000"/>
                </a:lnTo>
                <a:lnTo>
                  <a:pt x="735500" y="6857995"/>
                </a:lnTo>
                <a:lnTo>
                  <a:pt x="0" y="685799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143204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C0A459DD-0620-4B5E-9529-D399AAC49EE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277783"/>
            <a:ext cx="4204103" cy="4328169"/>
          </a:xfrm>
          <a:custGeom>
            <a:avLst/>
            <a:gdLst>
              <a:gd name="connsiteX0" fmla="*/ 0 w 3491880"/>
              <a:gd name="connsiteY0" fmla="*/ 0 h 4464496"/>
              <a:gd name="connsiteX1" fmla="*/ 3491880 w 3491880"/>
              <a:gd name="connsiteY1" fmla="*/ 0 h 4464496"/>
              <a:gd name="connsiteX2" fmla="*/ 3491880 w 3491880"/>
              <a:gd name="connsiteY2" fmla="*/ 4464496 h 4464496"/>
              <a:gd name="connsiteX3" fmla="*/ 0 w 3491880"/>
              <a:gd name="connsiteY3" fmla="*/ 4464496 h 4464496"/>
              <a:gd name="connsiteX4" fmla="*/ 0 w 3491880"/>
              <a:gd name="connsiteY4" fmla="*/ 0 h 4464496"/>
              <a:gd name="connsiteX0" fmla="*/ 0 w 3491880"/>
              <a:gd name="connsiteY0" fmla="*/ 0 h 4475382"/>
              <a:gd name="connsiteX1" fmla="*/ 3491880 w 3491880"/>
              <a:gd name="connsiteY1" fmla="*/ 0 h 4475382"/>
              <a:gd name="connsiteX2" fmla="*/ 2991137 w 3491880"/>
              <a:gd name="connsiteY2" fmla="*/ 4475382 h 4475382"/>
              <a:gd name="connsiteX3" fmla="*/ 0 w 3491880"/>
              <a:gd name="connsiteY3" fmla="*/ 4464496 h 4475382"/>
              <a:gd name="connsiteX4" fmla="*/ 0 w 3491880"/>
              <a:gd name="connsiteY4" fmla="*/ 0 h 4475382"/>
              <a:gd name="connsiteX0" fmla="*/ 0 w 3491880"/>
              <a:gd name="connsiteY0" fmla="*/ 0 h 4492799"/>
              <a:gd name="connsiteX1" fmla="*/ 3491880 w 3491880"/>
              <a:gd name="connsiteY1" fmla="*/ 0 h 4492799"/>
              <a:gd name="connsiteX2" fmla="*/ 2831647 w 3491880"/>
              <a:gd name="connsiteY2" fmla="*/ 4492799 h 4492799"/>
              <a:gd name="connsiteX3" fmla="*/ 0 w 3491880"/>
              <a:gd name="connsiteY3" fmla="*/ 4464496 h 4492799"/>
              <a:gd name="connsiteX4" fmla="*/ 0 w 3491880"/>
              <a:gd name="connsiteY4" fmla="*/ 0 h 4492799"/>
              <a:gd name="connsiteX0" fmla="*/ 0 w 3491880"/>
              <a:gd name="connsiteY0" fmla="*/ 0 h 4492799"/>
              <a:gd name="connsiteX1" fmla="*/ 3491880 w 3491880"/>
              <a:gd name="connsiteY1" fmla="*/ 0 h 4492799"/>
              <a:gd name="connsiteX2" fmla="*/ 2831647 w 3491880"/>
              <a:gd name="connsiteY2" fmla="*/ 4492799 h 4492799"/>
              <a:gd name="connsiteX3" fmla="*/ 0 w 3491880"/>
              <a:gd name="connsiteY3" fmla="*/ 4464496 h 4492799"/>
              <a:gd name="connsiteX4" fmla="*/ 0 w 3491880"/>
              <a:gd name="connsiteY4" fmla="*/ 0 h 4492799"/>
              <a:gd name="connsiteX0" fmla="*/ 0 w 3491880"/>
              <a:gd name="connsiteY0" fmla="*/ 0 h 4492799"/>
              <a:gd name="connsiteX1" fmla="*/ 3491880 w 3491880"/>
              <a:gd name="connsiteY1" fmla="*/ 0 h 4492799"/>
              <a:gd name="connsiteX2" fmla="*/ 2831647 w 3491880"/>
              <a:gd name="connsiteY2" fmla="*/ 4492799 h 4492799"/>
              <a:gd name="connsiteX3" fmla="*/ 0 w 3491880"/>
              <a:gd name="connsiteY3" fmla="*/ 4464496 h 4492799"/>
              <a:gd name="connsiteX4" fmla="*/ 0 w 3491880"/>
              <a:gd name="connsiteY4" fmla="*/ 0 h 4492799"/>
              <a:gd name="connsiteX0" fmla="*/ 0 w 3491880"/>
              <a:gd name="connsiteY0" fmla="*/ 0 h 4497537"/>
              <a:gd name="connsiteX1" fmla="*/ 3491880 w 3491880"/>
              <a:gd name="connsiteY1" fmla="*/ 0 h 4497537"/>
              <a:gd name="connsiteX2" fmla="*/ 2835591 w 3491880"/>
              <a:gd name="connsiteY2" fmla="*/ 4497537 h 4497537"/>
              <a:gd name="connsiteX3" fmla="*/ 0 w 3491880"/>
              <a:gd name="connsiteY3" fmla="*/ 4464496 h 4497537"/>
              <a:gd name="connsiteX4" fmla="*/ 0 w 3491880"/>
              <a:gd name="connsiteY4" fmla="*/ 0 h 4497537"/>
              <a:gd name="connsiteX0" fmla="*/ 0 w 3491880"/>
              <a:gd name="connsiteY0" fmla="*/ 0 h 4497537"/>
              <a:gd name="connsiteX1" fmla="*/ 3491880 w 3491880"/>
              <a:gd name="connsiteY1" fmla="*/ 0 h 4497537"/>
              <a:gd name="connsiteX2" fmla="*/ 2831647 w 3491880"/>
              <a:gd name="connsiteY2" fmla="*/ 4497537 h 4497537"/>
              <a:gd name="connsiteX3" fmla="*/ 0 w 3491880"/>
              <a:gd name="connsiteY3" fmla="*/ 4464496 h 4497537"/>
              <a:gd name="connsiteX4" fmla="*/ 0 w 3491880"/>
              <a:gd name="connsiteY4" fmla="*/ 0 h 4497537"/>
              <a:gd name="connsiteX0" fmla="*/ 0 w 3491880"/>
              <a:gd name="connsiteY0" fmla="*/ 0 h 4497537"/>
              <a:gd name="connsiteX1" fmla="*/ 3491880 w 3491880"/>
              <a:gd name="connsiteY1" fmla="*/ 0 h 4497537"/>
              <a:gd name="connsiteX2" fmla="*/ 2831647 w 3491880"/>
              <a:gd name="connsiteY2" fmla="*/ 4497537 h 4497537"/>
              <a:gd name="connsiteX3" fmla="*/ 0 w 3491880"/>
              <a:gd name="connsiteY3" fmla="*/ 4483447 h 4497537"/>
              <a:gd name="connsiteX4" fmla="*/ 0 w 3491880"/>
              <a:gd name="connsiteY4" fmla="*/ 0 h 4497537"/>
              <a:gd name="connsiteX0" fmla="*/ 0 w 3491880"/>
              <a:gd name="connsiteY0" fmla="*/ 0 h 4502398"/>
              <a:gd name="connsiteX1" fmla="*/ 3491880 w 3491880"/>
              <a:gd name="connsiteY1" fmla="*/ 0 h 4502398"/>
              <a:gd name="connsiteX2" fmla="*/ 2831647 w 3491880"/>
              <a:gd name="connsiteY2" fmla="*/ 4497537 h 4502398"/>
              <a:gd name="connsiteX3" fmla="*/ 0 w 3491880"/>
              <a:gd name="connsiteY3" fmla="*/ 4502398 h 4502398"/>
              <a:gd name="connsiteX4" fmla="*/ 0 w 3491880"/>
              <a:gd name="connsiteY4" fmla="*/ 0 h 4502398"/>
              <a:gd name="connsiteX0" fmla="*/ 0 w 3491880"/>
              <a:gd name="connsiteY0" fmla="*/ 0 h 4497660"/>
              <a:gd name="connsiteX1" fmla="*/ 3491880 w 3491880"/>
              <a:gd name="connsiteY1" fmla="*/ 0 h 4497660"/>
              <a:gd name="connsiteX2" fmla="*/ 2831647 w 3491880"/>
              <a:gd name="connsiteY2" fmla="*/ 4497537 h 4497660"/>
              <a:gd name="connsiteX3" fmla="*/ 0 w 3491880"/>
              <a:gd name="connsiteY3" fmla="*/ 4497660 h 4497660"/>
              <a:gd name="connsiteX4" fmla="*/ 0 w 3491880"/>
              <a:gd name="connsiteY4" fmla="*/ 0 h 4497660"/>
              <a:gd name="connsiteX0" fmla="*/ 0 w 3499768"/>
              <a:gd name="connsiteY0" fmla="*/ 0 h 4497660"/>
              <a:gd name="connsiteX1" fmla="*/ 3499768 w 3499768"/>
              <a:gd name="connsiteY1" fmla="*/ 4737 h 4497660"/>
              <a:gd name="connsiteX2" fmla="*/ 2831647 w 3499768"/>
              <a:gd name="connsiteY2" fmla="*/ 4497537 h 4497660"/>
              <a:gd name="connsiteX3" fmla="*/ 0 w 3499768"/>
              <a:gd name="connsiteY3" fmla="*/ 4497660 h 4497660"/>
              <a:gd name="connsiteX4" fmla="*/ 0 w 3499768"/>
              <a:gd name="connsiteY4" fmla="*/ 0 h 4497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768" h="4497660">
                <a:moveTo>
                  <a:pt x="0" y="0"/>
                </a:moveTo>
                <a:lnTo>
                  <a:pt x="3499768" y="4737"/>
                </a:lnTo>
                <a:lnTo>
                  <a:pt x="2831647" y="4497537"/>
                </a:lnTo>
                <a:lnTo>
                  <a:pt x="0" y="449766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5" name="그림 개체 틀 2">
            <a:extLst>
              <a:ext uri="{FF2B5EF4-FFF2-40B4-BE49-F238E27FC236}">
                <a16:creationId xmlns:a16="http://schemas.microsoft.com/office/drawing/2014/main" id="{AC10217D-4747-4190-9966-060D514B27E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002512" y="1272138"/>
            <a:ext cx="4194628" cy="4333601"/>
          </a:xfrm>
          <a:custGeom>
            <a:avLst/>
            <a:gdLst>
              <a:gd name="connsiteX0" fmla="*/ 0 w 2699657"/>
              <a:gd name="connsiteY0" fmla="*/ 0 h 4495664"/>
              <a:gd name="connsiteX1" fmla="*/ 2699657 w 2699657"/>
              <a:gd name="connsiteY1" fmla="*/ 0 h 4495664"/>
              <a:gd name="connsiteX2" fmla="*/ 2699657 w 2699657"/>
              <a:gd name="connsiteY2" fmla="*/ 4495664 h 4495664"/>
              <a:gd name="connsiteX3" fmla="*/ 0 w 2699657"/>
              <a:gd name="connsiteY3" fmla="*/ 4495664 h 4495664"/>
              <a:gd name="connsiteX4" fmla="*/ 0 w 2699657"/>
              <a:gd name="connsiteY4" fmla="*/ 0 h 4495664"/>
              <a:gd name="connsiteX0" fmla="*/ 446314 w 3145971"/>
              <a:gd name="connsiteY0" fmla="*/ 0 h 4495664"/>
              <a:gd name="connsiteX1" fmla="*/ 3145971 w 3145971"/>
              <a:gd name="connsiteY1" fmla="*/ 0 h 4495664"/>
              <a:gd name="connsiteX2" fmla="*/ 3145971 w 3145971"/>
              <a:gd name="connsiteY2" fmla="*/ 4495664 h 4495664"/>
              <a:gd name="connsiteX3" fmla="*/ 0 w 3145971"/>
              <a:gd name="connsiteY3" fmla="*/ 4495664 h 4495664"/>
              <a:gd name="connsiteX4" fmla="*/ 446314 w 3145971"/>
              <a:gd name="connsiteY4" fmla="*/ 0 h 4495664"/>
              <a:gd name="connsiteX0" fmla="*/ 488954 w 3145971"/>
              <a:gd name="connsiteY0" fmla="*/ 0 h 4500394"/>
              <a:gd name="connsiteX1" fmla="*/ 3145971 w 3145971"/>
              <a:gd name="connsiteY1" fmla="*/ 4730 h 4500394"/>
              <a:gd name="connsiteX2" fmla="*/ 3145971 w 3145971"/>
              <a:gd name="connsiteY2" fmla="*/ 4500394 h 4500394"/>
              <a:gd name="connsiteX3" fmla="*/ 0 w 3145971"/>
              <a:gd name="connsiteY3" fmla="*/ 4500394 h 4500394"/>
              <a:gd name="connsiteX4" fmla="*/ 488954 w 3145971"/>
              <a:gd name="connsiteY4" fmla="*/ 0 h 4500394"/>
              <a:gd name="connsiteX0" fmla="*/ 588449 w 3145971"/>
              <a:gd name="connsiteY0" fmla="*/ 0 h 4505124"/>
              <a:gd name="connsiteX1" fmla="*/ 3145971 w 3145971"/>
              <a:gd name="connsiteY1" fmla="*/ 9460 h 4505124"/>
              <a:gd name="connsiteX2" fmla="*/ 3145971 w 3145971"/>
              <a:gd name="connsiteY2" fmla="*/ 4505124 h 4505124"/>
              <a:gd name="connsiteX3" fmla="*/ 0 w 3145971"/>
              <a:gd name="connsiteY3" fmla="*/ 4505124 h 4505124"/>
              <a:gd name="connsiteX4" fmla="*/ 588449 w 3145971"/>
              <a:gd name="connsiteY4" fmla="*/ 0 h 4505124"/>
              <a:gd name="connsiteX0" fmla="*/ 680837 w 3145971"/>
              <a:gd name="connsiteY0" fmla="*/ 0 h 4505124"/>
              <a:gd name="connsiteX1" fmla="*/ 3145971 w 3145971"/>
              <a:gd name="connsiteY1" fmla="*/ 9460 h 4505124"/>
              <a:gd name="connsiteX2" fmla="*/ 3145971 w 3145971"/>
              <a:gd name="connsiteY2" fmla="*/ 4505124 h 4505124"/>
              <a:gd name="connsiteX3" fmla="*/ 0 w 3145971"/>
              <a:gd name="connsiteY3" fmla="*/ 4505124 h 4505124"/>
              <a:gd name="connsiteX4" fmla="*/ 680837 w 3145971"/>
              <a:gd name="connsiteY4" fmla="*/ 0 h 4505124"/>
              <a:gd name="connsiteX0" fmla="*/ 588449 w 3145971"/>
              <a:gd name="connsiteY0" fmla="*/ 4729 h 4495664"/>
              <a:gd name="connsiteX1" fmla="*/ 3145971 w 3145971"/>
              <a:gd name="connsiteY1" fmla="*/ 0 h 4495664"/>
              <a:gd name="connsiteX2" fmla="*/ 3145971 w 3145971"/>
              <a:gd name="connsiteY2" fmla="*/ 4495664 h 4495664"/>
              <a:gd name="connsiteX3" fmla="*/ 0 w 3145971"/>
              <a:gd name="connsiteY3" fmla="*/ 4495664 h 4495664"/>
              <a:gd name="connsiteX4" fmla="*/ 588449 w 3145971"/>
              <a:gd name="connsiteY4" fmla="*/ 4729 h 4495664"/>
              <a:gd name="connsiteX0" fmla="*/ 584896 w 3145971"/>
              <a:gd name="connsiteY0" fmla="*/ 0 h 4505124"/>
              <a:gd name="connsiteX1" fmla="*/ 3145971 w 3145971"/>
              <a:gd name="connsiteY1" fmla="*/ 9460 h 4505124"/>
              <a:gd name="connsiteX2" fmla="*/ 3145971 w 3145971"/>
              <a:gd name="connsiteY2" fmla="*/ 4505124 h 4505124"/>
              <a:gd name="connsiteX3" fmla="*/ 0 w 3145971"/>
              <a:gd name="connsiteY3" fmla="*/ 4505124 h 4505124"/>
              <a:gd name="connsiteX4" fmla="*/ 584896 w 3145971"/>
              <a:gd name="connsiteY4" fmla="*/ 0 h 4505124"/>
              <a:gd name="connsiteX0" fmla="*/ 584896 w 3145971"/>
              <a:gd name="connsiteY0" fmla="*/ 0 h 4495664"/>
              <a:gd name="connsiteX1" fmla="*/ 3145971 w 3145971"/>
              <a:gd name="connsiteY1" fmla="*/ 0 h 4495664"/>
              <a:gd name="connsiteX2" fmla="*/ 3145971 w 3145971"/>
              <a:gd name="connsiteY2" fmla="*/ 4495664 h 4495664"/>
              <a:gd name="connsiteX3" fmla="*/ 0 w 3145971"/>
              <a:gd name="connsiteY3" fmla="*/ 4495664 h 4495664"/>
              <a:gd name="connsiteX4" fmla="*/ 584896 w 3145971"/>
              <a:gd name="connsiteY4" fmla="*/ 0 h 4495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45971" h="4495664">
                <a:moveTo>
                  <a:pt x="584896" y="0"/>
                </a:moveTo>
                <a:lnTo>
                  <a:pt x="3145971" y="0"/>
                </a:lnTo>
                <a:lnTo>
                  <a:pt x="3145971" y="4495664"/>
                </a:lnTo>
                <a:lnTo>
                  <a:pt x="0" y="4495664"/>
                </a:lnTo>
                <a:lnTo>
                  <a:pt x="58489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69428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Picture Placeholder 248">
            <a:extLst>
              <a:ext uri="{FF2B5EF4-FFF2-40B4-BE49-F238E27FC236}">
                <a16:creationId xmlns:a16="http://schemas.microsoft.com/office/drawing/2014/main" id="{A8D7A3CD-02B2-4224-BAB9-18749F413F3D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0699779 w 12191999"/>
              <a:gd name="connsiteY0" fmla="*/ 6099402 h 6858000"/>
              <a:gd name="connsiteX1" fmla="*/ 10700365 w 12191999"/>
              <a:gd name="connsiteY1" fmla="*/ 6104567 h 6858000"/>
              <a:gd name="connsiteX2" fmla="*/ 10702406 w 12191999"/>
              <a:gd name="connsiteY2" fmla="*/ 6099903 h 6858000"/>
              <a:gd name="connsiteX3" fmla="*/ 9177921 w 12191999"/>
              <a:gd name="connsiteY3" fmla="*/ 6098901 h 6858000"/>
              <a:gd name="connsiteX4" fmla="*/ 9178505 w 12191999"/>
              <a:gd name="connsiteY4" fmla="*/ 6100344 h 6858000"/>
              <a:gd name="connsiteX5" fmla="*/ 9178605 w 12191999"/>
              <a:gd name="connsiteY5" fmla="*/ 6102927 h 6858000"/>
              <a:gd name="connsiteX6" fmla="*/ 9183635 w 12191999"/>
              <a:gd name="connsiteY6" fmla="*/ 6102927 h 6858000"/>
              <a:gd name="connsiteX7" fmla="*/ 9185303 w 12191999"/>
              <a:gd name="connsiteY7" fmla="*/ 6100308 h 6858000"/>
              <a:gd name="connsiteX8" fmla="*/ 5342410 w 12191999"/>
              <a:gd name="connsiteY8" fmla="*/ 5330181 h 6858000"/>
              <a:gd name="connsiteX9" fmla="*/ 5338269 w 12191999"/>
              <a:gd name="connsiteY9" fmla="*/ 5332661 h 6858000"/>
              <a:gd name="connsiteX10" fmla="*/ 5322064 w 12191999"/>
              <a:gd name="connsiteY10" fmla="*/ 5334006 h 6858000"/>
              <a:gd name="connsiteX11" fmla="*/ 5335111 w 12191999"/>
              <a:gd name="connsiteY11" fmla="*/ 5336578 h 6858000"/>
              <a:gd name="connsiteX12" fmla="*/ 5337848 w 12191999"/>
              <a:gd name="connsiteY12" fmla="*/ 5340523 h 6858000"/>
              <a:gd name="connsiteX13" fmla="*/ 5338130 w 12191999"/>
              <a:gd name="connsiteY13" fmla="*/ 5335883 h 6858000"/>
              <a:gd name="connsiteX14" fmla="*/ 11820900 w 12191999"/>
              <a:gd name="connsiteY14" fmla="*/ 4311166 h 6858000"/>
              <a:gd name="connsiteX15" fmla="*/ 11955244 w 12191999"/>
              <a:gd name="connsiteY15" fmla="*/ 4373182 h 6858000"/>
              <a:gd name="connsiteX16" fmla="*/ 11941805 w 12191999"/>
              <a:gd name="connsiteY16" fmla="*/ 4490463 h 6858000"/>
              <a:gd name="connsiteX17" fmla="*/ 11911265 w 12191999"/>
              <a:gd name="connsiteY17" fmla="*/ 4531997 h 6858000"/>
              <a:gd name="connsiteX18" fmla="*/ 11974790 w 12191999"/>
              <a:gd name="connsiteY18" fmla="*/ 4572310 h 6858000"/>
              <a:gd name="connsiteX19" fmla="*/ 12175141 w 12191999"/>
              <a:gd name="connsiteY19" fmla="*/ 4571090 h 6858000"/>
              <a:gd name="connsiteX20" fmla="*/ 12191999 w 12191999"/>
              <a:gd name="connsiteY20" fmla="*/ 4574294 h 6858000"/>
              <a:gd name="connsiteX21" fmla="*/ 12191999 w 12191999"/>
              <a:gd name="connsiteY21" fmla="*/ 5337457 h 6858000"/>
              <a:gd name="connsiteX22" fmla="*/ 12177584 w 12191999"/>
              <a:gd name="connsiteY22" fmla="*/ 5340730 h 6858000"/>
              <a:gd name="connsiteX23" fmla="*/ 11982120 w 12191999"/>
              <a:gd name="connsiteY23" fmla="*/ 5339507 h 6858000"/>
              <a:gd name="connsiteX24" fmla="*/ 11928367 w 12191999"/>
              <a:gd name="connsiteY24" fmla="*/ 5354166 h 6858000"/>
              <a:gd name="connsiteX25" fmla="*/ 11927145 w 12191999"/>
              <a:gd name="connsiteY25" fmla="*/ 5409142 h 6858000"/>
              <a:gd name="connsiteX26" fmla="*/ 11971125 w 12191999"/>
              <a:gd name="connsiteY26" fmla="*/ 5504430 h 6858000"/>
              <a:gd name="connsiteX27" fmla="*/ 11873393 w 12191999"/>
              <a:gd name="connsiteY27" fmla="*/ 5592389 h 6858000"/>
              <a:gd name="connsiteX28" fmla="*/ 11703584 w 12191999"/>
              <a:gd name="connsiteY28" fmla="*/ 5530084 h 6858000"/>
              <a:gd name="connsiteX29" fmla="*/ 11723129 w 12191999"/>
              <a:gd name="connsiteY29" fmla="*/ 5417694 h 6858000"/>
              <a:gd name="connsiteX30" fmla="*/ 11751228 w 12191999"/>
              <a:gd name="connsiteY30" fmla="*/ 5374936 h 6858000"/>
              <a:gd name="connsiteX31" fmla="*/ 11690146 w 12191999"/>
              <a:gd name="connsiteY31" fmla="*/ 5338287 h 6858000"/>
              <a:gd name="connsiteX32" fmla="*/ 11489795 w 12191999"/>
              <a:gd name="connsiteY32" fmla="*/ 5339507 h 6858000"/>
              <a:gd name="connsiteX33" fmla="*/ 11447036 w 12191999"/>
              <a:gd name="connsiteY33" fmla="*/ 5295528 h 6858000"/>
              <a:gd name="connsiteX34" fmla="*/ 11449481 w 12191999"/>
              <a:gd name="connsiteY34" fmla="*/ 5202683 h 6858000"/>
              <a:gd name="connsiteX35" fmla="*/ 11449481 w 12191999"/>
              <a:gd name="connsiteY35" fmla="*/ 5092735 h 6858000"/>
              <a:gd name="connsiteX36" fmla="*/ 11492238 w 12191999"/>
              <a:gd name="connsiteY36" fmla="*/ 5018215 h 6858000"/>
              <a:gd name="connsiteX37" fmla="*/ 11545990 w 12191999"/>
              <a:gd name="connsiteY37" fmla="*/ 5025544 h 6858000"/>
              <a:gd name="connsiteX38" fmla="*/ 11668156 w 12191999"/>
              <a:gd name="connsiteY38" fmla="*/ 5051198 h 6858000"/>
              <a:gd name="connsiteX39" fmla="*/ 11682816 w 12191999"/>
              <a:gd name="connsiteY39" fmla="*/ 4877723 h 6858000"/>
              <a:gd name="connsiteX40" fmla="*/ 11555765 w 12191999"/>
              <a:gd name="connsiteY40" fmla="*/ 4874058 h 6858000"/>
              <a:gd name="connsiteX41" fmla="*/ 11508120 w 12191999"/>
              <a:gd name="connsiteY41" fmla="*/ 4902158 h 6858000"/>
              <a:gd name="connsiteX42" fmla="*/ 11450701 w 12191999"/>
              <a:gd name="connsiteY42" fmla="*/ 4839852 h 6858000"/>
              <a:gd name="connsiteX43" fmla="*/ 11448258 w 12191999"/>
              <a:gd name="connsiteY43" fmla="*/ 4591857 h 6858000"/>
              <a:gd name="connsiteX44" fmla="*/ 11477578 w 12191999"/>
              <a:gd name="connsiteY44" fmla="*/ 4573534 h 6858000"/>
              <a:gd name="connsiteX45" fmla="*/ 11677929 w 12191999"/>
              <a:gd name="connsiteY45" fmla="*/ 4573534 h 6858000"/>
              <a:gd name="connsiteX46" fmla="*/ 11728016 w 12191999"/>
              <a:gd name="connsiteY46" fmla="*/ 4562539 h 6858000"/>
              <a:gd name="connsiteX47" fmla="*/ 11735346 w 12191999"/>
              <a:gd name="connsiteY47" fmla="*/ 4500233 h 6858000"/>
              <a:gd name="connsiteX48" fmla="*/ 11768331 w 12191999"/>
              <a:gd name="connsiteY48" fmla="*/ 4323095 h 6858000"/>
              <a:gd name="connsiteX49" fmla="*/ 11820900 w 12191999"/>
              <a:gd name="connsiteY49" fmla="*/ 4311166 h 6858000"/>
              <a:gd name="connsiteX50" fmla="*/ 5742911 w 12191999"/>
              <a:gd name="connsiteY50" fmla="*/ 3557222 h 6858000"/>
              <a:gd name="connsiteX51" fmla="*/ 5851336 w 12191999"/>
              <a:gd name="connsiteY51" fmla="*/ 3613963 h 6858000"/>
              <a:gd name="connsiteX52" fmla="*/ 5840341 w 12191999"/>
              <a:gd name="connsiteY52" fmla="*/ 3736128 h 6858000"/>
              <a:gd name="connsiteX53" fmla="*/ 5811021 w 12191999"/>
              <a:gd name="connsiteY53" fmla="*/ 3780107 h 6858000"/>
              <a:gd name="connsiteX54" fmla="*/ 5873327 w 12191999"/>
              <a:gd name="connsiteY54" fmla="*/ 3815534 h 6858000"/>
              <a:gd name="connsiteX55" fmla="*/ 6082230 w 12191999"/>
              <a:gd name="connsiteY55" fmla="*/ 3814314 h 6858000"/>
              <a:gd name="connsiteX56" fmla="*/ 6115900 w 12191999"/>
              <a:gd name="connsiteY56" fmla="*/ 3831149 h 6858000"/>
              <a:gd name="connsiteX57" fmla="*/ 6116334 w 12191999"/>
              <a:gd name="connsiteY57" fmla="*/ 3835442 h 6858000"/>
              <a:gd name="connsiteX58" fmla="*/ 6135367 w 12191999"/>
              <a:gd name="connsiteY58" fmla="*/ 3820781 h 6858000"/>
              <a:gd name="connsiteX59" fmla="*/ 6165468 w 12191999"/>
              <a:gd name="connsiteY59" fmla="*/ 3821240 h 6858000"/>
              <a:gd name="connsiteX60" fmla="*/ 6250984 w 12191999"/>
              <a:gd name="connsiteY60" fmla="*/ 3822462 h 6858000"/>
              <a:gd name="connsiteX61" fmla="*/ 6356045 w 12191999"/>
              <a:gd name="connsiteY61" fmla="*/ 3822462 h 6858000"/>
              <a:gd name="connsiteX62" fmla="*/ 6434230 w 12191999"/>
              <a:gd name="connsiteY62" fmla="*/ 3873772 h 6858000"/>
              <a:gd name="connsiteX63" fmla="*/ 6401245 w 12191999"/>
              <a:gd name="connsiteY63" fmla="*/ 3938519 h 6858000"/>
              <a:gd name="connsiteX64" fmla="*/ 6395138 w 12191999"/>
              <a:gd name="connsiteY64" fmla="*/ 4039916 h 6858000"/>
              <a:gd name="connsiteX65" fmla="*/ 6574721 w 12191999"/>
              <a:gd name="connsiteY65" fmla="*/ 4054576 h 6858000"/>
              <a:gd name="connsiteX66" fmla="*/ 6575941 w 12191999"/>
              <a:gd name="connsiteY66" fmla="*/ 3931189 h 6858000"/>
              <a:gd name="connsiteX67" fmla="*/ 6547844 w 12191999"/>
              <a:gd name="connsiteY67" fmla="*/ 3883545 h 6858000"/>
              <a:gd name="connsiteX68" fmla="*/ 6610148 w 12191999"/>
              <a:gd name="connsiteY68" fmla="*/ 3826127 h 6858000"/>
              <a:gd name="connsiteX69" fmla="*/ 6856921 w 12191999"/>
              <a:gd name="connsiteY69" fmla="*/ 3823685 h 6858000"/>
              <a:gd name="connsiteX70" fmla="*/ 6875246 w 12191999"/>
              <a:gd name="connsiteY70" fmla="*/ 3853004 h 6858000"/>
              <a:gd name="connsiteX71" fmla="*/ 6875246 w 12191999"/>
              <a:gd name="connsiteY71" fmla="*/ 4053355 h 6858000"/>
              <a:gd name="connsiteX72" fmla="*/ 6892348 w 12191999"/>
              <a:gd name="connsiteY72" fmla="*/ 4110773 h 6858000"/>
              <a:gd name="connsiteX73" fmla="*/ 6948545 w 12191999"/>
              <a:gd name="connsiteY73" fmla="*/ 4110773 h 6858000"/>
              <a:gd name="connsiteX74" fmla="*/ 7117131 w 12191999"/>
              <a:gd name="connsiteY74" fmla="*/ 4126653 h 6858000"/>
              <a:gd name="connsiteX75" fmla="*/ 7080482 w 12191999"/>
              <a:gd name="connsiteY75" fmla="*/ 4328224 h 6858000"/>
              <a:gd name="connsiteX76" fmla="*/ 6959540 w 12191999"/>
              <a:gd name="connsiteY76" fmla="*/ 4317229 h 6858000"/>
              <a:gd name="connsiteX77" fmla="*/ 6914338 w 12191999"/>
              <a:gd name="connsiteY77" fmla="*/ 4287910 h 6858000"/>
              <a:gd name="connsiteX78" fmla="*/ 6877689 w 12191999"/>
              <a:gd name="connsiteY78" fmla="*/ 4350213 h 6858000"/>
              <a:gd name="connsiteX79" fmla="*/ 6878911 w 12191999"/>
              <a:gd name="connsiteY79" fmla="*/ 4550565 h 6858000"/>
              <a:gd name="connsiteX80" fmla="*/ 6838596 w 12191999"/>
              <a:gd name="connsiteY80" fmla="*/ 4592100 h 6858000"/>
              <a:gd name="connsiteX81" fmla="*/ 6648020 w 12191999"/>
              <a:gd name="connsiteY81" fmla="*/ 4590880 h 6858000"/>
              <a:gd name="connsiteX82" fmla="*/ 6594266 w 12191999"/>
              <a:gd name="connsiteY82" fmla="*/ 4604318 h 6858000"/>
              <a:gd name="connsiteX83" fmla="*/ 6591823 w 12191999"/>
              <a:gd name="connsiteY83" fmla="*/ 4662956 h 6858000"/>
              <a:gd name="connsiteX84" fmla="*/ 6589381 w 12191999"/>
              <a:gd name="connsiteY84" fmla="*/ 4819328 h 6858000"/>
              <a:gd name="connsiteX85" fmla="*/ 6375592 w 12191999"/>
              <a:gd name="connsiteY85" fmla="*/ 4796116 h 6858000"/>
              <a:gd name="connsiteX86" fmla="*/ 6385365 w 12191999"/>
              <a:gd name="connsiteY86" fmla="*/ 4670287 h 6858000"/>
              <a:gd name="connsiteX87" fmla="*/ 6415905 w 12191999"/>
              <a:gd name="connsiteY87" fmla="*/ 4628749 h 6858000"/>
              <a:gd name="connsiteX88" fmla="*/ 6351158 w 12191999"/>
              <a:gd name="connsiteY88" fmla="*/ 4589658 h 6858000"/>
              <a:gd name="connsiteX89" fmla="*/ 6150809 w 12191999"/>
              <a:gd name="connsiteY89" fmla="*/ 4590880 h 6858000"/>
              <a:gd name="connsiteX90" fmla="*/ 6117367 w 12191999"/>
              <a:gd name="connsiteY90" fmla="*/ 4582327 h 6858000"/>
              <a:gd name="connsiteX91" fmla="*/ 6114197 w 12191999"/>
              <a:gd name="connsiteY91" fmla="*/ 4575109 h 6858000"/>
              <a:gd name="connsiteX92" fmla="*/ 6109104 w 12191999"/>
              <a:gd name="connsiteY92" fmla="*/ 4582272 h 6858000"/>
              <a:gd name="connsiteX93" fmla="*/ 6087114 w 12191999"/>
              <a:gd name="connsiteY93" fmla="*/ 4586396 h 6858000"/>
              <a:gd name="connsiteX94" fmla="*/ 5863552 w 12191999"/>
              <a:gd name="connsiteY94" fmla="*/ 4586396 h 6858000"/>
              <a:gd name="connsiteX95" fmla="*/ 5802472 w 12191999"/>
              <a:gd name="connsiteY95" fmla="*/ 4555854 h 6858000"/>
              <a:gd name="connsiteX96" fmla="*/ 5807356 w 12191999"/>
              <a:gd name="connsiteY96" fmla="*/ 4480114 h 6858000"/>
              <a:gd name="connsiteX97" fmla="*/ 5847670 w 12191999"/>
              <a:gd name="connsiteY97" fmla="*/ 4403148 h 6858000"/>
              <a:gd name="connsiteX98" fmla="*/ 5752384 w 12191999"/>
              <a:gd name="connsiteY98" fmla="*/ 4329849 h 6858000"/>
              <a:gd name="connsiteX99" fmla="*/ 5628995 w 12191999"/>
              <a:gd name="connsiteY99" fmla="*/ 4372606 h 6858000"/>
              <a:gd name="connsiteX100" fmla="*/ 5638769 w 12191999"/>
              <a:gd name="connsiteY100" fmla="*/ 4470339 h 6858000"/>
              <a:gd name="connsiteX101" fmla="*/ 5674197 w 12191999"/>
              <a:gd name="connsiteY101" fmla="*/ 4527758 h 6858000"/>
              <a:gd name="connsiteX102" fmla="*/ 5591125 w 12191999"/>
              <a:gd name="connsiteY102" fmla="*/ 4586396 h 6858000"/>
              <a:gd name="connsiteX103" fmla="*/ 5377337 w 12191999"/>
              <a:gd name="connsiteY103" fmla="*/ 4586396 h 6858000"/>
              <a:gd name="connsiteX104" fmla="*/ 5346796 w 12191999"/>
              <a:gd name="connsiteY104" fmla="*/ 4553411 h 6858000"/>
              <a:gd name="connsiteX105" fmla="*/ 5348016 w 12191999"/>
              <a:gd name="connsiteY105" fmla="*/ 4353059 h 6858000"/>
              <a:gd name="connsiteX106" fmla="*/ 5327249 w 12191999"/>
              <a:gd name="connsiteY106" fmla="*/ 4291978 h 6858000"/>
              <a:gd name="connsiteX107" fmla="*/ 5278383 w 12191999"/>
              <a:gd name="connsiteY107" fmla="*/ 4293199 h 6858000"/>
              <a:gd name="connsiteX108" fmla="*/ 5174543 w 12191999"/>
              <a:gd name="connsiteY108" fmla="*/ 4337181 h 6858000"/>
              <a:gd name="connsiteX109" fmla="*/ 5089026 w 12191999"/>
              <a:gd name="connsiteY109" fmla="*/ 4221122 h 6858000"/>
              <a:gd name="connsiteX110" fmla="*/ 5144002 w 12191999"/>
              <a:gd name="connsiteY110" fmla="*/ 4078190 h 6858000"/>
              <a:gd name="connsiteX111" fmla="*/ 5264946 w 12191999"/>
              <a:gd name="connsiteY111" fmla="*/ 4087965 h 6858000"/>
              <a:gd name="connsiteX112" fmla="*/ 5311367 w 12191999"/>
              <a:gd name="connsiteY112" fmla="*/ 4117283 h 6858000"/>
              <a:gd name="connsiteX113" fmla="*/ 5346796 w 12191999"/>
              <a:gd name="connsiteY113" fmla="*/ 4054980 h 6858000"/>
              <a:gd name="connsiteX114" fmla="*/ 5345574 w 12191999"/>
              <a:gd name="connsiteY114" fmla="*/ 3849742 h 6858000"/>
              <a:gd name="connsiteX115" fmla="*/ 5381003 w 12191999"/>
              <a:gd name="connsiteY115" fmla="*/ 3811870 h 6858000"/>
              <a:gd name="connsiteX116" fmla="*/ 5486063 w 12191999"/>
              <a:gd name="connsiteY116" fmla="*/ 3815534 h 6858000"/>
              <a:gd name="connsiteX117" fmla="*/ 5596012 w 12191999"/>
              <a:gd name="connsiteY117" fmla="*/ 3815534 h 6858000"/>
              <a:gd name="connsiteX118" fmla="*/ 5650984 w 12191999"/>
              <a:gd name="connsiteY118" fmla="*/ 3777664 h 6858000"/>
              <a:gd name="connsiteX119" fmla="*/ 5625329 w 12191999"/>
              <a:gd name="connsiteY119" fmla="*/ 3738570 h 6858000"/>
              <a:gd name="connsiteX120" fmla="*/ 5649765 w 12191999"/>
              <a:gd name="connsiteY120" fmla="*/ 3576091 h 6858000"/>
              <a:gd name="connsiteX121" fmla="*/ 5700845 w 12191999"/>
              <a:gd name="connsiteY121" fmla="*/ 3557958 h 6858000"/>
              <a:gd name="connsiteX122" fmla="*/ 5742911 w 12191999"/>
              <a:gd name="connsiteY122" fmla="*/ 3557222 h 6858000"/>
              <a:gd name="connsiteX123" fmla="*/ 5726517 w 12191999"/>
              <a:gd name="connsiteY123" fmla="*/ 2017504 h 6858000"/>
              <a:gd name="connsiteX124" fmla="*/ 5834786 w 12191999"/>
              <a:gd name="connsiteY124" fmla="*/ 2083015 h 6858000"/>
              <a:gd name="connsiteX125" fmla="*/ 5820126 w 12191999"/>
              <a:gd name="connsiteY125" fmla="*/ 2192965 h 6858000"/>
              <a:gd name="connsiteX126" fmla="*/ 5787140 w 12191999"/>
              <a:gd name="connsiteY126" fmla="*/ 2236943 h 6858000"/>
              <a:gd name="connsiteX127" fmla="*/ 5855555 w 12191999"/>
              <a:gd name="connsiteY127" fmla="*/ 2277258 h 6858000"/>
              <a:gd name="connsiteX128" fmla="*/ 6041243 w 12191999"/>
              <a:gd name="connsiteY128" fmla="*/ 2276037 h 6858000"/>
              <a:gd name="connsiteX129" fmla="*/ 6093775 w 12191999"/>
              <a:gd name="connsiteY129" fmla="*/ 2326124 h 6858000"/>
              <a:gd name="connsiteX130" fmla="*/ 6092553 w 12191999"/>
              <a:gd name="connsiteY130" fmla="*/ 2516703 h 6858000"/>
              <a:gd name="connsiteX131" fmla="*/ 6121873 w 12191999"/>
              <a:gd name="connsiteY131" fmla="*/ 2577785 h 6858000"/>
              <a:gd name="connsiteX132" fmla="*/ 6154856 w 12191999"/>
              <a:gd name="connsiteY132" fmla="*/ 2574120 h 6858000"/>
              <a:gd name="connsiteX133" fmla="*/ 6351542 w 12191999"/>
              <a:gd name="connsiteY133" fmla="*/ 2611990 h 6858000"/>
              <a:gd name="connsiteX134" fmla="*/ 6352764 w 12191999"/>
              <a:gd name="connsiteY134" fmla="*/ 2708501 h 6858000"/>
              <a:gd name="connsiteX135" fmla="*/ 6300232 w 12191999"/>
              <a:gd name="connsiteY135" fmla="*/ 2779356 h 6858000"/>
              <a:gd name="connsiteX136" fmla="*/ 6170739 w 12191999"/>
              <a:gd name="connsiteY136" fmla="*/ 2769584 h 6858000"/>
              <a:gd name="connsiteX137" fmla="*/ 6129202 w 12191999"/>
              <a:gd name="connsiteY137" fmla="*/ 2742708 h 6858000"/>
              <a:gd name="connsiteX138" fmla="*/ 6093775 w 12191999"/>
              <a:gd name="connsiteY138" fmla="*/ 2800124 h 6858000"/>
              <a:gd name="connsiteX139" fmla="*/ 6094997 w 12191999"/>
              <a:gd name="connsiteY139" fmla="*/ 3009027 h 6858000"/>
              <a:gd name="connsiteX140" fmla="*/ 6054683 w 12191999"/>
              <a:gd name="connsiteY140" fmla="*/ 3046899 h 6858000"/>
              <a:gd name="connsiteX141" fmla="*/ 5859220 w 12191999"/>
              <a:gd name="connsiteY141" fmla="*/ 3045676 h 6858000"/>
              <a:gd name="connsiteX142" fmla="*/ 5805467 w 12191999"/>
              <a:gd name="connsiteY142" fmla="*/ 3060336 h 6858000"/>
              <a:gd name="connsiteX143" fmla="*/ 5804246 w 12191999"/>
              <a:gd name="connsiteY143" fmla="*/ 3116533 h 6858000"/>
              <a:gd name="connsiteX144" fmla="*/ 5849445 w 12191999"/>
              <a:gd name="connsiteY144" fmla="*/ 3206935 h 6858000"/>
              <a:gd name="connsiteX145" fmla="*/ 5751713 w 12191999"/>
              <a:gd name="connsiteY145" fmla="*/ 3299780 h 6858000"/>
              <a:gd name="connsiteX146" fmla="*/ 5581905 w 12191999"/>
              <a:gd name="connsiteY146" fmla="*/ 3237475 h 6858000"/>
              <a:gd name="connsiteX147" fmla="*/ 5601451 w 12191999"/>
              <a:gd name="connsiteY147" fmla="*/ 3125084 h 6858000"/>
              <a:gd name="connsiteX148" fmla="*/ 5629551 w 12191999"/>
              <a:gd name="connsiteY148" fmla="*/ 3083549 h 6858000"/>
              <a:gd name="connsiteX149" fmla="*/ 5573353 w 12191999"/>
              <a:gd name="connsiteY149" fmla="*/ 3045676 h 6858000"/>
              <a:gd name="connsiteX150" fmla="*/ 5430421 w 12191999"/>
              <a:gd name="connsiteY150" fmla="*/ 3045676 h 6858000"/>
              <a:gd name="connsiteX151" fmla="*/ 5324139 w 12191999"/>
              <a:gd name="connsiteY151" fmla="*/ 2938172 h 6858000"/>
              <a:gd name="connsiteX152" fmla="*/ 5324139 w 12191999"/>
              <a:gd name="connsiteY152" fmla="*/ 2805010 h 6858000"/>
              <a:gd name="connsiteX153" fmla="*/ 5355900 w 12191999"/>
              <a:gd name="connsiteY153" fmla="*/ 2734156 h 6858000"/>
              <a:gd name="connsiteX154" fmla="*/ 5427977 w 12191999"/>
              <a:gd name="connsiteY154" fmla="*/ 2737821 h 6858000"/>
              <a:gd name="connsiteX155" fmla="*/ 5508607 w 12191999"/>
              <a:gd name="connsiteY155" fmla="*/ 2780578 h 6858000"/>
              <a:gd name="connsiteX156" fmla="*/ 5581905 w 12191999"/>
              <a:gd name="connsiteY156" fmla="*/ 2674294 h 6858000"/>
              <a:gd name="connsiteX157" fmla="*/ 5537926 w 12191999"/>
              <a:gd name="connsiteY157" fmla="*/ 2560681 h 6858000"/>
              <a:gd name="connsiteX158" fmla="*/ 5440195 w 12191999"/>
              <a:gd name="connsiteY158" fmla="*/ 2570454 h 6858000"/>
              <a:gd name="connsiteX159" fmla="*/ 5382779 w 12191999"/>
              <a:gd name="connsiteY159" fmla="*/ 2605882 h 6858000"/>
              <a:gd name="connsiteX160" fmla="*/ 5324139 w 12191999"/>
              <a:gd name="connsiteY160" fmla="*/ 2527695 h 6858000"/>
              <a:gd name="connsiteX161" fmla="*/ 5322917 w 12191999"/>
              <a:gd name="connsiteY161" fmla="*/ 2304134 h 6858000"/>
              <a:gd name="connsiteX162" fmla="*/ 5351016 w 12191999"/>
              <a:gd name="connsiteY162" fmla="*/ 2278479 h 6858000"/>
              <a:gd name="connsiteX163" fmla="*/ 5556254 w 12191999"/>
              <a:gd name="connsiteY163" fmla="*/ 2278479 h 6858000"/>
              <a:gd name="connsiteX164" fmla="*/ 5610003 w 12191999"/>
              <a:gd name="connsiteY164" fmla="*/ 2263820 h 6858000"/>
              <a:gd name="connsiteX165" fmla="*/ 5611225 w 12191999"/>
              <a:gd name="connsiteY165" fmla="*/ 2203958 h 6858000"/>
              <a:gd name="connsiteX166" fmla="*/ 5606337 w 12191999"/>
              <a:gd name="connsiteY166" fmla="*/ 2053696 h 6858000"/>
              <a:gd name="connsiteX167" fmla="*/ 5726517 w 12191999"/>
              <a:gd name="connsiteY167" fmla="*/ 2017504 h 6858000"/>
              <a:gd name="connsiteX168" fmla="*/ 0 w 12191999"/>
              <a:gd name="connsiteY168" fmla="*/ 0 h 6858000"/>
              <a:gd name="connsiteX169" fmla="*/ 5329115 w 12191999"/>
              <a:gd name="connsiteY169" fmla="*/ 0 h 6858000"/>
              <a:gd name="connsiteX170" fmla="*/ 5332434 w 12191999"/>
              <a:gd name="connsiteY170" fmla="*/ 5729 h 6858000"/>
              <a:gd name="connsiteX171" fmla="*/ 5334132 w 12191999"/>
              <a:gd name="connsiteY171" fmla="*/ 27166 h 6858000"/>
              <a:gd name="connsiteX172" fmla="*/ 5332910 w 12191999"/>
              <a:gd name="connsiteY172" fmla="*/ 227517 h 6858000"/>
              <a:gd name="connsiteX173" fmla="*/ 5346347 w 12191999"/>
              <a:gd name="connsiteY173" fmla="*/ 276382 h 6858000"/>
              <a:gd name="connsiteX174" fmla="*/ 5402544 w 12191999"/>
              <a:gd name="connsiteY174" fmla="*/ 277604 h 6858000"/>
              <a:gd name="connsiteX175" fmla="*/ 5582127 w 12191999"/>
              <a:gd name="connsiteY175" fmla="*/ 317919 h 6858000"/>
              <a:gd name="connsiteX176" fmla="*/ 5523486 w 12191999"/>
              <a:gd name="connsiteY176" fmla="*/ 501165 h 6858000"/>
              <a:gd name="connsiteX177" fmla="*/ 5411097 w 12191999"/>
              <a:gd name="connsiteY177" fmla="*/ 481620 h 6858000"/>
              <a:gd name="connsiteX178" fmla="*/ 5369558 w 12191999"/>
              <a:gd name="connsiteY178" fmla="*/ 453522 h 6858000"/>
              <a:gd name="connsiteX179" fmla="*/ 5332910 w 12191999"/>
              <a:gd name="connsiteY179" fmla="*/ 514605 h 6858000"/>
              <a:gd name="connsiteX180" fmla="*/ 5334132 w 12191999"/>
              <a:gd name="connsiteY180" fmla="*/ 719841 h 6858000"/>
              <a:gd name="connsiteX181" fmla="*/ 5295041 w 12191999"/>
              <a:gd name="connsiteY181" fmla="*/ 760156 h 6858000"/>
              <a:gd name="connsiteX182" fmla="*/ 5094692 w 12191999"/>
              <a:gd name="connsiteY182" fmla="*/ 758935 h 6858000"/>
              <a:gd name="connsiteX183" fmla="*/ 5045820 w 12191999"/>
              <a:gd name="connsiteY183" fmla="*/ 772373 h 6858000"/>
              <a:gd name="connsiteX184" fmla="*/ 5043379 w 12191999"/>
              <a:gd name="connsiteY184" fmla="*/ 831012 h 6858000"/>
              <a:gd name="connsiteX185" fmla="*/ 5031161 w 12191999"/>
              <a:gd name="connsiteY185" fmla="*/ 997156 h 6858000"/>
              <a:gd name="connsiteX186" fmla="*/ 4818594 w 12191999"/>
              <a:gd name="connsiteY186" fmla="*/ 949511 h 6858000"/>
              <a:gd name="connsiteX187" fmla="*/ 4840582 w 12191999"/>
              <a:gd name="connsiteY187" fmla="*/ 837120 h 6858000"/>
              <a:gd name="connsiteX188" fmla="*/ 4866234 w 12191999"/>
              <a:gd name="connsiteY188" fmla="*/ 793140 h 6858000"/>
              <a:gd name="connsiteX189" fmla="*/ 4808822 w 12191999"/>
              <a:gd name="connsiteY189" fmla="*/ 758935 h 6858000"/>
              <a:gd name="connsiteX190" fmla="*/ 4595032 w 12191999"/>
              <a:gd name="connsiteY190" fmla="*/ 760156 h 6858000"/>
              <a:gd name="connsiteX191" fmla="*/ 4573923 w 12191999"/>
              <a:gd name="connsiteY191" fmla="*/ 757192 h 6858000"/>
              <a:gd name="connsiteX192" fmla="*/ 4572290 w 12191999"/>
              <a:gd name="connsiteY192" fmla="*/ 755075 h 6858000"/>
              <a:gd name="connsiteX193" fmla="*/ 4542110 w 12191999"/>
              <a:gd name="connsiteY193" fmla="*/ 755075 h 6858000"/>
              <a:gd name="connsiteX194" fmla="*/ 4532620 w 12191999"/>
              <a:gd name="connsiteY194" fmla="*/ 757803 h 6858000"/>
              <a:gd name="connsiteX195" fmla="*/ 4318830 w 12191999"/>
              <a:gd name="connsiteY195" fmla="*/ 757803 h 6858000"/>
              <a:gd name="connsiteX196" fmla="*/ 4252861 w 12191999"/>
              <a:gd name="connsiteY196" fmla="*/ 727261 h 6858000"/>
              <a:gd name="connsiteX197" fmla="*/ 4257749 w 12191999"/>
              <a:gd name="connsiteY197" fmla="*/ 652741 h 6858000"/>
              <a:gd name="connsiteX198" fmla="*/ 4298063 w 12191999"/>
              <a:gd name="connsiteY198" fmla="*/ 570889 h 6858000"/>
              <a:gd name="connsiteX199" fmla="*/ 4205214 w 12191999"/>
              <a:gd name="connsiteY199" fmla="*/ 501255 h 6858000"/>
              <a:gd name="connsiteX200" fmla="*/ 4087942 w 12191999"/>
              <a:gd name="connsiteY200" fmla="*/ 535462 h 6858000"/>
              <a:gd name="connsiteX201" fmla="*/ 4094050 w 12191999"/>
              <a:gd name="connsiteY201" fmla="*/ 644189 h 6858000"/>
              <a:gd name="connsiteX202" fmla="*/ 4127035 w 12191999"/>
              <a:gd name="connsiteY202" fmla="*/ 700384 h 6858000"/>
              <a:gd name="connsiteX203" fmla="*/ 4057400 w 12191999"/>
              <a:gd name="connsiteY203" fmla="*/ 757803 h 6858000"/>
              <a:gd name="connsiteX204" fmla="*/ 3819179 w 12191999"/>
              <a:gd name="connsiteY204" fmla="*/ 759023 h 6858000"/>
              <a:gd name="connsiteX205" fmla="*/ 3813849 w 12191999"/>
              <a:gd name="connsiteY205" fmla="*/ 756900 h 6858000"/>
              <a:gd name="connsiteX206" fmla="*/ 3810549 w 12191999"/>
              <a:gd name="connsiteY206" fmla="*/ 758781 h 6858000"/>
              <a:gd name="connsiteX207" fmla="*/ 3815750 w 12191999"/>
              <a:gd name="connsiteY207" fmla="*/ 768157 h 6858000"/>
              <a:gd name="connsiteX208" fmla="*/ 3817238 w 12191999"/>
              <a:gd name="connsiteY208" fmla="*/ 788353 h 6858000"/>
              <a:gd name="connsiteX209" fmla="*/ 3816018 w 12191999"/>
              <a:gd name="connsiteY209" fmla="*/ 983816 h 6858000"/>
              <a:gd name="connsiteX210" fmla="*/ 3789144 w 12191999"/>
              <a:gd name="connsiteY210" fmla="*/ 1057116 h 6858000"/>
              <a:gd name="connsiteX211" fmla="*/ 3708516 w 12191999"/>
              <a:gd name="connsiteY211" fmla="*/ 1053451 h 6858000"/>
              <a:gd name="connsiteX212" fmla="*/ 3635219 w 12191999"/>
              <a:gd name="connsiteY212" fmla="*/ 1014358 h 6858000"/>
              <a:gd name="connsiteX213" fmla="*/ 3560696 w 12191999"/>
              <a:gd name="connsiteY213" fmla="*/ 1098651 h 6858000"/>
              <a:gd name="connsiteX214" fmla="*/ 3603457 w 12191999"/>
              <a:gd name="connsiteY214" fmla="*/ 1235477 h 6858000"/>
              <a:gd name="connsiteX215" fmla="*/ 3697521 w 12191999"/>
              <a:gd name="connsiteY215" fmla="*/ 1226924 h 6858000"/>
              <a:gd name="connsiteX216" fmla="*/ 3759825 w 12191999"/>
              <a:gd name="connsiteY216" fmla="*/ 1190276 h 6858000"/>
              <a:gd name="connsiteX217" fmla="*/ 3816018 w 12191999"/>
              <a:gd name="connsiteY217" fmla="*/ 1270905 h 6858000"/>
              <a:gd name="connsiteX218" fmla="*/ 3817238 w 12191999"/>
              <a:gd name="connsiteY218" fmla="*/ 1489580 h 6858000"/>
              <a:gd name="connsiteX219" fmla="*/ 3811589 w 12191999"/>
              <a:gd name="connsiteY219" fmla="*/ 1511264 h 6858000"/>
              <a:gd name="connsiteX220" fmla="*/ 3801031 w 12191999"/>
              <a:gd name="connsiteY220" fmla="*/ 1513846 h 6858000"/>
              <a:gd name="connsiteX221" fmla="*/ 3806488 w 12191999"/>
              <a:gd name="connsiteY221" fmla="*/ 1516917 h 6858000"/>
              <a:gd name="connsiteX222" fmla="*/ 3807926 w 12191999"/>
              <a:gd name="connsiteY222" fmla="*/ 1520360 h 6858000"/>
              <a:gd name="connsiteX223" fmla="*/ 3814241 w 12191999"/>
              <a:gd name="connsiteY223" fmla="*/ 1520360 h 6858000"/>
              <a:gd name="connsiteX224" fmla="*/ 3829058 w 12191999"/>
              <a:gd name="connsiteY224" fmla="*/ 1502514 h 6858000"/>
              <a:gd name="connsiteX225" fmla="*/ 3863824 w 12191999"/>
              <a:gd name="connsiteY225" fmla="*/ 1499658 h 6858000"/>
              <a:gd name="connsiteX226" fmla="*/ 4049516 w 12191999"/>
              <a:gd name="connsiteY226" fmla="*/ 1500879 h 6858000"/>
              <a:gd name="connsiteX227" fmla="*/ 4117929 w 12191999"/>
              <a:gd name="connsiteY227" fmla="*/ 1460565 h 6858000"/>
              <a:gd name="connsiteX228" fmla="*/ 4084945 w 12191999"/>
              <a:gd name="connsiteY228" fmla="*/ 1416587 h 6858000"/>
              <a:gd name="connsiteX229" fmla="*/ 4070285 w 12191999"/>
              <a:gd name="connsiteY229" fmla="*/ 1306638 h 6858000"/>
              <a:gd name="connsiteX230" fmla="*/ 4178554 w 12191999"/>
              <a:gd name="connsiteY230" fmla="*/ 1241127 h 6858000"/>
              <a:gd name="connsiteX231" fmla="*/ 4298729 w 12191999"/>
              <a:gd name="connsiteY231" fmla="*/ 1277318 h 6858000"/>
              <a:gd name="connsiteX232" fmla="*/ 4293841 w 12191999"/>
              <a:gd name="connsiteY232" fmla="*/ 1427580 h 6858000"/>
              <a:gd name="connsiteX233" fmla="*/ 4295062 w 12191999"/>
              <a:gd name="connsiteY233" fmla="*/ 1487441 h 6858000"/>
              <a:gd name="connsiteX234" fmla="*/ 4348815 w 12191999"/>
              <a:gd name="connsiteY234" fmla="*/ 1502101 h 6858000"/>
              <a:gd name="connsiteX235" fmla="*/ 4554055 w 12191999"/>
              <a:gd name="connsiteY235" fmla="*/ 1502101 h 6858000"/>
              <a:gd name="connsiteX236" fmla="*/ 4580339 w 12191999"/>
              <a:gd name="connsiteY236" fmla="*/ 1513955 h 6858000"/>
              <a:gd name="connsiteX237" fmla="*/ 4580382 w 12191999"/>
              <a:gd name="connsiteY237" fmla="*/ 1514287 h 6858000"/>
              <a:gd name="connsiteX238" fmla="*/ 4581432 w 12191999"/>
              <a:gd name="connsiteY238" fmla="*/ 1513558 h 6858000"/>
              <a:gd name="connsiteX239" fmla="*/ 4598057 w 12191999"/>
              <a:gd name="connsiteY239" fmla="*/ 1511994 h 6858000"/>
              <a:gd name="connsiteX240" fmla="*/ 4811845 w 12191999"/>
              <a:gd name="connsiteY240" fmla="*/ 1513216 h 6858000"/>
              <a:gd name="connsiteX241" fmla="*/ 4894918 w 12191999"/>
              <a:gd name="connsiteY241" fmla="*/ 1571855 h 6858000"/>
              <a:gd name="connsiteX242" fmla="*/ 4859491 w 12191999"/>
              <a:gd name="connsiteY242" fmla="*/ 1630493 h 6858000"/>
              <a:gd name="connsiteX243" fmla="*/ 4853383 w 12191999"/>
              <a:gd name="connsiteY243" fmla="*/ 1731891 h 6858000"/>
              <a:gd name="connsiteX244" fmla="*/ 4969438 w 12191999"/>
              <a:gd name="connsiteY244" fmla="*/ 1770984 h 6858000"/>
              <a:gd name="connsiteX245" fmla="*/ 5069614 w 12191999"/>
              <a:gd name="connsiteY245" fmla="*/ 1696462 h 6858000"/>
              <a:gd name="connsiteX246" fmla="*/ 5025634 w 12191999"/>
              <a:gd name="connsiteY246" fmla="*/ 1617055 h 6858000"/>
              <a:gd name="connsiteX247" fmla="*/ 5020749 w 12191999"/>
              <a:gd name="connsiteY247" fmla="*/ 1548643 h 6858000"/>
              <a:gd name="connsiteX248" fmla="*/ 5094050 w 12191999"/>
              <a:gd name="connsiteY248" fmla="*/ 1513216 h 6858000"/>
              <a:gd name="connsiteX249" fmla="*/ 5302949 w 12191999"/>
              <a:gd name="connsiteY249" fmla="*/ 1513216 h 6858000"/>
              <a:gd name="connsiteX250" fmla="*/ 5335935 w 12191999"/>
              <a:gd name="connsiteY250" fmla="*/ 1548643 h 6858000"/>
              <a:gd name="connsiteX251" fmla="*/ 5335935 w 12191999"/>
              <a:gd name="connsiteY251" fmla="*/ 1648817 h 6858000"/>
              <a:gd name="connsiteX252" fmla="*/ 5335935 w 12191999"/>
              <a:gd name="connsiteY252" fmla="*/ 1706237 h 6858000"/>
              <a:gd name="connsiteX253" fmla="*/ 5335935 w 12191999"/>
              <a:gd name="connsiteY253" fmla="*/ 1768539 h 6858000"/>
              <a:gd name="connsiteX254" fmla="*/ 5279741 w 12191999"/>
              <a:gd name="connsiteY254" fmla="*/ 1844283 h 6858000"/>
              <a:gd name="connsiteX255" fmla="*/ 5219879 w 12191999"/>
              <a:gd name="connsiteY255" fmla="*/ 1808854 h 6858000"/>
              <a:gd name="connsiteX256" fmla="*/ 5122147 w 12191999"/>
              <a:gd name="connsiteY256" fmla="*/ 1799081 h 6858000"/>
              <a:gd name="connsiteX257" fmla="*/ 5080610 w 12191999"/>
              <a:gd name="connsiteY257" fmla="*/ 1935906 h 6858000"/>
              <a:gd name="connsiteX258" fmla="*/ 5156351 w 12191999"/>
              <a:gd name="connsiteY258" fmla="*/ 2018979 h 6858000"/>
              <a:gd name="connsiteX259" fmla="*/ 5229651 w 12191999"/>
              <a:gd name="connsiteY259" fmla="*/ 1978665 h 6858000"/>
              <a:gd name="connsiteX260" fmla="*/ 5311502 w 12191999"/>
              <a:gd name="connsiteY260" fmla="*/ 1977443 h 6858000"/>
              <a:gd name="connsiteX261" fmla="*/ 5335935 w 12191999"/>
              <a:gd name="connsiteY261" fmla="*/ 2047077 h 6858000"/>
              <a:gd name="connsiteX262" fmla="*/ 5335935 w 12191999"/>
              <a:gd name="connsiteY262" fmla="*/ 2247429 h 6858000"/>
              <a:gd name="connsiteX263" fmla="*/ 5300506 w 12191999"/>
              <a:gd name="connsiteY263" fmla="*/ 2284079 h 6858000"/>
              <a:gd name="connsiteX264" fmla="*/ 5091606 w 12191999"/>
              <a:gd name="connsiteY264" fmla="*/ 2282856 h 6858000"/>
              <a:gd name="connsiteX265" fmla="*/ 5030522 w 12191999"/>
              <a:gd name="connsiteY265" fmla="*/ 2320726 h 6858000"/>
              <a:gd name="connsiteX266" fmla="*/ 5058619 w 12191999"/>
              <a:gd name="connsiteY266" fmla="*/ 2362263 h 6858000"/>
              <a:gd name="connsiteX267" fmla="*/ 5070837 w 12191999"/>
              <a:gd name="connsiteY267" fmla="*/ 2486872 h 6858000"/>
              <a:gd name="connsiteX268" fmla="*/ 4926682 w 12191999"/>
              <a:gd name="connsiteY268" fmla="*/ 2539402 h 6858000"/>
              <a:gd name="connsiteX269" fmla="*/ 4813067 w 12191999"/>
              <a:gd name="connsiteY269" fmla="*/ 2452666 h 6858000"/>
              <a:gd name="connsiteX270" fmla="*/ 4855825 w 12191999"/>
              <a:gd name="connsiteY270" fmla="*/ 2352491 h 6858000"/>
              <a:gd name="connsiteX271" fmla="*/ 4853383 w 12191999"/>
              <a:gd name="connsiteY271" fmla="*/ 2296294 h 6858000"/>
              <a:gd name="connsiteX272" fmla="*/ 4799629 w 12191999"/>
              <a:gd name="connsiteY272" fmla="*/ 2281634 h 6858000"/>
              <a:gd name="connsiteX273" fmla="*/ 4633486 w 12191999"/>
              <a:gd name="connsiteY273" fmla="*/ 2281634 h 6858000"/>
              <a:gd name="connsiteX274" fmla="*/ 4568545 w 12191999"/>
              <a:gd name="connsiteY274" fmla="*/ 2254834 h 6858000"/>
              <a:gd name="connsiteX275" fmla="*/ 4568533 w 12191999"/>
              <a:gd name="connsiteY275" fmla="*/ 2254378 h 6858000"/>
              <a:gd name="connsiteX276" fmla="*/ 4567644 w 12191999"/>
              <a:gd name="connsiteY276" fmla="*/ 2255861 h 6858000"/>
              <a:gd name="connsiteX277" fmla="*/ 4544720 w 12191999"/>
              <a:gd name="connsiteY277" fmla="*/ 2264404 h 6858000"/>
              <a:gd name="connsiteX278" fmla="*/ 4554906 w 12191999"/>
              <a:gd name="connsiteY278" fmla="*/ 2264379 h 6858000"/>
              <a:gd name="connsiteX279" fmla="*/ 4573231 w 12191999"/>
              <a:gd name="connsiteY279" fmla="*/ 2293699 h 6858000"/>
              <a:gd name="connsiteX280" fmla="*/ 4573231 w 12191999"/>
              <a:gd name="connsiteY280" fmla="*/ 2494050 h 6858000"/>
              <a:gd name="connsiteX281" fmla="*/ 4590334 w 12191999"/>
              <a:gd name="connsiteY281" fmla="*/ 2551467 h 6858000"/>
              <a:gd name="connsiteX282" fmla="*/ 4646530 w 12191999"/>
              <a:gd name="connsiteY282" fmla="*/ 2551467 h 6858000"/>
              <a:gd name="connsiteX283" fmla="*/ 4815115 w 12191999"/>
              <a:gd name="connsiteY283" fmla="*/ 2567347 h 6858000"/>
              <a:gd name="connsiteX284" fmla="*/ 4778466 w 12191999"/>
              <a:gd name="connsiteY284" fmla="*/ 2768920 h 6858000"/>
              <a:gd name="connsiteX285" fmla="*/ 4657524 w 12191999"/>
              <a:gd name="connsiteY285" fmla="*/ 2757926 h 6858000"/>
              <a:gd name="connsiteX286" fmla="*/ 4612323 w 12191999"/>
              <a:gd name="connsiteY286" fmla="*/ 2728606 h 6858000"/>
              <a:gd name="connsiteX287" fmla="*/ 4575675 w 12191999"/>
              <a:gd name="connsiteY287" fmla="*/ 2790910 h 6858000"/>
              <a:gd name="connsiteX288" fmla="*/ 4576894 w 12191999"/>
              <a:gd name="connsiteY288" fmla="*/ 2991261 h 6858000"/>
              <a:gd name="connsiteX289" fmla="*/ 4570481 w 12191999"/>
              <a:gd name="connsiteY289" fmla="*/ 3024856 h 6858000"/>
              <a:gd name="connsiteX290" fmla="*/ 4561944 w 12191999"/>
              <a:gd name="connsiteY290" fmla="*/ 3029609 h 6858000"/>
              <a:gd name="connsiteX291" fmla="*/ 4568608 w 12191999"/>
              <a:gd name="connsiteY291" fmla="*/ 3030206 h 6858000"/>
              <a:gd name="connsiteX292" fmla="*/ 4578857 w 12191999"/>
              <a:gd name="connsiteY292" fmla="*/ 3036715 h 6858000"/>
              <a:gd name="connsiteX293" fmla="*/ 4581540 w 12191999"/>
              <a:gd name="connsiteY293" fmla="*/ 3051267 h 6858000"/>
              <a:gd name="connsiteX294" fmla="*/ 4595169 w 12191999"/>
              <a:gd name="connsiteY294" fmla="*/ 3045892 h 6858000"/>
              <a:gd name="connsiteX295" fmla="*/ 4620385 w 12191999"/>
              <a:gd name="connsiteY295" fmla="*/ 3045454 h 6858000"/>
              <a:gd name="connsiteX296" fmla="*/ 4806076 w 12191999"/>
              <a:gd name="connsiteY296" fmla="*/ 3046674 h 6858000"/>
              <a:gd name="connsiteX297" fmla="*/ 4874487 w 12191999"/>
              <a:gd name="connsiteY297" fmla="*/ 3006359 h 6858000"/>
              <a:gd name="connsiteX298" fmla="*/ 4841504 w 12191999"/>
              <a:gd name="connsiteY298" fmla="*/ 2962382 h 6858000"/>
              <a:gd name="connsiteX299" fmla="*/ 4826843 w 12191999"/>
              <a:gd name="connsiteY299" fmla="*/ 2852433 h 6858000"/>
              <a:gd name="connsiteX300" fmla="*/ 5055294 w 12191999"/>
              <a:gd name="connsiteY300" fmla="*/ 2823113 h 6858000"/>
              <a:gd name="connsiteX301" fmla="*/ 5050406 w 12191999"/>
              <a:gd name="connsiteY301" fmla="*/ 2973375 h 6858000"/>
              <a:gd name="connsiteX302" fmla="*/ 5051628 w 12191999"/>
              <a:gd name="connsiteY302" fmla="*/ 3033236 h 6858000"/>
              <a:gd name="connsiteX303" fmla="*/ 5105382 w 12191999"/>
              <a:gd name="connsiteY303" fmla="*/ 3047896 h 6858000"/>
              <a:gd name="connsiteX304" fmla="*/ 5310620 w 12191999"/>
              <a:gd name="connsiteY304" fmla="*/ 3047896 h 6858000"/>
              <a:gd name="connsiteX305" fmla="*/ 5338715 w 12191999"/>
              <a:gd name="connsiteY305" fmla="*/ 3073551 h 6858000"/>
              <a:gd name="connsiteX306" fmla="*/ 5337493 w 12191999"/>
              <a:gd name="connsiteY306" fmla="*/ 3297112 h 6858000"/>
              <a:gd name="connsiteX307" fmla="*/ 5278853 w 12191999"/>
              <a:gd name="connsiteY307" fmla="*/ 3375299 h 6858000"/>
              <a:gd name="connsiteX308" fmla="*/ 5221435 w 12191999"/>
              <a:gd name="connsiteY308" fmla="*/ 3339871 h 6858000"/>
              <a:gd name="connsiteX309" fmla="*/ 5123706 w 12191999"/>
              <a:gd name="connsiteY309" fmla="*/ 3330097 h 6858000"/>
              <a:gd name="connsiteX310" fmla="*/ 5079725 w 12191999"/>
              <a:gd name="connsiteY310" fmla="*/ 3443711 h 6858000"/>
              <a:gd name="connsiteX311" fmla="*/ 5153026 w 12191999"/>
              <a:gd name="connsiteY311" fmla="*/ 3549995 h 6858000"/>
              <a:gd name="connsiteX312" fmla="*/ 5233655 w 12191999"/>
              <a:gd name="connsiteY312" fmla="*/ 3507238 h 6858000"/>
              <a:gd name="connsiteX313" fmla="*/ 5305732 w 12191999"/>
              <a:gd name="connsiteY313" fmla="*/ 3503573 h 6858000"/>
              <a:gd name="connsiteX314" fmla="*/ 5337493 w 12191999"/>
              <a:gd name="connsiteY314" fmla="*/ 3574428 h 6858000"/>
              <a:gd name="connsiteX315" fmla="*/ 5337493 w 12191999"/>
              <a:gd name="connsiteY315" fmla="*/ 3707588 h 6858000"/>
              <a:gd name="connsiteX316" fmla="*/ 5231209 w 12191999"/>
              <a:gd name="connsiteY316" fmla="*/ 3815093 h 6858000"/>
              <a:gd name="connsiteX317" fmla="*/ 5088277 w 12191999"/>
              <a:gd name="connsiteY317" fmla="*/ 3815093 h 6858000"/>
              <a:gd name="connsiteX318" fmla="*/ 5032081 w 12191999"/>
              <a:gd name="connsiteY318" fmla="*/ 3852965 h 6858000"/>
              <a:gd name="connsiteX319" fmla="*/ 5060180 w 12191999"/>
              <a:gd name="connsiteY319" fmla="*/ 3894500 h 6858000"/>
              <a:gd name="connsiteX320" fmla="*/ 5079725 w 12191999"/>
              <a:gd name="connsiteY320" fmla="*/ 4006891 h 6858000"/>
              <a:gd name="connsiteX321" fmla="*/ 4909915 w 12191999"/>
              <a:gd name="connsiteY321" fmla="*/ 4069196 h 6858000"/>
              <a:gd name="connsiteX322" fmla="*/ 4812184 w 12191999"/>
              <a:gd name="connsiteY322" fmla="*/ 3976351 h 6858000"/>
              <a:gd name="connsiteX323" fmla="*/ 4857383 w 12191999"/>
              <a:gd name="connsiteY323" fmla="*/ 3885949 h 6858000"/>
              <a:gd name="connsiteX324" fmla="*/ 4856163 w 12191999"/>
              <a:gd name="connsiteY324" fmla="*/ 3829753 h 6858000"/>
              <a:gd name="connsiteX325" fmla="*/ 4802409 w 12191999"/>
              <a:gd name="connsiteY325" fmla="*/ 3815093 h 6858000"/>
              <a:gd name="connsiteX326" fmla="*/ 4606946 w 12191999"/>
              <a:gd name="connsiteY326" fmla="*/ 3816315 h 6858000"/>
              <a:gd name="connsiteX327" fmla="*/ 4581843 w 12191999"/>
              <a:gd name="connsiteY327" fmla="*/ 3811533 h 6858000"/>
              <a:gd name="connsiteX328" fmla="*/ 4581798 w 12191999"/>
              <a:gd name="connsiteY328" fmla="*/ 3821095 h 6858000"/>
              <a:gd name="connsiteX329" fmla="*/ 4581798 w 12191999"/>
              <a:gd name="connsiteY329" fmla="*/ 4049544 h 6858000"/>
              <a:gd name="connsiteX330" fmla="*/ 4528044 w 12191999"/>
              <a:gd name="connsiteY330" fmla="*/ 4121621 h 6858000"/>
              <a:gd name="connsiteX331" fmla="*/ 4468182 w 12191999"/>
              <a:gd name="connsiteY331" fmla="*/ 4089859 h 6858000"/>
              <a:gd name="connsiteX332" fmla="*/ 4364344 w 12191999"/>
              <a:gd name="connsiteY332" fmla="*/ 4081306 h 6858000"/>
              <a:gd name="connsiteX333" fmla="*/ 4360678 w 12191999"/>
              <a:gd name="connsiteY333" fmla="*/ 4271879 h 6858000"/>
              <a:gd name="connsiteX334" fmla="*/ 4469406 w 12191999"/>
              <a:gd name="connsiteY334" fmla="*/ 4266992 h 6858000"/>
              <a:gd name="connsiteX335" fmla="*/ 4529266 w 12191999"/>
              <a:gd name="connsiteY335" fmla="*/ 4235230 h 6858000"/>
              <a:gd name="connsiteX336" fmla="*/ 4583017 w 12191999"/>
              <a:gd name="connsiteY336" fmla="*/ 4312195 h 6858000"/>
              <a:gd name="connsiteX337" fmla="*/ 4585462 w 12191999"/>
              <a:gd name="connsiteY337" fmla="*/ 4420922 h 6858000"/>
              <a:gd name="connsiteX338" fmla="*/ 4585462 w 12191999"/>
              <a:gd name="connsiteY338" fmla="*/ 4535755 h 6858000"/>
              <a:gd name="connsiteX339" fmla="*/ 4580270 w 12191999"/>
              <a:gd name="connsiteY339" fmla="*/ 4556981 h 6858000"/>
              <a:gd name="connsiteX340" fmla="*/ 4558623 w 12191999"/>
              <a:gd name="connsiteY340" fmla="*/ 4562623 h 6858000"/>
              <a:gd name="connsiteX341" fmla="*/ 4558623 w 12191999"/>
              <a:gd name="connsiteY341" fmla="*/ 4566440 h 6858000"/>
              <a:gd name="connsiteX342" fmla="*/ 4573343 w 12191999"/>
              <a:gd name="connsiteY342" fmla="*/ 4568280 h 6858000"/>
              <a:gd name="connsiteX343" fmla="*/ 4583997 w 12191999"/>
              <a:gd name="connsiteY343" fmla="*/ 4582238 h 6858000"/>
              <a:gd name="connsiteX344" fmla="*/ 4584236 w 12191999"/>
              <a:gd name="connsiteY344" fmla="*/ 4584622 h 6858000"/>
              <a:gd name="connsiteX345" fmla="*/ 4590467 w 12191999"/>
              <a:gd name="connsiteY345" fmla="*/ 4573843 h 6858000"/>
              <a:gd name="connsiteX346" fmla="*/ 4626810 w 12191999"/>
              <a:gd name="connsiteY346" fmla="*/ 4567125 h 6858000"/>
              <a:gd name="connsiteX347" fmla="*/ 4827160 w 12191999"/>
              <a:gd name="connsiteY347" fmla="*/ 4567125 h 6858000"/>
              <a:gd name="connsiteX348" fmla="*/ 4890685 w 12191999"/>
              <a:gd name="connsiteY348" fmla="*/ 4591556 h 6858000"/>
              <a:gd name="connsiteX349" fmla="*/ 4887021 w 12191999"/>
              <a:gd name="connsiteY349" fmla="*/ 4672186 h 6858000"/>
              <a:gd name="connsiteX350" fmla="*/ 4847929 w 12191999"/>
              <a:gd name="connsiteY350" fmla="*/ 4741820 h 6858000"/>
              <a:gd name="connsiteX351" fmla="*/ 4920006 w 12191999"/>
              <a:gd name="connsiteY351" fmla="*/ 4817562 h 6858000"/>
              <a:gd name="connsiteX352" fmla="*/ 5064161 w 12191999"/>
              <a:gd name="connsiteY352" fmla="*/ 4784578 h 6858000"/>
              <a:gd name="connsiteX353" fmla="*/ 5056831 w 12191999"/>
              <a:gd name="connsiteY353" fmla="*/ 4679516 h 6858000"/>
              <a:gd name="connsiteX354" fmla="*/ 5022625 w 12191999"/>
              <a:gd name="connsiteY354" fmla="*/ 4624541 h 6858000"/>
              <a:gd name="connsiteX355" fmla="*/ 5092258 w 12191999"/>
              <a:gd name="connsiteY355" fmla="*/ 4568344 h 6858000"/>
              <a:gd name="connsiteX356" fmla="*/ 5330479 w 12191999"/>
              <a:gd name="connsiteY356" fmla="*/ 4567125 h 6858000"/>
              <a:gd name="connsiteX357" fmla="*/ 5353691 w 12191999"/>
              <a:gd name="connsiteY357" fmla="*/ 4597667 h 6858000"/>
              <a:gd name="connsiteX358" fmla="*/ 5353691 w 12191999"/>
              <a:gd name="connsiteY358" fmla="*/ 4802902 h 6858000"/>
              <a:gd name="connsiteX359" fmla="*/ 5372016 w 12191999"/>
              <a:gd name="connsiteY359" fmla="*/ 4859100 h 6858000"/>
              <a:gd name="connsiteX360" fmla="*/ 5422104 w 12191999"/>
              <a:gd name="connsiteY360" fmla="*/ 4856655 h 6858000"/>
              <a:gd name="connsiteX361" fmla="*/ 5512505 w 12191999"/>
              <a:gd name="connsiteY361" fmla="*/ 4809011 h 6858000"/>
              <a:gd name="connsiteX362" fmla="*/ 5607793 w 12191999"/>
              <a:gd name="connsiteY362" fmla="*/ 4905522 h 6858000"/>
              <a:gd name="connsiteX363" fmla="*/ 5562593 w 12191999"/>
              <a:gd name="connsiteY363" fmla="*/ 5065559 h 6858000"/>
              <a:gd name="connsiteX364" fmla="*/ 5430656 w 12191999"/>
              <a:gd name="connsiteY364" fmla="*/ 5057007 h 6858000"/>
              <a:gd name="connsiteX365" fmla="*/ 5392783 w 12191999"/>
              <a:gd name="connsiteY365" fmla="*/ 5030132 h 6858000"/>
              <a:gd name="connsiteX366" fmla="*/ 5354913 w 12191999"/>
              <a:gd name="connsiteY366" fmla="*/ 5085106 h 6858000"/>
              <a:gd name="connsiteX367" fmla="*/ 5356135 w 12191999"/>
              <a:gd name="connsiteY367" fmla="*/ 5294008 h 6858000"/>
              <a:gd name="connsiteX368" fmla="*/ 5350738 w 12191999"/>
              <a:gd name="connsiteY368" fmla="*/ 5321930 h 6858000"/>
              <a:gd name="connsiteX369" fmla="*/ 5371287 w 12191999"/>
              <a:gd name="connsiteY369" fmla="*/ 5318874 h 6858000"/>
              <a:gd name="connsiteX370" fmla="*/ 5585072 w 12191999"/>
              <a:gd name="connsiteY370" fmla="*/ 5318874 h 6858000"/>
              <a:gd name="connsiteX371" fmla="*/ 5651043 w 12191999"/>
              <a:gd name="connsiteY371" fmla="*/ 5349416 h 6858000"/>
              <a:gd name="connsiteX372" fmla="*/ 5646155 w 12191999"/>
              <a:gd name="connsiteY372" fmla="*/ 5421493 h 6858000"/>
              <a:gd name="connsiteX373" fmla="*/ 5603399 w 12191999"/>
              <a:gd name="connsiteY373" fmla="*/ 5498458 h 6858000"/>
              <a:gd name="connsiteX374" fmla="*/ 5692578 w 12191999"/>
              <a:gd name="connsiteY374" fmla="*/ 5574200 h 6858000"/>
              <a:gd name="connsiteX375" fmla="*/ 5812299 w 12191999"/>
              <a:gd name="connsiteY375" fmla="*/ 5544881 h 6858000"/>
              <a:gd name="connsiteX376" fmla="*/ 5808637 w 12191999"/>
              <a:gd name="connsiteY376" fmla="*/ 5430047 h 6858000"/>
              <a:gd name="connsiteX377" fmla="*/ 5778092 w 12191999"/>
              <a:gd name="connsiteY377" fmla="*/ 5378737 h 6858000"/>
              <a:gd name="connsiteX378" fmla="*/ 5837954 w 12191999"/>
              <a:gd name="connsiteY378" fmla="*/ 5323761 h 6858000"/>
              <a:gd name="connsiteX379" fmla="*/ 6089611 w 12191999"/>
              <a:gd name="connsiteY379" fmla="*/ 5320096 h 6858000"/>
              <a:gd name="connsiteX380" fmla="*/ 6106714 w 12191999"/>
              <a:gd name="connsiteY380" fmla="*/ 5345752 h 6858000"/>
              <a:gd name="connsiteX381" fmla="*/ 6106714 w 12191999"/>
              <a:gd name="connsiteY381" fmla="*/ 5574200 h 6858000"/>
              <a:gd name="connsiteX382" fmla="*/ 6052963 w 12191999"/>
              <a:gd name="connsiteY382" fmla="*/ 5646278 h 6858000"/>
              <a:gd name="connsiteX383" fmla="*/ 5993101 w 12191999"/>
              <a:gd name="connsiteY383" fmla="*/ 5614516 h 6858000"/>
              <a:gd name="connsiteX384" fmla="*/ 5889264 w 12191999"/>
              <a:gd name="connsiteY384" fmla="*/ 5605962 h 6858000"/>
              <a:gd name="connsiteX385" fmla="*/ 5885598 w 12191999"/>
              <a:gd name="connsiteY385" fmla="*/ 5796541 h 6858000"/>
              <a:gd name="connsiteX386" fmla="*/ 5994323 w 12191999"/>
              <a:gd name="connsiteY386" fmla="*/ 5791654 h 6858000"/>
              <a:gd name="connsiteX387" fmla="*/ 6054184 w 12191999"/>
              <a:gd name="connsiteY387" fmla="*/ 5759891 h 6858000"/>
              <a:gd name="connsiteX388" fmla="*/ 6107935 w 12191999"/>
              <a:gd name="connsiteY388" fmla="*/ 5836855 h 6858000"/>
              <a:gd name="connsiteX389" fmla="*/ 6110381 w 12191999"/>
              <a:gd name="connsiteY389" fmla="*/ 5945582 h 6858000"/>
              <a:gd name="connsiteX390" fmla="*/ 6110381 w 12191999"/>
              <a:gd name="connsiteY390" fmla="*/ 6060417 h 6858000"/>
              <a:gd name="connsiteX391" fmla="*/ 6106055 w 12191999"/>
              <a:gd name="connsiteY391" fmla="*/ 6078094 h 6858000"/>
              <a:gd name="connsiteX392" fmla="*/ 6108059 w 12191999"/>
              <a:gd name="connsiteY392" fmla="*/ 6078201 h 6858000"/>
              <a:gd name="connsiteX393" fmla="*/ 6121268 w 12191999"/>
              <a:gd name="connsiteY393" fmla="*/ 6085837 h 6858000"/>
              <a:gd name="connsiteX394" fmla="*/ 6125405 w 12191999"/>
              <a:gd name="connsiteY394" fmla="*/ 6096044 h 6858000"/>
              <a:gd name="connsiteX395" fmla="*/ 6126156 w 12191999"/>
              <a:gd name="connsiteY395" fmla="*/ 6094323 h 6858000"/>
              <a:gd name="connsiteX396" fmla="*/ 6161736 w 12191999"/>
              <a:gd name="connsiteY396" fmla="*/ 6086077 h 6858000"/>
              <a:gd name="connsiteX397" fmla="*/ 6366973 w 12191999"/>
              <a:gd name="connsiteY397" fmla="*/ 6086077 h 6858000"/>
              <a:gd name="connsiteX398" fmla="*/ 6439050 w 12191999"/>
              <a:gd name="connsiteY398" fmla="*/ 6125170 h 6858000"/>
              <a:gd name="connsiteX399" fmla="*/ 6431720 w 12191999"/>
              <a:gd name="connsiteY399" fmla="*/ 6186252 h 6858000"/>
              <a:gd name="connsiteX400" fmla="*/ 6388963 w 12191999"/>
              <a:gd name="connsiteY400" fmla="*/ 6279097 h 6858000"/>
              <a:gd name="connsiteX401" fmla="*/ 6524567 w 12191999"/>
              <a:gd name="connsiteY401" fmla="*/ 6343846 h 6858000"/>
              <a:gd name="connsiteX402" fmla="*/ 6624741 w 12191999"/>
              <a:gd name="connsiteY402" fmla="*/ 6260772 h 6858000"/>
              <a:gd name="connsiteX403" fmla="*/ 6589314 w 12191999"/>
              <a:gd name="connsiteY403" fmla="*/ 6197247 h 6858000"/>
              <a:gd name="connsiteX404" fmla="*/ 6559994 w 12191999"/>
              <a:gd name="connsiteY404" fmla="*/ 6139830 h 6858000"/>
              <a:gd name="connsiteX405" fmla="*/ 6622298 w 12191999"/>
              <a:gd name="connsiteY405" fmla="*/ 6087298 h 6858000"/>
              <a:gd name="connsiteX406" fmla="*/ 6870294 w 12191999"/>
              <a:gd name="connsiteY406" fmla="*/ 6086077 h 6858000"/>
              <a:gd name="connsiteX407" fmla="*/ 6878000 w 12191999"/>
              <a:gd name="connsiteY407" fmla="*/ 6089431 h 6858000"/>
              <a:gd name="connsiteX408" fmla="*/ 6879007 w 12191999"/>
              <a:gd name="connsiteY408" fmla="*/ 6086924 h 6858000"/>
              <a:gd name="connsiteX409" fmla="*/ 6877557 w 12191999"/>
              <a:gd name="connsiteY409" fmla="*/ 6084401 h 6858000"/>
              <a:gd name="connsiteX410" fmla="*/ 6876069 w 12191999"/>
              <a:gd name="connsiteY410" fmla="*/ 6064396 h 6858000"/>
              <a:gd name="connsiteX411" fmla="*/ 6877291 w 12191999"/>
              <a:gd name="connsiteY411" fmla="*/ 5860381 h 6858000"/>
              <a:gd name="connsiteX412" fmla="*/ 6835754 w 12191999"/>
              <a:gd name="connsiteY412" fmla="*/ 5796854 h 6858000"/>
              <a:gd name="connsiteX413" fmla="*/ 6794219 w 12191999"/>
              <a:gd name="connsiteY413" fmla="*/ 5827396 h 6858000"/>
              <a:gd name="connsiteX414" fmla="*/ 6672053 w 12191999"/>
              <a:gd name="connsiteY414" fmla="*/ 5838391 h 6858000"/>
              <a:gd name="connsiteX415" fmla="*/ 6618301 w 12191999"/>
              <a:gd name="connsiteY415" fmla="*/ 5690570 h 6858000"/>
              <a:gd name="connsiteX416" fmla="*/ 6707480 w 12191999"/>
              <a:gd name="connsiteY416" fmla="*/ 5578181 h 6858000"/>
              <a:gd name="connsiteX417" fmla="*/ 6806435 w 12191999"/>
              <a:gd name="connsiteY417" fmla="*/ 5623380 h 6858000"/>
              <a:gd name="connsiteX418" fmla="*/ 6856522 w 12191999"/>
              <a:gd name="connsiteY418" fmla="*/ 5623380 h 6858000"/>
              <a:gd name="connsiteX419" fmla="*/ 6876069 w 12191999"/>
              <a:gd name="connsiteY419" fmla="*/ 5567184 h 6858000"/>
              <a:gd name="connsiteX420" fmla="*/ 6874847 w 12191999"/>
              <a:gd name="connsiteY420" fmla="*/ 5371720 h 6858000"/>
              <a:gd name="connsiteX421" fmla="*/ 6912719 w 12191999"/>
              <a:gd name="connsiteY421" fmla="*/ 5332627 h 6858000"/>
              <a:gd name="connsiteX422" fmla="*/ 7113069 w 12191999"/>
              <a:gd name="connsiteY422" fmla="*/ 5333849 h 6858000"/>
              <a:gd name="connsiteX423" fmla="*/ 7179039 w 12191999"/>
              <a:gd name="connsiteY423" fmla="*/ 5295978 h 6858000"/>
              <a:gd name="connsiteX424" fmla="*/ 7147275 w 12191999"/>
              <a:gd name="connsiteY424" fmla="*/ 5250776 h 6858000"/>
              <a:gd name="connsiteX425" fmla="*/ 7136280 w 12191999"/>
              <a:gd name="connsiteY425" fmla="*/ 5133498 h 6858000"/>
              <a:gd name="connsiteX426" fmla="*/ 7292651 w 12191999"/>
              <a:gd name="connsiteY426" fmla="*/ 5078525 h 6858000"/>
              <a:gd name="connsiteX427" fmla="*/ 7400157 w 12191999"/>
              <a:gd name="connsiteY427" fmla="*/ 5167705 h 6858000"/>
              <a:gd name="connsiteX428" fmla="*/ 7354955 w 12191999"/>
              <a:gd name="connsiteY428" fmla="*/ 5264216 h 6858000"/>
              <a:gd name="connsiteX429" fmla="*/ 7357398 w 12191999"/>
              <a:gd name="connsiteY429" fmla="*/ 5319191 h 6858000"/>
              <a:gd name="connsiteX430" fmla="*/ 7409930 w 12191999"/>
              <a:gd name="connsiteY430" fmla="*/ 5335071 h 6858000"/>
              <a:gd name="connsiteX431" fmla="*/ 7615166 w 12191999"/>
              <a:gd name="connsiteY431" fmla="*/ 5333849 h 6858000"/>
              <a:gd name="connsiteX432" fmla="*/ 7644486 w 12191999"/>
              <a:gd name="connsiteY432" fmla="*/ 5363168 h 6858000"/>
              <a:gd name="connsiteX433" fmla="*/ 7644486 w 12191999"/>
              <a:gd name="connsiteY433" fmla="*/ 5581843 h 6858000"/>
              <a:gd name="connsiteX434" fmla="*/ 7588291 w 12191999"/>
              <a:gd name="connsiteY434" fmla="*/ 5661252 h 6858000"/>
              <a:gd name="connsiteX435" fmla="*/ 7529651 w 12191999"/>
              <a:gd name="connsiteY435" fmla="*/ 5627045 h 6858000"/>
              <a:gd name="connsiteX436" fmla="*/ 7428255 w 12191999"/>
              <a:gd name="connsiteY436" fmla="*/ 5619716 h 6858000"/>
              <a:gd name="connsiteX437" fmla="*/ 7390383 w 12191999"/>
              <a:gd name="connsiteY437" fmla="*/ 5754097 h 6858000"/>
              <a:gd name="connsiteX438" fmla="*/ 7466127 w 12191999"/>
              <a:gd name="connsiteY438" fmla="*/ 5837169 h 6858000"/>
              <a:gd name="connsiteX439" fmla="*/ 7538204 w 12191999"/>
              <a:gd name="connsiteY439" fmla="*/ 5795633 h 6858000"/>
              <a:gd name="connsiteX440" fmla="*/ 7617611 w 12191999"/>
              <a:gd name="connsiteY440" fmla="*/ 5791968 h 6858000"/>
              <a:gd name="connsiteX441" fmla="*/ 7644486 w 12191999"/>
              <a:gd name="connsiteY441" fmla="*/ 5855493 h 6858000"/>
              <a:gd name="connsiteX442" fmla="*/ 7644486 w 12191999"/>
              <a:gd name="connsiteY442" fmla="*/ 5960555 h 6858000"/>
              <a:gd name="connsiteX443" fmla="*/ 7645708 w 12191999"/>
              <a:gd name="connsiteY443" fmla="*/ 6072947 h 6858000"/>
              <a:gd name="connsiteX444" fmla="*/ 7643676 w 12191999"/>
              <a:gd name="connsiteY444" fmla="*/ 6091527 h 6858000"/>
              <a:gd name="connsiteX445" fmla="*/ 7645318 w 12191999"/>
              <a:gd name="connsiteY445" fmla="*/ 6082343 h 6858000"/>
              <a:gd name="connsiteX446" fmla="*/ 7677538 w 12191999"/>
              <a:gd name="connsiteY446" fmla="*/ 6073639 h 6858000"/>
              <a:gd name="connsiteX447" fmla="*/ 7886441 w 12191999"/>
              <a:gd name="connsiteY447" fmla="*/ 6074861 h 6858000"/>
              <a:gd name="connsiteX448" fmla="*/ 7956073 w 12191999"/>
              <a:gd name="connsiteY448" fmla="*/ 6107844 h 6858000"/>
              <a:gd name="connsiteX449" fmla="*/ 7949965 w 12191999"/>
              <a:gd name="connsiteY449" fmla="*/ 6176258 h 6858000"/>
              <a:gd name="connsiteX450" fmla="*/ 7905986 w 12191999"/>
              <a:gd name="connsiteY450" fmla="*/ 6256885 h 6858000"/>
              <a:gd name="connsiteX451" fmla="*/ 8002497 w 12191999"/>
              <a:gd name="connsiteY451" fmla="*/ 6331407 h 6858000"/>
              <a:gd name="connsiteX452" fmla="*/ 8110001 w 12191999"/>
              <a:gd name="connsiteY452" fmla="*/ 6304530 h 6858000"/>
              <a:gd name="connsiteX453" fmla="*/ 8110001 w 12191999"/>
              <a:gd name="connsiteY453" fmla="*/ 6183586 h 6858000"/>
              <a:gd name="connsiteX454" fmla="*/ 8079461 w 12191999"/>
              <a:gd name="connsiteY454" fmla="*/ 6135943 h 6858000"/>
              <a:gd name="connsiteX455" fmla="*/ 8141764 w 12191999"/>
              <a:gd name="connsiteY455" fmla="*/ 6077304 h 6858000"/>
              <a:gd name="connsiteX456" fmla="*/ 8393425 w 12191999"/>
              <a:gd name="connsiteY456" fmla="*/ 6074861 h 6858000"/>
              <a:gd name="connsiteX457" fmla="*/ 8406729 w 12191999"/>
              <a:gd name="connsiteY457" fmla="*/ 6078106 h 6858000"/>
              <a:gd name="connsiteX458" fmla="*/ 8410249 w 12191999"/>
              <a:gd name="connsiteY458" fmla="*/ 6084768 h 6858000"/>
              <a:gd name="connsiteX459" fmla="*/ 8414744 w 12191999"/>
              <a:gd name="connsiteY459" fmla="*/ 6080797 h 6858000"/>
              <a:gd name="connsiteX460" fmla="*/ 8436581 w 12191999"/>
              <a:gd name="connsiteY460" fmla="*/ 6079422 h 6858000"/>
              <a:gd name="connsiteX461" fmla="*/ 8641819 w 12191999"/>
              <a:gd name="connsiteY461" fmla="*/ 6079422 h 6858000"/>
              <a:gd name="connsiteX462" fmla="*/ 8690684 w 12191999"/>
              <a:gd name="connsiteY462" fmla="*/ 6065984 h 6858000"/>
              <a:gd name="connsiteX463" fmla="*/ 8693127 w 12191999"/>
              <a:gd name="connsiteY463" fmla="*/ 6003680 h 6858000"/>
              <a:gd name="connsiteX464" fmla="*/ 8688242 w 12191999"/>
              <a:gd name="connsiteY464" fmla="*/ 5855861 h 6858000"/>
              <a:gd name="connsiteX465" fmla="*/ 8909360 w 12191999"/>
              <a:gd name="connsiteY465" fmla="*/ 5870521 h 6858000"/>
              <a:gd name="connsiteX466" fmla="*/ 8900808 w 12191999"/>
              <a:gd name="connsiteY466" fmla="*/ 5998795 h 6858000"/>
              <a:gd name="connsiteX467" fmla="*/ 8873933 w 12191999"/>
              <a:gd name="connsiteY467" fmla="*/ 6041552 h 6858000"/>
              <a:gd name="connsiteX468" fmla="*/ 8931350 w 12191999"/>
              <a:gd name="connsiteY468" fmla="*/ 6078202 h 6858000"/>
              <a:gd name="connsiteX469" fmla="*/ 9136587 w 12191999"/>
              <a:gd name="connsiteY469" fmla="*/ 6076979 h 6858000"/>
              <a:gd name="connsiteX470" fmla="*/ 9159416 w 12191999"/>
              <a:gd name="connsiteY470" fmla="*/ 6078201 h 6858000"/>
              <a:gd name="connsiteX471" fmla="*/ 9160395 w 12191999"/>
              <a:gd name="connsiteY471" fmla="*/ 6078767 h 6858000"/>
              <a:gd name="connsiteX472" fmla="*/ 9159383 w 12191999"/>
              <a:gd name="connsiteY472" fmla="*/ 6065178 h 6858000"/>
              <a:gd name="connsiteX473" fmla="*/ 9160606 w 12191999"/>
              <a:gd name="connsiteY473" fmla="*/ 5856275 h 6858000"/>
              <a:gd name="connsiteX474" fmla="*/ 9125178 w 12191999"/>
              <a:gd name="connsiteY474" fmla="*/ 5798859 h 6858000"/>
              <a:gd name="connsiteX475" fmla="*/ 9083641 w 12191999"/>
              <a:gd name="connsiteY475" fmla="*/ 5825735 h 6858000"/>
              <a:gd name="connsiteX476" fmla="*/ 8954147 w 12191999"/>
              <a:gd name="connsiteY476" fmla="*/ 5835507 h 6858000"/>
              <a:gd name="connsiteX477" fmla="*/ 8901615 w 12191999"/>
              <a:gd name="connsiteY477" fmla="*/ 5764652 h 6858000"/>
              <a:gd name="connsiteX478" fmla="*/ 8902838 w 12191999"/>
              <a:gd name="connsiteY478" fmla="*/ 5668142 h 6858000"/>
              <a:gd name="connsiteX479" fmla="*/ 9099523 w 12191999"/>
              <a:gd name="connsiteY479" fmla="*/ 5630271 h 6858000"/>
              <a:gd name="connsiteX480" fmla="*/ 9132508 w 12191999"/>
              <a:gd name="connsiteY480" fmla="*/ 5633936 h 6858000"/>
              <a:gd name="connsiteX481" fmla="*/ 9161828 w 12191999"/>
              <a:gd name="connsiteY481" fmla="*/ 5572855 h 6858000"/>
              <a:gd name="connsiteX482" fmla="*/ 9160606 w 12191999"/>
              <a:gd name="connsiteY482" fmla="*/ 5382276 h 6858000"/>
              <a:gd name="connsiteX483" fmla="*/ 9213137 w 12191999"/>
              <a:gd name="connsiteY483" fmla="*/ 5332188 h 6858000"/>
              <a:gd name="connsiteX484" fmla="*/ 9398827 w 12191999"/>
              <a:gd name="connsiteY484" fmla="*/ 5333410 h 6858000"/>
              <a:gd name="connsiteX485" fmla="*/ 9467240 w 12191999"/>
              <a:gd name="connsiteY485" fmla="*/ 5293094 h 6858000"/>
              <a:gd name="connsiteX486" fmla="*/ 9434256 w 12191999"/>
              <a:gd name="connsiteY486" fmla="*/ 5249118 h 6858000"/>
              <a:gd name="connsiteX487" fmla="*/ 9419596 w 12191999"/>
              <a:gd name="connsiteY487" fmla="*/ 5139169 h 6858000"/>
              <a:gd name="connsiteX488" fmla="*/ 9648044 w 12191999"/>
              <a:gd name="connsiteY488" fmla="*/ 5109848 h 6858000"/>
              <a:gd name="connsiteX489" fmla="*/ 9643157 w 12191999"/>
              <a:gd name="connsiteY489" fmla="*/ 5260110 h 6858000"/>
              <a:gd name="connsiteX490" fmla="*/ 9644379 w 12191999"/>
              <a:gd name="connsiteY490" fmla="*/ 5319971 h 6858000"/>
              <a:gd name="connsiteX491" fmla="*/ 9698131 w 12191999"/>
              <a:gd name="connsiteY491" fmla="*/ 5334631 h 6858000"/>
              <a:gd name="connsiteX492" fmla="*/ 9903370 w 12191999"/>
              <a:gd name="connsiteY492" fmla="*/ 5334631 h 6858000"/>
              <a:gd name="connsiteX493" fmla="*/ 9929654 w 12191999"/>
              <a:gd name="connsiteY493" fmla="*/ 5346485 h 6858000"/>
              <a:gd name="connsiteX494" fmla="*/ 9930724 w 12191999"/>
              <a:gd name="connsiteY494" fmla="*/ 5354628 h 6858000"/>
              <a:gd name="connsiteX495" fmla="*/ 9932264 w 12191999"/>
              <a:gd name="connsiteY495" fmla="*/ 5354628 h 6858000"/>
              <a:gd name="connsiteX496" fmla="*/ 9932800 w 12191999"/>
              <a:gd name="connsiteY496" fmla="*/ 5349644 h 6858000"/>
              <a:gd name="connsiteX497" fmla="*/ 9947918 w 12191999"/>
              <a:gd name="connsiteY497" fmla="*/ 5337597 h 6858000"/>
              <a:gd name="connsiteX498" fmla="*/ 9951318 w 12191999"/>
              <a:gd name="connsiteY498" fmla="*/ 5337347 h 6858000"/>
              <a:gd name="connsiteX499" fmla="*/ 9952291 w 12191999"/>
              <a:gd name="connsiteY499" fmla="*/ 5335521 h 6858000"/>
              <a:gd name="connsiteX500" fmla="*/ 9934946 w 12191999"/>
              <a:gd name="connsiteY500" fmla="*/ 5330599 h 6858000"/>
              <a:gd name="connsiteX501" fmla="*/ 9930821 w 12191999"/>
              <a:gd name="connsiteY501" fmla="*/ 5309831 h 6858000"/>
              <a:gd name="connsiteX502" fmla="*/ 9930821 w 12191999"/>
              <a:gd name="connsiteY502" fmla="*/ 5086269 h 6858000"/>
              <a:gd name="connsiteX503" fmla="*/ 9976023 w 12191999"/>
              <a:gd name="connsiteY503" fmla="*/ 5012969 h 6858000"/>
              <a:gd name="connsiteX504" fmla="*/ 10026111 w 12191999"/>
              <a:gd name="connsiteY504" fmla="*/ 5020300 h 6858000"/>
              <a:gd name="connsiteX505" fmla="*/ 10151942 w 12191999"/>
              <a:gd name="connsiteY505" fmla="*/ 5045954 h 6858000"/>
              <a:gd name="connsiteX506" fmla="*/ 10160492 w 12191999"/>
              <a:gd name="connsiteY506" fmla="*/ 4868816 h 6858000"/>
              <a:gd name="connsiteX507" fmla="*/ 10039550 w 12191999"/>
              <a:gd name="connsiteY507" fmla="*/ 4867593 h 6858000"/>
              <a:gd name="connsiteX508" fmla="*/ 9987018 w 12191999"/>
              <a:gd name="connsiteY508" fmla="*/ 4895690 h 6858000"/>
              <a:gd name="connsiteX509" fmla="*/ 9932044 w 12191999"/>
              <a:gd name="connsiteY509" fmla="*/ 4830943 h 6858000"/>
              <a:gd name="connsiteX510" fmla="*/ 9929601 w 12191999"/>
              <a:gd name="connsiteY510" fmla="*/ 4587835 h 6858000"/>
              <a:gd name="connsiteX511" fmla="*/ 9957699 w 12191999"/>
              <a:gd name="connsiteY511" fmla="*/ 4568288 h 6858000"/>
              <a:gd name="connsiteX512" fmla="*/ 10158050 w 12191999"/>
              <a:gd name="connsiteY512" fmla="*/ 4568288 h 6858000"/>
              <a:gd name="connsiteX513" fmla="*/ 10204472 w 12191999"/>
              <a:gd name="connsiteY513" fmla="*/ 4560959 h 6858000"/>
              <a:gd name="connsiteX514" fmla="*/ 10213024 w 12191999"/>
              <a:gd name="connsiteY514" fmla="*/ 4493768 h 6858000"/>
              <a:gd name="connsiteX515" fmla="*/ 10209359 w 12191999"/>
              <a:gd name="connsiteY515" fmla="*/ 4345948 h 6858000"/>
              <a:gd name="connsiteX516" fmla="*/ 10325263 w 12191999"/>
              <a:gd name="connsiteY516" fmla="*/ 4307925 h 6858000"/>
              <a:gd name="connsiteX517" fmla="*/ 10432920 w 12191999"/>
              <a:gd name="connsiteY517" fmla="*/ 4364272 h 6858000"/>
              <a:gd name="connsiteX518" fmla="*/ 10423148 w 12191999"/>
              <a:gd name="connsiteY518" fmla="*/ 4486437 h 6858000"/>
              <a:gd name="connsiteX519" fmla="*/ 10393828 w 12191999"/>
              <a:gd name="connsiteY519" fmla="*/ 4531639 h 6858000"/>
              <a:gd name="connsiteX520" fmla="*/ 10459798 w 12191999"/>
              <a:gd name="connsiteY520" fmla="*/ 4569509 h 6858000"/>
              <a:gd name="connsiteX521" fmla="*/ 10660149 w 12191999"/>
              <a:gd name="connsiteY521" fmla="*/ 4568288 h 6858000"/>
              <a:gd name="connsiteX522" fmla="*/ 10700463 w 12191999"/>
              <a:gd name="connsiteY522" fmla="*/ 4607381 h 6858000"/>
              <a:gd name="connsiteX523" fmla="*/ 10699241 w 12191999"/>
              <a:gd name="connsiteY523" fmla="*/ 4802845 h 6858000"/>
              <a:gd name="connsiteX524" fmla="*/ 10672366 w 12191999"/>
              <a:gd name="connsiteY524" fmla="*/ 4876145 h 6858000"/>
              <a:gd name="connsiteX525" fmla="*/ 10591736 w 12191999"/>
              <a:gd name="connsiteY525" fmla="*/ 4872480 h 6858000"/>
              <a:gd name="connsiteX526" fmla="*/ 10518437 w 12191999"/>
              <a:gd name="connsiteY526" fmla="*/ 4833387 h 6858000"/>
              <a:gd name="connsiteX527" fmla="*/ 10443915 w 12191999"/>
              <a:gd name="connsiteY527" fmla="*/ 4917681 h 6858000"/>
              <a:gd name="connsiteX528" fmla="*/ 10486675 w 12191999"/>
              <a:gd name="connsiteY528" fmla="*/ 5054507 h 6858000"/>
              <a:gd name="connsiteX529" fmla="*/ 10580742 w 12191999"/>
              <a:gd name="connsiteY529" fmla="*/ 5045954 h 6858000"/>
              <a:gd name="connsiteX530" fmla="*/ 10643046 w 12191999"/>
              <a:gd name="connsiteY530" fmla="*/ 5009304 h 6858000"/>
              <a:gd name="connsiteX531" fmla="*/ 10699241 w 12191999"/>
              <a:gd name="connsiteY531" fmla="*/ 5089935 h 6858000"/>
              <a:gd name="connsiteX532" fmla="*/ 10700463 w 12191999"/>
              <a:gd name="connsiteY532" fmla="*/ 5308610 h 6858000"/>
              <a:gd name="connsiteX533" fmla="*/ 10695953 w 12191999"/>
              <a:gd name="connsiteY533" fmla="*/ 5325919 h 6858000"/>
              <a:gd name="connsiteX534" fmla="*/ 10695953 w 12191999"/>
              <a:gd name="connsiteY534" fmla="*/ 5342506 h 6858000"/>
              <a:gd name="connsiteX535" fmla="*/ 10697005 w 12191999"/>
              <a:gd name="connsiteY535" fmla="*/ 5340688 h 6858000"/>
              <a:gd name="connsiteX536" fmla="*/ 10739305 w 12191999"/>
              <a:gd name="connsiteY536" fmla="*/ 5333510 h 6858000"/>
              <a:gd name="connsiteX537" fmla="*/ 10924995 w 12191999"/>
              <a:gd name="connsiteY537" fmla="*/ 5334732 h 6858000"/>
              <a:gd name="connsiteX538" fmla="*/ 10993408 w 12191999"/>
              <a:gd name="connsiteY538" fmla="*/ 5294417 h 6858000"/>
              <a:gd name="connsiteX539" fmla="*/ 10960424 w 12191999"/>
              <a:gd name="connsiteY539" fmla="*/ 5250439 h 6858000"/>
              <a:gd name="connsiteX540" fmla="*/ 10945764 w 12191999"/>
              <a:gd name="connsiteY540" fmla="*/ 5140490 h 6858000"/>
              <a:gd name="connsiteX541" fmla="*/ 11174212 w 12191999"/>
              <a:gd name="connsiteY541" fmla="*/ 5111172 h 6858000"/>
              <a:gd name="connsiteX542" fmla="*/ 11169325 w 12191999"/>
              <a:gd name="connsiteY542" fmla="*/ 5261432 h 6858000"/>
              <a:gd name="connsiteX543" fmla="*/ 11170547 w 12191999"/>
              <a:gd name="connsiteY543" fmla="*/ 5321293 h 6858000"/>
              <a:gd name="connsiteX544" fmla="*/ 11224299 w 12191999"/>
              <a:gd name="connsiteY544" fmla="*/ 5335954 h 6858000"/>
              <a:gd name="connsiteX545" fmla="*/ 11429538 w 12191999"/>
              <a:gd name="connsiteY545" fmla="*/ 5335954 h 6858000"/>
              <a:gd name="connsiteX546" fmla="*/ 11457635 w 12191999"/>
              <a:gd name="connsiteY546" fmla="*/ 5361608 h 6858000"/>
              <a:gd name="connsiteX547" fmla="*/ 11456413 w 12191999"/>
              <a:gd name="connsiteY547" fmla="*/ 5585169 h 6858000"/>
              <a:gd name="connsiteX548" fmla="*/ 11397773 w 12191999"/>
              <a:gd name="connsiteY548" fmla="*/ 5663355 h 6858000"/>
              <a:gd name="connsiteX549" fmla="*/ 11340356 w 12191999"/>
              <a:gd name="connsiteY549" fmla="*/ 5627928 h 6858000"/>
              <a:gd name="connsiteX550" fmla="*/ 11242624 w 12191999"/>
              <a:gd name="connsiteY550" fmla="*/ 5618154 h 6858000"/>
              <a:gd name="connsiteX551" fmla="*/ 11198645 w 12191999"/>
              <a:gd name="connsiteY551" fmla="*/ 5731767 h 6858000"/>
              <a:gd name="connsiteX552" fmla="*/ 11271944 w 12191999"/>
              <a:gd name="connsiteY552" fmla="*/ 5838051 h 6858000"/>
              <a:gd name="connsiteX553" fmla="*/ 11352573 w 12191999"/>
              <a:gd name="connsiteY553" fmla="*/ 5795294 h 6858000"/>
              <a:gd name="connsiteX554" fmla="*/ 11424650 w 12191999"/>
              <a:gd name="connsiteY554" fmla="*/ 5791629 h 6858000"/>
              <a:gd name="connsiteX555" fmla="*/ 11456413 w 12191999"/>
              <a:gd name="connsiteY555" fmla="*/ 5862484 h 6858000"/>
              <a:gd name="connsiteX556" fmla="*/ 11456413 w 12191999"/>
              <a:gd name="connsiteY556" fmla="*/ 5995645 h 6858000"/>
              <a:gd name="connsiteX557" fmla="*/ 11450808 w 12191999"/>
              <a:gd name="connsiteY557" fmla="*/ 6076903 h 6858000"/>
              <a:gd name="connsiteX558" fmla="*/ 11443434 w 12191999"/>
              <a:gd name="connsiteY558" fmla="*/ 6089200 h 6858000"/>
              <a:gd name="connsiteX559" fmla="*/ 11447629 w 12191999"/>
              <a:gd name="connsiteY559" fmla="*/ 6089179 h 6858000"/>
              <a:gd name="connsiteX560" fmla="*/ 11460380 w 12191999"/>
              <a:gd name="connsiteY560" fmla="*/ 6094729 h 6858000"/>
              <a:gd name="connsiteX561" fmla="*/ 11461414 w 12191999"/>
              <a:gd name="connsiteY561" fmla="*/ 6089396 h 6858000"/>
              <a:gd name="connsiteX562" fmla="*/ 11491039 w 12191999"/>
              <a:gd name="connsiteY562" fmla="*/ 6081456 h 6858000"/>
              <a:gd name="connsiteX563" fmla="*/ 11686503 w 12191999"/>
              <a:gd name="connsiteY563" fmla="*/ 6082676 h 6858000"/>
              <a:gd name="connsiteX564" fmla="*/ 11732927 w 12191999"/>
              <a:gd name="connsiteY564" fmla="*/ 6074124 h 6858000"/>
              <a:gd name="connsiteX565" fmla="*/ 11741477 w 12191999"/>
              <a:gd name="connsiteY565" fmla="*/ 6008156 h 6858000"/>
              <a:gd name="connsiteX566" fmla="*/ 11698720 w 12191999"/>
              <a:gd name="connsiteY566" fmla="*/ 5923862 h 6858000"/>
              <a:gd name="connsiteX567" fmla="*/ 11785457 w 12191999"/>
              <a:gd name="connsiteY567" fmla="*/ 5829795 h 6858000"/>
              <a:gd name="connsiteX568" fmla="*/ 11834763 w 12191999"/>
              <a:gd name="connsiteY568" fmla="*/ 5820594 h 6858000"/>
              <a:gd name="connsiteX569" fmla="*/ 11961375 w 12191999"/>
              <a:gd name="connsiteY569" fmla="*/ 5878660 h 6858000"/>
              <a:gd name="connsiteX570" fmla="*/ 11949158 w 12191999"/>
              <a:gd name="connsiteY570" fmla="*/ 6003269 h 6858000"/>
              <a:gd name="connsiteX571" fmla="*/ 11922283 w 12191999"/>
              <a:gd name="connsiteY571" fmla="*/ 6046026 h 6858000"/>
              <a:gd name="connsiteX572" fmla="*/ 11983365 w 12191999"/>
              <a:gd name="connsiteY572" fmla="*/ 6082676 h 6858000"/>
              <a:gd name="connsiteX573" fmla="*/ 12183716 w 12191999"/>
              <a:gd name="connsiteY573" fmla="*/ 6081456 h 6858000"/>
              <a:gd name="connsiteX574" fmla="*/ 12191999 w 12191999"/>
              <a:gd name="connsiteY574" fmla="*/ 6083007 h 6858000"/>
              <a:gd name="connsiteX575" fmla="*/ 12191999 w 12191999"/>
              <a:gd name="connsiteY575" fmla="*/ 6858000 h 6858000"/>
              <a:gd name="connsiteX576" fmla="*/ 0 w 12191999"/>
              <a:gd name="connsiteY57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</a:cxnLst>
            <a:rect l="l" t="t" r="r" b="b"/>
            <a:pathLst>
              <a:path w="12191999" h="6858000">
                <a:moveTo>
                  <a:pt x="10699779" y="6099402"/>
                </a:moveTo>
                <a:lnTo>
                  <a:pt x="10700365" y="6104567"/>
                </a:lnTo>
                <a:lnTo>
                  <a:pt x="10702406" y="6099903"/>
                </a:lnTo>
                <a:close/>
                <a:moveTo>
                  <a:pt x="9177921" y="6098901"/>
                </a:moveTo>
                <a:lnTo>
                  <a:pt x="9178505" y="6100344"/>
                </a:lnTo>
                <a:lnTo>
                  <a:pt x="9178605" y="6102927"/>
                </a:lnTo>
                <a:lnTo>
                  <a:pt x="9183635" y="6102927"/>
                </a:lnTo>
                <a:lnTo>
                  <a:pt x="9185303" y="6100308"/>
                </a:lnTo>
                <a:close/>
                <a:moveTo>
                  <a:pt x="5342410" y="5330181"/>
                </a:moveTo>
                <a:lnTo>
                  <a:pt x="5338269" y="5332661"/>
                </a:lnTo>
                <a:lnTo>
                  <a:pt x="5322064" y="5334006"/>
                </a:lnTo>
                <a:lnTo>
                  <a:pt x="5335111" y="5336578"/>
                </a:lnTo>
                <a:lnTo>
                  <a:pt x="5337848" y="5340523"/>
                </a:lnTo>
                <a:lnTo>
                  <a:pt x="5338130" y="5335883"/>
                </a:lnTo>
                <a:close/>
                <a:moveTo>
                  <a:pt x="11820900" y="4311166"/>
                </a:moveTo>
                <a:cubicBezTo>
                  <a:pt x="11873927" y="4308131"/>
                  <a:pt x="11925923" y="4331037"/>
                  <a:pt x="11955244" y="4373182"/>
                </a:cubicBezTo>
                <a:cubicBezTo>
                  <a:pt x="11985785" y="4418384"/>
                  <a:pt x="11980898" y="4451368"/>
                  <a:pt x="11941805" y="4490463"/>
                </a:cubicBezTo>
                <a:cubicBezTo>
                  <a:pt x="11929590" y="4502678"/>
                  <a:pt x="11901490" y="4507563"/>
                  <a:pt x="11911265" y="4531997"/>
                </a:cubicBezTo>
                <a:cubicBezTo>
                  <a:pt x="11922260" y="4557650"/>
                  <a:pt x="11944250" y="4573534"/>
                  <a:pt x="11974790" y="4572310"/>
                </a:cubicBezTo>
                <a:cubicBezTo>
                  <a:pt x="12041982" y="4571090"/>
                  <a:pt x="12107951" y="4573534"/>
                  <a:pt x="12175141" y="4571090"/>
                </a:cubicBezTo>
                <a:lnTo>
                  <a:pt x="12191999" y="4574294"/>
                </a:lnTo>
                <a:lnTo>
                  <a:pt x="12191999" y="5337457"/>
                </a:lnTo>
                <a:lnTo>
                  <a:pt x="12177584" y="5340730"/>
                </a:lnTo>
                <a:cubicBezTo>
                  <a:pt x="12112836" y="5338287"/>
                  <a:pt x="12048089" y="5339507"/>
                  <a:pt x="11982120" y="5339507"/>
                </a:cubicBezTo>
                <a:cubicBezTo>
                  <a:pt x="11962574" y="5339507"/>
                  <a:pt x="11944250" y="5340730"/>
                  <a:pt x="11928367" y="5354166"/>
                </a:cubicBezTo>
                <a:cubicBezTo>
                  <a:pt x="11908820" y="5372491"/>
                  <a:pt x="11896605" y="5388373"/>
                  <a:pt x="11927145" y="5409142"/>
                </a:cubicBezTo>
                <a:cubicBezTo>
                  <a:pt x="11960130" y="5432354"/>
                  <a:pt x="11987007" y="5462893"/>
                  <a:pt x="11971125" y="5504430"/>
                </a:cubicBezTo>
                <a:cubicBezTo>
                  <a:pt x="11955244" y="5548410"/>
                  <a:pt x="11924702" y="5582614"/>
                  <a:pt x="11873393" y="5592389"/>
                </a:cubicBezTo>
                <a:cubicBezTo>
                  <a:pt x="11795208" y="5608269"/>
                  <a:pt x="11739011" y="5587502"/>
                  <a:pt x="11703584" y="5530084"/>
                </a:cubicBezTo>
                <a:cubicBezTo>
                  <a:pt x="11676707" y="5486105"/>
                  <a:pt x="11682816" y="5456786"/>
                  <a:pt x="11723129" y="5417694"/>
                </a:cubicBezTo>
                <a:cubicBezTo>
                  <a:pt x="11735346" y="5406699"/>
                  <a:pt x="11763444" y="5401812"/>
                  <a:pt x="11751228" y="5374936"/>
                </a:cubicBezTo>
                <a:cubicBezTo>
                  <a:pt x="11739011" y="5350502"/>
                  <a:pt x="11718244" y="5338287"/>
                  <a:pt x="11690146" y="5338287"/>
                </a:cubicBezTo>
                <a:cubicBezTo>
                  <a:pt x="11622955" y="5338287"/>
                  <a:pt x="11556985" y="5335842"/>
                  <a:pt x="11489795" y="5339507"/>
                </a:cubicBezTo>
                <a:cubicBezTo>
                  <a:pt x="11453145" y="5341952"/>
                  <a:pt x="11443371" y="5329735"/>
                  <a:pt x="11447036" y="5295528"/>
                </a:cubicBezTo>
                <a:cubicBezTo>
                  <a:pt x="11451923" y="5266207"/>
                  <a:pt x="11449481" y="5234446"/>
                  <a:pt x="11449481" y="5202683"/>
                </a:cubicBezTo>
                <a:cubicBezTo>
                  <a:pt x="11449481" y="5166034"/>
                  <a:pt x="11450701" y="5129384"/>
                  <a:pt x="11449481" y="5092735"/>
                </a:cubicBezTo>
                <a:cubicBezTo>
                  <a:pt x="11448258" y="5058528"/>
                  <a:pt x="11466583" y="5036539"/>
                  <a:pt x="11492238" y="5018215"/>
                </a:cubicBezTo>
                <a:cubicBezTo>
                  <a:pt x="11511785" y="5004774"/>
                  <a:pt x="11528888" y="5007220"/>
                  <a:pt x="11545990" y="5025544"/>
                </a:cubicBezTo>
                <a:cubicBezTo>
                  <a:pt x="11608295" y="5089069"/>
                  <a:pt x="11622955" y="5091513"/>
                  <a:pt x="11668156" y="5051198"/>
                </a:cubicBezTo>
                <a:cubicBezTo>
                  <a:pt x="11713357" y="5010884"/>
                  <a:pt x="11720686" y="4925368"/>
                  <a:pt x="11682816" y="4877723"/>
                </a:cubicBezTo>
                <a:cubicBezTo>
                  <a:pt x="11638837" y="4822748"/>
                  <a:pt x="11602187" y="4821529"/>
                  <a:pt x="11555765" y="4874058"/>
                </a:cubicBezTo>
                <a:cubicBezTo>
                  <a:pt x="11543547" y="4887496"/>
                  <a:pt x="11536218" y="4913152"/>
                  <a:pt x="11508120" y="4902158"/>
                </a:cubicBezTo>
                <a:cubicBezTo>
                  <a:pt x="11477578" y="4891162"/>
                  <a:pt x="11451923" y="4871616"/>
                  <a:pt x="11450701" y="4839852"/>
                </a:cubicBezTo>
                <a:cubicBezTo>
                  <a:pt x="11447036" y="4758002"/>
                  <a:pt x="11449481" y="4674930"/>
                  <a:pt x="11448258" y="4591857"/>
                </a:cubicBezTo>
                <a:cubicBezTo>
                  <a:pt x="11448258" y="4567425"/>
                  <a:pt x="11465361" y="4573534"/>
                  <a:pt x="11477578" y="4573534"/>
                </a:cubicBezTo>
                <a:cubicBezTo>
                  <a:pt x="11544768" y="4573534"/>
                  <a:pt x="11610737" y="4573534"/>
                  <a:pt x="11677929" y="4573534"/>
                </a:cubicBezTo>
                <a:cubicBezTo>
                  <a:pt x="11695032" y="4573534"/>
                  <a:pt x="11713357" y="4574756"/>
                  <a:pt x="11728016" y="4562539"/>
                </a:cubicBezTo>
                <a:cubicBezTo>
                  <a:pt x="11751228" y="4544213"/>
                  <a:pt x="11769553" y="4529553"/>
                  <a:pt x="11735346" y="4500233"/>
                </a:cubicBezTo>
                <a:cubicBezTo>
                  <a:pt x="11666934" y="4441595"/>
                  <a:pt x="11682816" y="4358522"/>
                  <a:pt x="11768331" y="4323095"/>
                </a:cubicBezTo>
                <a:cubicBezTo>
                  <a:pt x="11785434" y="4316070"/>
                  <a:pt x="11803224" y="4312177"/>
                  <a:pt x="11820900" y="4311166"/>
                </a:cubicBezTo>
                <a:close/>
                <a:moveTo>
                  <a:pt x="5742911" y="3557222"/>
                </a:moveTo>
                <a:cubicBezTo>
                  <a:pt x="5785237" y="3561738"/>
                  <a:pt x="5826597" y="3581666"/>
                  <a:pt x="5851336" y="3613963"/>
                </a:cubicBezTo>
                <a:cubicBezTo>
                  <a:pt x="5884320" y="3659163"/>
                  <a:pt x="5880655" y="3697035"/>
                  <a:pt x="5840341" y="3736128"/>
                </a:cubicBezTo>
                <a:cubicBezTo>
                  <a:pt x="5828123" y="3748345"/>
                  <a:pt x="5795140" y="3750787"/>
                  <a:pt x="5811021" y="3780107"/>
                </a:cubicBezTo>
                <a:cubicBezTo>
                  <a:pt x="5823239" y="3804540"/>
                  <a:pt x="5844004" y="3815534"/>
                  <a:pt x="5873327" y="3815534"/>
                </a:cubicBezTo>
                <a:cubicBezTo>
                  <a:pt x="5942958" y="3814314"/>
                  <a:pt x="6012594" y="3816757"/>
                  <a:pt x="6082230" y="3814314"/>
                </a:cubicBezTo>
                <a:cubicBezTo>
                  <a:pt x="6102386" y="3813398"/>
                  <a:pt x="6112234" y="3817291"/>
                  <a:pt x="6115900" y="3831149"/>
                </a:cubicBezTo>
                <a:lnTo>
                  <a:pt x="6116334" y="3835442"/>
                </a:lnTo>
                <a:lnTo>
                  <a:pt x="6135367" y="3820781"/>
                </a:lnTo>
                <a:cubicBezTo>
                  <a:pt x="6143326" y="3819255"/>
                  <a:pt x="6153251" y="3819407"/>
                  <a:pt x="6165468" y="3821240"/>
                </a:cubicBezTo>
                <a:cubicBezTo>
                  <a:pt x="6193565" y="3826127"/>
                  <a:pt x="6221664" y="3822462"/>
                  <a:pt x="6250984" y="3822462"/>
                </a:cubicBezTo>
                <a:cubicBezTo>
                  <a:pt x="6286411" y="3822462"/>
                  <a:pt x="6320618" y="3823685"/>
                  <a:pt x="6356045" y="3822462"/>
                </a:cubicBezTo>
                <a:cubicBezTo>
                  <a:pt x="6393917" y="3821240"/>
                  <a:pt x="6419570" y="3842009"/>
                  <a:pt x="6434230" y="3873772"/>
                </a:cubicBezTo>
                <a:cubicBezTo>
                  <a:pt x="6451333" y="3907977"/>
                  <a:pt x="6419570" y="3920194"/>
                  <a:pt x="6401245" y="3938519"/>
                </a:cubicBezTo>
                <a:cubicBezTo>
                  <a:pt x="6362153" y="3975168"/>
                  <a:pt x="6359710" y="3998381"/>
                  <a:pt x="6395138" y="4039916"/>
                </a:cubicBezTo>
                <a:cubicBezTo>
                  <a:pt x="6437895" y="4090005"/>
                  <a:pt x="6527076" y="4097333"/>
                  <a:pt x="6574721" y="4054576"/>
                </a:cubicBezTo>
                <a:cubicBezTo>
                  <a:pt x="6628473" y="4008153"/>
                  <a:pt x="6628473" y="3977611"/>
                  <a:pt x="6575941" y="3931189"/>
                </a:cubicBezTo>
                <a:cubicBezTo>
                  <a:pt x="6562504" y="3918974"/>
                  <a:pt x="6538071" y="3910422"/>
                  <a:pt x="6547844" y="3883545"/>
                </a:cubicBezTo>
                <a:cubicBezTo>
                  <a:pt x="6558839" y="3853004"/>
                  <a:pt x="6578386" y="3827349"/>
                  <a:pt x="6610148" y="3826127"/>
                </a:cubicBezTo>
                <a:cubicBezTo>
                  <a:pt x="6691998" y="3822462"/>
                  <a:pt x="6775070" y="3824905"/>
                  <a:pt x="6856921" y="3823685"/>
                </a:cubicBezTo>
                <a:cubicBezTo>
                  <a:pt x="6881354" y="3823685"/>
                  <a:pt x="6875246" y="3840787"/>
                  <a:pt x="6875246" y="3853004"/>
                </a:cubicBezTo>
                <a:cubicBezTo>
                  <a:pt x="6875246" y="3920194"/>
                  <a:pt x="6875246" y="3986164"/>
                  <a:pt x="6875246" y="4053355"/>
                </a:cubicBezTo>
                <a:cubicBezTo>
                  <a:pt x="6875246" y="4074123"/>
                  <a:pt x="6877689" y="4093668"/>
                  <a:pt x="6892348" y="4110773"/>
                </a:cubicBezTo>
                <a:cubicBezTo>
                  <a:pt x="6911895" y="4132762"/>
                  <a:pt x="6926555" y="4137648"/>
                  <a:pt x="6948545" y="4110773"/>
                </a:cubicBezTo>
                <a:cubicBezTo>
                  <a:pt x="7005962" y="4043581"/>
                  <a:pt x="7068267" y="4049690"/>
                  <a:pt x="7117131" y="4126653"/>
                </a:cubicBezTo>
                <a:cubicBezTo>
                  <a:pt x="7155003" y="4186514"/>
                  <a:pt x="7136679" y="4286688"/>
                  <a:pt x="7080482" y="4328224"/>
                </a:cubicBezTo>
                <a:cubicBezTo>
                  <a:pt x="7034060" y="4362430"/>
                  <a:pt x="6999854" y="4357545"/>
                  <a:pt x="6959540" y="4317229"/>
                </a:cubicBezTo>
                <a:cubicBezTo>
                  <a:pt x="6947323" y="4305014"/>
                  <a:pt x="6942436" y="4273250"/>
                  <a:pt x="6914338" y="4287910"/>
                </a:cubicBezTo>
                <a:cubicBezTo>
                  <a:pt x="6891126" y="4300127"/>
                  <a:pt x="6877689" y="4320896"/>
                  <a:pt x="6877689" y="4350213"/>
                </a:cubicBezTo>
                <a:cubicBezTo>
                  <a:pt x="6878911" y="4417403"/>
                  <a:pt x="6876468" y="4483374"/>
                  <a:pt x="6878911" y="4550565"/>
                </a:cubicBezTo>
                <a:cubicBezTo>
                  <a:pt x="6880133" y="4582327"/>
                  <a:pt x="6874024" y="4594544"/>
                  <a:pt x="6838596" y="4592100"/>
                </a:cubicBezTo>
                <a:cubicBezTo>
                  <a:pt x="6775070" y="4588436"/>
                  <a:pt x="6711545" y="4590880"/>
                  <a:pt x="6648020" y="4590880"/>
                </a:cubicBezTo>
                <a:cubicBezTo>
                  <a:pt x="6628473" y="4590880"/>
                  <a:pt x="6610148" y="4592100"/>
                  <a:pt x="6594266" y="4604318"/>
                </a:cubicBezTo>
                <a:cubicBezTo>
                  <a:pt x="6571056" y="4623864"/>
                  <a:pt x="6562504" y="4638522"/>
                  <a:pt x="6591823" y="4662956"/>
                </a:cubicBezTo>
                <a:cubicBezTo>
                  <a:pt x="6655348" y="4715488"/>
                  <a:pt x="6652905" y="4766796"/>
                  <a:pt x="6589381" y="4819328"/>
                </a:cubicBezTo>
                <a:cubicBezTo>
                  <a:pt x="6530741" y="4866973"/>
                  <a:pt x="6422015" y="4855979"/>
                  <a:pt x="6375592" y="4796116"/>
                </a:cubicBezTo>
                <a:cubicBezTo>
                  <a:pt x="6338943" y="4749693"/>
                  <a:pt x="6342608" y="4711821"/>
                  <a:pt x="6385365" y="4670287"/>
                </a:cubicBezTo>
                <a:cubicBezTo>
                  <a:pt x="6397580" y="4658070"/>
                  <a:pt x="6425680" y="4653182"/>
                  <a:pt x="6415905" y="4628749"/>
                </a:cubicBezTo>
                <a:cubicBezTo>
                  <a:pt x="6404910" y="4603096"/>
                  <a:pt x="6381700" y="4588436"/>
                  <a:pt x="6351158" y="4589658"/>
                </a:cubicBezTo>
                <a:cubicBezTo>
                  <a:pt x="6283968" y="4590880"/>
                  <a:pt x="6217999" y="4587214"/>
                  <a:pt x="6150809" y="4590880"/>
                </a:cubicBezTo>
                <a:cubicBezTo>
                  <a:pt x="6133707" y="4591491"/>
                  <a:pt x="6123322" y="4589047"/>
                  <a:pt x="6117367" y="4582327"/>
                </a:cubicBezTo>
                <a:lnTo>
                  <a:pt x="6114197" y="4575109"/>
                </a:lnTo>
                <a:lnTo>
                  <a:pt x="6109104" y="4582272"/>
                </a:lnTo>
                <a:cubicBezTo>
                  <a:pt x="6104218" y="4585785"/>
                  <a:pt x="6096888" y="4586396"/>
                  <a:pt x="6087114" y="4586396"/>
                </a:cubicBezTo>
                <a:cubicBezTo>
                  <a:pt x="6012594" y="4585175"/>
                  <a:pt x="5938072" y="4586396"/>
                  <a:pt x="5863552" y="4586396"/>
                </a:cubicBezTo>
                <a:cubicBezTo>
                  <a:pt x="5837898" y="4586396"/>
                  <a:pt x="5818351" y="4572957"/>
                  <a:pt x="5802472" y="4555854"/>
                </a:cubicBezTo>
                <a:cubicBezTo>
                  <a:pt x="5778036" y="4528977"/>
                  <a:pt x="5774373" y="4504545"/>
                  <a:pt x="5807356" y="4480114"/>
                </a:cubicBezTo>
                <a:cubicBezTo>
                  <a:pt x="5833011" y="4461788"/>
                  <a:pt x="5863552" y="4441018"/>
                  <a:pt x="5847670" y="4403148"/>
                </a:cubicBezTo>
                <a:cubicBezTo>
                  <a:pt x="5830567" y="4361611"/>
                  <a:pt x="5801250" y="4332291"/>
                  <a:pt x="5752384" y="4329849"/>
                </a:cubicBezTo>
                <a:cubicBezTo>
                  <a:pt x="5704740" y="4327406"/>
                  <a:pt x="5660758" y="4329849"/>
                  <a:pt x="5628995" y="4372606"/>
                </a:cubicBezTo>
                <a:cubicBezTo>
                  <a:pt x="5599676" y="4412923"/>
                  <a:pt x="5600896" y="4436133"/>
                  <a:pt x="5638769" y="4470339"/>
                </a:cubicBezTo>
                <a:cubicBezTo>
                  <a:pt x="5655874" y="4486221"/>
                  <a:pt x="5688856" y="4493550"/>
                  <a:pt x="5674197" y="4527758"/>
                </a:cubicBezTo>
                <a:cubicBezTo>
                  <a:pt x="5659538" y="4564408"/>
                  <a:pt x="5632660" y="4586396"/>
                  <a:pt x="5591125" y="4586396"/>
                </a:cubicBezTo>
                <a:cubicBezTo>
                  <a:pt x="5520269" y="4586396"/>
                  <a:pt x="5448192" y="4585175"/>
                  <a:pt x="5377337" y="4586396"/>
                </a:cubicBezTo>
                <a:cubicBezTo>
                  <a:pt x="5350458" y="4587617"/>
                  <a:pt x="5346796" y="4576623"/>
                  <a:pt x="5346796" y="4553411"/>
                </a:cubicBezTo>
                <a:cubicBezTo>
                  <a:pt x="5348016" y="4486221"/>
                  <a:pt x="5346796" y="4420251"/>
                  <a:pt x="5348016" y="4353059"/>
                </a:cubicBezTo>
                <a:cubicBezTo>
                  <a:pt x="5348016" y="4329849"/>
                  <a:pt x="5344352" y="4309081"/>
                  <a:pt x="5327249" y="4291978"/>
                </a:cubicBezTo>
                <a:cubicBezTo>
                  <a:pt x="5310145" y="4274875"/>
                  <a:pt x="5295486" y="4267544"/>
                  <a:pt x="5278383" y="4293199"/>
                </a:cubicBezTo>
                <a:cubicBezTo>
                  <a:pt x="5253948" y="4328628"/>
                  <a:pt x="5222185" y="4357946"/>
                  <a:pt x="5174543" y="4337181"/>
                </a:cubicBezTo>
                <a:cubicBezTo>
                  <a:pt x="5125677" y="4315189"/>
                  <a:pt x="5092692" y="4279761"/>
                  <a:pt x="5089026" y="4221122"/>
                </a:cubicBezTo>
                <a:cubicBezTo>
                  <a:pt x="5085363" y="4164927"/>
                  <a:pt x="5093914" y="4113618"/>
                  <a:pt x="5144002" y="4078190"/>
                </a:cubicBezTo>
                <a:cubicBezTo>
                  <a:pt x="5191646" y="4043983"/>
                  <a:pt x="5224631" y="4046428"/>
                  <a:pt x="5264946" y="4087965"/>
                </a:cubicBezTo>
                <a:cubicBezTo>
                  <a:pt x="5277159" y="4101402"/>
                  <a:pt x="5283271" y="4130722"/>
                  <a:pt x="5311367" y="4117283"/>
                </a:cubicBezTo>
                <a:cubicBezTo>
                  <a:pt x="5335801" y="4105067"/>
                  <a:pt x="5346796" y="4083077"/>
                  <a:pt x="5346796" y="4054980"/>
                </a:cubicBezTo>
                <a:cubicBezTo>
                  <a:pt x="5346796" y="3986566"/>
                  <a:pt x="5348016" y="3918154"/>
                  <a:pt x="5345574" y="3849742"/>
                </a:cubicBezTo>
                <a:cubicBezTo>
                  <a:pt x="5344352" y="3821644"/>
                  <a:pt x="5349236" y="3809427"/>
                  <a:pt x="5381003" y="3811870"/>
                </a:cubicBezTo>
                <a:cubicBezTo>
                  <a:pt x="5416429" y="3817979"/>
                  <a:pt x="5451858" y="3815534"/>
                  <a:pt x="5486063" y="3815534"/>
                </a:cubicBezTo>
                <a:cubicBezTo>
                  <a:pt x="5522713" y="3815534"/>
                  <a:pt x="5559361" y="3814314"/>
                  <a:pt x="5596012" y="3815534"/>
                </a:cubicBezTo>
                <a:cubicBezTo>
                  <a:pt x="5624110" y="3816757"/>
                  <a:pt x="5641213" y="3799654"/>
                  <a:pt x="5650984" y="3777664"/>
                </a:cubicBezTo>
                <a:cubicBezTo>
                  <a:pt x="5660758" y="3755674"/>
                  <a:pt x="5636325" y="3748345"/>
                  <a:pt x="5625329" y="3738570"/>
                </a:cubicBezTo>
                <a:cubicBezTo>
                  <a:pt x="5567914" y="3684820"/>
                  <a:pt x="5576466" y="3622514"/>
                  <a:pt x="5649765" y="3576091"/>
                </a:cubicBezTo>
                <a:cubicBezTo>
                  <a:pt x="5665035" y="3566624"/>
                  <a:pt x="5682520" y="3560668"/>
                  <a:pt x="5700845" y="3557958"/>
                </a:cubicBezTo>
                <a:cubicBezTo>
                  <a:pt x="5714588" y="3555925"/>
                  <a:pt x="5728804" y="3555718"/>
                  <a:pt x="5742911" y="3557222"/>
                </a:cubicBezTo>
                <a:close/>
                <a:moveTo>
                  <a:pt x="5726517" y="2017504"/>
                </a:moveTo>
                <a:cubicBezTo>
                  <a:pt x="5769733" y="2023154"/>
                  <a:pt x="5810962" y="2045754"/>
                  <a:pt x="5834786" y="2083015"/>
                </a:cubicBezTo>
                <a:cubicBezTo>
                  <a:pt x="5861661" y="2124551"/>
                  <a:pt x="5855555" y="2157535"/>
                  <a:pt x="5820126" y="2192965"/>
                </a:cubicBezTo>
                <a:cubicBezTo>
                  <a:pt x="5806689" y="2206402"/>
                  <a:pt x="5777368" y="2210067"/>
                  <a:pt x="5787140" y="2236943"/>
                </a:cubicBezTo>
                <a:cubicBezTo>
                  <a:pt x="5798136" y="2266262"/>
                  <a:pt x="5823790" y="2277258"/>
                  <a:pt x="5855555" y="2277258"/>
                </a:cubicBezTo>
                <a:cubicBezTo>
                  <a:pt x="5917857" y="2276037"/>
                  <a:pt x="5978941" y="2279702"/>
                  <a:pt x="6041243" y="2276037"/>
                </a:cubicBezTo>
                <a:cubicBezTo>
                  <a:pt x="6080338" y="2273592"/>
                  <a:pt x="6097440" y="2280923"/>
                  <a:pt x="6093775" y="2326124"/>
                </a:cubicBezTo>
                <a:cubicBezTo>
                  <a:pt x="6088888" y="2389649"/>
                  <a:pt x="6093775" y="2453175"/>
                  <a:pt x="6092553" y="2516703"/>
                </a:cubicBezTo>
                <a:cubicBezTo>
                  <a:pt x="6092553" y="2543577"/>
                  <a:pt x="6101105" y="2561902"/>
                  <a:pt x="6121873" y="2577785"/>
                </a:cubicBezTo>
                <a:cubicBezTo>
                  <a:pt x="6134090" y="2586335"/>
                  <a:pt x="6142641" y="2585115"/>
                  <a:pt x="6154856" y="2574120"/>
                </a:cubicBezTo>
                <a:cubicBezTo>
                  <a:pt x="6241593" y="2494711"/>
                  <a:pt x="6290460" y="2503263"/>
                  <a:pt x="6351542" y="2611990"/>
                </a:cubicBezTo>
                <a:cubicBezTo>
                  <a:pt x="6352764" y="2644975"/>
                  <a:pt x="6352764" y="2676738"/>
                  <a:pt x="6352764" y="2708501"/>
                </a:cubicBezTo>
                <a:cubicBezTo>
                  <a:pt x="6338104" y="2734156"/>
                  <a:pt x="6325887" y="2761033"/>
                  <a:pt x="6300232" y="2779356"/>
                </a:cubicBezTo>
                <a:cubicBezTo>
                  <a:pt x="6251367" y="2817228"/>
                  <a:pt x="6212273" y="2813563"/>
                  <a:pt x="6170739" y="2769584"/>
                </a:cubicBezTo>
                <a:cubicBezTo>
                  <a:pt x="6159745" y="2757366"/>
                  <a:pt x="6154856" y="2729269"/>
                  <a:pt x="6129202" y="2742708"/>
                </a:cubicBezTo>
                <a:cubicBezTo>
                  <a:pt x="6107212" y="2753701"/>
                  <a:pt x="6093775" y="2772026"/>
                  <a:pt x="6093775" y="2800124"/>
                </a:cubicBezTo>
                <a:cubicBezTo>
                  <a:pt x="6094997" y="2869758"/>
                  <a:pt x="6092553" y="2939392"/>
                  <a:pt x="6094997" y="3009027"/>
                </a:cubicBezTo>
                <a:cubicBezTo>
                  <a:pt x="6096218" y="3042011"/>
                  <a:pt x="6085222" y="3048121"/>
                  <a:pt x="6054683" y="3046899"/>
                </a:cubicBezTo>
                <a:cubicBezTo>
                  <a:pt x="5989937" y="3044455"/>
                  <a:pt x="5923966" y="3045676"/>
                  <a:pt x="5859220" y="3045676"/>
                </a:cubicBezTo>
                <a:cubicBezTo>
                  <a:pt x="5839672" y="3045676"/>
                  <a:pt x="5821349" y="3046899"/>
                  <a:pt x="5805467" y="3060336"/>
                </a:cubicBezTo>
                <a:cubicBezTo>
                  <a:pt x="5785921" y="3078662"/>
                  <a:pt x="5774925" y="3095764"/>
                  <a:pt x="5804246" y="3116533"/>
                </a:cubicBezTo>
                <a:cubicBezTo>
                  <a:pt x="5834786" y="3138522"/>
                  <a:pt x="5861661" y="3165399"/>
                  <a:pt x="5849445" y="3206935"/>
                </a:cubicBezTo>
                <a:cubicBezTo>
                  <a:pt x="5834786" y="3254578"/>
                  <a:pt x="5803023" y="3288785"/>
                  <a:pt x="5751713" y="3299780"/>
                </a:cubicBezTo>
                <a:cubicBezTo>
                  <a:pt x="5674750" y="3315662"/>
                  <a:pt x="5616113" y="3293673"/>
                  <a:pt x="5581905" y="3237475"/>
                </a:cubicBezTo>
                <a:cubicBezTo>
                  <a:pt x="5555029" y="3193496"/>
                  <a:pt x="5561135" y="3162956"/>
                  <a:pt x="5601451" y="3125084"/>
                </a:cubicBezTo>
                <a:cubicBezTo>
                  <a:pt x="5613669" y="3114088"/>
                  <a:pt x="5640546" y="3109203"/>
                  <a:pt x="5629551" y="3083549"/>
                </a:cubicBezTo>
                <a:cubicBezTo>
                  <a:pt x="5619775" y="3059114"/>
                  <a:pt x="5599008" y="3046899"/>
                  <a:pt x="5573353" y="3045676"/>
                </a:cubicBezTo>
                <a:cubicBezTo>
                  <a:pt x="5525708" y="3044455"/>
                  <a:pt x="5478065" y="3045676"/>
                  <a:pt x="5430421" y="3045676"/>
                </a:cubicBezTo>
                <a:cubicBezTo>
                  <a:pt x="5324139" y="3045676"/>
                  <a:pt x="5324139" y="3045676"/>
                  <a:pt x="5324139" y="2938172"/>
                </a:cubicBezTo>
                <a:cubicBezTo>
                  <a:pt x="5324139" y="2894192"/>
                  <a:pt x="5325358" y="2848990"/>
                  <a:pt x="5324139" y="2805010"/>
                </a:cubicBezTo>
                <a:cubicBezTo>
                  <a:pt x="5322917" y="2775691"/>
                  <a:pt x="5335133" y="2752481"/>
                  <a:pt x="5355900" y="2734156"/>
                </a:cubicBezTo>
                <a:cubicBezTo>
                  <a:pt x="5380332" y="2712165"/>
                  <a:pt x="5403544" y="2707279"/>
                  <a:pt x="5427977" y="2737821"/>
                </a:cubicBezTo>
                <a:cubicBezTo>
                  <a:pt x="5447526" y="2763474"/>
                  <a:pt x="5467069" y="2795238"/>
                  <a:pt x="5508607" y="2780578"/>
                </a:cubicBezTo>
                <a:cubicBezTo>
                  <a:pt x="5552586" y="2765919"/>
                  <a:pt x="5579462" y="2724383"/>
                  <a:pt x="5581905" y="2674294"/>
                </a:cubicBezTo>
                <a:cubicBezTo>
                  <a:pt x="5584348" y="2629092"/>
                  <a:pt x="5577018" y="2590001"/>
                  <a:pt x="5537926" y="2560681"/>
                </a:cubicBezTo>
                <a:cubicBezTo>
                  <a:pt x="5497612" y="2530140"/>
                  <a:pt x="5475621" y="2532583"/>
                  <a:pt x="5440195" y="2570454"/>
                </a:cubicBezTo>
                <a:cubicBezTo>
                  <a:pt x="5424312" y="2587558"/>
                  <a:pt x="5418205" y="2619320"/>
                  <a:pt x="5382779" y="2605882"/>
                </a:cubicBezTo>
                <a:cubicBezTo>
                  <a:pt x="5347348" y="2591221"/>
                  <a:pt x="5325358" y="2565567"/>
                  <a:pt x="5324139" y="2527695"/>
                </a:cubicBezTo>
                <a:cubicBezTo>
                  <a:pt x="5322917" y="2453175"/>
                  <a:pt x="5324139" y="2378654"/>
                  <a:pt x="5322917" y="2304134"/>
                </a:cubicBezTo>
                <a:cubicBezTo>
                  <a:pt x="5322917" y="2280923"/>
                  <a:pt x="5332689" y="2278479"/>
                  <a:pt x="5351016" y="2278479"/>
                </a:cubicBezTo>
                <a:cubicBezTo>
                  <a:pt x="5419427" y="2279702"/>
                  <a:pt x="5487839" y="2278479"/>
                  <a:pt x="5556254" y="2278479"/>
                </a:cubicBezTo>
                <a:cubicBezTo>
                  <a:pt x="5575797" y="2278479"/>
                  <a:pt x="5594120" y="2277258"/>
                  <a:pt x="5610003" y="2263820"/>
                </a:cubicBezTo>
                <a:cubicBezTo>
                  <a:pt x="5631992" y="2244274"/>
                  <a:pt x="5641767" y="2228392"/>
                  <a:pt x="5611225" y="2203958"/>
                </a:cubicBezTo>
                <a:cubicBezTo>
                  <a:pt x="5547698" y="2152649"/>
                  <a:pt x="5548920" y="2108671"/>
                  <a:pt x="5606337" y="2053696"/>
                </a:cubicBezTo>
                <a:cubicBezTo>
                  <a:pt x="5638102" y="2023155"/>
                  <a:pt x="5683302" y="2011854"/>
                  <a:pt x="5726517" y="2017504"/>
                </a:cubicBezTo>
                <a:close/>
                <a:moveTo>
                  <a:pt x="0" y="0"/>
                </a:moveTo>
                <a:lnTo>
                  <a:pt x="5329115" y="0"/>
                </a:lnTo>
                <a:lnTo>
                  <a:pt x="5332434" y="5729"/>
                </a:lnTo>
                <a:cubicBezTo>
                  <a:pt x="5333904" y="11284"/>
                  <a:pt x="5334438" y="18309"/>
                  <a:pt x="5334132" y="27166"/>
                </a:cubicBezTo>
                <a:cubicBezTo>
                  <a:pt x="5331688" y="93135"/>
                  <a:pt x="5332910" y="160325"/>
                  <a:pt x="5332910" y="227517"/>
                </a:cubicBezTo>
                <a:cubicBezTo>
                  <a:pt x="5332910" y="245842"/>
                  <a:pt x="5334132" y="262944"/>
                  <a:pt x="5346347" y="276382"/>
                </a:cubicBezTo>
                <a:cubicBezTo>
                  <a:pt x="5364674" y="295929"/>
                  <a:pt x="5378111" y="304481"/>
                  <a:pt x="5402544" y="277604"/>
                </a:cubicBezTo>
                <a:cubicBezTo>
                  <a:pt x="5463627" y="204305"/>
                  <a:pt x="5551584" y="225072"/>
                  <a:pt x="5582127" y="317919"/>
                </a:cubicBezTo>
                <a:cubicBezTo>
                  <a:pt x="5606557" y="392438"/>
                  <a:pt x="5583346" y="463295"/>
                  <a:pt x="5523486" y="501165"/>
                </a:cubicBezTo>
                <a:cubicBezTo>
                  <a:pt x="5479508" y="529263"/>
                  <a:pt x="5450188" y="523155"/>
                  <a:pt x="5411097" y="481620"/>
                </a:cubicBezTo>
                <a:cubicBezTo>
                  <a:pt x="5398879" y="469403"/>
                  <a:pt x="5393991" y="441305"/>
                  <a:pt x="5369558" y="453522"/>
                </a:cubicBezTo>
                <a:cubicBezTo>
                  <a:pt x="5345127" y="464516"/>
                  <a:pt x="5332910" y="485285"/>
                  <a:pt x="5332910" y="514605"/>
                </a:cubicBezTo>
                <a:cubicBezTo>
                  <a:pt x="5334132" y="583017"/>
                  <a:pt x="5331688" y="651429"/>
                  <a:pt x="5334132" y="719841"/>
                </a:cubicBezTo>
                <a:cubicBezTo>
                  <a:pt x="5335356" y="750383"/>
                  <a:pt x="5328023" y="761378"/>
                  <a:pt x="5295041" y="760156"/>
                </a:cubicBezTo>
                <a:cubicBezTo>
                  <a:pt x="5229072" y="757713"/>
                  <a:pt x="5161881" y="758935"/>
                  <a:pt x="5094692" y="758935"/>
                </a:cubicBezTo>
                <a:cubicBezTo>
                  <a:pt x="5077586" y="758935"/>
                  <a:pt x="5060482" y="758935"/>
                  <a:pt x="5045820" y="772373"/>
                </a:cubicBezTo>
                <a:cubicBezTo>
                  <a:pt x="5025053" y="791918"/>
                  <a:pt x="5011616" y="805357"/>
                  <a:pt x="5043379" y="831012"/>
                </a:cubicBezTo>
                <a:cubicBezTo>
                  <a:pt x="5109351" y="883542"/>
                  <a:pt x="5102018" y="948291"/>
                  <a:pt x="5031161" y="997156"/>
                </a:cubicBezTo>
                <a:cubicBezTo>
                  <a:pt x="4963969" y="1042356"/>
                  <a:pt x="4861351" y="1019146"/>
                  <a:pt x="4818594" y="949511"/>
                </a:cubicBezTo>
                <a:cubicBezTo>
                  <a:pt x="4791718" y="905532"/>
                  <a:pt x="4797826" y="878656"/>
                  <a:pt x="4840582" y="837120"/>
                </a:cubicBezTo>
                <a:cubicBezTo>
                  <a:pt x="4852797" y="824903"/>
                  <a:pt x="4879674" y="818795"/>
                  <a:pt x="4866234" y="793140"/>
                </a:cubicBezTo>
                <a:cubicBezTo>
                  <a:pt x="4854020" y="772373"/>
                  <a:pt x="4836918" y="757713"/>
                  <a:pt x="4808822" y="758935"/>
                </a:cubicBezTo>
                <a:cubicBezTo>
                  <a:pt x="4737964" y="760156"/>
                  <a:pt x="4665887" y="758935"/>
                  <a:pt x="4595032" y="760156"/>
                </a:cubicBezTo>
                <a:cubicBezTo>
                  <a:pt x="4585870" y="760156"/>
                  <a:pt x="4578942" y="759469"/>
                  <a:pt x="4573923" y="757192"/>
                </a:cubicBezTo>
                <a:lnTo>
                  <a:pt x="4572290" y="755075"/>
                </a:lnTo>
                <a:lnTo>
                  <a:pt x="4542110" y="755075"/>
                </a:lnTo>
                <a:lnTo>
                  <a:pt x="4532620" y="757803"/>
                </a:lnTo>
                <a:cubicBezTo>
                  <a:pt x="4461765" y="756580"/>
                  <a:pt x="4389688" y="756580"/>
                  <a:pt x="4318830" y="757803"/>
                </a:cubicBezTo>
                <a:cubicBezTo>
                  <a:pt x="4291954" y="757803"/>
                  <a:pt x="4269964" y="746808"/>
                  <a:pt x="4252861" y="727261"/>
                </a:cubicBezTo>
                <a:cubicBezTo>
                  <a:pt x="4230872" y="701606"/>
                  <a:pt x="4222318" y="677173"/>
                  <a:pt x="4257749" y="652741"/>
                </a:cubicBezTo>
                <a:cubicBezTo>
                  <a:pt x="4284626" y="633194"/>
                  <a:pt x="4315164" y="611204"/>
                  <a:pt x="4298063" y="570889"/>
                </a:cubicBezTo>
                <a:cubicBezTo>
                  <a:pt x="4280960" y="531797"/>
                  <a:pt x="4251638" y="503698"/>
                  <a:pt x="4205214" y="501255"/>
                </a:cubicBezTo>
                <a:cubicBezTo>
                  <a:pt x="4161241" y="498812"/>
                  <a:pt x="4119705" y="498812"/>
                  <a:pt x="4087942" y="535462"/>
                </a:cubicBezTo>
                <a:cubicBezTo>
                  <a:pt x="4050070" y="578219"/>
                  <a:pt x="4051293" y="606317"/>
                  <a:pt x="4094050" y="644189"/>
                </a:cubicBezTo>
                <a:cubicBezTo>
                  <a:pt x="4111153" y="658848"/>
                  <a:pt x="4138030" y="669843"/>
                  <a:pt x="4127035" y="700384"/>
                </a:cubicBezTo>
                <a:cubicBezTo>
                  <a:pt x="4114818" y="732148"/>
                  <a:pt x="4090385" y="756580"/>
                  <a:pt x="4057400" y="757803"/>
                </a:cubicBezTo>
                <a:cubicBezTo>
                  <a:pt x="3977993" y="761467"/>
                  <a:pt x="3898585" y="759023"/>
                  <a:pt x="3819179" y="759023"/>
                </a:cubicBezTo>
                <a:lnTo>
                  <a:pt x="3813849" y="756900"/>
                </a:lnTo>
                <a:lnTo>
                  <a:pt x="3810549" y="758781"/>
                </a:lnTo>
                <a:lnTo>
                  <a:pt x="3815750" y="768157"/>
                </a:lnTo>
                <a:cubicBezTo>
                  <a:pt x="3817087" y="773464"/>
                  <a:pt x="3817545" y="780106"/>
                  <a:pt x="3817238" y="788353"/>
                </a:cubicBezTo>
                <a:cubicBezTo>
                  <a:pt x="3814797" y="853100"/>
                  <a:pt x="3816018" y="919069"/>
                  <a:pt x="3816018" y="983816"/>
                </a:cubicBezTo>
                <a:cubicBezTo>
                  <a:pt x="3816018" y="1011914"/>
                  <a:pt x="3809910" y="1036348"/>
                  <a:pt x="3789144" y="1057116"/>
                </a:cubicBezTo>
                <a:cubicBezTo>
                  <a:pt x="3757381" y="1088878"/>
                  <a:pt x="3737836" y="1087658"/>
                  <a:pt x="3708516" y="1053451"/>
                </a:cubicBezTo>
                <a:cubicBezTo>
                  <a:pt x="3688971" y="1031461"/>
                  <a:pt x="3670645" y="1000919"/>
                  <a:pt x="3635219" y="1014358"/>
                </a:cubicBezTo>
                <a:cubicBezTo>
                  <a:pt x="3596125" y="1029018"/>
                  <a:pt x="3566806" y="1054673"/>
                  <a:pt x="3560696" y="1098651"/>
                </a:cubicBezTo>
                <a:cubicBezTo>
                  <a:pt x="3553368" y="1151183"/>
                  <a:pt x="3555811" y="1200050"/>
                  <a:pt x="3603457" y="1235477"/>
                </a:cubicBezTo>
                <a:cubicBezTo>
                  <a:pt x="3642548" y="1264796"/>
                  <a:pt x="3664539" y="1262352"/>
                  <a:pt x="3697521" y="1226924"/>
                </a:cubicBezTo>
                <a:cubicBezTo>
                  <a:pt x="3714624" y="1208600"/>
                  <a:pt x="3724397" y="1174394"/>
                  <a:pt x="3759825" y="1190276"/>
                </a:cubicBezTo>
                <a:cubicBezTo>
                  <a:pt x="3794029" y="1204935"/>
                  <a:pt x="3814797" y="1233032"/>
                  <a:pt x="3816018" y="1270905"/>
                </a:cubicBezTo>
                <a:cubicBezTo>
                  <a:pt x="3817238" y="1344204"/>
                  <a:pt x="3816018" y="1417503"/>
                  <a:pt x="3817238" y="1489580"/>
                </a:cubicBezTo>
                <a:cubicBezTo>
                  <a:pt x="3817238" y="1499964"/>
                  <a:pt x="3815711" y="1506988"/>
                  <a:pt x="3811589" y="1511264"/>
                </a:cubicBezTo>
                <a:lnTo>
                  <a:pt x="3801031" y="1513846"/>
                </a:lnTo>
                <a:lnTo>
                  <a:pt x="3806488" y="1516917"/>
                </a:lnTo>
                <a:lnTo>
                  <a:pt x="3807926" y="1520360"/>
                </a:lnTo>
                <a:lnTo>
                  <a:pt x="3814241" y="1520360"/>
                </a:lnTo>
                <a:lnTo>
                  <a:pt x="3829058" y="1502514"/>
                </a:lnTo>
                <a:cubicBezTo>
                  <a:pt x="3837597" y="1499199"/>
                  <a:pt x="3849165" y="1498742"/>
                  <a:pt x="3863824" y="1499658"/>
                </a:cubicBezTo>
                <a:cubicBezTo>
                  <a:pt x="3926128" y="1503323"/>
                  <a:pt x="3987214" y="1499658"/>
                  <a:pt x="4049516" y="1500879"/>
                </a:cubicBezTo>
                <a:cubicBezTo>
                  <a:pt x="4081280" y="1500879"/>
                  <a:pt x="4106935" y="1489884"/>
                  <a:pt x="4117929" y="1460565"/>
                </a:cubicBezTo>
                <a:cubicBezTo>
                  <a:pt x="4127702" y="1433689"/>
                  <a:pt x="4098382" y="1430024"/>
                  <a:pt x="4084945" y="1416587"/>
                </a:cubicBezTo>
                <a:cubicBezTo>
                  <a:pt x="4049516" y="1381158"/>
                  <a:pt x="4043408" y="1348173"/>
                  <a:pt x="4070285" y="1306638"/>
                </a:cubicBezTo>
                <a:cubicBezTo>
                  <a:pt x="4094107" y="1269377"/>
                  <a:pt x="4135338" y="1246777"/>
                  <a:pt x="4178554" y="1241127"/>
                </a:cubicBezTo>
                <a:cubicBezTo>
                  <a:pt x="4221764" y="1235476"/>
                  <a:pt x="4266966" y="1246777"/>
                  <a:pt x="4298729" y="1277318"/>
                </a:cubicBezTo>
                <a:cubicBezTo>
                  <a:pt x="4356145" y="1332293"/>
                  <a:pt x="4357369" y="1376272"/>
                  <a:pt x="4293841" y="1427580"/>
                </a:cubicBezTo>
                <a:cubicBezTo>
                  <a:pt x="4263300" y="1452014"/>
                  <a:pt x="4273074" y="1467896"/>
                  <a:pt x="4295062" y="1487441"/>
                </a:cubicBezTo>
                <a:cubicBezTo>
                  <a:pt x="4310947" y="1500879"/>
                  <a:pt x="4329269" y="1502101"/>
                  <a:pt x="4348815" y="1502101"/>
                </a:cubicBezTo>
                <a:cubicBezTo>
                  <a:pt x="4417231" y="1502101"/>
                  <a:pt x="4485641" y="1503323"/>
                  <a:pt x="4554055" y="1502101"/>
                </a:cubicBezTo>
                <a:cubicBezTo>
                  <a:pt x="4567798" y="1502101"/>
                  <a:pt x="4576731" y="1503475"/>
                  <a:pt x="4580339" y="1513955"/>
                </a:cubicBezTo>
                <a:lnTo>
                  <a:pt x="4580382" y="1514287"/>
                </a:lnTo>
                <a:lnTo>
                  <a:pt x="4581432" y="1513558"/>
                </a:lnTo>
                <a:cubicBezTo>
                  <a:pt x="4585612" y="1512222"/>
                  <a:pt x="4591033" y="1511688"/>
                  <a:pt x="4598057" y="1511994"/>
                </a:cubicBezTo>
                <a:cubicBezTo>
                  <a:pt x="4668913" y="1514436"/>
                  <a:pt x="4740990" y="1513216"/>
                  <a:pt x="4811845" y="1513216"/>
                </a:cubicBezTo>
                <a:cubicBezTo>
                  <a:pt x="4853383" y="1513216"/>
                  <a:pt x="4880258" y="1535205"/>
                  <a:pt x="4894918" y="1571855"/>
                </a:cubicBezTo>
                <a:cubicBezTo>
                  <a:pt x="4908357" y="1606060"/>
                  <a:pt x="4876594" y="1614613"/>
                  <a:pt x="4859491" y="1630493"/>
                </a:cubicBezTo>
                <a:cubicBezTo>
                  <a:pt x="4821621" y="1665922"/>
                  <a:pt x="4820399" y="1690354"/>
                  <a:pt x="4853383" y="1731891"/>
                </a:cubicBezTo>
                <a:cubicBezTo>
                  <a:pt x="4883921" y="1769762"/>
                  <a:pt x="4925460" y="1772204"/>
                  <a:pt x="4969438" y="1770984"/>
                </a:cubicBezTo>
                <a:cubicBezTo>
                  <a:pt x="5020749" y="1768539"/>
                  <a:pt x="5052511" y="1740442"/>
                  <a:pt x="5069614" y="1696462"/>
                </a:cubicBezTo>
                <a:cubicBezTo>
                  <a:pt x="5085496" y="1656148"/>
                  <a:pt x="5051292" y="1636602"/>
                  <a:pt x="5025634" y="1617055"/>
                </a:cubicBezTo>
                <a:cubicBezTo>
                  <a:pt x="4997537" y="1595065"/>
                  <a:pt x="5001201" y="1573075"/>
                  <a:pt x="5020749" y="1548643"/>
                </a:cubicBezTo>
                <a:cubicBezTo>
                  <a:pt x="5039074" y="1525431"/>
                  <a:pt x="5062283" y="1513216"/>
                  <a:pt x="5094050" y="1513216"/>
                </a:cubicBezTo>
                <a:cubicBezTo>
                  <a:pt x="5163683" y="1514436"/>
                  <a:pt x="5233316" y="1515658"/>
                  <a:pt x="5302949" y="1513216"/>
                </a:cubicBezTo>
                <a:cubicBezTo>
                  <a:pt x="5332270" y="1511994"/>
                  <a:pt x="5337157" y="1524210"/>
                  <a:pt x="5335935" y="1548643"/>
                </a:cubicBezTo>
                <a:cubicBezTo>
                  <a:pt x="5334713" y="1581628"/>
                  <a:pt x="5335935" y="1615833"/>
                  <a:pt x="5335935" y="1648817"/>
                </a:cubicBezTo>
                <a:cubicBezTo>
                  <a:pt x="5337157" y="1668364"/>
                  <a:pt x="5337157" y="1686689"/>
                  <a:pt x="5335935" y="1706237"/>
                </a:cubicBezTo>
                <a:cubicBezTo>
                  <a:pt x="5335935" y="1727004"/>
                  <a:pt x="5337157" y="1747772"/>
                  <a:pt x="5335935" y="1768539"/>
                </a:cubicBezTo>
                <a:cubicBezTo>
                  <a:pt x="5333492" y="1805189"/>
                  <a:pt x="5312721" y="1830844"/>
                  <a:pt x="5279741" y="1844283"/>
                </a:cubicBezTo>
                <a:cubicBezTo>
                  <a:pt x="5246756" y="1857721"/>
                  <a:pt x="5235760" y="1827179"/>
                  <a:pt x="5219879" y="1808854"/>
                </a:cubicBezTo>
                <a:cubicBezTo>
                  <a:pt x="5185675" y="1770984"/>
                  <a:pt x="5161239" y="1768539"/>
                  <a:pt x="5122147" y="1799081"/>
                </a:cubicBezTo>
                <a:cubicBezTo>
                  <a:pt x="5074501" y="1834509"/>
                  <a:pt x="5070837" y="1883375"/>
                  <a:pt x="5080610" y="1935906"/>
                </a:cubicBezTo>
                <a:cubicBezTo>
                  <a:pt x="5087938" y="1979885"/>
                  <a:pt x="5117259" y="2005540"/>
                  <a:pt x="5156351" y="2018979"/>
                </a:cubicBezTo>
                <a:cubicBezTo>
                  <a:pt x="5193002" y="2029974"/>
                  <a:pt x="5210105" y="2000654"/>
                  <a:pt x="5229651" y="1978665"/>
                </a:cubicBezTo>
                <a:cubicBezTo>
                  <a:pt x="5260193" y="1945680"/>
                  <a:pt x="5278517" y="1945680"/>
                  <a:pt x="5311502" y="1977443"/>
                </a:cubicBezTo>
                <a:cubicBezTo>
                  <a:pt x="5331048" y="1996989"/>
                  <a:pt x="5335935" y="2020200"/>
                  <a:pt x="5335935" y="2047077"/>
                </a:cubicBezTo>
                <a:cubicBezTo>
                  <a:pt x="5334713" y="2114267"/>
                  <a:pt x="5333492" y="2181459"/>
                  <a:pt x="5335935" y="2247429"/>
                </a:cubicBezTo>
                <a:cubicBezTo>
                  <a:pt x="5337157" y="2275526"/>
                  <a:pt x="5331048" y="2285299"/>
                  <a:pt x="5300506" y="2284079"/>
                </a:cubicBezTo>
                <a:cubicBezTo>
                  <a:pt x="5230872" y="2281634"/>
                  <a:pt x="5161239" y="2282856"/>
                  <a:pt x="5091606" y="2282856"/>
                </a:cubicBezTo>
                <a:cubicBezTo>
                  <a:pt x="5062283" y="2282856"/>
                  <a:pt x="5041516" y="2297516"/>
                  <a:pt x="5030522" y="2320726"/>
                </a:cubicBezTo>
                <a:cubicBezTo>
                  <a:pt x="5018307" y="2346381"/>
                  <a:pt x="5046403" y="2351268"/>
                  <a:pt x="5058619" y="2362263"/>
                </a:cubicBezTo>
                <a:cubicBezTo>
                  <a:pt x="5102599" y="2402578"/>
                  <a:pt x="5106265" y="2439228"/>
                  <a:pt x="5070837" y="2486872"/>
                </a:cubicBezTo>
                <a:cubicBezTo>
                  <a:pt x="5034186" y="2535737"/>
                  <a:pt x="4982875" y="2543067"/>
                  <a:pt x="4926682" y="2539402"/>
                </a:cubicBezTo>
                <a:cubicBezTo>
                  <a:pt x="4869262" y="2535737"/>
                  <a:pt x="4833836" y="2501532"/>
                  <a:pt x="4813067" y="2452666"/>
                </a:cubicBezTo>
                <a:cubicBezTo>
                  <a:pt x="4793521" y="2406242"/>
                  <a:pt x="4822840" y="2376923"/>
                  <a:pt x="4855825" y="2352491"/>
                </a:cubicBezTo>
                <a:cubicBezTo>
                  <a:pt x="4886368" y="2329278"/>
                  <a:pt x="4872928" y="2313396"/>
                  <a:pt x="4853383" y="2296294"/>
                </a:cubicBezTo>
                <a:cubicBezTo>
                  <a:pt x="4837499" y="2282856"/>
                  <a:pt x="4819176" y="2281634"/>
                  <a:pt x="4799629" y="2281634"/>
                </a:cubicBezTo>
                <a:cubicBezTo>
                  <a:pt x="4744656" y="2281634"/>
                  <a:pt x="4688460" y="2281634"/>
                  <a:pt x="4633486" y="2281634"/>
                </a:cubicBezTo>
                <a:cubicBezTo>
                  <a:pt x="4584009" y="2281634"/>
                  <a:pt x="4571638" y="2281634"/>
                  <a:pt x="4568545" y="2254834"/>
                </a:cubicBezTo>
                <a:lnTo>
                  <a:pt x="4568533" y="2254378"/>
                </a:lnTo>
                <a:lnTo>
                  <a:pt x="4567644" y="2255861"/>
                </a:lnTo>
                <a:lnTo>
                  <a:pt x="4544720" y="2264404"/>
                </a:lnTo>
                <a:lnTo>
                  <a:pt x="4554906" y="2264379"/>
                </a:lnTo>
                <a:cubicBezTo>
                  <a:pt x="4579338" y="2264379"/>
                  <a:pt x="4573231" y="2281482"/>
                  <a:pt x="4573231" y="2293699"/>
                </a:cubicBezTo>
                <a:cubicBezTo>
                  <a:pt x="4573231" y="2360888"/>
                  <a:pt x="4573231" y="2426858"/>
                  <a:pt x="4573231" y="2494050"/>
                </a:cubicBezTo>
                <a:cubicBezTo>
                  <a:pt x="4573231" y="2514817"/>
                  <a:pt x="4575675" y="2534362"/>
                  <a:pt x="4590334" y="2551467"/>
                </a:cubicBezTo>
                <a:cubicBezTo>
                  <a:pt x="4609880" y="2573457"/>
                  <a:pt x="4624541" y="2578342"/>
                  <a:pt x="4646530" y="2551467"/>
                </a:cubicBezTo>
                <a:cubicBezTo>
                  <a:pt x="4703946" y="2484275"/>
                  <a:pt x="4766251" y="2490385"/>
                  <a:pt x="4815115" y="2567347"/>
                </a:cubicBezTo>
                <a:cubicBezTo>
                  <a:pt x="4852987" y="2627209"/>
                  <a:pt x="4834663" y="2727384"/>
                  <a:pt x="4778466" y="2768920"/>
                </a:cubicBezTo>
                <a:cubicBezTo>
                  <a:pt x="4732044" y="2803126"/>
                  <a:pt x="4697840" y="2798240"/>
                  <a:pt x="4657524" y="2757926"/>
                </a:cubicBezTo>
                <a:cubicBezTo>
                  <a:pt x="4645308" y="2745708"/>
                  <a:pt x="4640420" y="2713946"/>
                  <a:pt x="4612323" y="2728606"/>
                </a:cubicBezTo>
                <a:cubicBezTo>
                  <a:pt x="4589112" y="2740822"/>
                  <a:pt x="4575675" y="2761591"/>
                  <a:pt x="4575675" y="2790910"/>
                </a:cubicBezTo>
                <a:cubicBezTo>
                  <a:pt x="4576894" y="2858100"/>
                  <a:pt x="4574453" y="2924070"/>
                  <a:pt x="4576894" y="2991261"/>
                </a:cubicBezTo>
                <a:cubicBezTo>
                  <a:pt x="4577506" y="3007143"/>
                  <a:pt x="4576286" y="3018138"/>
                  <a:pt x="4570481" y="3024856"/>
                </a:cubicBezTo>
                <a:lnTo>
                  <a:pt x="4561944" y="3029609"/>
                </a:lnTo>
                <a:lnTo>
                  <a:pt x="4568608" y="3030206"/>
                </a:lnTo>
                <a:cubicBezTo>
                  <a:pt x="4573170" y="3031561"/>
                  <a:pt x="4576490" y="3033737"/>
                  <a:pt x="4578857" y="3036715"/>
                </a:cubicBezTo>
                <a:lnTo>
                  <a:pt x="4581540" y="3051267"/>
                </a:lnTo>
                <a:lnTo>
                  <a:pt x="4595169" y="3045892"/>
                </a:lnTo>
                <a:cubicBezTo>
                  <a:pt x="4602213" y="3044843"/>
                  <a:pt x="4610614" y="3044843"/>
                  <a:pt x="4620385" y="3045454"/>
                </a:cubicBezTo>
                <a:cubicBezTo>
                  <a:pt x="4682688" y="3049119"/>
                  <a:pt x="4743775" y="3045454"/>
                  <a:pt x="4806076" y="3046674"/>
                </a:cubicBezTo>
                <a:cubicBezTo>
                  <a:pt x="4837839" y="3046674"/>
                  <a:pt x="4863493" y="3035679"/>
                  <a:pt x="4874487" y="3006359"/>
                </a:cubicBezTo>
                <a:cubicBezTo>
                  <a:pt x="4884260" y="2979484"/>
                  <a:pt x="4854941" y="2975819"/>
                  <a:pt x="4841504" y="2962382"/>
                </a:cubicBezTo>
                <a:cubicBezTo>
                  <a:pt x="4806076" y="2926952"/>
                  <a:pt x="4799966" y="2893968"/>
                  <a:pt x="4826843" y="2852433"/>
                </a:cubicBezTo>
                <a:cubicBezTo>
                  <a:pt x="4874487" y="2777911"/>
                  <a:pt x="4991766" y="2762031"/>
                  <a:pt x="5055294" y="2823113"/>
                </a:cubicBezTo>
                <a:cubicBezTo>
                  <a:pt x="5112710" y="2878088"/>
                  <a:pt x="5113934" y="2922067"/>
                  <a:pt x="5050406" y="2973375"/>
                </a:cubicBezTo>
                <a:cubicBezTo>
                  <a:pt x="5019863" y="2997809"/>
                  <a:pt x="5029637" y="3013691"/>
                  <a:pt x="5051628" y="3033236"/>
                </a:cubicBezTo>
                <a:cubicBezTo>
                  <a:pt x="5067509" y="3046674"/>
                  <a:pt x="5085834" y="3047896"/>
                  <a:pt x="5105382" y="3047896"/>
                </a:cubicBezTo>
                <a:cubicBezTo>
                  <a:pt x="5173793" y="3047896"/>
                  <a:pt x="5242205" y="3049119"/>
                  <a:pt x="5310620" y="3047896"/>
                </a:cubicBezTo>
                <a:cubicBezTo>
                  <a:pt x="5328943" y="3047896"/>
                  <a:pt x="5338715" y="3050340"/>
                  <a:pt x="5338715" y="3073551"/>
                </a:cubicBezTo>
                <a:cubicBezTo>
                  <a:pt x="5337493" y="3148071"/>
                  <a:pt x="5338715" y="3222592"/>
                  <a:pt x="5337493" y="3297112"/>
                </a:cubicBezTo>
                <a:cubicBezTo>
                  <a:pt x="5336275" y="3334984"/>
                  <a:pt x="5314284" y="3360640"/>
                  <a:pt x="5278853" y="3375299"/>
                </a:cubicBezTo>
                <a:cubicBezTo>
                  <a:pt x="5243424" y="3388737"/>
                  <a:pt x="5237318" y="3356974"/>
                  <a:pt x="5221435" y="3339871"/>
                </a:cubicBezTo>
                <a:cubicBezTo>
                  <a:pt x="5186011" y="3302000"/>
                  <a:pt x="5164019" y="3299557"/>
                  <a:pt x="5123706" y="3330097"/>
                </a:cubicBezTo>
                <a:cubicBezTo>
                  <a:pt x="5084613" y="3359419"/>
                  <a:pt x="5077283" y="3398509"/>
                  <a:pt x="5079725" y="3443711"/>
                </a:cubicBezTo>
                <a:cubicBezTo>
                  <a:pt x="5082171" y="3493800"/>
                  <a:pt x="5109045" y="3535335"/>
                  <a:pt x="5153026" y="3549995"/>
                </a:cubicBezTo>
                <a:cubicBezTo>
                  <a:pt x="5194561" y="3564655"/>
                  <a:pt x="5214107" y="3532891"/>
                  <a:pt x="5233655" y="3507238"/>
                </a:cubicBezTo>
                <a:cubicBezTo>
                  <a:pt x="5258085" y="3476696"/>
                  <a:pt x="5281299" y="3481583"/>
                  <a:pt x="5305732" y="3503573"/>
                </a:cubicBezTo>
                <a:cubicBezTo>
                  <a:pt x="5326497" y="3521897"/>
                  <a:pt x="5338715" y="3545108"/>
                  <a:pt x="5337493" y="3574428"/>
                </a:cubicBezTo>
                <a:cubicBezTo>
                  <a:pt x="5336275" y="3618407"/>
                  <a:pt x="5337493" y="3663609"/>
                  <a:pt x="5337493" y="3707588"/>
                </a:cubicBezTo>
                <a:cubicBezTo>
                  <a:pt x="5337493" y="3815093"/>
                  <a:pt x="5337493" y="3815093"/>
                  <a:pt x="5231209" y="3815093"/>
                </a:cubicBezTo>
                <a:cubicBezTo>
                  <a:pt x="5183567" y="3815093"/>
                  <a:pt x="5135923" y="3813871"/>
                  <a:pt x="5088277" y="3815093"/>
                </a:cubicBezTo>
                <a:cubicBezTo>
                  <a:pt x="5062622" y="3816315"/>
                  <a:pt x="5041855" y="3828531"/>
                  <a:pt x="5032081" y="3852965"/>
                </a:cubicBezTo>
                <a:cubicBezTo>
                  <a:pt x="5021087" y="3878619"/>
                  <a:pt x="5047962" y="3883505"/>
                  <a:pt x="5060180" y="3894500"/>
                </a:cubicBezTo>
                <a:cubicBezTo>
                  <a:pt x="5100495" y="3932372"/>
                  <a:pt x="5106604" y="3962912"/>
                  <a:pt x="5079725" y="4006891"/>
                </a:cubicBezTo>
                <a:cubicBezTo>
                  <a:pt x="5045520" y="4063088"/>
                  <a:pt x="4986880" y="4085078"/>
                  <a:pt x="4909915" y="4069196"/>
                </a:cubicBezTo>
                <a:cubicBezTo>
                  <a:pt x="4858608" y="4058201"/>
                  <a:pt x="4826843" y="4023994"/>
                  <a:pt x="4812184" y="3976351"/>
                </a:cubicBezTo>
                <a:cubicBezTo>
                  <a:pt x="4799966" y="3934814"/>
                  <a:pt x="4826843" y="3907938"/>
                  <a:pt x="4857383" y="3885949"/>
                </a:cubicBezTo>
                <a:cubicBezTo>
                  <a:pt x="4886704" y="3865180"/>
                  <a:pt x="4875708" y="3848078"/>
                  <a:pt x="4856163" y="3829753"/>
                </a:cubicBezTo>
                <a:cubicBezTo>
                  <a:pt x="4840282" y="3816315"/>
                  <a:pt x="4821956" y="3815093"/>
                  <a:pt x="4802409" y="3815093"/>
                </a:cubicBezTo>
                <a:cubicBezTo>
                  <a:pt x="4737662" y="3815093"/>
                  <a:pt x="4671692" y="3813871"/>
                  <a:pt x="4606946" y="3816315"/>
                </a:cubicBezTo>
                <a:lnTo>
                  <a:pt x="4581843" y="3811533"/>
                </a:lnTo>
                <a:lnTo>
                  <a:pt x="4581798" y="3821095"/>
                </a:lnTo>
                <a:cubicBezTo>
                  <a:pt x="4581798" y="3896838"/>
                  <a:pt x="4583017" y="3973802"/>
                  <a:pt x="4581798" y="4049544"/>
                </a:cubicBezTo>
                <a:cubicBezTo>
                  <a:pt x="4581798" y="4084971"/>
                  <a:pt x="4558584" y="4106962"/>
                  <a:pt x="4528044" y="4121621"/>
                </a:cubicBezTo>
                <a:cubicBezTo>
                  <a:pt x="4495059" y="4137504"/>
                  <a:pt x="4484065" y="4106962"/>
                  <a:pt x="4468182" y="4089859"/>
                </a:cubicBezTo>
                <a:cubicBezTo>
                  <a:pt x="4430311" y="4047102"/>
                  <a:pt x="4407103" y="4045879"/>
                  <a:pt x="4364344" y="4081306"/>
                </a:cubicBezTo>
                <a:cubicBezTo>
                  <a:pt x="4309368" y="4127729"/>
                  <a:pt x="4306924" y="4223012"/>
                  <a:pt x="4360678" y="4271879"/>
                </a:cubicBezTo>
                <a:cubicBezTo>
                  <a:pt x="4403437" y="4310973"/>
                  <a:pt x="4430311" y="4309750"/>
                  <a:pt x="4469406" y="4266992"/>
                </a:cubicBezTo>
                <a:cubicBezTo>
                  <a:pt x="4485284" y="4249889"/>
                  <a:pt x="4496280" y="4219348"/>
                  <a:pt x="4529266" y="4235230"/>
                </a:cubicBezTo>
                <a:cubicBezTo>
                  <a:pt x="4561028" y="4249889"/>
                  <a:pt x="4583017" y="4273100"/>
                  <a:pt x="4583017" y="4312195"/>
                </a:cubicBezTo>
                <a:cubicBezTo>
                  <a:pt x="4585462" y="4347622"/>
                  <a:pt x="4585462" y="4384273"/>
                  <a:pt x="4585462" y="4420922"/>
                </a:cubicBezTo>
                <a:cubicBezTo>
                  <a:pt x="4585462" y="4458793"/>
                  <a:pt x="4584239" y="4496664"/>
                  <a:pt x="4585462" y="4535755"/>
                </a:cubicBezTo>
                <a:cubicBezTo>
                  <a:pt x="4586072" y="4546140"/>
                  <a:pt x="4584544" y="4552858"/>
                  <a:pt x="4580270" y="4556981"/>
                </a:cubicBezTo>
                <a:lnTo>
                  <a:pt x="4558623" y="4562623"/>
                </a:lnTo>
                <a:lnTo>
                  <a:pt x="4558623" y="4566440"/>
                </a:lnTo>
                <a:lnTo>
                  <a:pt x="4573343" y="4568280"/>
                </a:lnTo>
                <a:cubicBezTo>
                  <a:pt x="4578783" y="4570870"/>
                  <a:pt x="4582162" y="4575308"/>
                  <a:pt x="4583997" y="4582238"/>
                </a:cubicBezTo>
                <a:lnTo>
                  <a:pt x="4584236" y="4584622"/>
                </a:lnTo>
                <a:lnTo>
                  <a:pt x="4590467" y="4573843"/>
                </a:lnTo>
                <a:cubicBezTo>
                  <a:pt x="4597795" y="4567736"/>
                  <a:pt x="4609706" y="4566514"/>
                  <a:pt x="4626810" y="4567125"/>
                </a:cubicBezTo>
                <a:cubicBezTo>
                  <a:pt x="4692779" y="4569566"/>
                  <a:pt x="4759971" y="4568344"/>
                  <a:pt x="4827160" y="4567125"/>
                </a:cubicBezTo>
                <a:cubicBezTo>
                  <a:pt x="4852815" y="4567125"/>
                  <a:pt x="4873581" y="4573232"/>
                  <a:pt x="4890685" y="4591556"/>
                </a:cubicBezTo>
                <a:cubicBezTo>
                  <a:pt x="4922450" y="4624541"/>
                  <a:pt x="4922450" y="4641643"/>
                  <a:pt x="4887021" y="4672186"/>
                </a:cubicBezTo>
                <a:cubicBezTo>
                  <a:pt x="4865031" y="4690510"/>
                  <a:pt x="4839376" y="4707614"/>
                  <a:pt x="4847929" y="4741820"/>
                </a:cubicBezTo>
                <a:cubicBezTo>
                  <a:pt x="4857700" y="4779693"/>
                  <a:pt x="4882136" y="4806567"/>
                  <a:pt x="4920006" y="4817562"/>
                </a:cubicBezTo>
                <a:cubicBezTo>
                  <a:pt x="4973756" y="4832222"/>
                  <a:pt x="5023846" y="4829780"/>
                  <a:pt x="5064161" y="4784578"/>
                </a:cubicBezTo>
                <a:cubicBezTo>
                  <a:pt x="5100811" y="4744263"/>
                  <a:pt x="5098367" y="4714943"/>
                  <a:pt x="5056831" y="4679516"/>
                </a:cubicBezTo>
                <a:cubicBezTo>
                  <a:pt x="5039730" y="4664857"/>
                  <a:pt x="5011629" y="4653861"/>
                  <a:pt x="5022625" y="4624541"/>
                </a:cubicBezTo>
                <a:cubicBezTo>
                  <a:pt x="5034842" y="4592778"/>
                  <a:pt x="5056831" y="4568344"/>
                  <a:pt x="5092258" y="4568344"/>
                </a:cubicBezTo>
                <a:cubicBezTo>
                  <a:pt x="5171666" y="4567125"/>
                  <a:pt x="5251073" y="4568344"/>
                  <a:pt x="5330479" y="4567125"/>
                </a:cubicBezTo>
                <a:cubicBezTo>
                  <a:pt x="5354913" y="4567125"/>
                  <a:pt x="5353691" y="4581784"/>
                  <a:pt x="5353691" y="4597667"/>
                </a:cubicBezTo>
                <a:cubicBezTo>
                  <a:pt x="5353691" y="4666079"/>
                  <a:pt x="5353691" y="4734491"/>
                  <a:pt x="5353691" y="4802902"/>
                </a:cubicBezTo>
                <a:cubicBezTo>
                  <a:pt x="5353691" y="4823671"/>
                  <a:pt x="5354913" y="4843218"/>
                  <a:pt x="5372016" y="4859100"/>
                </a:cubicBezTo>
                <a:cubicBezTo>
                  <a:pt x="5390340" y="4876203"/>
                  <a:pt x="5404999" y="4881089"/>
                  <a:pt x="5422104" y="4856655"/>
                </a:cubicBezTo>
                <a:cubicBezTo>
                  <a:pt x="5444093" y="4826114"/>
                  <a:pt x="5470970" y="4796794"/>
                  <a:pt x="5512505" y="4809011"/>
                </a:cubicBezTo>
                <a:cubicBezTo>
                  <a:pt x="5560149" y="4822449"/>
                  <a:pt x="5596799" y="4854213"/>
                  <a:pt x="5607793" y="4905522"/>
                </a:cubicBezTo>
                <a:cubicBezTo>
                  <a:pt x="5620010" y="4965383"/>
                  <a:pt x="5615124" y="5021578"/>
                  <a:pt x="5562593" y="5065559"/>
                </a:cubicBezTo>
                <a:cubicBezTo>
                  <a:pt x="5512505" y="5105874"/>
                  <a:pt x="5473414" y="5103431"/>
                  <a:pt x="5430656" y="5057007"/>
                </a:cubicBezTo>
                <a:cubicBezTo>
                  <a:pt x="5419660" y="5046011"/>
                  <a:pt x="5414773" y="5020357"/>
                  <a:pt x="5392783" y="5030132"/>
                </a:cubicBezTo>
                <a:cubicBezTo>
                  <a:pt x="5370794" y="5039903"/>
                  <a:pt x="5354913" y="5058228"/>
                  <a:pt x="5354913" y="5085106"/>
                </a:cubicBezTo>
                <a:cubicBezTo>
                  <a:pt x="5354913" y="5154739"/>
                  <a:pt x="5353691" y="5224372"/>
                  <a:pt x="5356135" y="5294008"/>
                </a:cubicBezTo>
                <a:lnTo>
                  <a:pt x="5350738" y="5321930"/>
                </a:lnTo>
                <a:lnTo>
                  <a:pt x="5371287" y="5318874"/>
                </a:lnTo>
                <a:cubicBezTo>
                  <a:pt x="5442143" y="5320096"/>
                  <a:pt x="5514220" y="5320096"/>
                  <a:pt x="5585072" y="5318874"/>
                </a:cubicBezTo>
                <a:cubicBezTo>
                  <a:pt x="5613173" y="5318874"/>
                  <a:pt x="5633940" y="5328648"/>
                  <a:pt x="5651043" y="5349416"/>
                </a:cubicBezTo>
                <a:cubicBezTo>
                  <a:pt x="5673032" y="5375071"/>
                  <a:pt x="5677919" y="5398281"/>
                  <a:pt x="5646155" y="5421493"/>
                </a:cubicBezTo>
                <a:cubicBezTo>
                  <a:pt x="5620503" y="5439818"/>
                  <a:pt x="5591181" y="5460587"/>
                  <a:pt x="5603399" y="5498458"/>
                </a:cubicBezTo>
                <a:cubicBezTo>
                  <a:pt x="5616836" y="5539994"/>
                  <a:pt x="5647378" y="5568092"/>
                  <a:pt x="5692578" y="5574200"/>
                </a:cubicBezTo>
                <a:cubicBezTo>
                  <a:pt x="5736560" y="5580308"/>
                  <a:pt x="5778092" y="5577865"/>
                  <a:pt x="5812299" y="5544881"/>
                </a:cubicBezTo>
                <a:cubicBezTo>
                  <a:pt x="5855056" y="5502123"/>
                  <a:pt x="5853835" y="5469139"/>
                  <a:pt x="5808637" y="5430047"/>
                </a:cubicBezTo>
                <a:cubicBezTo>
                  <a:pt x="5792754" y="5416606"/>
                  <a:pt x="5765877" y="5408054"/>
                  <a:pt x="5778092" y="5378737"/>
                </a:cubicBezTo>
                <a:cubicBezTo>
                  <a:pt x="5789088" y="5351860"/>
                  <a:pt x="5807412" y="5324983"/>
                  <a:pt x="5837954" y="5323761"/>
                </a:cubicBezTo>
                <a:cubicBezTo>
                  <a:pt x="5922246" y="5320096"/>
                  <a:pt x="6006538" y="5321318"/>
                  <a:pt x="6089611" y="5320096"/>
                </a:cubicBezTo>
                <a:cubicBezTo>
                  <a:pt x="6110381" y="5320096"/>
                  <a:pt x="6106714" y="5333534"/>
                  <a:pt x="6106714" y="5345752"/>
                </a:cubicBezTo>
                <a:cubicBezTo>
                  <a:pt x="6106714" y="5421493"/>
                  <a:pt x="6107935" y="5498458"/>
                  <a:pt x="6106714" y="5574200"/>
                </a:cubicBezTo>
                <a:cubicBezTo>
                  <a:pt x="6106714" y="5609627"/>
                  <a:pt x="6083502" y="5631617"/>
                  <a:pt x="6052963" y="5646278"/>
                </a:cubicBezTo>
                <a:cubicBezTo>
                  <a:pt x="6019978" y="5662160"/>
                  <a:pt x="6008982" y="5631617"/>
                  <a:pt x="5993101" y="5614516"/>
                </a:cubicBezTo>
                <a:cubicBezTo>
                  <a:pt x="5955231" y="5571758"/>
                  <a:pt x="5932020" y="5570536"/>
                  <a:pt x="5889264" y="5605962"/>
                </a:cubicBezTo>
                <a:cubicBezTo>
                  <a:pt x="5834290" y="5652387"/>
                  <a:pt x="5831845" y="5747674"/>
                  <a:pt x="5885598" y="5796541"/>
                </a:cubicBezTo>
                <a:cubicBezTo>
                  <a:pt x="5928355" y="5835633"/>
                  <a:pt x="5955231" y="5834411"/>
                  <a:pt x="5994323" y="5791654"/>
                </a:cubicBezTo>
                <a:cubicBezTo>
                  <a:pt x="6010204" y="5774551"/>
                  <a:pt x="6021199" y="5744009"/>
                  <a:pt x="6054184" y="5759891"/>
                </a:cubicBezTo>
                <a:cubicBezTo>
                  <a:pt x="6085947" y="5774551"/>
                  <a:pt x="6107935" y="5797761"/>
                  <a:pt x="6107935" y="5836855"/>
                </a:cubicBezTo>
                <a:cubicBezTo>
                  <a:pt x="6110381" y="5872283"/>
                  <a:pt x="6110381" y="5908933"/>
                  <a:pt x="6110381" y="5945582"/>
                </a:cubicBezTo>
                <a:cubicBezTo>
                  <a:pt x="6110381" y="5983452"/>
                  <a:pt x="6109158" y="6021324"/>
                  <a:pt x="6110381" y="6060417"/>
                </a:cubicBezTo>
                <a:lnTo>
                  <a:pt x="6106055" y="6078094"/>
                </a:lnTo>
                <a:lnTo>
                  <a:pt x="6108059" y="6078201"/>
                </a:lnTo>
                <a:cubicBezTo>
                  <a:pt x="6113937" y="6079652"/>
                  <a:pt x="6118214" y="6082172"/>
                  <a:pt x="6121268" y="6085837"/>
                </a:cubicBezTo>
                <a:lnTo>
                  <a:pt x="6125405" y="6096044"/>
                </a:lnTo>
                <a:lnTo>
                  <a:pt x="6126156" y="6094323"/>
                </a:lnTo>
                <a:cubicBezTo>
                  <a:pt x="6132418" y="6087298"/>
                  <a:pt x="6143413" y="6084855"/>
                  <a:pt x="6161736" y="6086077"/>
                </a:cubicBezTo>
                <a:cubicBezTo>
                  <a:pt x="6230149" y="6089740"/>
                  <a:pt x="6298561" y="6088520"/>
                  <a:pt x="6366973" y="6086077"/>
                </a:cubicBezTo>
                <a:cubicBezTo>
                  <a:pt x="6399958" y="6084855"/>
                  <a:pt x="6420725" y="6100737"/>
                  <a:pt x="6439050" y="6125170"/>
                </a:cubicBezTo>
                <a:cubicBezTo>
                  <a:pt x="6454932" y="6147159"/>
                  <a:pt x="6456154" y="6166707"/>
                  <a:pt x="6431720" y="6186252"/>
                </a:cubicBezTo>
                <a:cubicBezTo>
                  <a:pt x="6403623" y="6209464"/>
                  <a:pt x="6364530" y="6230232"/>
                  <a:pt x="6388963" y="6279097"/>
                </a:cubicBezTo>
                <a:cubicBezTo>
                  <a:pt x="6413395" y="6327963"/>
                  <a:pt x="6463484" y="6351176"/>
                  <a:pt x="6524567" y="6343846"/>
                </a:cubicBezTo>
                <a:cubicBezTo>
                  <a:pt x="6570989" y="6337738"/>
                  <a:pt x="6618633" y="6299866"/>
                  <a:pt x="6624741" y="6260772"/>
                </a:cubicBezTo>
                <a:cubicBezTo>
                  <a:pt x="6629628" y="6231454"/>
                  <a:pt x="6608861" y="6214349"/>
                  <a:pt x="6589314" y="6197247"/>
                </a:cubicBezTo>
                <a:cubicBezTo>
                  <a:pt x="6572211" y="6182587"/>
                  <a:pt x="6546556" y="6170372"/>
                  <a:pt x="6559994" y="6139830"/>
                </a:cubicBezTo>
                <a:cubicBezTo>
                  <a:pt x="6572211" y="6112953"/>
                  <a:pt x="6590536" y="6088520"/>
                  <a:pt x="6622298" y="6087298"/>
                </a:cubicBezTo>
                <a:cubicBezTo>
                  <a:pt x="6705370" y="6084855"/>
                  <a:pt x="6787220" y="6086077"/>
                  <a:pt x="6870294" y="6086077"/>
                </a:cubicBezTo>
                <a:lnTo>
                  <a:pt x="6878000" y="6089431"/>
                </a:lnTo>
                <a:lnTo>
                  <a:pt x="6879007" y="6086924"/>
                </a:lnTo>
                <a:lnTo>
                  <a:pt x="6877557" y="6084401"/>
                </a:lnTo>
                <a:cubicBezTo>
                  <a:pt x="6876221" y="6079209"/>
                  <a:pt x="6875763" y="6072642"/>
                  <a:pt x="6876069" y="6064396"/>
                </a:cubicBezTo>
                <a:cubicBezTo>
                  <a:pt x="6879734" y="5997205"/>
                  <a:pt x="6877291" y="5928793"/>
                  <a:pt x="6877291" y="5860381"/>
                </a:cubicBezTo>
                <a:cubicBezTo>
                  <a:pt x="6877291" y="5829839"/>
                  <a:pt x="6861409" y="5807849"/>
                  <a:pt x="6835754" y="5796854"/>
                </a:cubicBezTo>
                <a:cubicBezTo>
                  <a:pt x="6812542" y="5787081"/>
                  <a:pt x="6806435" y="5815179"/>
                  <a:pt x="6794219" y="5827396"/>
                </a:cubicBezTo>
                <a:cubicBezTo>
                  <a:pt x="6753903" y="5867710"/>
                  <a:pt x="6717253" y="5871375"/>
                  <a:pt x="6672053" y="5838391"/>
                </a:cubicBezTo>
                <a:cubicBezTo>
                  <a:pt x="6620744" y="5800519"/>
                  <a:pt x="6613414" y="5749211"/>
                  <a:pt x="6618301" y="5690570"/>
                </a:cubicBezTo>
                <a:cubicBezTo>
                  <a:pt x="6623188" y="5633153"/>
                  <a:pt x="6657393" y="5597725"/>
                  <a:pt x="6707480" y="5578181"/>
                </a:cubicBezTo>
                <a:cubicBezTo>
                  <a:pt x="6753903" y="5559855"/>
                  <a:pt x="6782002" y="5590395"/>
                  <a:pt x="6806435" y="5623380"/>
                </a:cubicBezTo>
                <a:cubicBezTo>
                  <a:pt x="6824759" y="5647814"/>
                  <a:pt x="6839419" y="5640484"/>
                  <a:pt x="6856522" y="5623380"/>
                </a:cubicBezTo>
                <a:cubicBezTo>
                  <a:pt x="6871182" y="5607498"/>
                  <a:pt x="6876069" y="5589174"/>
                  <a:pt x="6876069" y="5567184"/>
                </a:cubicBezTo>
                <a:cubicBezTo>
                  <a:pt x="6874847" y="5501214"/>
                  <a:pt x="6877291" y="5436468"/>
                  <a:pt x="6874847" y="5371720"/>
                </a:cubicBezTo>
                <a:cubicBezTo>
                  <a:pt x="6873626" y="5342401"/>
                  <a:pt x="6879734" y="5331406"/>
                  <a:pt x="6912719" y="5332627"/>
                </a:cubicBezTo>
                <a:cubicBezTo>
                  <a:pt x="6979908" y="5335071"/>
                  <a:pt x="7045878" y="5332627"/>
                  <a:pt x="7113069" y="5333849"/>
                </a:cubicBezTo>
                <a:cubicBezTo>
                  <a:pt x="7143610" y="5333849"/>
                  <a:pt x="7166822" y="5321632"/>
                  <a:pt x="7179039" y="5295978"/>
                </a:cubicBezTo>
                <a:cubicBezTo>
                  <a:pt x="7191254" y="5269101"/>
                  <a:pt x="7159492" y="5264216"/>
                  <a:pt x="7147275" y="5250776"/>
                </a:cubicBezTo>
                <a:cubicBezTo>
                  <a:pt x="7109404" y="5212905"/>
                  <a:pt x="7104517" y="5178699"/>
                  <a:pt x="7136280" y="5133498"/>
                </a:cubicBezTo>
                <a:cubicBezTo>
                  <a:pt x="7175372" y="5077303"/>
                  <a:pt x="7231569" y="5072416"/>
                  <a:pt x="7292651" y="5078525"/>
                </a:cubicBezTo>
                <a:cubicBezTo>
                  <a:pt x="7337853" y="5083410"/>
                  <a:pt x="7389162" y="5124946"/>
                  <a:pt x="7400157" y="5167705"/>
                </a:cubicBezTo>
                <a:cubicBezTo>
                  <a:pt x="7412373" y="5211683"/>
                  <a:pt x="7387940" y="5242226"/>
                  <a:pt x="7354955" y="5264216"/>
                </a:cubicBezTo>
                <a:cubicBezTo>
                  <a:pt x="7324413" y="5284983"/>
                  <a:pt x="7336631" y="5300865"/>
                  <a:pt x="7357398" y="5319191"/>
                </a:cubicBezTo>
                <a:cubicBezTo>
                  <a:pt x="7372058" y="5332627"/>
                  <a:pt x="7390383" y="5335071"/>
                  <a:pt x="7409930" y="5335071"/>
                </a:cubicBezTo>
                <a:cubicBezTo>
                  <a:pt x="7478342" y="5333849"/>
                  <a:pt x="7546754" y="5335071"/>
                  <a:pt x="7615166" y="5333849"/>
                </a:cubicBezTo>
                <a:cubicBezTo>
                  <a:pt x="7638378" y="5333849"/>
                  <a:pt x="7644486" y="5339958"/>
                  <a:pt x="7644486" y="5363168"/>
                </a:cubicBezTo>
                <a:cubicBezTo>
                  <a:pt x="7643265" y="5436468"/>
                  <a:pt x="7644486" y="5508546"/>
                  <a:pt x="7644486" y="5581843"/>
                </a:cubicBezTo>
                <a:cubicBezTo>
                  <a:pt x="7644486" y="5622159"/>
                  <a:pt x="7622498" y="5646592"/>
                  <a:pt x="7588291" y="5661252"/>
                </a:cubicBezTo>
                <a:cubicBezTo>
                  <a:pt x="7552863" y="5677133"/>
                  <a:pt x="7545534" y="5642927"/>
                  <a:pt x="7529651" y="5627045"/>
                </a:cubicBezTo>
                <a:cubicBezTo>
                  <a:pt x="7493002" y="5589174"/>
                  <a:pt x="7468569" y="5586731"/>
                  <a:pt x="7428255" y="5619716"/>
                </a:cubicBezTo>
                <a:cubicBezTo>
                  <a:pt x="7384275" y="5656366"/>
                  <a:pt x="7381832" y="5704009"/>
                  <a:pt x="7390383" y="5754097"/>
                </a:cubicBezTo>
                <a:cubicBezTo>
                  <a:pt x="7397713" y="5798076"/>
                  <a:pt x="7428255" y="5823731"/>
                  <a:pt x="7466127" y="5837169"/>
                </a:cubicBezTo>
                <a:cubicBezTo>
                  <a:pt x="7500332" y="5849386"/>
                  <a:pt x="7521101" y="5820066"/>
                  <a:pt x="7538204" y="5795633"/>
                </a:cubicBezTo>
                <a:cubicBezTo>
                  <a:pt x="7563858" y="5760204"/>
                  <a:pt x="7589513" y="5766314"/>
                  <a:pt x="7617611" y="5791968"/>
                </a:cubicBezTo>
                <a:cubicBezTo>
                  <a:pt x="7635935" y="5809071"/>
                  <a:pt x="7645708" y="5829839"/>
                  <a:pt x="7644486" y="5855493"/>
                </a:cubicBezTo>
                <a:cubicBezTo>
                  <a:pt x="7643265" y="5890921"/>
                  <a:pt x="7644486" y="5925128"/>
                  <a:pt x="7644486" y="5960555"/>
                </a:cubicBezTo>
                <a:cubicBezTo>
                  <a:pt x="7643265" y="5998427"/>
                  <a:pt x="7643265" y="6036299"/>
                  <a:pt x="7645708" y="6072947"/>
                </a:cubicBezTo>
                <a:lnTo>
                  <a:pt x="7643676" y="6091527"/>
                </a:lnTo>
                <a:lnTo>
                  <a:pt x="7645318" y="6082343"/>
                </a:lnTo>
                <a:cubicBezTo>
                  <a:pt x="7650662" y="6075776"/>
                  <a:pt x="7660435" y="6073028"/>
                  <a:pt x="7677538" y="6073639"/>
                </a:cubicBezTo>
                <a:cubicBezTo>
                  <a:pt x="7747172" y="6077304"/>
                  <a:pt x="7816806" y="6074861"/>
                  <a:pt x="7886441" y="6074861"/>
                </a:cubicBezTo>
                <a:cubicBezTo>
                  <a:pt x="7915760" y="6074861"/>
                  <a:pt x="7938970" y="6085854"/>
                  <a:pt x="7956073" y="6107844"/>
                </a:cubicBezTo>
                <a:cubicBezTo>
                  <a:pt x="7975620" y="6132276"/>
                  <a:pt x="7979285" y="6154268"/>
                  <a:pt x="7949965" y="6176258"/>
                </a:cubicBezTo>
                <a:cubicBezTo>
                  <a:pt x="7924311" y="6195803"/>
                  <a:pt x="7890105" y="6216571"/>
                  <a:pt x="7905986" y="6256885"/>
                </a:cubicBezTo>
                <a:cubicBezTo>
                  <a:pt x="7923090" y="6298422"/>
                  <a:pt x="7953630" y="6327742"/>
                  <a:pt x="8002497" y="6331407"/>
                </a:cubicBezTo>
                <a:cubicBezTo>
                  <a:pt x="8041589" y="6335072"/>
                  <a:pt x="8078239" y="6332629"/>
                  <a:pt x="8110001" y="6304530"/>
                </a:cubicBezTo>
                <a:cubicBezTo>
                  <a:pt x="8160089" y="6258108"/>
                  <a:pt x="8160089" y="6228788"/>
                  <a:pt x="8110001" y="6183586"/>
                </a:cubicBezTo>
                <a:cubicBezTo>
                  <a:pt x="8095342" y="6171371"/>
                  <a:pt x="8070909" y="6161598"/>
                  <a:pt x="8079461" y="6135943"/>
                </a:cubicBezTo>
                <a:cubicBezTo>
                  <a:pt x="8089234" y="6106623"/>
                  <a:pt x="8108779" y="6078526"/>
                  <a:pt x="8141764" y="6077304"/>
                </a:cubicBezTo>
                <a:cubicBezTo>
                  <a:pt x="8226058" y="6073639"/>
                  <a:pt x="8310352" y="6074861"/>
                  <a:pt x="8393425" y="6074861"/>
                </a:cubicBezTo>
                <a:cubicBezTo>
                  <a:pt x="8399838" y="6074861"/>
                  <a:pt x="8404037" y="6076082"/>
                  <a:pt x="8406729" y="6078106"/>
                </a:cubicBezTo>
                <a:lnTo>
                  <a:pt x="8410249" y="6084768"/>
                </a:lnTo>
                <a:lnTo>
                  <a:pt x="8414744" y="6080797"/>
                </a:lnTo>
                <a:cubicBezTo>
                  <a:pt x="8420699" y="6078506"/>
                  <a:pt x="8428640" y="6079422"/>
                  <a:pt x="8436581" y="6079422"/>
                </a:cubicBezTo>
                <a:cubicBezTo>
                  <a:pt x="8504993" y="6079422"/>
                  <a:pt x="8573405" y="6079422"/>
                  <a:pt x="8641819" y="6079422"/>
                </a:cubicBezTo>
                <a:cubicBezTo>
                  <a:pt x="8660144" y="6079422"/>
                  <a:pt x="8677247" y="6078202"/>
                  <a:pt x="8690684" y="6065984"/>
                </a:cubicBezTo>
                <a:cubicBezTo>
                  <a:pt x="8713896" y="6046439"/>
                  <a:pt x="8726112" y="6030557"/>
                  <a:pt x="8693127" y="6003680"/>
                </a:cubicBezTo>
                <a:cubicBezTo>
                  <a:pt x="8633267" y="5957258"/>
                  <a:pt x="8633267" y="5909613"/>
                  <a:pt x="8688242" y="5855861"/>
                </a:cubicBezTo>
                <a:cubicBezTo>
                  <a:pt x="8746881" y="5798443"/>
                  <a:pt x="8856828" y="5805773"/>
                  <a:pt x="8909360" y="5870521"/>
                </a:cubicBezTo>
                <a:cubicBezTo>
                  <a:pt x="8949675" y="5919386"/>
                  <a:pt x="8946010" y="5954815"/>
                  <a:pt x="8900808" y="5998795"/>
                </a:cubicBezTo>
                <a:cubicBezTo>
                  <a:pt x="8888593" y="6011010"/>
                  <a:pt x="8861716" y="6017119"/>
                  <a:pt x="8873933" y="6041552"/>
                </a:cubicBezTo>
                <a:cubicBezTo>
                  <a:pt x="8884928" y="6063542"/>
                  <a:pt x="8904473" y="6078202"/>
                  <a:pt x="8931350" y="6078202"/>
                </a:cubicBezTo>
                <a:cubicBezTo>
                  <a:pt x="8999762" y="6078202"/>
                  <a:pt x="9068174" y="6080644"/>
                  <a:pt x="9136587" y="6076979"/>
                </a:cubicBezTo>
                <a:cubicBezTo>
                  <a:pt x="9146055" y="6076369"/>
                  <a:pt x="9153537" y="6076751"/>
                  <a:pt x="9159416" y="6078201"/>
                </a:cubicBezTo>
                <a:lnTo>
                  <a:pt x="9160395" y="6078767"/>
                </a:lnTo>
                <a:lnTo>
                  <a:pt x="9159383" y="6065178"/>
                </a:lnTo>
                <a:cubicBezTo>
                  <a:pt x="9161828" y="5995543"/>
                  <a:pt x="9159383" y="5925909"/>
                  <a:pt x="9160606" y="5856275"/>
                </a:cubicBezTo>
                <a:cubicBezTo>
                  <a:pt x="9160606" y="5828177"/>
                  <a:pt x="9147168" y="5809852"/>
                  <a:pt x="9125178" y="5798859"/>
                </a:cubicBezTo>
                <a:cubicBezTo>
                  <a:pt x="9099523" y="5785420"/>
                  <a:pt x="9094636" y="5813517"/>
                  <a:pt x="9083641" y="5825735"/>
                </a:cubicBezTo>
                <a:cubicBezTo>
                  <a:pt x="9042106" y="5869714"/>
                  <a:pt x="9003012" y="5873379"/>
                  <a:pt x="8954147" y="5835507"/>
                </a:cubicBezTo>
                <a:cubicBezTo>
                  <a:pt x="8928492" y="5817184"/>
                  <a:pt x="8916275" y="5790307"/>
                  <a:pt x="8901615" y="5764652"/>
                </a:cubicBezTo>
                <a:cubicBezTo>
                  <a:pt x="8901615" y="5732890"/>
                  <a:pt x="8901615" y="5701127"/>
                  <a:pt x="8902838" y="5668142"/>
                </a:cubicBezTo>
                <a:cubicBezTo>
                  <a:pt x="8963920" y="5559415"/>
                  <a:pt x="9012786" y="5550862"/>
                  <a:pt x="9099523" y="5630271"/>
                </a:cubicBezTo>
                <a:cubicBezTo>
                  <a:pt x="9111739" y="5641266"/>
                  <a:pt x="9120291" y="5642486"/>
                  <a:pt x="9132508" y="5633936"/>
                </a:cubicBezTo>
                <a:cubicBezTo>
                  <a:pt x="9153276" y="5618054"/>
                  <a:pt x="9161828" y="5599729"/>
                  <a:pt x="9161828" y="5572855"/>
                </a:cubicBezTo>
                <a:cubicBezTo>
                  <a:pt x="9160606" y="5509327"/>
                  <a:pt x="9165493" y="5445801"/>
                  <a:pt x="9160606" y="5382276"/>
                </a:cubicBezTo>
                <a:cubicBezTo>
                  <a:pt x="9156941" y="5337075"/>
                  <a:pt x="9174043" y="5329745"/>
                  <a:pt x="9213137" y="5332188"/>
                </a:cubicBezTo>
                <a:cubicBezTo>
                  <a:pt x="9275440" y="5335853"/>
                  <a:pt x="9336524" y="5332188"/>
                  <a:pt x="9398827" y="5333410"/>
                </a:cubicBezTo>
                <a:cubicBezTo>
                  <a:pt x="9430591" y="5333410"/>
                  <a:pt x="9456246" y="5322415"/>
                  <a:pt x="9467240" y="5293094"/>
                </a:cubicBezTo>
                <a:cubicBezTo>
                  <a:pt x="9477013" y="5266220"/>
                  <a:pt x="9447693" y="5262554"/>
                  <a:pt x="9434256" y="5249118"/>
                </a:cubicBezTo>
                <a:cubicBezTo>
                  <a:pt x="9398827" y="5213689"/>
                  <a:pt x="9392719" y="5180704"/>
                  <a:pt x="9419596" y="5139169"/>
                </a:cubicBezTo>
                <a:cubicBezTo>
                  <a:pt x="9467240" y="5064646"/>
                  <a:pt x="9584518" y="5048767"/>
                  <a:pt x="9648044" y="5109848"/>
                </a:cubicBezTo>
                <a:cubicBezTo>
                  <a:pt x="9705461" y="5164823"/>
                  <a:pt x="9706684" y="5208802"/>
                  <a:pt x="9643157" y="5260110"/>
                </a:cubicBezTo>
                <a:cubicBezTo>
                  <a:pt x="9612615" y="5284544"/>
                  <a:pt x="9622389" y="5300426"/>
                  <a:pt x="9644379" y="5319971"/>
                </a:cubicBezTo>
                <a:cubicBezTo>
                  <a:pt x="9660261" y="5333410"/>
                  <a:pt x="9678584" y="5334631"/>
                  <a:pt x="9698131" y="5334631"/>
                </a:cubicBezTo>
                <a:cubicBezTo>
                  <a:pt x="9766544" y="5334631"/>
                  <a:pt x="9834956" y="5335853"/>
                  <a:pt x="9903370" y="5334631"/>
                </a:cubicBezTo>
                <a:cubicBezTo>
                  <a:pt x="9917113" y="5334631"/>
                  <a:pt x="9926046" y="5336007"/>
                  <a:pt x="9929654" y="5346485"/>
                </a:cubicBezTo>
                <a:lnTo>
                  <a:pt x="9930724" y="5354628"/>
                </a:lnTo>
                <a:lnTo>
                  <a:pt x="9932264" y="5354628"/>
                </a:lnTo>
                <a:lnTo>
                  <a:pt x="9932800" y="5349644"/>
                </a:lnTo>
                <a:cubicBezTo>
                  <a:pt x="9935434" y="5343481"/>
                  <a:pt x="9940130" y="5339572"/>
                  <a:pt x="9947918" y="5337597"/>
                </a:cubicBezTo>
                <a:lnTo>
                  <a:pt x="9951318" y="5337347"/>
                </a:lnTo>
                <a:lnTo>
                  <a:pt x="9952291" y="5335521"/>
                </a:lnTo>
                <a:lnTo>
                  <a:pt x="9934946" y="5330599"/>
                </a:lnTo>
                <a:cubicBezTo>
                  <a:pt x="9931128" y="5326323"/>
                  <a:pt x="9930211" y="5319604"/>
                  <a:pt x="9930821" y="5309831"/>
                </a:cubicBezTo>
                <a:cubicBezTo>
                  <a:pt x="9932044" y="5235310"/>
                  <a:pt x="9932044" y="5160790"/>
                  <a:pt x="9930821" y="5086269"/>
                </a:cubicBezTo>
                <a:cubicBezTo>
                  <a:pt x="9930821" y="5052061"/>
                  <a:pt x="9950369" y="5030071"/>
                  <a:pt x="9976023" y="5012969"/>
                </a:cubicBezTo>
                <a:cubicBezTo>
                  <a:pt x="9993126" y="5001974"/>
                  <a:pt x="10009008" y="5003196"/>
                  <a:pt x="10026111" y="5020300"/>
                </a:cubicBezTo>
                <a:cubicBezTo>
                  <a:pt x="10092080" y="5086269"/>
                  <a:pt x="10106740" y="5088711"/>
                  <a:pt x="10151942" y="5045954"/>
                </a:cubicBezTo>
                <a:cubicBezTo>
                  <a:pt x="10198364" y="5001974"/>
                  <a:pt x="10203251" y="4916459"/>
                  <a:pt x="10160492" y="4868816"/>
                </a:cubicBezTo>
                <a:cubicBezTo>
                  <a:pt x="10115292" y="4817505"/>
                  <a:pt x="10084750" y="4817505"/>
                  <a:pt x="10039550" y="4867593"/>
                </a:cubicBezTo>
                <a:cubicBezTo>
                  <a:pt x="10026111" y="4882253"/>
                  <a:pt x="10017560" y="4907907"/>
                  <a:pt x="9987018" y="4895690"/>
                </a:cubicBezTo>
                <a:cubicBezTo>
                  <a:pt x="9956476" y="4883475"/>
                  <a:pt x="9933266" y="4863928"/>
                  <a:pt x="9932044" y="4830943"/>
                </a:cubicBezTo>
                <a:cubicBezTo>
                  <a:pt x="9929601" y="4750316"/>
                  <a:pt x="9930821" y="4669686"/>
                  <a:pt x="9929601" y="4587835"/>
                </a:cubicBezTo>
                <a:cubicBezTo>
                  <a:pt x="9929601" y="4564624"/>
                  <a:pt x="9944261" y="4568288"/>
                  <a:pt x="9957699" y="4568288"/>
                </a:cubicBezTo>
                <a:cubicBezTo>
                  <a:pt x="10024890" y="4568288"/>
                  <a:pt x="10090860" y="4568288"/>
                  <a:pt x="10158050" y="4568288"/>
                </a:cubicBezTo>
                <a:cubicBezTo>
                  <a:pt x="10173932" y="4568288"/>
                  <a:pt x="10189812" y="4569509"/>
                  <a:pt x="10204472" y="4560959"/>
                </a:cubicBezTo>
                <a:cubicBezTo>
                  <a:pt x="10241122" y="4540189"/>
                  <a:pt x="10243566" y="4520644"/>
                  <a:pt x="10213024" y="4493768"/>
                </a:cubicBezTo>
                <a:cubicBezTo>
                  <a:pt x="10155607" y="4442457"/>
                  <a:pt x="10154385" y="4398478"/>
                  <a:pt x="10209359" y="4345948"/>
                </a:cubicBezTo>
                <a:cubicBezTo>
                  <a:pt x="10239900" y="4316628"/>
                  <a:pt x="10283268" y="4304412"/>
                  <a:pt x="10325263" y="4307925"/>
                </a:cubicBezTo>
                <a:cubicBezTo>
                  <a:pt x="10367257" y="4311436"/>
                  <a:pt x="10407876" y="4330677"/>
                  <a:pt x="10432920" y="4364272"/>
                </a:cubicBezTo>
                <a:cubicBezTo>
                  <a:pt x="10467127" y="4409475"/>
                  <a:pt x="10462240" y="4447344"/>
                  <a:pt x="10423148" y="4486437"/>
                </a:cubicBezTo>
                <a:cubicBezTo>
                  <a:pt x="10410932" y="4498655"/>
                  <a:pt x="10377948" y="4502319"/>
                  <a:pt x="10393828" y="4531639"/>
                </a:cubicBezTo>
                <a:cubicBezTo>
                  <a:pt x="10407266" y="4557294"/>
                  <a:pt x="10429257" y="4569509"/>
                  <a:pt x="10459798" y="4569509"/>
                </a:cubicBezTo>
                <a:cubicBezTo>
                  <a:pt x="10526989" y="4568288"/>
                  <a:pt x="10592957" y="4570731"/>
                  <a:pt x="10660149" y="4568288"/>
                </a:cubicBezTo>
                <a:cubicBezTo>
                  <a:pt x="10690691" y="4567067"/>
                  <a:pt x="10701684" y="4574397"/>
                  <a:pt x="10700463" y="4607381"/>
                </a:cubicBezTo>
                <a:cubicBezTo>
                  <a:pt x="10698020" y="4672129"/>
                  <a:pt x="10699241" y="4738097"/>
                  <a:pt x="10699241" y="4802845"/>
                </a:cubicBezTo>
                <a:cubicBezTo>
                  <a:pt x="10699241" y="4830943"/>
                  <a:pt x="10693133" y="4855378"/>
                  <a:pt x="10672366" y="4876145"/>
                </a:cubicBezTo>
                <a:cubicBezTo>
                  <a:pt x="10640602" y="4907907"/>
                  <a:pt x="10621056" y="4906687"/>
                  <a:pt x="10591736" y="4872480"/>
                </a:cubicBezTo>
                <a:cubicBezTo>
                  <a:pt x="10572189" y="4850489"/>
                  <a:pt x="10553864" y="4819948"/>
                  <a:pt x="10518437" y="4833387"/>
                </a:cubicBezTo>
                <a:cubicBezTo>
                  <a:pt x="10479345" y="4848047"/>
                  <a:pt x="10450025" y="4873702"/>
                  <a:pt x="10443915" y="4917681"/>
                </a:cubicBezTo>
                <a:cubicBezTo>
                  <a:pt x="10436587" y="4970212"/>
                  <a:pt x="10439030" y="5019078"/>
                  <a:pt x="10486675" y="5054507"/>
                </a:cubicBezTo>
                <a:cubicBezTo>
                  <a:pt x="10525767" y="5083825"/>
                  <a:pt x="10547757" y="5081381"/>
                  <a:pt x="10580742" y="5045954"/>
                </a:cubicBezTo>
                <a:cubicBezTo>
                  <a:pt x="10597844" y="5027629"/>
                  <a:pt x="10607617" y="4993424"/>
                  <a:pt x="10643046" y="5009304"/>
                </a:cubicBezTo>
                <a:cubicBezTo>
                  <a:pt x="10677251" y="5023964"/>
                  <a:pt x="10698020" y="5052061"/>
                  <a:pt x="10699241" y="5089935"/>
                </a:cubicBezTo>
                <a:cubicBezTo>
                  <a:pt x="10700463" y="5163234"/>
                  <a:pt x="10699241" y="5236532"/>
                  <a:pt x="10700463" y="5308610"/>
                </a:cubicBezTo>
                <a:lnTo>
                  <a:pt x="10695953" y="5325919"/>
                </a:lnTo>
                <a:lnTo>
                  <a:pt x="10695953" y="5342506"/>
                </a:lnTo>
                <a:lnTo>
                  <a:pt x="10697005" y="5340688"/>
                </a:lnTo>
                <a:cubicBezTo>
                  <a:pt x="10705709" y="5333510"/>
                  <a:pt x="10719758" y="5332289"/>
                  <a:pt x="10739305" y="5333510"/>
                </a:cubicBezTo>
                <a:cubicBezTo>
                  <a:pt x="10801608" y="5337175"/>
                  <a:pt x="10862692" y="5333510"/>
                  <a:pt x="10924995" y="5334732"/>
                </a:cubicBezTo>
                <a:cubicBezTo>
                  <a:pt x="10956759" y="5334732"/>
                  <a:pt x="10982414" y="5323737"/>
                  <a:pt x="10993408" y="5294417"/>
                </a:cubicBezTo>
                <a:cubicBezTo>
                  <a:pt x="11003181" y="5267541"/>
                  <a:pt x="10973861" y="5263877"/>
                  <a:pt x="10960424" y="5250439"/>
                </a:cubicBezTo>
                <a:cubicBezTo>
                  <a:pt x="10924995" y="5215009"/>
                  <a:pt x="10918887" y="5182026"/>
                  <a:pt x="10945764" y="5140490"/>
                </a:cubicBezTo>
                <a:cubicBezTo>
                  <a:pt x="10993408" y="5065968"/>
                  <a:pt x="11110686" y="5050088"/>
                  <a:pt x="11174212" y="5111172"/>
                </a:cubicBezTo>
                <a:cubicBezTo>
                  <a:pt x="11231629" y="5166144"/>
                  <a:pt x="11232852" y="5210124"/>
                  <a:pt x="11169325" y="5261432"/>
                </a:cubicBezTo>
                <a:cubicBezTo>
                  <a:pt x="11138783" y="5285866"/>
                  <a:pt x="11148557" y="5301748"/>
                  <a:pt x="11170547" y="5321293"/>
                </a:cubicBezTo>
                <a:cubicBezTo>
                  <a:pt x="11186429" y="5334732"/>
                  <a:pt x="11204752" y="5335954"/>
                  <a:pt x="11224299" y="5335954"/>
                </a:cubicBezTo>
                <a:cubicBezTo>
                  <a:pt x="11292712" y="5335954"/>
                  <a:pt x="11361124" y="5337175"/>
                  <a:pt x="11429538" y="5335954"/>
                </a:cubicBezTo>
                <a:cubicBezTo>
                  <a:pt x="11447862" y="5335954"/>
                  <a:pt x="11457635" y="5338397"/>
                  <a:pt x="11457635" y="5361608"/>
                </a:cubicBezTo>
                <a:cubicBezTo>
                  <a:pt x="11456413" y="5436129"/>
                  <a:pt x="11457635" y="5510649"/>
                  <a:pt x="11456413" y="5585169"/>
                </a:cubicBezTo>
                <a:cubicBezTo>
                  <a:pt x="11455192" y="5623042"/>
                  <a:pt x="11433202" y="5648697"/>
                  <a:pt x="11397773" y="5663355"/>
                </a:cubicBezTo>
                <a:cubicBezTo>
                  <a:pt x="11362346" y="5676794"/>
                  <a:pt x="11356238" y="5645031"/>
                  <a:pt x="11340356" y="5627928"/>
                </a:cubicBezTo>
                <a:cubicBezTo>
                  <a:pt x="11304929" y="5590057"/>
                  <a:pt x="11282939" y="5587614"/>
                  <a:pt x="11242624" y="5618154"/>
                </a:cubicBezTo>
                <a:cubicBezTo>
                  <a:pt x="11203532" y="5647475"/>
                  <a:pt x="11196202" y="5686566"/>
                  <a:pt x="11198645" y="5731767"/>
                </a:cubicBezTo>
                <a:cubicBezTo>
                  <a:pt x="11201089" y="5781856"/>
                  <a:pt x="11227964" y="5823392"/>
                  <a:pt x="11271944" y="5838051"/>
                </a:cubicBezTo>
                <a:cubicBezTo>
                  <a:pt x="11313481" y="5852711"/>
                  <a:pt x="11333026" y="5820947"/>
                  <a:pt x="11352573" y="5795294"/>
                </a:cubicBezTo>
                <a:cubicBezTo>
                  <a:pt x="11377006" y="5764752"/>
                  <a:pt x="11400218" y="5769639"/>
                  <a:pt x="11424650" y="5791629"/>
                </a:cubicBezTo>
                <a:cubicBezTo>
                  <a:pt x="11445418" y="5809954"/>
                  <a:pt x="11457635" y="5833164"/>
                  <a:pt x="11456413" y="5862484"/>
                </a:cubicBezTo>
                <a:cubicBezTo>
                  <a:pt x="11455192" y="5906464"/>
                  <a:pt x="11456413" y="5951665"/>
                  <a:pt x="11456413" y="5995645"/>
                </a:cubicBezTo>
                <a:cubicBezTo>
                  <a:pt x="11456413" y="6035959"/>
                  <a:pt x="11456413" y="6061155"/>
                  <a:pt x="11450808" y="6076903"/>
                </a:cubicBezTo>
                <a:lnTo>
                  <a:pt x="11443434" y="6089200"/>
                </a:lnTo>
                <a:lnTo>
                  <a:pt x="11447629" y="6089179"/>
                </a:lnTo>
                <a:lnTo>
                  <a:pt x="11460380" y="6094729"/>
                </a:lnTo>
                <a:lnTo>
                  <a:pt x="11461414" y="6089396"/>
                </a:lnTo>
                <a:cubicBezTo>
                  <a:pt x="11466607" y="6083288"/>
                  <a:pt x="11475769" y="6080844"/>
                  <a:pt x="11491039" y="6081456"/>
                </a:cubicBezTo>
                <a:cubicBezTo>
                  <a:pt x="11555788" y="6083898"/>
                  <a:pt x="11621755" y="6082676"/>
                  <a:pt x="11686503" y="6082676"/>
                </a:cubicBezTo>
                <a:cubicBezTo>
                  <a:pt x="11702385" y="6082676"/>
                  <a:pt x="11718267" y="6082676"/>
                  <a:pt x="11732927" y="6074124"/>
                </a:cubicBezTo>
                <a:cubicBezTo>
                  <a:pt x="11768354" y="6055799"/>
                  <a:pt x="11770797" y="6033811"/>
                  <a:pt x="11741477" y="6008156"/>
                </a:cubicBezTo>
                <a:cubicBezTo>
                  <a:pt x="11715824" y="5986166"/>
                  <a:pt x="11688947" y="5961732"/>
                  <a:pt x="11698720" y="5923862"/>
                </a:cubicBezTo>
                <a:cubicBezTo>
                  <a:pt x="11710937" y="5878660"/>
                  <a:pt x="11741477" y="5844455"/>
                  <a:pt x="11785457" y="5829795"/>
                </a:cubicBezTo>
                <a:cubicBezTo>
                  <a:pt x="11801644" y="5823992"/>
                  <a:pt x="11818289" y="5821014"/>
                  <a:pt x="11834763" y="5820594"/>
                </a:cubicBezTo>
                <a:cubicBezTo>
                  <a:pt x="11884183" y="5819334"/>
                  <a:pt x="11932056" y="5841095"/>
                  <a:pt x="11961375" y="5878660"/>
                </a:cubicBezTo>
                <a:cubicBezTo>
                  <a:pt x="11998025" y="5925083"/>
                  <a:pt x="11993137" y="5961732"/>
                  <a:pt x="11949158" y="6003269"/>
                </a:cubicBezTo>
                <a:cubicBezTo>
                  <a:pt x="11936942" y="6014264"/>
                  <a:pt x="11910065" y="6019151"/>
                  <a:pt x="11922283" y="6046026"/>
                </a:cubicBezTo>
                <a:cubicBezTo>
                  <a:pt x="11934500" y="6070461"/>
                  <a:pt x="11956488" y="6082676"/>
                  <a:pt x="11983365" y="6082676"/>
                </a:cubicBezTo>
                <a:cubicBezTo>
                  <a:pt x="12050556" y="6082676"/>
                  <a:pt x="12116524" y="6085121"/>
                  <a:pt x="12183716" y="6081456"/>
                </a:cubicBezTo>
                <a:lnTo>
                  <a:pt x="12191999" y="6083007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302497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090B2-0048-45A8-A736-3EBE379DFA5C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F9CD-A97E-400E-A063-4DCA89081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68966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Images &amp; Content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9139162" y="1"/>
            <a:ext cx="2863562" cy="39993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6122128" y="2870061"/>
            <a:ext cx="2863562" cy="398793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9139162" y="4114800"/>
            <a:ext cx="2863562" cy="2743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80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6122128" y="1"/>
            <a:ext cx="2863562" cy="27545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520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248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88843172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57368835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816783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74419981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424178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989178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21DB724-9006-424E-A191-C08CB17EE2CA}"/>
              </a:ext>
            </a:extLst>
          </p:cNvPr>
          <p:cNvSpPr/>
          <p:nvPr userDrawn="1"/>
        </p:nvSpPr>
        <p:spPr>
          <a:xfrm>
            <a:off x="462336" y="315931"/>
            <a:ext cx="3113070" cy="622613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그림 개체 틀 2">
            <a:extLst>
              <a:ext uri="{FF2B5EF4-FFF2-40B4-BE49-F238E27FC236}">
                <a16:creationId xmlns:a16="http://schemas.microsoft.com/office/drawing/2014/main" id="{13FB2FD4-D355-49C8-B7E0-BC49131F2FEA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82645" y="553565"/>
            <a:ext cx="2672453" cy="24053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3902989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>
            <a:extLst>
              <a:ext uri="{FF2B5EF4-FFF2-40B4-BE49-F238E27FC236}">
                <a16:creationId xmlns:a16="http://schemas.microsoft.com/office/drawing/2014/main" id="{54BAF68A-9D51-4222-8013-E9B5F82098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00903"/>
            <a:ext cx="11600704" cy="1140891"/>
          </a:xfrm>
          <a:prstGeom prst="rect">
            <a:avLst/>
          </a:prstGeom>
        </p:spPr>
      </p:pic>
      <p:pic>
        <p:nvPicPr>
          <p:cNvPr id="3" name="Picture 3" descr="E:\002-KIMS BUSINESS\007-02-MaxPPT-Contents\150902-com-Global-Laptop\mo900.png">
            <a:extLst>
              <a:ext uri="{FF2B5EF4-FFF2-40B4-BE49-F238E27FC236}">
                <a16:creationId xmlns:a16="http://schemas.microsoft.com/office/drawing/2014/main" id="{1C4F8B41-3F98-4240-8891-4ADABC669A4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253"/>
          <a:stretch/>
        </p:blipFill>
        <p:spPr bwMode="auto">
          <a:xfrm flipH="1">
            <a:off x="8509450" y="2348880"/>
            <a:ext cx="3683812" cy="450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88CB46E1-8EB0-4782-9CDE-623B6BC6877B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898129" y="2735416"/>
            <a:ext cx="1672517" cy="2613110"/>
          </a:xfrm>
          <a:custGeom>
            <a:avLst/>
            <a:gdLst>
              <a:gd name="connsiteX0" fmla="*/ 0 w 1296000"/>
              <a:gd name="connsiteY0" fmla="*/ 0 h 2700000"/>
              <a:gd name="connsiteX1" fmla="*/ 1296000 w 1296000"/>
              <a:gd name="connsiteY1" fmla="*/ 0 h 2700000"/>
              <a:gd name="connsiteX2" fmla="*/ 1296000 w 1296000"/>
              <a:gd name="connsiteY2" fmla="*/ 2700000 h 2700000"/>
              <a:gd name="connsiteX3" fmla="*/ 0 w 1296000"/>
              <a:gd name="connsiteY3" fmla="*/ 2700000 h 2700000"/>
              <a:gd name="connsiteX4" fmla="*/ 0 w 1296000"/>
              <a:gd name="connsiteY4" fmla="*/ 0 h 2700000"/>
              <a:gd name="connsiteX0" fmla="*/ 0 w 1436677"/>
              <a:gd name="connsiteY0" fmla="*/ 0 h 2745513"/>
              <a:gd name="connsiteX1" fmla="*/ 1436677 w 1436677"/>
              <a:gd name="connsiteY1" fmla="*/ 45513 h 2745513"/>
              <a:gd name="connsiteX2" fmla="*/ 1436677 w 1436677"/>
              <a:gd name="connsiteY2" fmla="*/ 2745513 h 2745513"/>
              <a:gd name="connsiteX3" fmla="*/ 140677 w 1436677"/>
              <a:gd name="connsiteY3" fmla="*/ 2745513 h 2745513"/>
              <a:gd name="connsiteX4" fmla="*/ 0 w 1436677"/>
              <a:gd name="connsiteY4" fmla="*/ 0 h 2745513"/>
              <a:gd name="connsiteX0" fmla="*/ 0 w 1453227"/>
              <a:gd name="connsiteY0" fmla="*/ 0 h 2745513"/>
              <a:gd name="connsiteX1" fmla="*/ 1453227 w 1453227"/>
              <a:gd name="connsiteY1" fmla="*/ 45513 h 2745513"/>
              <a:gd name="connsiteX2" fmla="*/ 1453227 w 1453227"/>
              <a:gd name="connsiteY2" fmla="*/ 2745513 h 2745513"/>
              <a:gd name="connsiteX3" fmla="*/ 157227 w 1453227"/>
              <a:gd name="connsiteY3" fmla="*/ 2745513 h 2745513"/>
              <a:gd name="connsiteX4" fmla="*/ 0 w 1453227"/>
              <a:gd name="connsiteY4" fmla="*/ 0 h 2745513"/>
              <a:gd name="connsiteX0" fmla="*/ 0 w 1523565"/>
              <a:gd name="connsiteY0" fmla="*/ 0 h 2745513"/>
              <a:gd name="connsiteX1" fmla="*/ 1523565 w 1523565"/>
              <a:gd name="connsiteY1" fmla="*/ 16550 h 2745513"/>
              <a:gd name="connsiteX2" fmla="*/ 1453227 w 1523565"/>
              <a:gd name="connsiteY2" fmla="*/ 2745513 h 2745513"/>
              <a:gd name="connsiteX3" fmla="*/ 157227 w 1523565"/>
              <a:gd name="connsiteY3" fmla="*/ 2745513 h 2745513"/>
              <a:gd name="connsiteX4" fmla="*/ 0 w 1523565"/>
              <a:gd name="connsiteY4" fmla="*/ 0 h 2745513"/>
              <a:gd name="connsiteX0" fmla="*/ 0 w 1672517"/>
              <a:gd name="connsiteY0" fmla="*/ 0 h 2745513"/>
              <a:gd name="connsiteX1" fmla="*/ 1523565 w 1672517"/>
              <a:gd name="connsiteY1" fmla="*/ 16550 h 2745513"/>
              <a:gd name="connsiteX2" fmla="*/ 1672517 w 1672517"/>
              <a:gd name="connsiteY2" fmla="*/ 2580011 h 2745513"/>
              <a:gd name="connsiteX3" fmla="*/ 157227 w 1672517"/>
              <a:gd name="connsiteY3" fmla="*/ 2745513 h 2745513"/>
              <a:gd name="connsiteX4" fmla="*/ 0 w 1672517"/>
              <a:gd name="connsiteY4" fmla="*/ 0 h 2745513"/>
              <a:gd name="connsiteX0" fmla="*/ 0 w 1672517"/>
              <a:gd name="connsiteY0" fmla="*/ 0 h 2580011"/>
              <a:gd name="connsiteX1" fmla="*/ 1523565 w 1672517"/>
              <a:gd name="connsiteY1" fmla="*/ 16550 h 2580011"/>
              <a:gd name="connsiteX2" fmla="*/ 1672517 w 1672517"/>
              <a:gd name="connsiteY2" fmla="*/ 2580011 h 2580011"/>
              <a:gd name="connsiteX3" fmla="*/ 165502 w 1672517"/>
              <a:gd name="connsiteY3" fmla="*/ 2563460 h 2580011"/>
              <a:gd name="connsiteX4" fmla="*/ 0 w 1672517"/>
              <a:gd name="connsiteY4" fmla="*/ 0 h 2580011"/>
              <a:gd name="connsiteX0" fmla="*/ 0 w 1672517"/>
              <a:gd name="connsiteY0" fmla="*/ 0 h 2604835"/>
              <a:gd name="connsiteX1" fmla="*/ 1523565 w 1672517"/>
              <a:gd name="connsiteY1" fmla="*/ 16550 h 2604835"/>
              <a:gd name="connsiteX2" fmla="*/ 1672517 w 1672517"/>
              <a:gd name="connsiteY2" fmla="*/ 2580011 h 2604835"/>
              <a:gd name="connsiteX3" fmla="*/ 161364 w 1672517"/>
              <a:gd name="connsiteY3" fmla="*/ 2604835 h 2604835"/>
              <a:gd name="connsiteX4" fmla="*/ 0 w 1672517"/>
              <a:gd name="connsiteY4" fmla="*/ 0 h 2604835"/>
              <a:gd name="connsiteX0" fmla="*/ 0 w 1672517"/>
              <a:gd name="connsiteY0" fmla="*/ 0 h 2613110"/>
              <a:gd name="connsiteX1" fmla="*/ 1523565 w 1672517"/>
              <a:gd name="connsiteY1" fmla="*/ 16550 h 2613110"/>
              <a:gd name="connsiteX2" fmla="*/ 1672517 w 1672517"/>
              <a:gd name="connsiteY2" fmla="*/ 2580011 h 2613110"/>
              <a:gd name="connsiteX3" fmla="*/ 161364 w 1672517"/>
              <a:gd name="connsiteY3" fmla="*/ 2613110 h 2613110"/>
              <a:gd name="connsiteX4" fmla="*/ 0 w 1672517"/>
              <a:gd name="connsiteY4" fmla="*/ 0 h 2613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72517" h="2613110">
                <a:moveTo>
                  <a:pt x="0" y="0"/>
                </a:moveTo>
                <a:lnTo>
                  <a:pt x="1523565" y="16550"/>
                </a:lnTo>
                <a:lnTo>
                  <a:pt x="1672517" y="2580011"/>
                </a:lnTo>
                <a:lnTo>
                  <a:pt x="161364" y="261311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88CF590-A7AC-47AA-9D77-5FF843A9CE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33089484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80512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090B2-0048-45A8-A736-3EBE379DFA5C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F9CD-A97E-400E-A063-4DCA89081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70331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mages &amp; Content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77D0EB80-5ACB-4B75-B1FE-BC47C43D140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4616" y="-10133"/>
            <a:ext cx="12196616" cy="357051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None/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  <p:sp>
        <p:nvSpPr>
          <p:cNvPr id="30" name="Picture Placeholder 9">
            <a:extLst>
              <a:ext uri="{FF2B5EF4-FFF2-40B4-BE49-F238E27FC236}">
                <a16:creationId xmlns:a16="http://schemas.microsoft.com/office/drawing/2014/main" id="{C2375C0B-9A4C-42FF-991E-CA66F2BCF7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30616" y="1740800"/>
            <a:ext cx="2025659" cy="351114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None/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351561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804168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그림 개체 틀 2">
            <a:extLst>
              <a:ext uri="{FF2B5EF4-FFF2-40B4-BE49-F238E27FC236}">
                <a16:creationId xmlns:a16="http://schemas.microsoft.com/office/drawing/2014/main" id="{F9074EBC-1F15-45F9-A91E-E5C4D64C818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67390" y="2672859"/>
            <a:ext cx="8924610" cy="29246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5" name="Frame 4">
            <a:extLst>
              <a:ext uri="{FF2B5EF4-FFF2-40B4-BE49-F238E27FC236}">
                <a16:creationId xmlns:a16="http://schemas.microsoft.com/office/drawing/2014/main" id="{68FC2D2C-E288-4655-B149-7FDC6019F189}"/>
              </a:ext>
            </a:extLst>
          </p:cNvPr>
          <p:cNvSpPr/>
          <p:nvPr userDrawn="1"/>
        </p:nvSpPr>
        <p:spPr>
          <a:xfrm>
            <a:off x="1065125" y="615462"/>
            <a:ext cx="10061750" cy="5627077"/>
          </a:xfrm>
          <a:prstGeom prst="frame">
            <a:avLst>
              <a:gd name="adj1" fmla="val 125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9887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65352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AND CONTENTS LAYOUT_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-3" y="-1"/>
            <a:ext cx="12192003" cy="35550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그림 개체 틀 2"/>
          <p:cNvSpPr>
            <a:spLocks noGrp="1"/>
          </p:cNvSpPr>
          <p:nvPr>
            <p:ph type="pic" sz="quarter" idx="65" hasCustomPrompt="1"/>
          </p:nvPr>
        </p:nvSpPr>
        <p:spPr>
          <a:xfrm>
            <a:off x="5100846" y="1934706"/>
            <a:ext cx="2997472" cy="410718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3" name="그림 개체 틀 2"/>
          <p:cNvSpPr>
            <a:spLocks noGrp="1"/>
          </p:cNvSpPr>
          <p:nvPr>
            <p:ph type="pic" sz="quarter" idx="66" hasCustomPrompt="1"/>
          </p:nvPr>
        </p:nvSpPr>
        <p:spPr>
          <a:xfrm>
            <a:off x="8480425" y="1934706"/>
            <a:ext cx="2997472" cy="410718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F51F16FC-ECF9-4C12-8D72-49B470CFAA3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7833" y="328764"/>
            <a:ext cx="10037135" cy="72424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5400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272401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</p:bld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id="{5554FB4E-E79F-4FCD-B373-1990A7E51642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-1" y="0"/>
            <a:ext cx="10203255" cy="6858000"/>
          </a:xfrm>
          <a:custGeom>
            <a:avLst/>
            <a:gdLst>
              <a:gd name="connsiteX0" fmla="*/ 0 w 8908610"/>
              <a:gd name="connsiteY0" fmla="*/ 0 h 6858000"/>
              <a:gd name="connsiteX1" fmla="*/ 8908610 w 8908610"/>
              <a:gd name="connsiteY1" fmla="*/ 0 h 6858000"/>
              <a:gd name="connsiteX2" fmla="*/ 8908610 w 8908610"/>
              <a:gd name="connsiteY2" fmla="*/ 6858000 h 6858000"/>
              <a:gd name="connsiteX3" fmla="*/ 0 w 8908610"/>
              <a:gd name="connsiteY3" fmla="*/ 6858000 h 6858000"/>
              <a:gd name="connsiteX4" fmla="*/ 0 w 8908610"/>
              <a:gd name="connsiteY4" fmla="*/ 0 h 6858000"/>
              <a:gd name="connsiteX0" fmla="*/ 0 w 8908610"/>
              <a:gd name="connsiteY0" fmla="*/ 0 h 6858000"/>
              <a:gd name="connsiteX1" fmla="*/ 4725909 w 8908610"/>
              <a:gd name="connsiteY1" fmla="*/ 0 h 6858000"/>
              <a:gd name="connsiteX2" fmla="*/ 8908610 w 8908610"/>
              <a:gd name="connsiteY2" fmla="*/ 6858000 h 6858000"/>
              <a:gd name="connsiteX3" fmla="*/ 0 w 8908610"/>
              <a:gd name="connsiteY3" fmla="*/ 6858000 h 6858000"/>
              <a:gd name="connsiteX4" fmla="*/ 0 w 8908610"/>
              <a:gd name="connsiteY4" fmla="*/ 0 h 6858000"/>
              <a:gd name="connsiteX0" fmla="*/ 0 w 8908610"/>
              <a:gd name="connsiteY0" fmla="*/ 0 h 6858000"/>
              <a:gd name="connsiteX1" fmla="*/ 4330673 w 8908610"/>
              <a:gd name="connsiteY1" fmla="*/ 0 h 6858000"/>
              <a:gd name="connsiteX2" fmla="*/ 8908610 w 8908610"/>
              <a:gd name="connsiteY2" fmla="*/ 6858000 h 6858000"/>
              <a:gd name="connsiteX3" fmla="*/ 0 w 8908610"/>
              <a:gd name="connsiteY3" fmla="*/ 6858000 h 6858000"/>
              <a:gd name="connsiteX4" fmla="*/ 0 w 890861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08610" h="6858000">
                <a:moveTo>
                  <a:pt x="0" y="0"/>
                </a:moveTo>
                <a:lnTo>
                  <a:pt x="4330673" y="0"/>
                </a:lnTo>
                <a:lnTo>
                  <a:pt x="890861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50452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3095449" y="3660"/>
            <a:ext cx="3600000" cy="36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397585" y="3870000"/>
            <a:ext cx="3600000" cy="29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175449" y="3870000"/>
            <a:ext cx="2520000" cy="190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97585" y="1733388"/>
            <a:ext cx="2520000" cy="19422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75393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</p:bld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Imag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원형: 비어 있음 1">
            <a:extLst>
              <a:ext uri="{FF2B5EF4-FFF2-40B4-BE49-F238E27FC236}">
                <a16:creationId xmlns:a16="http://schemas.microsoft.com/office/drawing/2014/main" id="{B7CABA81-0BBC-49FB-B863-E9687338898B}"/>
              </a:ext>
            </a:extLst>
          </p:cNvPr>
          <p:cNvSpPr/>
          <p:nvPr userDrawn="1"/>
        </p:nvSpPr>
        <p:spPr>
          <a:xfrm>
            <a:off x="6392164" y="1281975"/>
            <a:ext cx="4759542" cy="4759542"/>
          </a:xfrm>
          <a:prstGeom prst="donut">
            <a:avLst>
              <a:gd name="adj" fmla="val 185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20" name="자유형: 도형 19">
            <a:extLst>
              <a:ext uri="{FF2B5EF4-FFF2-40B4-BE49-F238E27FC236}">
                <a16:creationId xmlns:a16="http://schemas.microsoft.com/office/drawing/2014/main" id="{586A9378-5329-4795-BD81-E4B63FD478E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030709" y="1366318"/>
            <a:ext cx="1822409" cy="2586876"/>
          </a:xfrm>
          <a:custGeom>
            <a:avLst/>
            <a:gdLst>
              <a:gd name="connsiteX0" fmla="*/ 863642 w 1822409"/>
              <a:gd name="connsiteY0" fmla="*/ 0 h 2586876"/>
              <a:gd name="connsiteX1" fmla="*/ 1706307 w 1822409"/>
              <a:gd name="connsiteY1" fmla="*/ 2577164 h 2586876"/>
              <a:gd name="connsiteX2" fmla="*/ 0 w 1822409"/>
              <a:gd name="connsiteY2" fmla="*/ 2586876 h 2586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22409" h="2586876">
                <a:moveTo>
                  <a:pt x="863642" y="0"/>
                </a:moveTo>
                <a:cubicBezTo>
                  <a:pt x="1679882" y="581132"/>
                  <a:pt x="2021522" y="1626487"/>
                  <a:pt x="1706307" y="2577164"/>
                </a:cubicBezTo>
                <a:lnTo>
                  <a:pt x="0" y="25868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3" name="자유형: 도형 12">
            <a:extLst>
              <a:ext uri="{FF2B5EF4-FFF2-40B4-BE49-F238E27FC236}">
                <a16:creationId xmlns:a16="http://schemas.microsoft.com/office/drawing/2014/main" id="{417FB495-1718-4B12-A0EC-D01DB876E6E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118317" y="932349"/>
            <a:ext cx="2719605" cy="2144179"/>
          </a:xfrm>
          <a:custGeom>
            <a:avLst/>
            <a:gdLst>
              <a:gd name="connsiteX0" fmla="*/ 1401769 w 2719605"/>
              <a:gd name="connsiteY0" fmla="*/ 1 h 2144179"/>
              <a:gd name="connsiteX1" fmla="*/ 2719605 w 2719605"/>
              <a:gd name="connsiteY1" fmla="*/ 421978 h 2144179"/>
              <a:gd name="connsiteX2" fmla="*/ 2144640 w 2719605"/>
              <a:gd name="connsiteY2" fmla="*/ 2144179 h 2144179"/>
              <a:gd name="connsiteX3" fmla="*/ 2136701 w 2719605"/>
              <a:gd name="connsiteY3" fmla="*/ 2144179 h 2144179"/>
              <a:gd name="connsiteX4" fmla="*/ 0 w 2719605"/>
              <a:gd name="connsiteY4" fmla="*/ 480476 h 2144179"/>
              <a:gd name="connsiteX5" fmla="*/ 1401769 w 2719605"/>
              <a:gd name="connsiteY5" fmla="*/ 1 h 2144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19605" h="2144179">
                <a:moveTo>
                  <a:pt x="1401769" y="1"/>
                </a:moveTo>
                <a:cubicBezTo>
                  <a:pt x="1863929" y="178"/>
                  <a:pt x="2326036" y="140289"/>
                  <a:pt x="2719605" y="421978"/>
                </a:cubicBezTo>
                <a:lnTo>
                  <a:pt x="2144640" y="2144179"/>
                </a:lnTo>
                <a:lnTo>
                  <a:pt x="2136701" y="2144179"/>
                </a:lnTo>
                <a:lnTo>
                  <a:pt x="0" y="480476"/>
                </a:lnTo>
                <a:cubicBezTo>
                  <a:pt x="412291" y="159962"/>
                  <a:pt x="907061" y="-188"/>
                  <a:pt x="1401769" y="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  <p:sp>
        <p:nvSpPr>
          <p:cNvPr id="24" name="자유형: 도형 23">
            <a:extLst>
              <a:ext uri="{FF2B5EF4-FFF2-40B4-BE49-F238E27FC236}">
                <a16:creationId xmlns:a16="http://schemas.microsoft.com/office/drawing/2014/main" id="{4FE3062D-0FB9-425A-A589-68F4CEA8D72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12013" y="4022252"/>
            <a:ext cx="2626805" cy="1570156"/>
          </a:xfrm>
          <a:custGeom>
            <a:avLst/>
            <a:gdLst>
              <a:gd name="connsiteX0" fmla="*/ 462339 w 2626805"/>
              <a:gd name="connsiteY0" fmla="*/ 1569148 h 1570156"/>
              <a:gd name="connsiteX1" fmla="*/ 483227 w 2626805"/>
              <a:gd name="connsiteY1" fmla="*/ 1569612 h 1570156"/>
              <a:gd name="connsiteX2" fmla="*/ 471294 w 2626805"/>
              <a:gd name="connsiteY2" fmla="*/ 1570156 h 1570156"/>
              <a:gd name="connsiteX3" fmla="*/ 462562 w 2626805"/>
              <a:gd name="connsiteY3" fmla="*/ 1569858 h 1570156"/>
              <a:gd name="connsiteX4" fmla="*/ 2626805 w 2626805"/>
              <a:gd name="connsiteY4" fmla="*/ 0 h 1570156"/>
              <a:gd name="connsiteX5" fmla="*/ 495284 w 2626805"/>
              <a:gd name="connsiteY5" fmla="*/ 1569062 h 1570156"/>
              <a:gd name="connsiteX6" fmla="*/ 0 w 2626805"/>
              <a:gd name="connsiteY6" fmla="*/ 14951 h 1570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26805" h="1570156">
                <a:moveTo>
                  <a:pt x="462339" y="1569148"/>
                </a:moveTo>
                <a:lnTo>
                  <a:pt x="483227" y="1569612"/>
                </a:lnTo>
                <a:cubicBezTo>
                  <a:pt x="479254" y="1570099"/>
                  <a:pt x="475275" y="1570133"/>
                  <a:pt x="471294" y="1570156"/>
                </a:cubicBezTo>
                <a:lnTo>
                  <a:pt x="462562" y="1569858"/>
                </a:lnTo>
                <a:close/>
                <a:moveTo>
                  <a:pt x="2626805" y="0"/>
                </a:moveTo>
                <a:cubicBezTo>
                  <a:pt x="2323053" y="924730"/>
                  <a:pt x="1466758" y="1554229"/>
                  <a:pt x="495284" y="1569062"/>
                </a:cubicBezTo>
                <a:lnTo>
                  <a:pt x="0" y="1495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6" name="자유형: 도형 25">
            <a:extLst>
              <a:ext uri="{FF2B5EF4-FFF2-40B4-BE49-F238E27FC236}">
                <a16:creationId xmlns:a16="http://schemas.microsoft.com/office/drawing/2014/main" id="{C4C57A6F-87E6-418B-8AAD-B2B59AF316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92163" y="3145586"/>
            <a:ext cx="2195336" cy="2446823"/>
          </a:xfrm>
          <a:custGeom>
            <a:avLst/>
            <a:gdLst>
              <a:gd name="connsiteX0" fmla="*/ 1374390 w 2195336"/>
              <a:gd name="connsiteY0" fmla="*/ 0 h 2446823"/>
              <a:gd name="connsiteX1" fmla="*/ 2151590 w 2195336"/>
              <a:gd name="connsiteY1" fmla="*/ 2438716 h 2446823"/>
              <a:gd name="connsiteX2" fmla="*/ 2195126 w 2195336"/>
              <a:gd name="connsiteY2" fmla="*/ 2439683 h 2446823"/>
              <a:gd name="connsiteX3" fmla="*/ 2195336 w 2195336"/>
              <a:gd name="connsiteY3" fmla="*/ 2440337 h 2446823"/>
              <a:gd name="connsiteX4" fmla="*/ 2192990 w 2195336"/>
              <a:gd name="connsiteY4" fmla="*/ 2440444 h 2446823"/>
              <a:gd name="connsiteX5" fmla="*/ 2151693 w 2195336"/>
              <a:gd name="connsiteY5" fmla="*/ 2439035 h 2446823"/>
              <a:gd name="connsiteX6" fmla="*/ 2154077 w 2195336"/>
              <a:gd name="connsiteY6" fmla="*/ 2446517 h 2446823"/>
              <a:gd name="connsiteX7" fmla="*/ 0 w 2195336"/>
              <a:gd name="connsiteY7" fmla="*/ 1016322 h 2446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95336" h="2446823">
                <a:moveTo>
                  <a:pt x="1374390" y="0"/>
                </a:moveTo>
                <a:lnTo>
                  <a:pt x="2151590" y="2438716"/>
                </a:lnTo>
                <a:lnTo>
                  <a:pt x="2195126" y="2439683"/>
                </a:lnTo>
                <a:lnTo>
                  <a:pt x="2195336" y="2440337"/>
                </a:lnTo>
                <a:lnTo>
                  <a:pt x="2192990" y="2440444"/>
                </a:lnTo>
                <a:lnTo>
                  <a:pt x="2151693" y="2439035"/>
                </a:lnTo>
                <a:lnTo>
                  <a:pt x="2154077" y="2446517"/>
                </a:lnTo>
                <a:cubicBezTo>
                  <a:pt x="1203619" y="2462028"/>
                  <a:pt x="349619" y="1887845"/>
                  <a:pt x="0" y="101632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58489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직사각형 21">
            <a:extLst>
              <a:ext uri="{FF2B5EF4-FFF2-40B4-BE49-F238E27FC236}">
                <a16:creationId xmlns:a16="http://schemas.microsoft.com/office/drawing/2014/main" id="{C0AD03F6-15F2-4D54-8634-F2FD4B876D5D}"/>
              </a:ext>
            </a:extLst>
          </p:cNvPr>
          <p:cNvSpPr/>
          <p:nvPr userDrawn="1"/>
        </p:nvSpPr>
        <p:spPr>
          <a:xfrm>
            <a:off x="0" y="1894646"/>
            <a:ext cx="12191999" cy="306870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A60AF8CF-91F6-47AF-9506-4473DAA9AA63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472612" y="504855"/>
            <a:ext cx="6441943" cy="5959540"/>
          </a:xfrm>
          <a:custGeom>
            <a:avLst/>
            <a:gdLst>
              <a:gd name="connsiteX0" fmla="*/ 3930341 w 6441943"/>
              <a:gd name="connsiteY0" fmla="*/ 5551462 h 5959540"/>
              <a:gd name="connsiteX1" fmla="*/ 3930470 w 6441943"/>
              <a:gd name="connsiteY1" fmla="*/ 5553792 h 5959540"/>
              <a:gd name="connsiteX2" fmla="*/ 3930728 w 6441943"/>
              <a:gd name="connsiteY2" fmla="*/ 5581396 h 5959540"/>
              <a:gd name="connsiteX3" fmla="*/ 3101215 w 6441943"/>
              <a:gd name="connsiteY3" fmla="*/ 5522950 h 5959540"/>
              <a:gd name="connsiteX4" fmla="*/ 3096254 w 6441943"/>
              <a:gd name="connsiteY4" fmla="*/ 5540606 h 5959540"/>
              <a:gd name="connsiteX5" fmla="*/ 3100089 w 6441943"/>
              <a:gd name="connsiteY5" fmla="*/ 5529112 h 5959540"/>
              <a:gd name="connsiteX6" fmla="*/ 3179633 w 6441943"/>
              <a:gd name="connsiteY6" fmla="*/ 5436354 h 5959540"/>
              <a:gd name="connsiteX7" fmla="*/ 3179855 w 6441943"/>
              <a:gd name="connsiteY7" fmla="*/ 5457522 h 5959540"/>
              <a:gd name="connsiteX8" fmla="*/ 3179738 w 6441943"/>
              <a:gd name="connsiteY8" fmla="*/ 5446344 h 5959540"/>
              <a:gd name="connsiteX9" fmla="*/ 3798364 w 6441943"/>
              <a:gd name="connsiteY9" fmla="*/ 5116122 h 5959540"/>
              <a:gd name="connsiteX10" fmla="*/ 3835318 w 6441943"/>
              <a:gd name="connsiteY10" fmla="*/ 5181705 h 5959540"/>
              <a:gd name="connsiteX11" fmla="*/ 3838161 w 6441943"/>
              <a:gd name="connsiteY11" fmla="*/ 5187944 h 5959540"/>
              <a:gd name="connsiteX12" fmla="*/ 3772668 w 6441943"/>
              <a:gd name="connsiteY12" fmla="*/ 5021018 h 5959540"/>
              <a:gd name="connsiteX13" fmla="*/ 3772670 w 6441943"/>
              <a:gd name="connsiteY13" fmla="*/ 5021035 h 5959540"/>
              <a:gd name="connsiteX14" fmla="*/ 3772673 w 6441943"/>
              <a:gd name="connsiteY14" fmla="*/ 5021047 h 5959540"/>
              <a:gd name="connsiteX15" fmla="*/ 3772670 w 6441943"/>
              <a:gd name="connsiteY15" fmla="*/ 5021034 h 5959540"/>
              <a:gd name="connsiteX16" fmla="*/ 3761032 w 6441943"/>
              <a:gd name="connsiteY16" fmla="*/ 4843434 h 5959540"/>
              <a:gd name="connsiteX17" fmla="*/ 3760631 w 6441943"/>
              <a:gd name="connsiteY17" fmla="*/ 4854130 h 5959540"/>
              <a:gd name="connsiteX18" fmla="*/ 3761287 w 6441943"/>
              <a:gd name="connsiteY18" fmla="*/ 4871798 h 5959540"/>
              <a:gd name="connsiteX19" fmla="*/ 3384337 w 6441943"/>
              <a:gd name="connsiteY19" fmla="*/ 3767524 h 5959540"/>
              <a:gd name="connsiteX20" fmla="*/ 3346103 w 6441943"/>
              <a:gd name="connsiteY20" fmla="*/ 3782585 h 5959540"/>
              <a:gd name="connsiteX21" fmla="*/ 3160723 w 6441943"/>
              <a:gd name="connsiteY21" fmla="*/ 3891497 h 5959540"/>
              <a:gd name="connsiteX22" fmla="*/ 2789975 w 6441943"/>
              <a:gd name="connsiteY22" fmla="*/ 4375909 h 5959540"/>
              <a:gd name="connsiteX23" fmla="*/ 2780135 w 6441943"/>
              <a:gd name="connsiteY23" fmla="*/ 4386371 h 5959540"/>
              <a:gd name="connsiteX24" fmla="*/ 2777987 w 6441943"/>
              <a:gd name="connsiteY24" fmla="*/ 4376117 h 5959540"/>
              <a:gd name="connsiteX25" fmla="*/ 2780259 w 6441943"/>
              <a:gd name="connsiteY25" fmla="*/ 4386964 h 5959540"/>
              <a:gd name="connsiteX26" fmla="*/ 2813776 w 6441943"/>
              <a:gd name="connsiteY26" fmla="*/ 4528044 h 5959540"/>
              <a:gd name="connsiteX27" fmla="*/ 2780260 w 6441943"/>
              <a:gd name="connsiteY27" fmla="*/ 4386966 h 5959540"/>
              <a:gd name="connsiteX28" fmla="*/ 2780140 w 6441943"/>
              <a:gd name="connsiteY28" fmla="*/ 4386393 h 5959540"/>
              <a:gd name="connsiteX29" fmla="*/ 2780260 w 6441943"/>
              <a:gd name="connsiteY29" fmla="*/ 4386964 h 5959540"/>
              <a:gd name="connsiteX30" fmla="*/ 2827406 w 6441943"/>
              <a:gd name="connsiteY30" fmla="*/ 4585415 h 5959540"/>
              <a:gd name="connsiteX31" fmla="*/ 2980344 w 6441943"/>
              <a:gd name="connsiteY31" fmla="*/ 4916780 h 5959540"/>
              <a:gd name="connsiteX32" fmla="*/ 3179627 w 6441943"/>
              <a:gd name="connsiteY32" fmla="*/ 5435843 h 5959540"/>
              <a:gd name="connsiteX33" fmla="*/ 3179738 w 6441943"/>
              <a:gd name="connsiteY33" fmla="*/ 5446344 h 5959540"/>
              <a:gd name="connsiteX34" fmla="*/ 3179858 w 6441943"/>
              <a:gd name="connsiteY34" fmla="*/ 5457884 h 5959540"/>
              <a:gd name="connsiteX35" fmla="*/ 3177050 w 6441943"/>
              <a:gd name="connsiteY35" fmla="*/ 5492431 h 5959540"/>
              <a:gd name="connsiteX36" fmla="*/ 2859847 w 6441943"/>
              <a:gd name="connsiteY36" fmla="*/ 5869169 h 5959540"/>
              <a:gd name="connsiteX37" fmla="*/ 2850578 w 6441943"/>
              <a:gd name="connsiteY37" fmla="*/ 5871485 h 5959540"/>
              <a:gd name="connsiteX38" fmla="*/ 2723128 w 6441943"/>
              <a:gd name="connsiteY38" fmla="*/ 5887707 h 5959540"/>
              <a:gd name="connsiteX39" fmla="*/ 2723137 w 6441943"/>
              <a:gd name="connsiteY39" fmla="*/ 5887707 h 5959540"/>
              <a:gd name="connsiteX40" fmla="*/ 2730081 w 6441943"/>
              <a:gd name="connsiteY40" fmla="*/ 5887707 h 5959540"/>
              <a:gd name="connsiteX41" fmla="*/ 3527214 w 6441943"/>
              <a:gd name="connsiteY41" fmla="*/ 5883072 h 5959540"/>
              <a:gd name="connsiteX42" fmla="*/ 3860898 w 6441943"/>
              <a:gd name="connsiteY42" fmla="*/ 5593415 h 5959540"/>
              <a:gd name="connsiteX43" fmla="*/ 3861133 w 6441943"/>
              <a:gd name="connsiteY43" fmla="*/ 5581911 h 5959540"/>
              <a:gd name="connsiteX44" fmla="*/ 3861133 w 6441943"/>
              <a:gd name="connsiteY44" fmla="*/ 5581912 h 5959540"/>
              <a:gd name="connsiteX45" fmla="*/ 3861134 w 6441943"/>
              <a:gd name="connsiteY45" fmla="*/ 5581911 h 5959540"/>
              <a:gd name="connsiteX46" fmla="*/ 3738082 w 6441943"/>
              <a:gd name="connsiteY46" fmla="*/ 5153139 h 5959540"/>
              <a:gd name="connsiteX47" fmla="*/ 3732433 w 6441943"/>
              <a:gd name="connsiteY47" fmla="*/ 5140760 h 5959540"/>
              <a:gd name="connsiteX48" fmla="*/ 3732384 w 6441943"/>
              <a:gd name="connsiteY48" fmla="*/ 5140652 h 5959540"/>
              <a:gd name="connsiteX49" fmla="*/ 3731127 w 6441943"/>
              <a:gd name="connsiteY49" fmla="*/ 5137087 h 5959540"/>
              <a:gd name="connsiteX50" fmla="*/ 3731128 w 6441943"/>
              <a:gd name="connsiteY50" fmla="*/ 5137089 h 5959540"/>
              <a:gd name="connsiteX51" fmla="*/ 3721174 w 6441943"/>
              <a:gd name="connsiteY51" fmla="*/ 5108858 h 5959540"/>
              <a:gd name="connsiteX52" fmla="*/ 3720583 w 6441943"/>
              <a:gd name="connsiteY52" fmla="*/ 5106469 h 5959540"/>
              <a:gd name="connsiteX53" fmla="*/ 3720154 w 6441943"/>
              <a:gd name="connsiteY53" fmla="*/ 5104735 h 5959540"/>
              <a:gd name="connsiteX54" fmla="*/ 3720155 w 6441943"/>
              <a:gd name="connsiteY54" fmla="*/ 5104739 h 5959540"/>
              <a:gd name="connsiteX55" fmla="*/ 3708063 w 6441943"/>
              <a:gd name="connsiteY55" fmla="*/ 5055829 h 5959540"/>
              <a:gd name="connsiteX56" fmla="*/ 3696662 w 6441943"/>
              <a:gd name="connsiteY56" fmla="*/ 4979636 h 5959540"/>
              <a:gd name="connsiteX57" fmla="*/ 3691720 w 6441943"/>
              <a:gd name="connsiteY57" fmla="*/ 4897282 h 5959540"/>
              <a:gd name="connsiteX58" fmla="*/ 3691720 w 6441943"/>
              <a:gd name="connsiteY58" fmla="*/ 4897290 h 5959540"/>
              <a:gd name="connsiteX59" fmla="*/ 3691169 w 6441943"/>
              <a:gd name="connsiteY59" fmla="*/ 4888099 h 5959540"/>
              <a:gd name="connsiteX60" fmla="*/ 3690584 w 6441943"/>
              <a:gd name="connsiteY60" fmla="*/ 4878351 h 5959540"/>
              <a:gd name="connsiteX61" fmla="*/ 3693440 w 6441943"/>
              <a:gd name="connsiteY61" fmla="*/ 4750059 h 5959540"/>
              <a:gd name="connsiteX62" fmla="*/ 3693439 w 6441943"/>
              <a:gd name="connsiteY62" fmla="*/ 4750071 h 5959540"/>
              <a:gd name="connsiteX63" fmla="*/ 3693440 w 6441943"/>
              <a:gd name="connsiteY63" fmla="*/ 4750058 h 5959540"/>
              <a:gd name="connsiteX64" fmla="*/ 3693440 w 6441943"/>
              <a:gd name="connsiteY64" fmla="*/ 4750048 h 5959540"/>
              <a:gd name="connsiteX65" fmla="*/ 3740401 w 6441943"/>
              <a:gd name="connsiteY65" fmla="*/ 4404670 h 5959540"/>
              <a:gd name="connsiteX66" fmla="*/ 3740571 w 6441943"/>
              <a:gd name="connsiteY66" fmla="*/ 4404435 h 5959540"/>
              <a:gd name="connsiteX67" fmla="*/ 3706071 w 6441943"/>
              <a:gd name="connsiteY67" fmla="*/ 4362586 h 5959540"/>
              <a:gd name="connsiteX68" fmla="*/ 3422570 w 6441943"/>
              <a:gd name="connsiteY68" fmla="*/ 3821979 h 5959540"/>
              <a:gd name="connsiteX69" fmla="*/ 3384337 w 6441943"/>
              <a:gd name="connsiteY69" fmla="*/ 3767524 h 5959540"/>
              <a:gd name="connsiteX70" fmla="*/ 2542383 w 6441943"/>
              <a:gd name="connsiteY70" fmla="*/ 3241413 h 5959540"/>
              <a:gd name="connsiteX71" fmla="*/ 2512260 w 6441943"/>
              <a:gd name="connsiteY71" fmla="*/ 3280805 h 5959540"/>
              <a:gd name="connsiteX72" fmla="*/ 2712294 w 6441943"/>
              <a:gd name="connsiteY72" fmla="*/ 4403775 h 5959540"/>
              <a:gd name="connsiteX73" fmla="*/ 2720978 w 6441943"/>
              <a:gd name="connsiteY73" fmla="*/ 4440058 h 5959540"/>
              <a:gd name="connsiteX74" fmla="*/ 2776921 w 6441943"/>
              <a:gd name="connsiteY74" fmla="*/ 4371033 h 5959540"/>
              <a:gd name="connsiteX75" fmla="*/ 2735259 w 6441943"/>
              <a:gd name="connsiteY75" fmla="*/ 4172222 h 5959540"/>
              <a:gd name="connsiteX76" fmla="*/ 2581778 w 6441943"/>
              <a:gd name="connsiteY76" fmla="*/ 3271536 h 5959540"/>
              <a:gd name="connsiteX77" fmla="*/ 2542383 w 6441943"/>
              <a:gd name="connsiteY77" fmla="*/ 3241413 h 5959540"/>
              <a:gd name="connsiteX78" fmla="*/ 2168787 w 6441943"/>
              <a:gd name="connsiteY78" fmla="*/ 3080089 h 5959540"/>
              <a:gd name="connsiteX79" fmla="*/ 2101741 w 6441943"/>
              <a:gd name="connsiteY79" fmla="*/ 3124488 h 5959540"/>
              <a:gd name="connsiteX80" fmla="*/ 1992831 w 6441943"/>
              <a:gd name="connsiteY80" fmla="*/ 3386337 h 5959540"/>
              <a:gd name="connsiteX81" fmla="*/ 1819037 w 6441943"/>
              <a:gd name="connsiteY81" fmla="*/ 3520738 h 5959540"/>
              <a:gd name="connsiteX82" fmla="*/ 1814402 w 6441943"/>
              <a:gd name="connsiteY82" fmla="*/ 3652819 h 5959540"/>
              <a:gd name="connsiteX83" fmla="*/ 1888554 w 6441943"/>
              <a:gd name="connsiteY83" fmla="*/ 3669041 h 5959540"/>
              <a:gd name="connsiteX84" fmla="*/ 1939533 w 6441943"/>
              <a:gd name="connsiteY84" fmla="*/ 3722337 h 5959540"/>
              <a:gd name="connsiteX85" fmla="*/ 2009051 w 6441943"/>
              <a:gd name="connsiteY85" fmla="*/ 3710752 h 5959540"/>
              <a:gd name="connsiteX86" fmla="*/ 2108693 w 6441943"/>
              <a:gd name="connsiteY86" fmla="*/ 3622696 h 5959540"/>
              <a:gd name="connsiteX87" fmla="*/ 2166623 w 6441943"/>
              <a:gd name="connsiteY87" fmla="*/ 3564764 h 5959540"/>
              <a:gd name="connsiteX88" fmla="*/ 2217603 w 6441943"/>
              <a:gd name="connsiteY88" fmla="*/ 3476709 h 5959540"/>
              <a:gd name="connsiteX89" fmla="*/ 2419204 w 6441943"/>
              <a:gd name="connsiteY89" fmla="*/ 3326089 h 5959540"/>
              <a:gd name="connsiteX90" fmla="*/ 2210652 w 6441943"/>
              <a:gd name="connsiteY90" fmla="*/ 3112903 h 5959540"/>
              <a:gd name="connsiteX91" fmla="*/ 2168787 w 6441943"/>
              <a:gd name="connsiteY91" fmla="*/ 3080089 h 5959540"/>
              <a:gd name="connsiteX92" fmla="*/ 4736448 w 6441943"/>
              <a:gd name="connsiteY92" fmla="*/ 2146033 h 5959540"/>
              <a:gd name="connsiteX93" fmla="*/ 4759619 w 6441943"/>
              <a:gd name="connsiteY93" fmla="*/ 2155880 h 5959540"/>
              <a:gd name="connsiteX94" fmla="*/ 4766572 w 6441943"/>
              <a:gd name="connsiteY94" fmla="*/ 2255523 h 5959540"/>
              <a:gd name="connsiteX95" fmla="*/ 4422563 w 6441943"/>
              <a:gd name="connsiteY95" fmla="*/ 2763414 h 5959540"/>
              <a:gd name="connsiteX96" fmla="*/ 4399870 w 6441943"/>
              <a:gd name="connsiteY96" fmla="*/ 2748805 h 5959540"/>
              <a:gd name="connsiteX97" fmla="*/ 4361056 w 6441943"/>
              <a:gd name="connsiteY97" fmla="*/ 2693480 h 5959540"/>
              <a:gd name="connsiteX98" fmla="*/ 4298489 w 6441943"/>
              <a:gd name="connsiteY98" fmla="*/ 2605425 h 5959540"/>
              <a:gd name="connsiteX99" fmla="*/ 4236902 w 6441943"/>
              <a:gd name="connsiteY99" fmla="*/ 2622045 h 5959540"/>
              <a:gd name="connsiteX100" fmla="*/ 4205003 w 6441943"/>
              <a:gd name="connsiteY100" fmla="*/ 2639946 h 5959540"/>
              <a:gd name="connsiteX101" fmla="*/ 4213619 w 6441943"/>
              <a:gd name="connsiteY101" fmla="*/ 2615853 h 5959540"/>
              <a:gd name="connsiteX102" fmla="*/ 4233606 w 6441943"/>
              <a:gd name="connsiteY102" fmla="*/ 2591522 h 5959540"/>
              <a:gd name="connsiteX103" fmla="*/ 4678517 w 6441943"/>
              <a:gd name="connsiteY103" fmla="*/ 2167467 h 5959540"/>
              <a:gd name="connsiteX104" fmla="*/ 4736448 w 6441943"/>
              <a:gd name="connsiteY104" fmla="*/ 2146033 h 5959540"/>
              <a:gd name="connsiteX105" fmla="*/ 2679023 w 6441943"/>
              <a:gd name="connsiteY105" fmla="*/ 1316748 h 5959540"/>
              <a:gd name="connsiteX106" fmla="*/ 2660196 w 6441943"/>
              <a:gd name="connsiteY106" fmla="*/ 1335577 h 5959540"/>
              <a:gd name="connsiteX107" fmla="*/ 2599948 w 6441943"/>
              <a:gd name="connsiteY107" fmla="*/ 1592789 h 5959540"/>
              <a:gd name="connsiteX108" fmla="*/ 2727395 w 6441943"/>
              <a:gd name="connsiteY108" fmla="*/ 1942694 h 5959540"/>
              <a:gd name="connsiteX109" fmla="*/ 2796913 w 6441943"/>
              <a:gd name="connsiteY109" fmla="*/ 2220763 h 5959540"/>
              <a:gd name="connsiteX110" fmla="*/ 2831673 w 6441943"/>
              <a:gd name="connsiteY110" fmla="*/ 2255521 h 5959540"/>
              <a:gd name="connsiteX111" fmla="*/ 2866430 w 6441943"/>
              <a:gd name="connsiteY111" fmla="*/ 2223079 h 5959540"/>
              <a:gd name="connsiteX112" fmla="*/ 2787644 w 6441943"/>
              <a:gd name="connsiteY112" fmla="*/ 1905618 h 5959540"/>
              <a:gd name="connsiteX113" fmla="*/ 2669465 w 6441943"/>
              <a:gd name="connsiteY113" fmla="*/ 1588155 h 5959540"/>
              <a:gd name="connsiteX114" fmla="*/ 2725077 w 6441943"/>
              <a:gd name="connsiteY114" fmla="*/ 1363383 h 5959540"/>
              <a:gd name="connsiteX115" fmla="*/ 2706541 w 6441943"/>
              <a:gd name="connsiteY115" fmla="*/ 1317039 h 5959540"/>
              <a:gd name="connsiteX116" fmla="*/ 2679023 w 6441943"/>
              <a:gd name="connsiteY116" fmla="*/ 1316748 h 5959540"/>
              <a:gd name="connsiteX117" fmla="*/ 3661900 w 6441943"/>
              <a:gd name="connsiteY117" fmla="*/ 43514 h 5959540"/>
              <a:gd name="connsiteX118" fmla="*/ 3700637 w 6441943"/>
              <a:gd name="connsiteY118" fmla="*/ 51823 h 5959540"/>
              <a:gd name="connsiteX119" fmla="*/ 3967122 w 6441943"/>
              <a:gd name="connsiteY119" fmla="*/ 290498 h 5959540"/>
              <a:gd name="connsiteX120" fmla="*/ 3955534 w 6441943"/>
              <a:gd name="connsiteY120" fmla="*/ 436486 h 5959540"/>
              <a:gd name="connsiteX121" fmla="*/ 3917409 w 6441943"/>
              <a:gd name="connsiteY121" fmla="*/ 423225 h 5959540"/>
              <a:gd name="connsiteX122" fmla="*/ 3915737 w 6441943"/>
              <a:gd name="connsiteY122" fmla="*/ 421250 h 5959540"/>
              <a:gd name="connsiteX123" fmla="*/ 3559208 w 6441943"/>
              <a:gd name="connsiteY123" fmla="*/ 129965 h 5959540"/>
              <a:gd name="connsiteX124" fmla="*/ 3496142 w 6441943"/>
              <a:gd name="connsiteY124" fmla="*/ 100266 h 5959540"/>
              <a:gd name="connsiteX125" fmla="*/ 3547157 w 6441943"/>
              <a:gd name="connsiteY125" fmla="*/ 71375 h 5959540"/>
              <a:gd name="connsiteX126" fmla="*/ 3661900 w 6441943"/>
              <a:gd name="connsiteY126" fmla="*/ 43514 h 5959540"/>
              <a:gd name="connsiteX127" fmla="*/ 3052075 w 6441943"/>
              <a:gd name="connsiteY127" fmla="*/ 570 h 5959540"/>
              <a:gd name="connsiteX128" fmla="*/ 3058764 w 6441943"/>
              <a:gd name="connsiteY128" fmla="*/ 841 h 5959540"/>
              <a:gd name="connsiteX129" fmla="*/ 3410334 w 6441943"/>
              <a:gd name="connsiteY129" fmla="*/ 59859 h 5959540"/>
              <a:gd name="connsiteX130" fmla="*/ 3496142 w 6441943"/>
              <a:gd name="connsiteY130" fmla="*/ 100266 h 5959540"/>
              <a:gd name="connsiteX131" fmla="*/ 3492399 w 6441943"/>
              <a:gd name="connsiteY131" fmla="*/ 102386 h 5959540"/>
              <a:gd name="connsiteX132" fmla="*/ 3429521 w 6441943"/>
              <a:gd name="connsiteY132" fmla="*/ 149148 h 5959540"/>
              <a:gd name="connsiteX133" fmla="*/ 3290487 w 6441943"/>
              <a:gd name="connsiteY133" fmla="*/ 283548 h 5959540"/>
              <a:gd name="connsiteX134" fmla="*/ 3306706 w 6441943"/>
              <a:gd name="connsiteY134" fmla="*/ 325258 h 5959540"/>
              <a:gd name="connsiteX135" fmla="*/ 3302072 w 6441943"/>
              <a:gd name="connsiteY135" fmla="*/ 366969 h 5959540"/>
              <a:gd name="connsiteX136" fmla="*/ 3248776 w 6441943"/>
              <a:gd name="connsiteY136" fmla="*/ 441121 h 5959540"/>
              <a:gd name="connsiteX137" fmla="*/ 3202431 w 6441943"/>
              <a:gd name="connsiteY137" fmla="*/ 448071 h 5959540"/>
              <a:gd name="connsiteX138" fmla="*/ 3163037 w 6441943"/>
              <a:gd name="connsiteY138" fmla="*/ 420264 h 5959540"/>
              <a:gd name="connsiteX139" fmla="*/ 3112058 w 6441943"/>
              <a:gd name="connsiteY139" fmla="*/ 431852 h 5959540"/>
              <a:gd name="connsiteX140" fmla="*/ 3024002 w 6441943"/>
              <a:gd name="connsiteY140" fmla="*/ 554664 h 5959540"/>
              <a:gd name="connsiteX141" fmla="*/ 2961438 w 6441943"/>
              <a:gd name="connsiteY141" fmla="*/ 594059 h 5959540"/>
              <a:gd name="connsiteX142" fmla="*/ 2609215 w 6441943"/>
              <a:gd name="connsiteY142" fmla="*/ 992625 h 5959540"/>
              <a:gd name="connsiteX143" fmla="*/ 2928997 w 6441943"/>
              <a:gd name="connsiteY143" fmla="*/ 1321673 h 5959540"/>
              <a:gd name="connsiteX144" fmla="*/ 3315975 w 6441943"/>
              <a:gd name="connsiteY144" fmla="*/ 992625 h 5959540"/>
              <a:gd name="connsiteX145" fmla="*/ 3253411 w 6441943"/>
              <a:gd name="connsiteY145" fmla="*/ 749313 h 5959540"/>
              <a:gd name="connsiteX146" fmla="*/ 3248776 w 6441943"/>
              <a:gd name="connsiteY146" fmla="*/ 698333 h 5959540"/>
              <a:gd name="connsiteX147" fmla="*/ 3334513 w 6441943"/>
              <a:gd name="connsiteY147" fmla="*/ 605644 h 5959540"/>
              <a:gd name="connsiteX148" fmla="*/ 3334513 w 6441943"/>
              <a:gd name="connsiteY148" fmla="*/ 559299 h 5959540"/>
              <a:gd name="connsiteX149" fmla="*/ 3304390 w 6441943"/>
              <a:gd name="connsiteY149" fmla="*/ 519907 h 5959540"/>
              <a:gd name="connsiteX150" fmla="*/ 3373907 w 6441943"/>
              <a:gd name="connsiteY150" fmla="*/ 434168 h 5959540"/>
              <a:gd name="connsiteX151" fmla="*/ 3415618 w 6441943"/>
              <a:gd name="connsiteY151" fmla="*/ 415630 h 5959540"/>
              <a:gd name="connsiteX152" fmla="*/ 3457328 w 6441943"/>
              <a:gd name="connsiteY152" fmla="*/ 445755 h 5959540"/>
              <a:gd name="connsiteX153" fmla="*/ 3508307 w 6441943"/>
              <a:gd name="connsiteY153" fmla="*/ 417948 h 5959540"/>
              <a:gd name="connsiteX154" fmla="*/ 3744666 w 6441943"/>
              <a:gd name="connsiteY154" fmla="*/ 271960 h 5959540"/>
              <a:gd name="connsiteX155" fmla="*/ 3902239 w 6441943"/>
              <a:gd name="connsiteY155" fmla="*/ 417948 h 5959540"/>
              <a:gd name="connsiteX156" fmla="*/ 3917409 w 6441943"/>
              <a:gd name="connsiteY156" fmla="*/ 423225 h 5959540"/>
              <a:gd name="connsiteX157" fmla="*/ 3928155 w 6441943"/>
              <a:gd name="connsiteY157" fmla="*/ 435919 h 5959540"/>
              <a:gd name="connsiteX158" fmla="*/ 3932365 w 6441943"/>
              <a:gd name="connsiteY158" fmla="*/ 441118 h 5959540"/>
              <a:gd name="connsiteX159" fmla="*/ 4226656 w 6441943"/>
              <a:gd name="connsiteY159" fmla="*/ 772485 h 5959540"/>
              <a:gd name="connsiteX160" fmla="*/ 4307758 w 6441943"/>
              <a:gd name="connsiteY160" fmla="*/ 1043602 h 5959540"/>
              <a:gd name="connsiteX161" fmla="*/ 4284586 w 6441943"/>
              <a:gd name="connsiteY161" fmla="*/ 1326305 h 5959540"/>
              <a:gd name="connsiteX162" fmla="*/ 4238241 w 6441943"/>
              <a:gd name="connsiteY162" fmla="*/ 1133975 h 5959540"/>
              <a:gd name="connsiteX163" fmla="*/ 4164089 w 6441943"/>
              <a:gd name="connsiteY163" fmla="*/ 1326305 h 5959540"/>
              <a:gd name="connsiteX164" fmla="*/ 4113110 w 6441943"/>
              <a:gd name="connsiteY164" fmla="*/ 1226665 h 5959540"/>
              <a:gd name="connsiteX165" fmla="*/ 4055180 w 6441943"/>
              <a:gd name="connsiteY165" fmla="*/ 1388872 h 5959540"/>
              <a:gd name="connsiteX166" fmla="*/ 4038958 w 6441943"/>
              <a:gd name="connsiteY166" fmla="*/ 1300817 h 5959540"/>
              <a:gd name="connsiteX167" fmla="*/ 3779426 w 6441943"/>
              <a:gd name="connsiteY167" fmla="*/ 1574252 h 5959540"/>
              <a:gd name="connsiteX168" fmla="*/ 3682102 w 6441943"/>
              <a:gd name="connsiteY168" fmla="*/ 1655354 h 5959540"/>
              <a:gd name="connsiteX169" fmla="*/ 3665882 w 6441943"/>
              <a:gd name="connsiteY169" fmla="*/ 1921839 h 5959540"/>
              <a:gd name="connsiteX170" fmla="*/ 3626488 w 6441943"/>
              <a:gd name="connsiteY170" fmla="*/ 1991356 h 5959540"/>
              <a:gd name="connsiteX171" fmla="*/ 3515260 w 6441943"/>
              <a:gd name="connsiteY171" fmla="*/ 2002941 h 5959540"/>
              <a:gd name="connsiteX172" fmla="*/ 3487453 w 6441943"/>
              <a:gd name="connsiteY172" fmla="*/ 2077093 h 5959540"/>
              <a:gd name="connsiteX173" fmla="*/ 3417936 w 6441943"/>
              <a:gd name="connsiteY173" fmla="*/ 2088680 h 5959540"/>
              <a:gd name="connsiteX174" fmla="*/ 3387813 w 6441943"/>
              <a:gd name="connsiteY174" fmla="*/ 2146610 h 5959540"/>
              <a:gd name="connsiteX175" fmla="*/ 3306708 w 6441943"/>
              <a:gd name="connsiteY175" fmla="*/ 2141976 h 5959540"/>
              <a:gd name="connsiteX176" fmla="*/ 3288170 w 6441943"/>
              <a:gd name="connsiteY176" fmla="*/ 2211493 h 5959540"/>
              <a:gd name="connsiteX177" fmla="*/ 3144501 w 6441943"/>
              <a:gd name="connsiteY177" fmla="*/ 2223080 h 5959540"/>
              <a:gd name="connsiteX178" fmla="*/ 3051811 w 6441943"/>
              <a:gd name="connsiteY178" fmla="*/ 2169783 h 5959540"/>
              <a:gd name="connsiteX179" fmla="*/ 2959121 w 6441943"/>
              <a:gd name="connsiteY179" fmla="*/ 2313452 h 5959540"/>
              <a:gd name="connsiteX180" fmla="*/ 3040226 w 6441943"/>
              <a:gd name="connsiteY180" fmla="*/ 2445536 h 5959540"/>
              <a:gd name="connsiteX181" fmla="*/ 3241825 w 6441943"/>
              <a:gd name="connsiteY181" fmla="*/ 2614694 h 5959540"/>
              <a:gd name="connsiteX182" fmla="*/ 3276585 w 6441943"/>
              <a:gd name="connsiteY182" fmla="*/ 2656404 h 5959540"/>
              <a:gd name="connsiteX183" fmla="*/ 3531482 w 6441943"/>
              <a:gd name="connsiteY183" fmla="*/ 2563714 h 5959540"/>
              <a:gd name="connsiteX184" fmla="*/ 3967124 w 6441943"/>
              <a:gd name="connsiteY184" fmla="*/ 2869591 h 5959540"/>
              <a:gd name="connsiteX185" fmla="*/ 4006516 w 6441943"/>
              <a:gd name="connsiteY185" fmla="*/ 2869591 h 5959540"/>
              <a:gd name="connsiteX186" fmla="*/ 4175677 w 6441943"/>
              <a:gd name="connsiteY186" fmla="*/ 2656404 h 5959540"/>
              <a:gd name="connsiteX187" fmla="*/ 4205003 w 6441943"/>
              <a:gd name="connsiteY187" fmla="*/ 2639946 h 5959540"/>
              <a:gd name="connsiteX188" fmla="*/ 4201345 w 6441943"/>
              <a:gd name="connsiteY188" fmla="*/ 2650177 h 5959540"/>
              <a:gd name="connsiteX189" fmla="*/ 4198846 w 6441943"/>
              <a:gd name="connsiteY189" fmla="*/ 2702749 h 5959540"/>
              <a:gd name="connsiteX190" fmla="*/ 4187261 w 6441943"/>
              <a:gd name="connsiteY190" fmla="*/ 2848737 h 5959540"/>
              <a:gd name="connsiteX191" fmla="*/ 4082983 w 6441943"/>
              <a:gd name="connsiteY191" fmla="*/ 2969234 h 5959540"/>
              <a:gd name="connsiteX192" fmla="*/ 4078349 w 6441943"/>
              <a:gd name="connsiteY192" fmla="*/ 3092046 h 5959540"/>
              <a:gd name="connsiteX193" fmla="*/ 4117743 w 6441943"/>
              <a:gd name="connsiteY193" fmla="*/ 3138391 h 5959540"/>
              <a:gd name="connsiteX194" fmla="*/ 4226653 w 6441943"/>
              <a:gd name="connsiteY194" fmla="*/ 3052654 h 5959540"/>
              <a:gd name="connsiteX195" fmla="*/ 4422563 w 6441943"/>
              <a:gd name="connsiteY195" fmla="*/ 2763414 h 5959540"/>
              <a:gd name="connsiteX196" fmla="*/ 4428835 w 6441943"/>
              <a:gd name="connsiteY196" fmla="*/ 2767452 h 5959540"/>
              <a:gd name="connsiteX197" fmla="*/ 4442159 w 6441943"/>
              <a:gd name="connsiteY197" fmla="*/ 2774585 h 5959540"/>
              <a:gd name="connsiteX198" fmla="*/ 4446793 w 6441943"/>
              <a:gd name="connsiteY198" fmla="*/ 2874225 h 5959540"/>
              <a:gd name="connsiteX199" fmla="*/ 4463015 w 6441943"/>
              <a:gd name="connsiteY199" fmla="*/ 2950695 h 5959540"/>
              <a:gd name="connsiteX200" fmla="*/ 4493138 w 6441943"/>
              <a:gd name="connsiteY200" fmla="*/ 3036432 h 5959540"/>
              <a:gd name="connsiteX201" fmla="*/ 4428255 w 6441943"/>
              <a:gd name="connsiteY201" fmla="*/ 3145344 h 5959540"/>
              <a:gd name="connsiteX202" fmla="*/ 4312393 w 6441943"/>
              <a:gd name="connsiteY202" fmla="*/ 3307551 h 5959540"/>
              <a:gd name="connsiteX203" fmla="*/ 4887070 w 6441943"/>
              <a:gd name="connsiteY203" fmla="*/ 3949429 h 5959540"/>
              <a:gd name="connsiteX204" fmla="*/ 4914877 w 6441943"/>
              <a:gd name="connsiteY204" fmla="*/ 4141759 h 5959540"/>
              <a:gd name="connsiteX205" fmla="*/ 4845359 w 6441943"/>
              <a:gd name="connsiteY205" fmla="*/ 4598258 h 5959540"/>
              <a:gd name="connsiteX206" fmla="*/ 5095622 w 6441943"/>
              <a:gd name="connsiteY206" fmla="*/ 4938892 h 5959540"/>
              <a:gd name="connsiteX207" fmla="*/ 5230022 w 6441943"/>
              <a:gd name="connsiteY207" fmla="*/ 4874009 h 5959540"/>
              <a:gd name="connsiteX208" fmla="*/ 5408451 w 6441943"/>
              <a:gd name="connsiteY208" fmla="*/ 4890228 h 5959540"/>
              <a:gd name="connsiteX209" fmla="*/ 5658714 w 6441943"/>
              <a:gd name="connsiteY209" fmla="*/ 4836933 h 5959540"/>
              <a:gd name="connsiteX210" fmla="*/ 5793114 w 6441943"/>
              <a:gd name="connsiteY210" fmla="*/ 4853155 h 5959540"/>
              <a:gd name="connsiteX211" fmla="*/ 5742135 w 6441943"/>
              <a:gd name="connsiteY211" fmla="*/ 4992190 h 5959540"/>
              <a:gd name="connsiteX212" fmla="*/ 5943734 w 6441943"/>
              <a:gd name="connsiteY212" fmla="*/ 4938892 h 5959540"/>
              <a:gd name="connsiteX213" fmla="*/ 6249610 w 6441943"/>
              <a:gd name="connsiteY213" fmla="*/ 4834614 h 5959540"/>
              <a:gd name="connsiteX214" fmla="*/ 6358521 w 6441943"/>
              <a:gd name="connsiteY214" fmla="*/ 4920354 h 5959540"/>
              <a:gd name="connsiteX215" fmla="*/ 6377059 w 6441943"/>
              <a:gd name="connsiteY215" fmla="*/ 4927304 h 5959540"/>
              <a:gd name="connsiteX216" fmla="*/ 6388645 w 6441943"/>
              <a:gd name="connsiteY216" fmla="*/ 4943526 h 5959540"/>
              <a:gd name="connsiteX217" fmla="*/ 6381694 w 6441943"/>
              <a:gd name="connsiteY217" fmla="*/ 4982918 h 5959540"/>
              <a:gd name="connsiteX218" fmla="*/ 6416451 w 6441943"/>
              <a:gd name="connsiteY218" fmla="*/ 5001456 h 5959540"/>
              <a:gd name="connsiteX219" fmla="*/ 6428039 w 6441943"/>
              <a:gd name="connsiteY219" fmla="*/ 5019994 h 5959540"/>
              <a:gd name="connsiteX220" fmla="*/ 6416451 w 6441943"/>
              <a:gd name="connsiteY220" fmla="*/ 5077926 h 5959540"/>
              <a:gd name="connsiteX221" fmla="*/ 6428039 w 6441943"/>
              <a:gd name="connsiteY221" fmla="*/ 5105733 h 5959540"/>
              <a:gd name="connsiteX222" fmla="*/ 6441943 w 6441943"/>
              <a:gd name="connsiteY222" fmla="*/ 5168298 h 5959540"/>
              <a:gd name="connsiteX223" fmla="*/ 6423405 w 6441943"/>
              <a:gd name="connsiteY223" fmla="*/ 5198423 h 5959540"/>
              <a:gd name="connsiteX224" fmla="*/ 6423405 w 6441943"/>
              <a:gd name="connsiteY224" fmla="*/ 5240133 h 5959540"/>
              <a:gd name="connsiteX225" fmla="*/ 6381694 w 6441943"/>
              <a:gd name="connsiteY225" fmla="*/ 5267940 h 5959540"/>
              <a:gd name="connsiteX226" fmla="*/ 6177777 w 6441943"/>
              <a:gd name="connsiteY226" fmla="*/ 5402341 h 5959540"/>
              <a:gd name="connsiteX227" fmla="*/ 5906658 w 6441943"/>
              <a:gd name="connsiteY227" fmla="*/ 5536741 h 5959540"/>
              <a:gd name="connsiteX228" fmla="*/ 5408451 w 6441943"/>
              <a:gd name="connsiteY228" fmla="*/ 5733708 h 5959540"/>
              <a:gd name="connsiteX229" fmla="*/ 5079402 w 6441943"/>
              <a:gd name="connsiteY229" fmla="*/ 5895915 h 5959540"/>
              <a:gd name="connsiteX230" fmla="*/ 4870850 w 6441943"/>
              <a:gd name="connsiteY230" fmla="*/ 5694314 h 5959540"/>
              <a:gd name="connsiteX231" fmla="*/ 4748035 w 6441943"/>
              <a:gd name="connsiteY231" fmla="*/ 5620162 h 5959540"/>
              <a:gd name="connsiteX232" fmla="*/ 4666933 w 6441943"/>
              <a:gd name="connsiteY232" fmla="*/ 5701264 h 5959540"/>
              <a:gd name="connsiteX233" fmla="*/ 4372641 w 6441943"/>
              <a:gd name="connsiteY233" fmla="*/ 5752243 h 5959540"/>
              <a:gd name="connsiteX234" fmla="*/ 4284586 w 6441943"/>
              <a:gd name="connsiteY234" fmla="*/ 5381484 h 5959540"/>
              <a:gd name="connsiteX235" fmla="*/ 3913827 w 6441943"/>
              <a:gd name="connsiteY235" fmla="*/ 4582036 h 5959540"/>
              <a:gd name="connsiteX236" fmla="*/ 3803568 w 6441943"/>
              <a:gd name="connsiteY236" fmla="*/ 4480852 h 5959540"/>
              <a:gd name="connsiteX237" fmla="*/ 3800007 w 6441943"/>
              <a:gd name="connsiteY237" fmla="*/ 4476532 h 5959540"/>
              <a:gd name="connsiteX238" fmla="*/ 3780527 w 6441943"/>
              <a:gd name="connsiteY238" fmla="*/ 4590443 h 5959540"/>
              <a:gd name="connsiteX239" fmla="*/ 3780525 w 6441943"/>
              <a:gd name="connsiteY239" fmla="*/ 4590467 h 5959540"/>
              <a:gd name="connsiteX240" fmla="*/ 3765094 w 6441943"/>
              <a:gd name="connsiteY240" fmla="*/ 4735131 h 5959540"/>
              <a:gd name="connsiteX241" fmla="*/ 3765092 w 6441943"/>
              <a:gd name="connsiteY241" fmla="*/ 4735183 h 5959540"/>
              <a:gd name="connsiteX242" fmla="*/ 3765094 w 6441943"/>
              <a:gd name="connsiteY242" fmla="*/ 4735132 h 5959540"/>
              <a:gd name="connsiteX243" fmla="*/ 3765902 w 6441943"/>
              <a:gd name="connsiteY243" fmla="*/ 4727558 h 5959540"/>
              <a:gd name="connsiteX244" fmla="*/ 3763880 w 6441943"/>
              <a:gd name="connsiteY244" fmla="*/ 4767502 h 5959540"/>
              <a:gd name="connsiteX245" fmla="*/ 3761087 w 6441943"/>
              <a:gd name="connsiteY245" fmla="*/ 4841968 h 5959540"/>
              <a:gd name="connsiteX246" fmla="*/ 3761604 w 6441943"/>
              <a:gd name="connsiteY246" fmla="*/ 4880319 h 5959540"/>
              <a:gd name="connsiteX247" fmla="*/ 3764152 w 6441943"/>
              <a:gd name="connsiteY247" fmla="*/ 4948933 h 5959540"/>
              <a:gd name="connsiteX248" fmla="*/ 3765139 w 6441943"/>
              <a:gd name="connsiteY248" fmla="*/ 4957284 h 5959540"/>
              <a:gd name="connsiteX249" fmla="*/ 3763636 w 6441943"/>
              <a:gd name="connsiteY249" fmla="*/ 4934981 h 5959540"/>
              <a:gd name="connsiteX250" fmla="*/ 3766230 w 6441943"/>
              <a:gd name="connsiteY250" fmla="*/ 4966518 h 5959540"/>
              <a:gd name="connsiteX251" fmla="*/ 3771090 w 6441943"/>
              <a:gd name="connsiteY251" fmla="*/ 5007656 h 5959540"/>
              <a:gd name="connsiteX252" fmla="*/ 3774769 w 6441943"/>
              <a:gd name="connsiteY252" fmla="*/ 5031180 h 5959540"/>
              <a:gd name="connsiteX253" fmla="*/ 3781007 w 6441943"/>
              <a:gd name="connsiteY253" fmla="*/ 5061338 h 5959540"/>
              <a:gd name="connsiteX254" fmla="*/ 3784037 w 6441943"/>
              <a:gd name="connsiteY254" fmla="*/ 5074110 h 5959540"/>
              <a:gd name="connsiteX255" fmla="*/ 3782356 w 6441943"/>
              <a:gd name="connsiteY255" fmla="*/ 5067859 h 5959540"/>
              <a:gd name="connsiteX256" fmla="*/ 3783197 w 6441943"/>
              <a:gd name="connsiteY256" fmla="*/ 5071928 h 5959540"/>
              <a:gd name="connsiteX257" fmla="*/ 3790925 w 6441943"/>
              <a:gd name="connsiteY257" fmla="*/ 5097158 h 5959540"/>
              <a:gd name="connsiteX258" fmla="*/ 3792279 w 6441943"/>
              <a:gd name="connsiteY258" fmla="*/ 5101288 h 5959540"/>
              <a:gd name="connsiteX259" fmla="*/ 3791572 w 6441943"/>
              <a:gd name="connsiteY259" fmla="*/ 5099273 h 5959540"/>
              <a:gd name="connsiteX260" fmla="*/ 3792746 w 6441943"/>
              <a:gd name="connsiteY260" fmla="*/ 5103106 h 5959540"/>
              <a:gd name="connsiteX261" fmla="*/ 3798331 w 6441943"/>
              <a:gd name="connsiteY261" fmla="*/ 5116063 h 5959540"/>
              <a:gd name="connsiteX262" fmla="*/ 3798364 w 6441943"/>
              <a:gd name="connsiteY262" fmla="*/ 5116122 h 5959540"/>
              <a:gd name="connsiteX263" fmla="*/ 3798347 w 6441943"/>
              <a:gd name="connsiteY263" fmla="*/ 5116093 h 5959540"/>
              <a:gd name="connsiteX264" fmla="*/ 3841530 w 6441943"/>
              <a:gd name="connsiteY264" fmla="*/ 5195336 h 5959540"/>
              <a:gd name="connsiteX265" fmla="*/ 3838161 w 6441943"/>
              <a:gd name="connsiteY265" fmla="*/ 5187944 h 5959540"/>
              <a:gd name="connsiteX266" fmla="*/ 3840723 w 6441943"/>
              <a:gd name="connsiteY266" fmla="*/ 5192568 h 5959540"/>
              <a:gd name="connsiteX267" fmla="*/ 3843401 w 6441943"/>
              <a:gd name="connsiteY267" fmla="*/ 5198769 h 5959540"/>
              <a:gd name="connsiteX268" fmla="*/ 3845921 w 6441943"/>
              <a:gd name="connsiteY268" fmla="*/ 5203395 h 5959540"/>
              <a:gd name="connsiteX269" fmla="*/ 3852185 w 6441943"/>
              <a:gd name="connsiteY269" fmla="*/ 5218716 h 5959540"/>
              <a:gd name="connsiteX270" fmla="*/ 3864731 w 6441943"/>
              <a:gd name="connsiteY270" fmla="*/ 5246247 h 5959540"/>
              <a:gd name="connsiteX271" fmla="*/ 3867285 w 6441943"/>
              <a:gd name="connsiteY271" fmla="*/ 5254086 h 5959540"/>
              <a:gd name="connsiteX272" fmla="*/ 3855237 w 6441943"/>
              <a:gd name="connsiteY272" fmla="*/ 5226182 h 5959540"/>
              <a:gd name="connsiteX273" fmla="*/ 3869801 w 6441943"/>
              <a:gd name="connsiteY273" fmla="*/ 5261806 h 5959540"/>
              <a:gd name="connsiteX274" fmla="*/ 3867285 w 6441943"/>
              <a:gd name="connsiteY274" fmla="*/ 5254086 h 5959540"/>
              <a:gd name="connsiteX275" fmla="*/ 3873002 w 6441943"/>
              <a:gd name="connsiteY275" fmla="*/ 5267325 h 5959540"/>
              <a:gd name="connsiteX276" fmla="*/ 3876971 w 6441943"/>
              <a:gd name="connsiteY276" fmla="*/ 5279345 h 5959540"/>
              <a:gd name="connsiteX277" fmla="*/ 3880558 w 6441943"/>
              <a:gd name="connsiteY277" fmla="*/ 5288119 h 5959540"/>
              <a:gd name="connsiteX278" fmla="*/ 3887016 w 6441943"/>
              <a:gd name="connsiteY278" fmla="*/ 5309765 h 5959540"/>
              <a:gd name="connsiteX279" fmla="*/ 3896534 w 6441943"/>
              <a:gd name="connsiteY279" fmla="*/ 5338590 h 5959540"/>
              <a:gd name="connsiteX280" fmla="*/ 3900713 w 6441943"/>
              <a:gd name="connsiteY280" fmla="*/ 5355679 h 5959540"/>
              <a:gd name="connsiteX281" fmla="*/ 3904278 w 6441943"/>
              <a:gd name="connsiteY281" fmla="*/ 5367630 h 5959540"/>
              <a:gd name="connsiteX282" fmla="*/ 3907819 w 6441943"/>
              <a:gd name="connsiteY282" fmla="*/ 5384732 h 5959540"/>
              <a:gd name="connsiteX283" fmla="*/ 3912682 w 6441943"/>
              <a:gd name="connsiteY283" fmla="*/ 5404615 h 5959540"/>
              <a:gd name="connsiteX284" fmla="*/ 3916297 w 6441943"/>
              <a:gd name="connsiteY284" fmla="*/ 5425687 h 5959540"/>
              <a:gd name="connsiteX285" fmla="*/ 3919119 w 6441943"/>
              <a:gd name="connsiteY285" fmla="*/ 5439319 h 5959540"/>
              <a:gd name="connsiteX286" fmla="*/ 3920656 w 6441943"/>
              <a:gd name="connsiteY286" fmla="*/ 5451099 h 5959540"/>
              <a:gd name="connsiteX287" fmla="*/ 3922811 w 6441943"/>
              <a:gd name="connsiteY287" fmla="*/ 5463655 h 5959540"/>
              <a:gd name="connsiteX288" fmla="*/ 3923396 w 6441943"/>
              <a:gd name="connsiteY288" fmla="*/ 5469029 h 5959540"/>
              <a:gd name="connsiteX289" fmla="*/ 3922100 w 6441943"/>
              <a:gd name="connsiteY289" fmla="*/ 5462160 h 5959540"/>
              <a:gd name="connsiteX290" fmla="*/ 3925391 w 6441943"/>
              <a:gd name="connsiteY290" fmla="*/ 5487370 h 5959540"/>
              <a:gd name="connsiteX291" fmla="*/ 3923396 w 6441943"/>
              <a:gd name="connsiteY291" fmla="*/ 5469029 h 5959540"/>
              <a:gd name="connsiteX292" fmla="*/ 3923846 w 6441943"/>
              <a:gd name="connsiteY292" fmla="*/ 5471418 h 5959540"/>
              <a:gd name="connsiteX293" fmla="*/ 3925984 w 6441943"/>
              <a:gd name="connsiteY293" fmla="*/ 5491912 h 5959540"/>
              <a:gd name="connsiteX294" fmla="*/ 3927116 w 6441943"/>
              <a:gd name="connsiteY294" fmla="*/ 5500582 h 5959540"/>
              <a:gd name="connsiteX295" fmla="*/ 3927510 w 6441943"/>
              <a:gd name="connsiteY295" fmla="*/ 5506529 h 5959540"/>
              <a:gd name="connsiteX296" fmla="*/ 3928283 w 6441943"/>
              <a:gd name="connsiteY296" fmla="*/ 5513946 h 5959540"/>
              <a:gd name="connsiteX297" fmla="*/ 3927561 w 6441943"/>
              <a:gd name="connsiteY297" fmla="*/ 5507308 h 5959540"/>
              <a:gd name="connsiteX298" fmla="*/ 3929661 w 6441943"/>
              <a:gd name="connsiteY298" fmla="*/ 5539050 h 5959540"/>
              <a:gd name="connsiteX299" fmla="*/ 3928286 w 6441943"/>
              <a:gd name="connsiteY299" fmla="*/ 5513976 h 5959540"/>
              <a:gd name="connsiteX300" fmla="*/ 3930307 w 6441943"/>
              <a:gd name="connsiteY300" fmla="*/ 5548810 h 5959540"/>
              <a:gd name="connsiteX301" fmla="*/ 3930341 w 6441943"/>
              <a:gd name="connsiteY301" fmla="*/ 5551457 h 5959540"/>
              <a:gd name="connsiteX302" fmla="*/ 3930341 w 6441943"/>
              <a:gd name="connsiteY302" fmla="*/ 5551462 h 5959540"/>
              <a:gd name="connsiteX303" fmla="*/ 3930341 w 6441943"/>
              <a:gd name="connsiteY303" fmla="*/ 5551461 h 5959540"/>
              <a:gd name="connsiteX304" fmla="*/ 3930728 w 6441943"/>
              <a:gd name="connsiteY304" fmla="*/ 5581396 h 5959540"/>
              <a:gd name="connsiteX305" fmla="*/ 3930415 w 6441943"/>
              <a:gd name="connsiteY305" fmla="*/ 5595734 h 5959540"/>
              <a:gd name="connsiteX306" fmla="*/ 3531849 w 6441943"/>
              <a:gd name="connsiteY306" fmla="*/ 5952590 h 5959540"/>
              <a:gd name="connsiteX307" fmla="*/ 3527214 w 6441943"/>
              <a:gd name="connsiteY307" fmla="*/ 5952590 h 5959540"/>
              <a:gd name="connsiteX308" fmla="*/ 2732397 w 6441943"/>
              <a:gd name="connsiteY308" fmla="*/ 5959540 h 5959540"/>
              <a:gd name="connsiteX309" fmla="*/ 2579459 w 6441943"/>
              <a:gd name="connsiteY309" fmla="*/ 5906245 h 5959540"/>
              <a:gd name="connsiteX310" fmla="*/ 2597129 w 6441943"/>
              <a:gd name="connsiteY310" fmla="*/ 5859320 h 5959540"/>
              <a:gd name="connsiteX311" fmla="*/ 2603445 w 6441943"/>
              <a:gd name="connsiteY311" fmla="*/ 5855368 h 5959540"/>
              <a:gd name="connsiteX312" fmla="*/ 2607725 w 6441943"/>
              <a:gd name="connsiteY312" fmla="*/ 5850306 h 5959540"/>
              <a:gd name="connsiteX313" fmla="*/ 2644327 w 6441943"/>
              <a:gd name="connsiteY313" fmla="*/ 5829784 h 5959540"/>
              <a:gd name="connsiteX314" fmla="*/ 2644342 w 6441943"/>
              <a:gd name="connsiteY314" fmla="*/ 5829774 h 5959540"/>
              <a:gd name="connsiteX315" fmla="*/ 2648977 w 6441943"/>
              <a:gd name="connsiteY315" fmla="*/ 5827458 h 5959540"/>
              <a:gd name="connsiteX316" fmla="*/ 2838991 w 6441943"/>
              <a:gd name="connsiteY316" fmla="*/ 5804286 h 5959540"/>
              <a:gd name="connsiteX317" fmla="*/ 2924459 w 6441943"/>
              <a:gd name="connsiteY317" fmla="*/ 5760242 h 5959540"/>
              <a:gd name="connsiteX318" fmla="*/ 2939190 w 6441943"/>
              <a:gd name="connsiteY318" fmla="*/ 5750127 h 5959540"/>
              <a:gd name="connsiteX319" fmla="*/ 2928157 w 6441943"/>
              <a:gd name="connsiteY319" fmla="*/ 5758336 h 5959540"/>
              <a:gd name="connsiteX320" fmla="*/ 2933138 w 6441943"/>
              <a:gd name="connsiteY320" fmla="*/ 5755769 h 5959540"/>
              <a:gd name="connsiteX321" fmla="*/ 2945690 w 6441943"/>
              <a:gd name="connsiteY321" fmla="*/ 5745664 h 5959540"/>
              <a:gd name="connsiteX322" fmla="*/ 2939190 w 6441943"/>
              <a:gd name="connsiteY322" fmla="*/ 5750127 h 5959540"/>
              <a:gd name="connsiteX323" fmla="*/ 2951805 w 6441943"/>
              <a:gd name="connsiteY323" fmla="*/ 5740741 h 5959540"/>
              <a:gd name="connsiteX324" fmla="*/ 2991960 w 6441943"/>
              <a:gd name="connsiteY324" fmla="*/ 5708411 h 5959540"/>
              <a:gd name="connsiteX325" fmla="*/ 2999083 w 6441943"/>
              <a:gd name="connsiteY325" fmla="*/ 5701683 h 5959540"/>
              <a:gd name="connsiteX326" fmla="*/ 2995389 w 6441943"/>
              <a:gd name="connsiteY326" fmla="*/ 5705651 h 5959540"/>
              <a:gd name="connsiteX327" fmla="*/ 3002574 w 6441943"/>
              <a:gd name="connsiteY327" fmla="*/ 5699865 h 5959540"/>
              <a:gd name="connsiteX328" fmla="*/ 3007940 w 6441943"/>
              <a:gd name="connsiteY328" fmla="*/ 5693316 h 5959540"/>
              <a:gd name="connsiteX329" fmla="*/ 2999083 w 6441943"/>
              <a:gd name="connsiteY329" fmla="*/ 5701683 h 5959540"/>
              <a:gd name="connsiteX330" fmla="*/ 3015770 w 6441943"/>
              <a:gd name="connsiteY330" fmla="*/ 5683760 h 5959540"/>
              <a:gd name="connsiteX331" fmla="*/ 3043765 w 6441943"/>
              <a:gd name="connsiteY331" fmla="*/ 5649590 h 5959540"/>
              <a:gd name="connsiteX332" fmla="*/ 3058504 w 6441943"/>
              <a:gd name="connsiteY332" fmla="*/ 5626794 h 5959540"/>
              <a:gd name="connsiteX333" fmla="*/ 3076362 w 6441943"/>
              <a:gd name="connsiteY333" fmla="*/ 5593489 h 5959540"/>
              <a:gd name="connsiteX334" fmla="*/ 3085707 w 6441943"/>
              <a:gd name="connsiteY334" fmla="*/ 5572196 h 5959540"/>
              <a:gd name="connsiteX335" fmla="*/ 3079581 w 6441943"/>
              <a:gd name="connsiteY335" fmla="*/ 5587486 h 5959540"/>
              <a:gd name="connsiteX336" fmla="*/ 3082303 w 6441943"/>
              <a:gd name="connsiteY336" fmla="*/ 5582409 h 5959540"/>
              <a:gd name="connsiteX337" fmla="*/ 3085724 w 6441943"/>
              <a:gd name="connsiteY337" fmla="*/ 5572159 h 5959540"/>
              <a:gd name="connsiteX338" fmla="*/ 3085707 w 6441943"/>
              <a:gd name="connsiteY338" fmla="*/ 5572196 h 5959540"/>
              <a:gd name="connsiteX339" fmla="*/ 3085731 w 6441943"/>
              <a:gd name="connsiteY339" fmla="*/ 5572137 h 5959540"/>
              <a:gd name="connsiteX340" fmla="*/ 3094935 w 6441943"/>
              <a:gd name="connsiteY340" fmla="*/ 5544559 h 5959540"/>
              <a:gd name="connsiteX341" fmla="*/ 3107378 w 6441943"/>
              <a:gd name="connsiteY341" fmla="*/ 5488445 h 5959540"/>
              <a:gd name="connsiteX342" fmla="*/ 3106519 w 6441943"/>
              <a:gd name="connsiteY342" fmla="*/ 5493901 h 5959540"/>
              <a:gd name="connsiteX343" fmla="*/ 3108152 w 6441943"/>
              <a:gd name="connsiteY343" fmla="*/ 5484955 h 5959540"/>
              <a:gd name="connsiteX344" fmla="*/ 3107378 w 6441943"/>
              <a:gd name="connsiteY344" fmla="*/ 5488445 h 5959540"/>
              <a:gd name="connsiteX345" fmla="*/ 3108324 w 6441943"/>
              <a:gd name="connsiteY345" fmla="*/ 5482442 h 5959540"/>
              <a:gd name="connsiteX346" fmla="*/ 3110246 w 6441943"/>
              <a:gd name="connsiteY346" fmla="*/ 5454019 h 5959540"/>
              <a:gd name="connsiteX347" fmla="*/ 3110110 w 6441943"/>
              <a:gd name="connsiteY347" fmla="*/ 5440477 h 5959540"/>
              <a:gd name="connsiteX348" fmla="*/ 3110110 w 6441943"/>
              <a:gd name="connsiteY348" fmla="*/ 5438161 h 5959540"/>
              <a:gd name="connsiteX349" fmla="*/ 3110110 w 6441943"/>
              <a:gd name="connsiteY349" fmla="*/ 5435843 h 5959540"/>
              <a:gd name="connsiteX350" fmla="*/ 2924730 w 6441943"/>
              <a:gd name="connsiteY350" fmla="*/ 4960809 h 5959540"/>
              <a:gd name="connsiteX351" fmla="*/ 2922412 w 6441943"/>
              <a:gd name="connsiteY351" fmla="*/ 4958490 h 5959540"/>
              <a:gd name="connsiteX352" fmla="*/ 2760204 w 6441943"/>
              <a:gd name="connsiteY352" fmla="*/ 4603953 h 5959540"/>
              <a:gd name="connsiteX353" fmla="*/ 2722191 w 6441943"/>
              <a:gd name="connsiteY353" fmla="*/ 4445126 h 5959540"/>
              <a:gd name="connsiteX354" fmla="*/ 2698632 w 6441943"/>
              <a:gd name="connsiteY354" fmla="*/ 4468138 h 5959540"/>
              <a:gd name="connsiteX355" fmla="*/ 2627756 w 6441943"/>
              <a:gd name="connsiteY355" fmla="*/ 4524104 h 5959540"/>
              <a:gd name="connsiteX356" fmla="*/ 2565190 w 6441943"/>
              <a:gd name="connsiteY356" fmla="*/ 4679360 h 5959540"/>
              <a:gd name="connsiteX357" fmla="*/ 2542017 w 6441943"/>
              <a:gd name="connsiteY357" fmla="*/ 4904132 h 5959540"/>
              <a:gd name="connsiteX358" fmla="*/ 2518845 w 6441943"/>
              <a:gd name="connsiteY358" fmla="*/ 5066339 h 5959540"/>
              <a:gd name="connsiteX359" fmla="*/ 2495672 w 6441943"/>
              <a:gd name="connsiteY359" fmla="*/ 5198423 h 5959540"/>
              <a:gd name="connsiteX360" fmla="*/ 2442377 w 6441943"/>
              <a:gd name="connsiteY360" fmla="*/ 5237815 h 5959540"/>
              <a:gd name="connsiteX361" fmla="*/ 2402982 w 6441943"/>
              <a:gd name="connsiteY361" fmla="*/ 5400022 h 5959540"/>
              <a:gd name="connsiteX362" fmla="*/ 2270901 w 6441943"/>
              <a:gd name="connsiteY362" fmla="*/ 5439417 h 5959540"/>
              <a:gd name="connsiteX363" fmla="*/ 2148085 w 6441943"/>
              <a:gd name="connsiteY363" fmla="*/ 5492712 h 5959540"/>
              <a:gd name="connsiteX364" fmla="*/ 1969659 w 6441943"/>
              <a:gd name="connsiteY364" fmla="*/ 5631747 h 5959540"/>
              <a:gd name="connsiteX365" fmla="*/ 1730981 w 6441943"/>
              <a:gd name="connsiteY365" fmla="*/ 5800907 h 5959540"/>
              <a:gd name="connsiteX366" fmla="*/ 827256 w 6441943"/>
              <a:gd name="connsiteY366" fmla="*/ 5893597 h 5959540"/>
              <a:gd name="connsiteX367" fmla="*/ 340634 w 6441943"/>
              <a:gd name="connsiteY367" fmla="*/ 5274893 h 5959540"/>
              <a:gd name="connsiteX368" fmla="*/ 148304 w 6441943"/>
              <a:gd name="connsiteY368" fmla="*/ 5298066 h 5959540"/>
              <a:gd name="connsiteX369" fmla="*/ 62564 w 6441943"/>
              <a:gd name="connsiteY369" fmla="*/ 4850836 h 5959540"/>
              <a:gd name="connsiteX370" fmla="*/ 139035 w 6441943"/>
              <a:gd name="connsiteY370" fmla="*/ 4341042 h 5959540"/>
              <a:gd name="connsiteX371" fmla="*/ 6951 w 6441943"/>
              <a:gd name="connsiteY371" fmla="*/ 4579717 h 5959540"/>
              <a:gd name="connsiteX372" fmla="*/ 122813 w 6441943"/>
              <a:gd name="connsiteY372" fmla="*/ 4109318 h 5959540"/>
              <a:gd name="connsiteX373" fmla="*/ 0 w 6441943"/>
              <a:gd name="connsiteY373" fmla="*/ 4287745 h 5959540"/>
              <a:gd name="connsiteX374" fmla="*/ 76468 w 6441943"/>
              <a:gd name="connsiteY374" fmla="*/ 3738559 h 5959540"/>
              <a:gd name="connsiteX375" fmla="*/ 139035 w 6441943"/>
              <a:gd name="connsiteY375" fmla="*/ 3390972 h 5959540"/>
              <a:gd name="connsiteX376" fmla="*/ 23173 w 6441943"/>
              <a:gd name="connsiteY376" fmla="*/ 3499881 h 5959540"/>
              <a:gd name="connsiteX377" fmla="*/ 308193 w 6441943"/>
              <a:gd name="connsiteY377" fmla="*/ 2811661 h 5959540"/>
              <a:gd name="connsiteX378" fmla="*/ 203918 w 6441943"/>
              <a:gd name="connsiteY378" fmla="*/ 2839468 h 5959540"/>
              <a:gd name="connsiteX379" fmla="*/ 495891 w 6441943"/>
              <a:gd name="connsiteY379" fmla="*/ 2582252 h 5959540"/>
              <a:gd name="connsiteX380" fmla="*/ 780911 w 6441943"/>
              <a:gd name="connsiteY380" fmla="*/ 2102584 h 5959540"/>
              <a:gd name="connsiteX381" fmla="*/ 1035808 w 6441943"/>
              <a:gd name="connsiteY381" fmla="*/ 1646085 h 5959540"/>
              <a:gd name="connsiteX382" fmla="*/ 1622072 w 6441943"/>
              <a:gd name="connsiteY382" fmla="*/ 1235934 h 5959540"/>
              <a:gd name="connsiteX383" fmla="*/ 2039176 w 6441943"/>
              <a:gd name="connsiteY383" fmla="*/ 974084 h 5959540"/>
              <a:gd name="connsiteX384" fmla="*/ 3052075 w 6441943"/>
              <a:gd name="connsiteY384" fmla="*/ 570 h 595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</a:cxnLst>
            <a:rect l="l" t="t" r="r" b="b"/>
            <a:pathLst>
              <a:path w="6441943" h="5959540">
                <a:moveTo>
                  <a:pt x="3930341" y="5551462"/>
                </a:moveTo>
                <a:lnTo>
                  <a:pt x="3930470" y="5553792"/>
                </a:lnTo>
                <a:cubicBezTo>
                  <a:pt x="3930801" y="5565128"/>
                  <a:pt x="3930811" y="5574426"/>
                  <a:pt x="3930728" y="5581396"/>
                </a:cubicBezTo>
                <a:close/>
                <a:moveTo>
                  <a:pt x="3101215" y="5522950"/>
                </a:moveTo>
                <a:lnTo>
                  <a:pt x="3096254" y="5540606"/>
                </a:lnTo>
                <a:lnTo>
                  <a:pt x="3100089" y="5529112"/>
                </a:lnTo>
                <a:close/>
                <a:moveTo>
                  <a:pt x="3179633" y="5436354"/>
                </a:moveTo>
                <a:lnTo>
                  <a:pt x="3179855" y="5457522"/>
                </a:lnTo>
                <a:lnTo>
                  <a:pt x="3179738" y="5446344"/>
                </a:lnTo>
                <a:close/>
                <a:moveTo>
                  <a:pt x="3798364" y="5116122"/>
                </a:moveTo>
                <a:lnTo>
                  <a:pt x="3835318" y="5181705"/>
                </a:lnTo>
                <a:lnTo>
                  <a:pt x="3838161" y="5187944"/>
                </a:lnTo>
                <a:close/>
                <a:moveTo>
                  <a:pt x="3772668" y="5021018"/>
                </a:moveTo>
                <a:lnTo>
                  <a:pt x="3772670" y="5021035"/>
                </a:lnTo>
                <a:lnTo>
                  <a:pt x="3772673" y="5021047"/>
                </a:lnTo>
                <a:lnTo>
                  <a:pt x="3772670" y="5021034"/>
                </a:lnTo>
                <a:close/>
                <a:moveTo>
                  <a:pt x="3761032" y="4843434"/>
                </a:moveTo>
                <a:lnTo>
                  <a:pt x="3760631" y="4854130"/>
                </a:lnTo>
                <a:lnTo>
                  <a:pt x="3761287" y="4871798"/>
                </a:lnTo>
                <a:close/>
                <a:moveTo>
                  <a:pt x="3384337" y="3767524"/>
                </a:moveTo>
                <a:cubicBezTo>
                  <a:pt x="3365220" y="3769262"/>
                  <a:pt x="3346103" y="3782585"/>
                  <a:pt x="3346103" y="3782585"/>
                </a:cubicBezTo>
                <a:cubicBezTo>
                  <a:pt x="3269632" y="3759413"/>
                  <a:pt x="3160723" y="3891497"/>
                  <a:pt x="3160723" y="3891497"/>
                </a:cubicBezTo>
                <a:cubicBezTo>
                  <a:pt x="2998516" y="4130753"/>
                  <a:pt x="2876227" y="4281745"/>
                  <a:pt x="2789975" y="4375909"/>
                </a:cubicBezTo>
                <a:lnTo>
                  <a:pt x="2780135" y="4386371"/>
                </a:lnTo>
                <a:lnTo>
                  <a:pt x="2777987" y="4376117"/>
                </a:lnTo>
                <a:lnTo>
                  <a:pt x="2780259" y="4386964"/>
                </a:lnTo>
                <a:lnTo>
                  <a:pt x="2813776" y="4528044"/>
                </a:lnTo>
                <a:lnTo>
                  <a:pt x="2780260" y="4386966"/>
                </a:lnTo>
                <a:lnTo>
                  <a:pt x="2780140" y="4386393"/>
                </a:lnTo>
                <a:lnTo>
                  <a:pt x="2780260" y="4386964"/>
                </a:lnTo>
                <a:cubicBezTo>
                  <a:pt x="2795688" y="4456554"/>
                  <a:pt x="2811475" y="4523428"/>
                  <a:pt x="2827406" y="4585415"/>
                </a:cubicBezTo>
                <a:cubicBezTo>
                  <a:pt x="2827406" y="4585415"/>
                  <a:pt x="2887654" y="4784698"/>
                  <a:pt x="2980344" y="4916780"/>
                </a:cubicBezTo>
                <a:cubicBezTo>
                  <a:pt x="2996564" y="4937636"/>
                  <a:pt x="3186578" y="5183264"/>
                  <a:pt x="3179627" y="5435843"/>
                </a:cubicBezTo>
                <a:lnTo>
                  <a:pt x="3179738" y="5446344"/>
                </a:lnTo>
                <a:lnTo>
                  <a:pt x="3179858" y="5457884"/>
                </a:lnTo>
                <a:lnTo>
                  <a:pt x="3177050" y="5492431"/>
                </a:lnTo>
                <a:cubicBezTo>
                  <a:pt x="3165083" y="5587080"/>
                  <a:pt x="3108227" y="5771590"/>
                  <a:pt x="2859847" y="5869169"/>
                </a:cubicBezTo>
                <a:lnTo>
                  <a:pt x="2850578" y="5871485"/>
                </a:lnTo>
                <a:lnTo>
                  <a:pt x="2723128" y="5887707"/>
                </a:lnTo>
                <a:lnTo>
                  <a:pt x="2723137" y="5887707"/>
                </a:lnTo>
                <a:lnTo>
                  <a:pt x="2730081" y="5887707"/>
                </a:lnTo>
                <a:lnTo>
                  <a:pt x="3527214" y="5883072"/>
                </a:lnTo>
                <a:cubicBezTo>
                  <a:pt x="3557337" y="5878438"/>
                  <a:pt x="3860898" y="5834409"/>
                  <a:pt x="3860898" y="5593415"/>
                </a:cubicBezTo>
                <a:lnTo>
                  <a:pt x="3861133" y="5581911"/>
                </a:lnTo>
                <a:lnTo>
                  <a:pt x="3861133" y="5581912"/>
                </a:lnTo>
                <a:lnTo>
                  <a:pt x="3861134" y="5581911"/>
                </a:lnTo>
                <a:cubicBezTo>
                  <a:pt x="3861513" y="5533312"/>
                  <a:pt x="3855683" y="5339677"/>
                  <a:pt x="3738082" y="5153139"/>
                </a:cubicBezTo>
                <a:lnTo>
                  <a:pt x="3732433" y="5140760"/>
                </a:lnTo>
                <a:lnTo>
                  <a:pt x="3732384" y="5140652"/>
                </a:lnTo>
                <a:lnTo>
                  <a:pt x="3731127" y="5137087"/>
                </a:lnTo>
                <a:lnTo>
                  <a:pt x="3731128" y="5137089"/>
                </a:lnTo>
                <a:lnTo>
                  <a:pt x="3721174" y="5108858"/>
                </a:lnTo>
                <a:lnTo>
                  <a:pt x="3720583" y="5106469"/>
                </a:lnTo>
                <a:lnTo>
                  <a:pt x="3720154" y="5104735"/>
                </a:lnTo>
                <a:lnTo>
                  <a:pt x="3720155" y="5104739"/>
                </a:lnTo>
                <a:lnTo>
                  <a:pt x="3708063" y="5055829"/>
                </a:lnTo>
                <a:cubicBezTo>
                  <a:pt x="3703777" y="5034399"/>
                  <a:pt x="3699776" y="5009108"/>
                  <a:pt x="3696662" y="4979636"/>
                </a:cubicBezTo>
                <a:lnTo>
                  <a:pt x="3691720" y="4897282"/>
                </a:lnTo>
                <a:lnTo>
                  <a:pt x="3691720" y="4897290"/>
                </a:lnTo>
                <a:lnTo>
                  <a:pt x="3691169" y="4888099"/>
                </a:lnTo>
                <a:lnTo>
                  <a:pt x="3690584" y="4878351"/>
                </a:lnTo>
                <a:lnTo>
                  <a:pt x="3693440" y="4750059"/>
                </a:lnTo>
                <a:lnTo>
                  <a:pt x="3693439" y="4750071"/>
                </a:lnTo>
                <a:lnTo>
                  <a:pt x="3693440" y="4750058"/>
                </a:lnTo>
                <a:lnTo>
                  <a:pt x="3693440" y="4750048"/>
                </a:lnTo>
                <a:cubicBezTo>
                  <a:pt x="3699125" y="4655077"/>
                  <a:pt x="3713173" y="4540808"/>
                  <a:pt x="3740401" y="4404670"/>
                </a:cubicBezTo>
                <a:lnTo>
                  <a:pt x="3740571" y="4404435"/>
                </a:lnTo>
                <a:lnTo>
                  <a:pt x="3706071" y="4362586"/>
                </a:lnTo>
                <a:cubicBezTo>
                  <a:pt x="3524240" y="4115257"/>
                  <a:pt x="3422570" y="3821979"/>
                  <a:pt x="3422570" y="3821979"/>
                </a:cubicBezTo>
                <a:cubicBezTo>
                  <a:pt x="3422570" y="3775635"/>
                  <a:pt x="3403453" y="3765786"/>
                  <a:pt x="3384337" y="3767524"/>
                </a:cubicBezTo>
                <a:close/>
                <a:moveTo>
                  <a:pt x="2542383" y="3241413"/>
                </a:moveTo>
                <a:cubicBezTo>
                  <a:pt x="2523845" y="3243729"/>
                  <a:pt x="2509942" y="3262267"/>
                  <a:pt x="2512260" y="3280805"/>
                </a:cubicBezTo>
                <a:cubicBezTo>
                  <a:pt x="2512260" y="3288915"/>
                  <a:pt x="2602741" y="3912654"/>
                  <a:pt x="2712294" y="4403775"/>
                </a:cubicBezTo>
                <a:lnTo>
                  <a:pt x="2720978" y="4440058"/>
                </a:lnTo>
                <a:lnTo>
                  <a:pt x="2776921" y="4371033"/>
                </a:lnTo>
                <a:lnTo>
                  <a:pt x="2735259" y="4172222"/>
                </a:lnTo>
                <a:cubicBezTo>
                  <a:pt x="2648253" y="3735131"/>
                  <a:pt x="2581778" y="3278488"/>
                  <a:pt x="2581778" y="3271536"/>
                </a:cubicBezTo>
                <a:cubicBezTo>
                  <a:pt x="2579459" y="3252998"/>
                  <a:pt x="2560921" y="3239095"/>
                  <a:pt x="2542383" y="3241413"/>
                </a:cubicBezTo>
                <a:close/>
                <a:moveTo>
                  <a:pt x="2168787" y="3080089"/>
                </a:moveTo>
                <a:cubicBezTo>
                  <a:pt x="2151815" y="3079410"/>
                  <a:pt x="2129548" y="3089729"/>
                  <a:pt x="2101741" y="3124488"/>
                </a:cubicBezTo>
                <a:cubicBezTo>
                  <a:pt x="2101741" y="3124488"/>
                  <a:pt x="2057714" y="3316820"/>
                  <a:pt x="1992831" y="3386337"/>
                </a:cubicBezTo>
                <a:cubicBezTo>
                  <a:pt x="1992831" y="3386337"/>
                  <a:pt x="1951121" y="3474393"/>
                  <a:pt x="1819037" y="3520738"/>
                </a:cubicBezTo>
                <a:lnTo>
                  <a:pt x="1814402" y="3652819"/>
                </a:lnTo>
                <a:lnTo>
                  <a:pt x="1888554" y="3669041"/>
                </a:lnTo>
                <a:lnTo>
                  <a:pt x="1939533" y="3722337"/>
                </a:lnTo>
                <a:cubicBezTo>
                  <a:pt x="1939533" y="3722337"/>
                  <a:pt x="1981244" y="3757097"/>
                  <a:pt x="2009051" y="3710752"/>
                </a:cubicBezTo>
                <a:cubicBezTo>
                  <a:pt x="2009051" y="3710752"/>
                  <a:pt x="2009051" y="3615743"/>
                  <a:pt x="2108693" y="3622696"/>
                </a:cubicBezTo>
                <a:cubicBezTo>
                  <a:pt x="2108693" y="3622696"/>
                  <a:pt x="2161989" y="3629647"/>
                  <a:pt x="2166623" y="3564764"/>
                </a:cubicBezTo>
                <a:cubicBezTo>
                  <a:pt x="2166623" y="3564764"/>
                  <a:pt x="2159673" y="3523054"/>
                  <a:pt x="2217603" y="3476709"/>
                </a:cubicBezTo>
                <a:lnTo>
                  <a:pt x="2419204" y="3326089"/>
                </a:lnTo>
                <a:cubicBezTo>
                  <a:pt x="2419204" y="3326089"/>
                  <a:pt x="2215287" y="3159247"/>
                  <a:pt x="2210652" y="3112903"/>
                </a:cubicBezTo>
                <a:cubicBezTo>
                  <a:pt x="2210652" y="3112903"/>
                  <a:pt x="2197074" y="3081221"/>
                  <a:pt x="2168787" y="3080089"/>
                </a:cubicBezTo>
                <a:close/>
                <a:moveTo>
                  <a:pt x="4736448" y="2146033"/>
                </a:moveTo>
                <a:cubicBezTo>
                  <a:pt x="4750930" y="2148349"/>
                  <a:pt x="4759619" y="2155880"/>
                  <a:pt x="4759619" y="2155880"/>
                </a:cubicBezTo>
                <a:cubicBezTo>
                  <a:pt x="4824502" y="2197591"/>
                  <a:pt x="4766572" y="2255523"/>
                  <a:pt x="4766572" y="2255523"/>
                </a:cubicBezTo>
                <a:lnTo>
                  <a:pt x="4422563" y="2763414"/>
                </a:lnTo>
                <a:lnTo>
                  <a:pt x="4399870" y="2748805"/>
                </a:lnTo>
                <a:cubicBezTo>
                  <a:pt x="4379015" y="2733453"/>
                  <a:pt x="4358739" y="2713177"/>
                  <a:pt x="4361056" y="2693480"/>
                </a:cubicBezTo>
                <a:cubicBezTo>
                  <a:pt x="4361056" y="2693480"/>
                  <a:pt x="4395814" y="2593840"/>
                  <a:pt x="4298489" y="2605425"/>
                </a:cubicBezTo>
                <a:cubicBezTo>
                  <a:pt x="4298489" y="2605425"/>
                  <a:pt x="4285455" y="2598909"/>
                  <a:pt x="4236902" y="2622045"/>
                </a:cubicBezTo>
                <a:lnTo>
                  <a:pt x="4205003" y="2639946"/>
                </a:lnTo>
                <a:lnTo>
                  <a:pt x="4213619" y="2615853"/>
                </a:lnTo>
                <a:cubicBezTo>
                  <a:pt x="4223178" y="2598474"/>
                  <a:pt x="4233606" y="2591522"/>
                  <a:pt x="4233606" y="2591522"/>
                </a:cubicBezTo>
                <a:lnTo>
                  <a:pt x="4678517" y="2167467"/>
                </a:lnTo>
                <a:cubicBezTo>
                  <a:pt x="4701690" y="2146612"/>
                  <a:pt x="4721965" y="2143716"/>
                  <a:pt x="4736448" y="2146033"/>
                </a:cubicBezTo>
                <a:close/>
                <a:moveTo>
                  <a:pt x="2679023" y="1316748"/>
                </a:moveTo>
                <a:cubicBezTo>
                  <a:pt x="2670623" y="1319935"/>
                  <a:pt x="2663672" y="1326308"/>
                  <a:pt x="2660196" y="1335577"/>
                </a:cubicBezTo>
                <a:cubicBezTo>
                  <a:pt x="2657878" y="1342527"/>
                  <a:pt x="2595313" y="1488515"/>
                  <a:pt x="2599948" y="1592789"/>
                </a:cubicBezTo>
                <a:cubicBezTo>
                  <a:pt x="2599948" y="1599742"/>
                  <a:pt x="2616167" y="1785122"/>
                  <a:pt x="2727395" y="1942694"/>
                </a:cubicBezTo>
                <a:cubicBezTo>
                  <a:pt x="2729714" y="1942694"/>
                  <a:pt x="2801547" y="2063191"/>
                  <a:pt x="2796913" y="2220763"/>
                </a:cubicBezTo>
                <a:cubicBezTo>
                  <a:pt x="2796913" y="2239301"/>
                  <a:pt x="2810816" y="2255521"/>
                  <a:pt x="2831673" y="2255521"/>
                </a:cubicBezTo>
                <a:cubicBezTo>
                  <a:pt x="2850210" y="2255521"/>
                  <a:pt x="2866430" y="2241617"/>
                  <a:pt x="2866430" y="2223079"/>
                </a:cubicBezTo>
                <a:cubicBezTo>
                  <a:pt x="2871064" y="2044653"/>
                  <a:pt x="2792278" y="1912569"/>
                  <a:pt x="2787644" y="1905618"/>
                </a:cubicBezTo>
                <a:cubicBezTo>
                  <a:pt x="2685685" y="1761949"/>
                  <a:pt x="2669465" y="1588155"/>
                  <a:pt x="2669465" y="1588155"/>
                </a:cubicBezTo>
                <a:cubicBezTo>
                  <a:pt x="2667147" y="1500100"/>
                  <a:pt x="2725077" y="1365699"/>
                  <a:pt x="2725077" y="1363383"/>
                </a:cubicBezTo>
                <a:cubicBezTo>
                  <a:pt x="2732030" y="1344845"/>
                  <a:pt x="2725077" y="1323989"/>
                  <a:pt x="2706541" y="1317039"/>
                </a:cubicBezTo>
                <a:cubicBezTo>
                  <a:pt x="2697272" y="1313562"/>
                  <a:pt x="2687424" y="1313562"/>
                  <a:pt x="2679023" y="1316748"/>
                </a:cubicBezTo>
                <a:close/>
                <a:moveTo>
                  <a:pt x="3661900" y="43514"/>
                </a:moveTo>
                <a:cubicBezTo>
                  <a:pt x="3687603" y="44654"/>
                  <a:pt x="3700637" y="51823"/>
                  <a:pt x="3700637" y="51823"/>
                </a:cubicBezTo>
                <a:cubicBezTo>
                  <a:pt x="3916142" y="151464"/>
                  <a:pt x="3967122" y="290498"/>
                  <a:pt x="3967122" y="290498"/>
                </a:cubicBezTo>
                <a:lnTo>
                  <a:pt x="3955534" y="436486"/>
                </a:lnTo>
                <a:lnTo>
                  <a:pt x="3917409" y="423225"/>
                </a:lnTo>
                <a:lnTo>
                  <a:pt x="3915737" y="421250"/>
                </a:lnTo>
                <a:cubicBezTo>
                  <a:pt x="3871963" y="370741"/>
                  <a:pt x="3744044" y="234060"/>
                  <a:pt x="3559208" y="129965"/>
                </a:cubicBezTo>
                <a:lnTo>
                  <a:pt x="3496142" y="100266"/>
                </a:lnTo>
                <a:lnTo>
                  <a:pt x="3547157" y="71375"/>
                </a:lnTo>
                <a:cubicBezTo>
                  <a:pt x="3597828" y="47261"/>
                  <a:pt x="3636198" y="42373"/>
                  <a:pt x="3661900" y="43514"/>
                </a:cubicBezTo>
                <a:close/>
                <a:moveTo>
                  <a:pt x="3052075" y="570"/>
                </a:moveTo>
                <a:cubicBezTo>
                  <a:pt x="3056474" y="660"/>
                  <a:pt x="3058764" y="841"/>
                  <a:pt x="3058764" y="841"/>
                </a:cubicBezTo>
                <a:cubicBezTo>
                  <a:pt x="3186213" y="-4952"/>
                  <a:pt x="3304537" y="19669"/>
                  <a:pt x="3410334" y="59859"/>
                </a:cubicBezTo>
                <a:lnTo>
                  <a:pt x="3496142" y="100266"/>
                </a:lnTo>
                <a:lnTo>
                  <a:pt x="3492399" y="102386"/>
                </a:lnTo>
                <a:cubicBezTo>
                  <a:pt x="3472788" y="115186"/>
                  <a:pt x="3451825" y="130610"/>
                  <a:pt x="3429521" y="149148"/>
                </a:cubicBezTo>
                <a:lnTo>
                  <a:pt x="3290487" y="283548"/>
                </a:lnTo>
                <a:lnTo>
                  <a:pt x="3306706" y="325258"/>
                </a:lnTo>
                <a:lnTo>
                  <a:pt x="3302072" y="366969"/>
                </a:lnTo>
                <a:lnTo>
                  <a:pt x="3248776" y="441121"/>
                </a:lnTo>
                <a:lnTo>
                  <a:pt x="3202431" y="448071"/>
                </a:lnTo>
                <a:lnTo>
                  <a:pt x="3163037" y="420264"/>
                </a:lnTo>
                <a:cubicBezTo>
                  <a:pt x="3163037" y="420264"/>
                  <a:pt x="3135230" y="401726"/>
                  <a:pt x="3112058" y="431852"/>
                </a:cubicBezTo>
                <a:lnTo>
                  <a:pt x="3024002" y="554664"/>
                </a:lnTo>
                <a:cubicBezTo>
                  <a:pt x="3024002" y="554664"/>
                  <a:pt x="3012417" y="589424"/>
                  <a:pt x="2961438" y="594059"/>
                </a:cubicBezTo>
                <a:cubicBezTo>
                  <a:pt x="2961438" y="594059"/>
                  <a:pt x="2595314" y="589424"/>
                  <a:pt x="2609215" y="992625"/>
                </a:cubicBezTo>
                <a:cubicBezTo>
                  <a:pt x="2609215" y="992625"/>
                  <a:pt x="2604583" y="1298501"/>
                  <a:pt x="2928997" y="1321673"/>
                </a:cubicBezTo>
                <a:cubicBezTo>
                  <a:pt x="2928997" y="1321673"/>
                  <a:pt x="3281218" y="1328624"/>
                  <a:pt x="3315975" y="992625"/>
                </a:cubicBezTo>
                <a:cubicBezTo>
                  <a:pt x="3315975" y="992625"/>
                  <a:pt x="3339147" y="846637"/>
                  <a:pt x="3253411" y="749313"/>
                </a:cubicBezTo>
                <a:cubicBezTo>
                  <a:pt x="3253411" y="749313"/>
                  <a:pt x="3225604" y="719190"/>
                  <a:pt x="3248776" y="698333"/>
                </a:cubicBezTo>
                <a:lnTo>
                  <a:pt x="3334513" y="605644"/>
                </a:lnTo>
                <a:cubicBezTo>
                  <a:pt x="3334513" y="605644"/>
                  <a:pt x="3350735" y="594059"/>
                  <a:pt x="3334513" y="559299"/>
                </a:cubicBezTo>
                <a:lnTo>
                  <a:pt x="3304390" y="519907"/>
                </a:lnTo>
                <a:lnTo>
                  <a:pt x="3373907" y="434168"/>
                </a:lnTo>
                <a:lnTo>
                  <a:pt x="3415618" y="415630"/>
                </a:lnTo>
                <a:lnTo>
                  <a:pt x="3457328" y="445755"/>
                </a:lnTo>
                <a:cubicBezTo>
                  <a:pt x="3457328" y="445755"/>
                  <a:pt x="3441106" y="457340"/>
                  <a:pt x="3508307" y="417948"/>
                </a:cubicBezTo>
                <a:lnTo>
                  <a:pt x="3744666" y="271960"/>
                </a:lnTo>
                <a:lnTo>
                  <a:pt x="3902239" y="417948"/>
                </a:lnTo>
                <a:lnTo>
                  <a:pt x="3917409" y="423225"/>
                </a:lnTo>
                <a:lnTo>
                  <a:pt x="3928155" y="435919"/>
                </a:lnTo>
                <a:cubicBezTo>
                  <a:pt x="3930944" y="439308"/>
                  <a:pt x="3932365" y="441118"/>
                  <a:pt x="3932365" y="441118"/>
                </a:cubicBezTo>
                <a:cubicBezTo>
                  <a:pt x="4034323" y="429533"/>
                  <a:pt x="4226656" y="772485"/>
                  <a:pt x="4226656" y="772485"/>
                </a:cubicBezTo>
                <a:cubicBezTo>
                  <a:pt x="4273001" y="839684"/>
                  <a:pt x="4307758" y="1043602"/>
                  <a:pt x="4307758" y="1043602"/>
                </a:cubicBezTo>
                <a:cubicBezTo>
                  <a:pt x="4349469" y="1194224"/>
                  <a:pt x="4284586" y="1326305"/>
                  <a:pt x="4284586" y="1326305"/>
                </a:cubicBezTo>
                <a:cubicBezTo>
                  <a:pt x="4335565" y="1117754"/>
                  <a:pt x="4238241" y="1133975"/>
                  <a:pt x="4238241" y="1133975"/>
                </a:cubicBezTo>
                <a:cubicBezTo>
                  <a:pt x="4240560" y="1215078"/>
                  <a:pt x="4164089" y="1326305"/>
                  <a:pt x="4164089" y="1326305"/>
                </a:cubicBezTo>
                <a:cubicBezTo>
                  <a:pt x="4171042" y="1233616"/>
                  <a:pt x="4113110" y="1226665"/>
                  <a:pt x="4113110" y="1226665"/>
                </a:cubicBezTo>
                <a:cubicBezTo>
                  <a:pt x="4113110" y="1349478"/>
                  <a:pt x="4055180" y="1388872"/>
                  <a:pt x="4055180" y="1388872"/>
                </a:cubicBezTo>
                <a:cubicBezTo>
                  <a:pt x="4085303" y="1323990"/>
                  <a:pt x="4038958" y="1300817"/>
                  <a:pt x="4038958" y="1300817"/>
                </a:cubicBezTo>
                <a:cubicBezTo>
                  <a:pt x="3981028" y="1453755"/>
                  <a:pt x="3779426" y="1574252"/>
                  <a:pt x="3779426" y="1574252"/>
                </a:cubicBezTo>
                <a:cubicBezTo>
                  <a:pt x="3712227" y="1615962"/>
                  <a:pt x="3682102" y="1655354"/>
                  <a:pt x="3682102" y="1655354"/>
                </a:cubicBezTo>
                <a:cubicBezTo>
                  <a:pt x="3647345" y="1713287"/>
                  <a:pt x="3665882" y="1921839"/>
                  <a:pt x="3665882" y="1921839"/>
                </a:cubicBezTo>
                <a:cubicBezTo>
                  <a:pt x="3668199" y="1995991"/>
                  <a:pt x="3626488" y="1991356"/>
                  <a:pt x="3626488" y="1991356"/>
                </a:cubicBezTo>
                <a:lnTo>
                  <a:pt x="3515260" y="2002941"/>
                </a:lnTo>
                <a:cubicBezTo>
                  <a:pt x="3510626" y="2088680"/>
                  <a:pt x="3487453" y="2077093"/>
                  <a:pt x="3487453" y="2077093"/>
                </a:cubicBezTo>
                <a:cubicBezTo>
                  <a:pt x="3429523" y="2060873"/>
                  <a:pt x="3417936" y="2088680"/>
                  <a:pt x="3417936" y="2088680"/>
                </a:cubicBezTo>
                <a:cubicBezTo>
                  <a:pt x="3417936" y="2135025"/>
                  <a:pt x="3387813" y="2146610"/>
                  <a:pt x="3387813" y="2146610"/>
                </a:cubicBezTo>
                <a:cubicBezTo>
                  <a:pt x="3346103" y="2165148"/>
                  <a:pt x="3306708" y="2141976"/>
                  <a:pt x="3306708" y="2141976"/>
                </a:cubicBezTo>
                <a:cubicBezTo>
                  <a:pt x="3295123" y="2172101"/>
                  <a:pt x="3288170" y="2211493"/>
                  <a:pt x="3288170" y="2211493"/>
                </a:cubicBezTo>
                <a:cubicBezTo>
                  <a:pt x="3230240" y="2304183"/>
                  <a:pt x="3144501" y="2223080"/>
                  <a:pt x="3144501" y="2223080"/>
                </a:cubicBezTo>
                <a:cubicBezTo>
                  <a:pt x="3109744" y="2162832"/>
                  <a:pt x="3051811" y="2169783"/>
                  <a:pt x="3051811" y="2169783"/>
                </a:cubicBezTo>
                <a:cubicBezTo>
                  <a:pt x="2942902" y="2190639"/>
                  <a:pt x="2959121" y="2313452"/>
                  <a:pt x="2959121" y="2313452"/>
                </a:cubicBezTo>
                <a:cubicBezTo>
                  <a:pt x="2959121" y="2429314"/>
                  <a:pt x="3040226" y="2445536"/>
                  <a:pt x="3040226" y="2445536"/>
                </a:cubicBezTo>
                <a:lnTo>
                  <a:pt x="3241825" y="2614694"/>
                </a:lnTo>
                <a:lnTo>
                  <a:pt x="3276585" y="2656404"/>
                </a:lnTo>
                <a:cubicBezTo>
                  <a:pt x="3410985" y="2540542"/>
                  <a:pt x="3531482" y="2563714"/>
                  <a:pt x="3531482" y="2563714"/>
                </a:cubicBezTo>
                <a:cubicBezTo>
                  <a:pt x="3867482" y="2596156"/>
                  <a:pt x="3967124" y="2869591"/>
                  <a:pt x="3967124" y="2869591"/>
                </a:cubicBezTo>
                <a:lnTo>
                  <a:pt x="4006516" y="2869591"/>
                </a:lnTo>
                <a:cubicBezTo>
                  <a:pt x="4041276" y="2783854"/>
                  <a:pt x="4175677" y="2656404"/>
                  <a:pt x="4175677" y="2656404"/>
                </a:cubicBezTo>
                <a:lnTo>
                  <a:pt x="4205003" y="2639946"/>
                </a:lnTo>
                <a:lnTo>
                  <a:pt x="4201345" y="2650177"/>
                </a:lnTo>
                <a:cubicBezTo>
                  <a:pt x="4198412" y="2664515"/>
                  <a:pt x="4197108" y="2681894"/>
                  <a:pt x="4198846" y="2702749"/>
                </a:cubicBezTo>
                <a:cubicBezTo>
                  <a:pt x="4198846" y="2702749"/>
                  <a:pt x="4240556" y="2783854"/>
                  <a:pt x="4187261" y="2848737"/>
                </a:cubicBezTo>
                <a:lnTo>
                  <a:pt x="4082983" y="2969234"/>
                </a:lnTo>
                <a:cubicBezTo>
                  <a:pt x="4082983" y="2969234"/>
                  <a:pt x="4036638" y="3031798"/>
                  <a:pt x="4078349" y="3092046"/>
                </a:cubicBezTo>
                <a:lnTo>
                  <a:pt x="4117743" y="3138391"/>
                </a:lnTo>
                <a:cubicBezTo>
                  <a:pt x="4117743" y="3138391"/>
                  <a:pt x="4147866" y="3177786"/>
                  <a:pt x="4226653" y="3052654"/>
                </a:cubicBezTo>
                <a:lnTo>
                  <a:pt x="4422563" y="2763414"/>
                </a:lnTo>
                <a:lnTo>
                  <a:pt x="4428835" y="2767452"/>
                </a:lnTo>
                <a:cubicBezTo>
                  <a:pt x="4436801" y="2771978"/>
                  <a:pt x="4442159" y="2774585"/>
                  <a:pt x="4442159" y="2774585"/>
                </a:cubicBezTo>
                <a:cubicBezTo>
                  <a:pt x="4488504" y="2774585"/>
                  <a:pt x="4446793" y="2874225"/>
                  <a:pt x="4446793" y="2874225"/>
                </a:cubicBezTo>
                <a:cubicBezTo>
                  <a:pt x="4432890" y="2904350"/>
                  <a:pt x="4463015" y="2950695"/>
                  <a:pt x="4463015" y="2950695"/>
                </a:cubicBezTo>
                <a:cubicBezTo>
                  <a:pt x="4527898" y="2978502"/>
                  <a:pt x="4493138" y="3036432"/>
                  <a:pt x="4493138" y="3036432"/>
                </a:cubicBezTo>
                <a:cubicBezTo>
                  <a:pt x="4446793" y="3071192"/>
                  <a:pt x="4428255" y="3145344"/>
                  <a:pt x="4428255" y="3145344"/>
                </a:cubicBezTo>
                <a:cubicBezTo>
                  <a:pt x="4386545" y="3265841"/>
                  <a:pt x="4312393" y="3307551"/>
                  <a:pt x="4312393" y="3307551"/>
                </a:cubicBezTo>
                <a:cubicBezTo>
                  <a:pt x="4578877" y="3516103"/>
                  <a:pt x="4887070" y="3949429"/>
                  <a:pt x="4887070" y="3949429"/>
                </a:cubicBezTo>
                <a:cubicBezTo>
                  <a:pt x="4907926" y="4056020"/>
                  <a:pt x="4914877" y="4141759"/>
                  <a:pt x="4914877" y="4141759"/>
                </a:cubicBezTo>
                <a:cubicBezTo>
                  <a:pt x="4910242" y="4382753"/>
                  <a:pt x="4845359" y="4598258"/>
                  <a:pt x="4845359" y="4598258"/>
                </a:cubicBezTo>
                <a:cubicBezTo>
                  <a:pt x="4898657" y="4776685"/>
                  <a:pt x="5095622" y="4938892"/>
                  <a:pt x="5095622" y="4938892"/>
                </a:cubicBezTo>
                <a:cubicBezTo>
                  <a:pt x="5160505" y="4880959"/>
                  <a:pt x="5230022" y="4874009"/>
                  <a:pt x="5230022" y="4874009"/>
                </a:cubicBezTo>
                <a:cubicBezTo>
                  <a:pt x="5320396" y="4885594"/>
                  <a:pt x="5408451" y="4890228"/>
                  <a:pt x="5408451" y="4890228"/>
                </a:cubicBezTo>
                <a:cubicBezTo>
                  <a:pt x="5554436" y="4899500"/>
                  <a:pt x="5658714" y="4836933"/>
                  <a:pt x="5658714" y="4836933"/>
                </a:cubicBezTo>
                <a:cubicBezTo>
                  <a:pt x="5765307" y="4776685"/>
                  <a:pt x="5793114" y="4853155"/>
                  <a:pt x="5793114" y="4853155"/>
                </a:cubicBezTo>
                <a:cubicBezTo>
                  <a:pt x="5816286" y="4911085"/>
                  <a:pt x="5742135" y="4992190"/>
                  <a:pt x="5742135" y="4992190"/>
                </a:cubicBezTo>
                <a:cubicBezTo>
                  <a:pt x="5832506" y="4989871"/>
                  <a:pt x="5943734" y="4938892"/>
                  <a:pt x="5943734" y="4938892"/>
                </a:cubicBezTo>
                <a:cubicBezTo>
                  <a:pt x="6048011" y="4864740"/>
                  <a:pt x="6249610" y="4834614"/>
                  <a:pt x="6249610" y="4834614"/>
                </a:cubicBezTo>
                <a:cubicBezTo>
                  <a:pt x="6377059" y="4799857"/>
                  <a:pt x="6358521" y="4920354"/>
                  <a:pt x="6358521" y="4920354"/>
                </a:cubicBezTo>
                <a:lnTo>
                  <a:pt x="6377059" y="4927304"/>
                </a:lnTo>
                <a:lnTo>
                  <a:pt x="6388645" y="4943526"/>
                </a:lnTo>
                <a:lnTo>
                  <a:pt x="6381694" y="4982918"/>
                </a:lnTo>
                <a:lnTo>
                  <a:pt x="6416451" y="5001456"/>
                </a:lnTo>
                <a:lnTo>
                  <a:pt x="6428039" y="5019994"/>
                </a:lnTo>
                <a:lnTo>
                  <a:pt x="6416451" y="5077926"/>
                </a:lnTo>
                <a:lnTo>
                  <a:pt x="6428039" y="5105733"/>
                </a:lnTo>
                <a:lnTo>
                  <a:pt x="6441943" y="5168298"/>
                </a:lnTo>
                <a:lnTo>
                  <a:pt x="6423405" y="5198423"/>
                </a:lnTo>
                <a:lnTo>
                  <a:pt x="6423405" y="5240133"/>
                </a:lnTo>
                <a:lnTo>
                  <a:pt x="6381694" y="5267940"/>
                </a:lnTo>
                <a:cubicBezTo>
                  <a:pt x="6316811" y="5291113"/>
                  <a:pt x="6177777" y="5402341"/>
                  <a:pt x="6177777" y="5402341"/>
                </a:cubicBezTo>
                <a:cubicBezTo>
                  <a:pt x="6075818" y="5513568"/>
                  <a:pt x="5906658" y="5536741"/>
                  <a:pt x="5906658" y="5536741"/>
                </a:cubicBezTo>
                <a:cubicBezTo>
                  <a:pt x="5605416" y="5578451"/>
                  <a:pt x="5408451" y="5733708"/>
                  <a:pt x="5408451" y="5733708"/>
                </a:cubicBezTo>
                <a:cubicBezTo>
                  <a:pt x="5223072" y="5937623"/>
                  <a:pt x="5079402" y="5895915"/>
                  <a:pt x="5079402" y="5895915"/>
                </a:cubicBezTo>
                <a:cubicBezTo>
                  <a:pt x="4928780" y="5898231"/>
                  <a:pt x="4870850" y="5694314"/>
                  <a:pt x="4870850" y="5694314"/>
                </a:cubicBezTo>
                <a:cubicBezTo>
                  <a:pt x="4856947" y="5546010"/>
                  <a:pt x="4748035" y="5620162"/>
                  <a:pt x="4748035" y="5620162"/>
                </a:cubicBezTo>
                <a:lnTo>
                  <a:pt x="4666933" y="5701264"/>
                </a:lnTo>
                <a:cubicBezTo>
                  <a:pt x="4534848" y="5851886"/>
                  <a:pt x="4372641" y="5752243"/>
                  <a:pt x="4372641" y="5752243"/>
                </a:cubicBezTo>
                <a:cubicBezTo>
                  <a:pt x="4254463" y="5682726"/>
                  <a:pt x="4284586" y="5381484"/>
                  <a:pt x="4284586" y="5381484"/>
                </a:cubicBezTo>
                <a:cubicBezTo>
                  <a:pt x="4191896" y="4994506"/>
                  <a:pt x="3913827" y="4582036"/>
                  <a:pt x="3913827" y="4582036"/>
                </a:cubicBezTo>
                <a:cubicBezTo>
                  <a:pt x="3875013" y="4552202"/>
                  <a:pt x="3838227" y="4517950"/>
                  <a:pt x="3803568" y="4480852"/>
                </a:cubicBezTo>
                <a:lnTo>
                  <a:pt x="3800007" y="4476532"/>
                </a:lnTo>
                <a:lnTo>
                  <a:pt x="3780527" y="4590443"/>
                </a:lnTo>
                <a:lnTo>
                  <a:pt x="3780525" y="4590467"/>
                </a:lnTo>
                <a:lnTo>
                  <a:pt x="3765094" y="4735131"/>
                </a:lnTo>
                <a:lnTo>
                  <a:pt x="3765092" y="4735183"/>
                </a:lnTo>
                <a:lnTo>
                  <a:pt x="3765094" y="4735132"/>
                </a:lnTo>
                <a:lnTo>
                  <a:pt x="3765902" y="4727558"/>
                </a:lnTo>
                <a:lnTo>
                  <a:pt x="3763880" y="4767502"/>
                </a:lnTo>
                <a:lnTo>
                  <a:pt x="3761087" y="4841968"/>
                </a:lnTo>
                <a:lnTo>
                  <a:pt x="3761604" y="4880319"/>
                </a:lnTo>
                <a:lnTo>
                  <a:pt x="3764152" y="4948933"/>
                </a:lnTo>
                <a:lnTo>
                  <a:pt x="3765139" y="4957284"/>
                </a:lnTo>
                <a:lnTo>
                  <a:pt x="3763636" y="4934981"/>
                </a:lnTo>
                <a:lnTo>
                  <a:pt x="3766230" y="4966518"/>
                </a:lnTo>
                <a:lnTo>
                  <a:pt x="3771090" y="5007656"/>
                </a:lnTo>
                <a:lnTo>
                  <a:pt x="3774769" y="5031180"/>
                </a:lnTo>
                <a:lnTo>
                  <a:pt x="3781007" y="5061338"/>
                </a:lnTo>
                <a:lnTo>
                  <a:pt x="3784037" y="5074110"/>
                </a:lnTo>
                <a:lnTo>
                  <a:pt x="3782356" y="5067859"/>
                </a:lnTo>
                <a:lnTo>
                  <a:pt x="3783197" y="5071928"/>
                </a:lnTo>
                <a:lnTo>
                  <a:pt x="3790925" y="5097158"/>
                </a:lnTo>
                <a:lnTo>
                  <a:pt x="3792279" y="5101288"/>
                </a:lnTo>
                <a:lnTo>
                  <a:pt x="3791572" y="5099273"/>
                </a:lnTo>
                <a:lnTo>
                  <a:pt x="3792746" y="5103106"/>
                </a:lnTo>
                <a:cubicBezTo>
                  <a:pt x="3795435" y="5110379"/>
                  <a:pt x="3797462" y="5114615"/>
                  <a:pt x="3798331" y="5116063"/>
                </a:cubicBezTo>
                <a:lnTo>
                  <a:pt x="3798364" y="5116122"/>
                </a:lnTo>
                <a:lnTo>
                  <a:pt x="3798347" y="5116093"/>
                </a:lnTo>
                <a:lnTo>
                  <a:pt x="3841530" y="5195336"/>
                </a:lnTo>
                <a:lnTo>
                  <a:pt x="3838161" y="5187944"/>
                </a:lnTo>
                <a:lnTo>
                  <a:pt x="3840723" y="5192568"/>
                </a:lnTo>
                <a:lnTo>
                  <a:pt x="3843401" y="5198769"/>
                </a:lnTo>
                <a:lnTo>
                  <a:pt x="3845921" y="5203395"/>
                </a:lnTo>
                <a:lnTo>
                  <a:pt x="3852185" y="5218716"/>
                </a:lnTo>
                <a:lnTo>
                  <a:pt x="3864731" y="5246247"/>
                </a:lnTo>
                <a:lnTo>
                  <a:pt x="3867285" y="5254086"/>
                </a:lnTo>
                <a:lnTo>
                  <a:pt x="3855237" y="5226182"/>
                </a:lnTo>
                <a:lnTo>
                  <a:pt x="3869801" y="5261806"/>
                </a:lnTo>
                <a:lnTo>
                  <a:pt x="3867285" y="5254086"/>
                </a:lnTo>
                <a:lnTo>
                  <a:pt x="3873002" y="5267325"/>
                </a:lnTo>
                <a:lnTo>
                  <a:pt x="3876971" y="5279345"/>
                </a:lnTo>
                <a:lnTo>
                  <a:pt x="3880558" y="5288119"/>
                </a:lnTo>
                <a:lnTo>
                  <a:pt x="3887016" y="5309765"/>
                </a:lnTo>
                <a:lnTo>
                  <a:pt x="3896534" y="5338590"/>
                </a:lnTo>
                <a:lnTo>
                  <a:pt x="3900713" y="5355679"/>
                </a:lnTo>
                <a:lnTo>
                  <a:pt x="3904278" y="5367630"/>
                </a:lnTo>
                <a:lnTo>
                  <a:pt x="3907819" y="5384732"/>
                </a:lnTo>
                <a:lnTo>
                  <a:pt x="3912682" y="5404615"/>
                </a:lnTo>
                <a:lnTo>
                  <a:pt x="3916297" y="5425687"/>
                </a:lnTo>
                <a:lnTo>
                  <a:pt x="3919119" y="5439319"/>
                </a:lnTo>
                <a:lnTo>
                  <a:pt x="3920656" y="5451099"/>
                </a:lnTo>
                <a:lnTo>
                  <a:pt x="3922811" y="5463655"/>
                </a:lnTo>
                <a:lnTo>
                  <a:pt x="3923396" y="5469029"/>
                </a:lnTo>
                <a:lnTo>
                  <a:pt x="3922100" y="5462160"/>
                </a:lnTo>
                <a:lnTo>
                  <a:pt x="3925391" y="5487370"/>
                </a:lnTo>
                <a:lnTo>
                  <a:pt x="3923396" y="5469029"/>
                </a:lnTo>
                <a:lnTo>
                  <a:pt x="3923846" y="5471418"/>
                </a:lnTo>
                <a:lnTo>
                  <a:pt x="3925984" y="5491912"/>
                </a:lnTo>
                <a:lnTo>
                  <a:pt x="3927116" y="5500582"/>
                </a:lnTo>
                <a:lnTo>
                  <a:pt x="3927510" y="5506529"/>
                </a:lnTo>
                <a:lnTo>
                  <a:pt x="3928283" y="5513946"/>
                </a:lnTo>
                <a:lnTo>
                  <a:pt x="3927561" y="5507308"/>
                </a:lnTo>
                <a:lnTo>
                  <a:pt x="3929661" y="5539050"/>
                </a:lnTo>
                <a:lnTo>
                  <a:pt x="3928286" y="5513976"/>
                </a:lnTo>
                <a:lnTo>
                  <a:pt x="3930307" y="5548810"/>
                </a:lnTo>
                <a:lnTo>
                  <a:pt x="3930341" y="5551457"/>
                </a:lnTo>
                <a:lnTo>
                  <a:pt x="3930341" y="5551462"/>
                </a:lnTo>
                <a:lnTo>
                  <a:pt x="3930341" y="5551461"/>
                </a:lnTo>
                <a:lnTo>
                  <a:pt x="3930728" y="5581396"/>
                </a:lnTo>
                <a:cubicBezTo>
                  <a:pt x="3930633" y="5589361"/>
                  <a:pt x="3930415" y="5594286"/>
                  <a:pt x="3930415" y="5595734"/>
                </a:cubicBezTo>
                <a:cubicBezTo>
                  <a:pt x="3930415" y="5841362"/>
                  <a:pt x="3670884" y="5936368"/>
                  <a:pt x="3531849" y="5952590"/>
                </a:cubicBezTo>
                <a:lnTo>
                  <a:pt x="3527214" y="5952590"/>
                </a:lnTo>
                <a:lnTo>
                  <a:pt x="2732397" y="5959540"/>
                </a:lnTo>
                <a:cubicBezTo>
                  <a:pt x="2642026" y="5957224"/>
                  <a:pt x="2588728" y="5947955"/>
                  <a:pt x="2579459" y="5906245"/>
                </a:cubicBezTo>
                <a:cubicBezTo>
                  <a:pt x="2575984" y="5887707"/>
                  <a:pt x="2584095" y="5872066"/>
                  <a:pt x="2597129" y="5859320"/>
                </a:cubicBezTo>
                <a:lnTo>
                  <a:pt x="2603445" y="5855368"/>
                </a:lnTo>
                <a:lnTo>
                  <a:pt x="2607725" y="5850306"/>
                </a:lnTo>
                <a:lnTo>
                  <a:pt x="2644327" y="5829784"/>
                </a:lnTo>
                <a:lnTo>
                  <a:pt x="2644342" y="5829774"/>
                </a:lnTo>
                <a:lnTo>
                  <a:pt x="2648977" y="5827458"/>
                </a:lnTo>
                <a:lnTo>
                  <a:pt x="2838991" y="5804286"/>
                </a:lnTo>
                <a:lnTo>
                  <a:pt x="2924459" y="5760242"/>
                </a:lnTo>
                <a:lnTo>
                  <a:pt x="2939190" y="5750127"/>
                </a:lnTo>
                <a:lnTo>
                  <a:pt x="2928157" y="5758336"/>
                </a:lnTo>
                <a:lnTo>
                  <a:pt x="2933138" y="5755769"/>
                </a:lnTo>
                <a:lnTo>
                  <a:pt x="2945690" y="5745664"/>
                </a:lnTo>
                <a:lnTo>
                  <a:pt x="2939190" y="5750127"/>
                </a:lnTo>
                <a:lnTo>
                  <a:pt x="2951805" y="5740741"/>
                </a:lnTo>
                <a:lnTo>
                  <a:pt x="2991960" y="5708411"/>
                </a:lnTo>
                <a:lnTo>
                  <a:pt x="2999083" y="5701683"/>
                </a:lnTo>
                <a:lnTo>
                  <a:pt x="2995389" y="5705651"/>
                </a:lnTo>
                <a:lnTo>
                  <a:pt x="3002574" y="5699865"/>
                </a:lnTo>
                <a:lnTo>
                  <a:pt x="3007940" y="5693316"/>
                </a:lnTo>
                <a:lnTo>
                  <a:pt x="2999083" y="5701683"/>
                </a:lnTo>
                <a:lnTo>
                  <a:pt x="3015770" y="5683760"/>
                </a:lnTo>
                <a:lnTo>
                  <a:pt x="3043765" y="5649590"/>
                </a:lnTo>
                <a:lnTo>
                  <a:pt x="3058504" y="5626794"/>
                </a:lnTo>
                <a:lnTo>
                  <a:pt x="3076362" y="5593489"/>
                </a:lnTo>
                <a:lnTo>
                  <a:pt x="3085707" y="5572196"/>
                </a:lnTo>
                <a:lnTo>
                  <a:pt x="3079581" y="5587486"/>
                </a:lnTo>
                <a:lnTo>
                  <a:pt x="3082303" y="5582409"/>
                </a:lnTo>
                <a:lnTo>
                  <a:pt x="3085724" y="5572159"/>
                </a:lnTo>
                <a:lnTo>
                  <a:pt x="3085707" y="5572196"/>
                </a:lnTo>
                <a:lnTo>
                  <a:pt x="3085731" y="5572137"/>
                </a:lnTo>
                <a:lnTo>
                  <a:pt x="3094935" y="5544559"/>
                </a:lnTo>
                <a:lnTo>
                  <a:pt x="3107378" y="5488445"/>
                </a:lnTo>
                <a:lnTo>
                  <a:pt x="3106519" y="5493901"/>
                </a:lnTo>
                <a:lnTo>
                  <a:pt x="3108152" y="5484955"/>
                </a:lnTo>
                <a:lnTo>
                  <a:pt x="3107378" y="5488445"/>
                </a:lnTo>
                <a:lnTo>
                  <a:pt x="3108324" y="5482442"/>
                </a:lnTo>
                <a:lnTo>
                  <a:pt x="3110246" y="5454019"/>
                </a:lnTo>
                <a:cubicBezTo>
                  <a:pt x="3110364" y="5446379"/>
                  <a:pt x="3110110" y="5441636"/>
                  <a:pt x="3110110" y="5440477"/>
                </a:cubicBezTo>
                <a:lnTo>
                  <a:pt x="3110110" y="5438161"/>
                </a:lnTo>
                <a:lnTo>
                  <a:pt x="3110110" y="5435843"/>
                </a:lnTo>
                <a:cubicBezTo>
                  <a:pt x="3117060" y="5204118"/>
                  <a:pt x="2927046" y="4963125"/>
                  <a:pt x="2924730" y="4960809"/>
                </a:cubicBezTo>
                <a:lnTo>
                  <a:pt x="2922412" y="4958490"/>
                </a:lnTo>
                <a:cubicBezTo>
                  <a:pt x="2822771" y="4817139"/>
                  <a:pt x="2762523" y="4613222"/>
                  <a:pt x="2760204" y="4603953"/>
                </a:cubicBezTo>
                <a:lnTo>
                  <a:pt x="2722191" y="4445126"/>
                </a:lnTo>
                <a:lnTo>
                  <a:pt x="2698632" y="4468138"/>
                </a:lnTo>
                <a:cubicBezTo>
                  <a:pt x="2650567" y="4512048"/>
                  <a:pt x="2627756" y="4524104"/>
                  <a:pt x="2627756" y="4524104"/>
                </a:cubicBezTo>
                <a:cubicBezTo>
                  <a:pt x="2542017" y="4563498"/>
                  <a:pt x="2565190" y="4679360"/>
                  <a:pt x="2565190" y="4679360"/>
                </a:cubicBezTo>
                <a:cubicBezTo>
                  <a:pt x="2604584" y="4880959"/>
                  <a:pt x="2542017" y="4904132"/>
                  <a:pt x="2542017" y="4904132"/>
                </a:cubicBezTo>
                <a:cubicBezTo>
                  <a:pt x="2465549" y="4943526"/>
                  <a:pt x="2518845" y="5066339"/>
                  <a:pt x="2518845" y="5066339"/>
                </a:cubicBezTo>
                <a:cubicBezTo>
                  <a:pt x="2588362" y="5205376"/>
                  <a:pt x="2495672" y="5198423"/>
                  <a:pt x="2495672" y="5198423"/>
                </a:cubicBezTo>
                <a:lnTo>
                  <a:pt x="2442377" y="5237815"/>
                </a:lnTo>
                <a:lnTo>
                  <a:pt x="2402982" y="5400022"/>
                </a:lnTo>
                <a:lnTo>
                  <a:pt x="2270901" y="5439417"/>
                </a:lnTo>
                <a:lnTo>
                  <a:pt x="2148085" y="5492712"/>
                </a:lnTo>
                <a:cubicBezTo>
                  <a:pt x="2016004" y="5654919"/>
                  <a:pt x="1969659" y="5631747"/>
                  <a:pt x="1969659" y="5631747"/>
                </a:cubicBezTo>
                <a:cubicBezTo>
                  <a:pt x="1916361" y="5715170"/>
                  <a:pt x="1730981" y="5800907"/>
                  <a:pt x="1730981" y="5800907"/>
                </a:cubicBezTo>
                <a:cubicBezTo>
                  <a:pt x="1422789" y="5932989"/>
                  <a:pt x="827256" y="5893597"/>
                  <a:pt x="827256" y="5893597"/>
                </a:cubicBezTo>
                <a:cubicBezTo>
                  <a:pt x="287339" y="5777734"/>
                  <a:pt x="340634" y="5274893"/>
                  <a:pt x="340634" y="5274893"/>
                </a:cubicBezTo>
                <a:lnTo>
                  <a:pt x="148304" y="5298066"/>
                </a:lnTo>
                <a:cubicBezTo>
                  <a:pt x="139035" y="5075608"/>
                  <a:pt x="62564" y="4850836"/>
                  <a:pt x="62564" y="4850836"/>
                </a:cubicBezTo>
                <a:cubicBezTo>
                  <a:pt x="139035" y="4741925"/>
                  <a:pt x="139035" y="4341042"/>
                  <a:pt x="139035" y="4341042"/>
                </a:cubicBezTo>
                <a:cubicBezTo>
                  <a:pt x="46345" y="4371165"/>
                  <a:pt x="6951" y="4579717"/>
                  <a:pt x="6951" y="4579717"/>
                </a:cubicBezTo>
                <a:cubicBezTo>
                  <a:pt x="-9269" y="4440683"/>
                  <a:pt x="122813" y="4109318"/>
                  <a:pt x="122813" y="4109318"/>
                </a:cubicBezTo>
                <a:cubicBezTo>
                  <a:pt x="62564" y="4257622"/>
                  <a:pt x="0" y="4287745"/>
                  <a:pt x="0" y="4287745"/>
                </a:cubicBezTo>
                <a:cubicBezTo>
                  <a:pt x="99641" y="4000406"/>
                  <a:pt x="76468" y="3738559"/>
                  <a:pt x="76468" y="3738559"/>
                </a:cubicBezTo>
                <a:cubicBezTo>
                  <a:pt x="62564" y="3536957"/>
                  <a:pt x="139035" y="3390972"/>
                  <a:pt x="139035" y="3390972"/>
                </a:cubicBezTo>
                <a:cubicBezTo>
                  <a:pt x="92690" y="3400241"/>
                  <a:pt x="23173" y="3499881"/>
                  <a:pt x="23173" y="3499881"/>
                </a:cubicBezTo>
                <a:cubicBezTo>
                  <a:pt x="69518" y="3159247"/>
                  <a:pt x="308193" y="2811661"/>
                  <a:pt x="308193" y="2811661"/>
                </a:cubicBezTo>
                <a:cubicBezTo>
                  <a:pt x="252579" y="2811661"/>
                  <a:pt x="220137" y="2827880"/>
                  <a:pt x="203918" y="2839468"/>
                </a:cubicBezTo>
                <a:lnTo>
                  <a:pt x="495891" y="2582252"/>
                </a:lnTo>
                <a:cubicBezTo>
                  <a:pt x="665048" y="2433949"/>
                  <a:pt x="780911" y="2102584"/>
                  <a:pt x="780911" y="2102584"/>
                </a:cubicBezTo>
                <a:cubicBezTo>
                  <a:pt x="880553" y="1847687"/>
                  <a:pt x="1035808" y="1646085"/>
                  <a:pt x="1035808" y="1646085"/>
                </a:cubicBezTo>
                <a:cubicBezTo>
                  <a:pt x="1290705" y="1305452"/>
                  <a:pt x="1622072" y="1235934"/>
                  <a:pt x="1622072" y="1235934"/>
                </a:cubicBezTo>
                <a:cubicBezTo>
                  <a:pt x="2022954" y="1106168"/>
                  <a:pt x="2039176" y="974084"/>
                  <a:pt x="2039176" y="974084"/>
                </a:cubicBezTo>
                <a:cubicBezTo>
                  <a:pt x="2445418" y="18221"/>
                  <a:pt x="2986079" y="-788"/>
                  <a:pt x="3052075" y="57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91D611D-C3B2-4C58-878D-5AC2D7575591}"/>
              </a:ext>
            </a:extLst>
          </p:cNvPr>
          <p:cNvSpPr/>
          <p:nvPr/>
        </p:nvSpPr>
        <p:spPr>
          <a:xfrm>
            <a:off x="2337312" y="3415880"/>
            <a:ext cx="46345" cy="46345"/>
          </a:xfrm>
          <a:custGeom>
            <a:avLst/>
            <a:gdLst>
              <a:gd name="connsiteX0" fmla="*/ 7144 w 19050"/>
              <a:gd name="connsiteY0" fmla="*/ 11906 h 19050"/>
              <a:gd name="connsiteX1" fmla="*/ 11906 w 19050"/>
              <a:gd name="connsiteY1" fmla="*/ 7144 h 19050"/>
              <a:gd name="connsiteX2" fmla="*/ 7144 w 19050"/>
              <a:gd name="connsiteY2" fmla="*/ 11906 h 19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" h="19050">
                <a:moveTo>
                  <a:pt x="7144" y="11906"/>
                </a:moveTo>
                <a:lnTo>
                  <a:pt x="11906" y="7144"/>
                </a:lnTo>
                <a:cubicBezTo>
                  <a:pt x="9049" y="10001"/>
                  <a:pt x="7144" y="11906"/>
                  <a:pt x="7144" y="11906"/>
                </a:cubicBezTo>
                <a:close/>
              </a:path>
            </a:pathLst>
          </a:custGeom>
          <a:solidFill>
            <a:srgbClr val="A3807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246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8629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090B2-0048-45A8-A736-3EBE379DFA5C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F9CD-A97E-400E-A063-4DCA89081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21722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814698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248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282646899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13492378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Agenda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9715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EF51C-C130-4504-94F8-252A225CB6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192083-61A0-4B92-A814-7AC8FEB685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BD2DD9-FA41-49E5-88B7-CC44D4BB7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81A2-0D25-4E86-A859-11DC7FD9006E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344928-56F5-4DE8-A3A3-CE1AB991A3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FB7BC4-7610-4EFD-AB48-3EE4EEEF35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C671D-64E9-4A42-BD53-AB9FAB059D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3288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82E40-EDAF-496B-9150-181BD0570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D4BBB3-F8CD-4B98-BC3B-FCB161112B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9FE8E4-E99B-4040-B6C4-B43330150C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81A2-0D25-4E86-A859-11DC7FD9006E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E900F9-556B-4427-B483-F82A9C8673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28FB56-9B91-4392-B10A-DC5228849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C671D-64E9-4A42-BD53-AB9FAB059D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1174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B93D51-470E-4534-A084-F879D8951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7AAFAF-90D9-4282-9032-A5CE042FCC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F1AA40-A948-4204-8028-D06C8EC066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81A2-0D25-4E86-A859-11DC7FD9006E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6807BE-FCF2-4C1E-B872-E0ACF2982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A7E239-105E-4C13-B0FB-452BF74836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C671D-64E9-4A42-BD53-AB9FAB059D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7775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A84D5-D898-4CEB-8177-B0233FE3A100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D400F-5EC8-4535-9DEC-42B5C226F8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1864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92A42E-974A-49FD-A7CA-F9E6CC7710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F3BBE6-14BD-4A9E-B8ED-EA44570377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7900E1-4463-42E0-94B2-7E54D43B70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7C6FB9-BB3B-4DE7-BF22-9E6FA145D1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81A2-0D25-4E86-A859-11DC7FD9006E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D2A74C-DB80-4280-BA07-D939707B1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8A87E2-DBE8-40B5-955A-FCFA0E949C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C671D-64E9-4A42-BD53-AB9FAB059D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900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A2B421-4E05-4FAE-B992-A9DC2FE8B3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97E-33EF-4E9E-AB08-6EC5C5DBAA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383611-28C0-4B04-85AE-A0E2CD77F8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2BCCC2-394D-4D5E-9A00-83F3EB566A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C97BF6-444F-4AD8-9D74-C6439C1ABB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8B82B6-E562-4B2D-BDA2-0B369F9C1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81A2-0D25-4E86-A859-11DC7FD9006E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4125E07-B8C4-4099-A517-233FAF3CBD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0CE87D-4B54-4037-B6CA-C13C8CB2E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C671D-64E9-4A42-BD53-AB9FAB059D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4334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8E91F-F603-407E-A715-F571A9960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414F4F-2B86-4F58-B389-27EBB4535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81A2-0D25-4E86-A859-11DC7FD9006E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3C17E2-0BD0-4434-ABF3-FF378C9FC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4CBD2B-94F3-4ABB-97C7-BA9285077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C671D-64E9-4A42-BD53-AB9FAB059D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9373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246537-CE31-4B2A-8661-77E0D2AB7D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81A2-0D25-4E86-A859-11DC7FD9006E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9F9093-B96E-4154-ABFE-300600A7D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B9BCD9-7B2A-4C68-B500-DA9E16ABB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C671D-64E9-4A42-BD53-AB9FAB059D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7668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16BD19-79A5-4E79-8745-69D4F8442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D2D0A7-7C18-4493-872C-99E4AEFB74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FA5DEB-B987-496A-814A-7781728078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7E3ABC-B251-4C53-8C5C-24F4211237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81A2-0D25-4E86-A859-11DC7FD9006E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BF5CD2-9DCB-46BB-8F2E-A3AECFC9DB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DE89AD-A723-43B1-9122-4519A9CE9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C671D-64E9-4A42-BD53-AB9FAB059D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2076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AD6272-02C0-4DEF-9A8C-EC3F5742C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E2BABC3-5D54-414D-A56C-FEA316FB8F8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519D55-A73D-4DDB-85A5-45FBFA9CBC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FD7A8C-1B1D-472B-B7CC-10134C9740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81A2-0D25-4E86-A859-11DC7FD9006E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C434B1-0F58-4362-8185-E42C5F600C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1A389F-D3C7-4843-939F-2FAB2C875E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C671D-64E9-4A42-BD53-AB9FAB059D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0499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8F84FE-0F79-40C6-B752-D3DEEE96C1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8A83C7-07C8-445B-913B-676A3B5368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D5C5A2-7F2F-43FB-A8D7-B2517586EE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81A2-0D25-4E86-A859-11DC7FD9006E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0419FC-4E5F-4978-B6AF-F03D813590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3F2078-81DD-4250-AA95-5C4029F3C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C671D-64E9-4A42-BD53-AB9FAB059D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9879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27D11E-B363-433E-88C1-97EE5F59A40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07C74BE-940F-4F09-8E6D-61FC4E71C2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2D1E05-CB71-4320-8248-F2E8A698CE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81A2-0D25-4E86-A859-11DC7FD9006E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F99A09-A4F5-4994-BEEE-F18A51F4E7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EF36A2-ECBD-4F7B-A0B8-F1FC07E7E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C671D-64E9-4A42-BD53-AB9FAB059D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0575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1E1DAF-1B97-45A3-B8DE-58E65ABFC7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40496" y="1122363"/>
            <a:ext cx="491823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653BE8-8B61-4EF4-BE07-98C03074FA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40496" y="3602038"/>
            <a:ext cx="491823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4FC360-3D3E-4DE3-A9BB-C926A4F648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CE88E-F751-468B-B342-E54D2D566B53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E2C935-4B92-4EFF-A687-05B18D4647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070AFF-85F1-4956-A303-D89330D26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5AE16-E661-45CA-BB1A-B1C44E005F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2828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03467A-DCD4-42B5-B360-36CA19A1C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4DE88E-48B3-41A9-8EFE-8FA1B1E2C4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BC82A7-2981-492E-AE0F-060858FCD3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CE88E-F751-468B-B342-E54D2D566B53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8742D2-9E6B-4920-91B0-6A270F1BA3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EE811E-C7C1-4735-B465-27A2C9841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5AE16-E661-45CA-BB1A-B1C44E005F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6222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A84D5-D898-4CEB-8177-B0233FE3A100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D400F-5EC8-4535-9DEC-42B5C226F8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1275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A7E529-A17E-427B-B8F2-B624A6D3C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4167" y="576263"/>
            <a:ext cx="5044304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E64FAC-E2B4-4B7A-8080-7E83330A56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74167" y="3455988"/>
            <a:ext cx="5044304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ABC8BE-7FD4-47F7-9E34-FA171A2F3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CE88E-F751-468B-B342-E54D2D566B53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86EB01-EBF6-47A6-A2A6-866310E01C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F65B4C-4FA0-4A12-A8D3-137D74A9D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5AE16-E661-45CA-BB1A-B1C44E005F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0054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457F26-A04B-4B37-A834-DF4861C45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2017A-51BD-4BB7-A77A-51C0693BEA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BFFE21-DAFE-4837-8302-CB46D70030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CE88E-F751-468B-B342-E54D2D566B53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A8EDF7-9A37-45B0-9C40-EB0C5D7C0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65EA9E-54A0-49C9-B066-561BC401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5AE16-E661-45CA-BB1A-B1C44E005F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9397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035048-8E8C-4C4C-A1A9-080938189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C8CDF9-A277-42F0-B44A-59D13AE345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43BAA9-6B15-47E5-846C-B4C9870EF4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B899BF-58BA-4ED6-9DAA-A3FEC2DA70C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273A28-7942-4892-AA96-6AB0986BAAE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CFF3A8C-6B4F-4DB8-8731-53CCE790C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CE88E-F751-468B-B342-E54D2D566B53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06159D3-D0B4-493B-91C9-D226D9C01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A8331E-4D8C-4FF5-B94C-7F90C5B9E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5AE16-E661-45CA-BB1A-B1C44E005F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7708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146610-42EE-4D07-B09E-7F092B5E3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3F31DE3-815E-4FC5-BC6D-554D53AAC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CE88E-F751-468B-B342-E54D2D566B53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E9AB2C-E11F-4FB0-91A2-07405806E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E0B3AF-874D-4602-BE40-B9B22384F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5AE16-E661-45CA-BB1A-B1C44E005F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8898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5F81BE-9309-4166-94FE-491F3E3B7D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CE88E-F751-468B-B342-E54D2D566B53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08D012-D7F4-4E87-A563-09D9E7F56D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C3F87-3086-4148-8CFA-7A0C27F812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5AE16-E661-45CA-BB1A-B1C44E005F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4335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4F5B80-E3D8-4B4B-A6B4-1C2207859E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FBD977-1196-49E8-B519-C90BA94DE9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8D52D4-34F9-433F-BEDA-5EFEEE29E3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2A0D2D-62A9-4B83-938D-4AA108ADF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CE88E-F751-468B-B342-E54D2D566B53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772F77-F4FB-4EC4-8C55-CA36E04472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1C7323-B96D-40CA-BAB6-73768C72B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5AE16-E661-45CA-BB1A-B1C44E005F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805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3E8693-BAA8-4D59-B11A-A1187CD57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405D26-0FC0-49D7-9B3E-B9D85139381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B0B2ED-4EC4-4160-BB43-B42D078E9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52DA8E-1D6E-4E30-BC8A-DB3F0794A4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CE88E-F751-468B-B342-E54D2D566B53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262DE4-8429-43FD-9477-1E20D8822C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4DAB73-3ED7-4203-9CDB-1E2D6B357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5AE16-E661-45CA-BB1A-B1C44E005F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7259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DF3D7-3CE1-4DD9-A16B-0A28EE4FB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07BD985-490A-41E1-9FEB-33FFF19036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169B6F-C4F6-4480-95F3-7C99FE25C2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CE88E-F751-468B-B342-E54D2D566B53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8E4974-8F01-4BF2-8BB0-E4907E2F9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0BBC9-015D-4227-A56E-8290F7B6F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5AE16-E661-45CA-BB1A-B1C44E005F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4940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CA6F6ED-2069-4761-A915-431A22EAE4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459134-8D99-4B5C-B275-AA3F6EFCE1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E977FB-CB83-415E-BDC1-FAEA111DD5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CE88E-F751-468B-B342-E54D2D566B53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CEFE1C-F721-4E8A-8754-CDB35782C4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6C557D-DE86-4C06-81FE-E11B8F38D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5AE16-E661-45CA-BB1A-B1C44E005F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5079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08838-E9E3-4746-AC97-A76AA4BA1E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42D424-9247-4877-BE26-AC1F62B4AE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FE5C00-2EDB-4D08-B283-201BBA5288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BDC49-9081-4256-ABC3-DD82EFC474B6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59E184-13BC-4A01-8485-735EEF4DC3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D9F67D-2E9A-466A-B6AC-5811258CAE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B799-FA36-4AA7-A5C2-ED8CF3B785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1228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A84D5-D898-4CEB-8177-B0233FE3A100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D400F-5EC8-4535-9DEC-42B5C226F8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48257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C6A11-A336-4519-B56A-CA0C8C6A0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77D052-D752-44D9-8654-CF2A81EFA6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37FD18-580D-4941-AEF3-4AA380E013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BDC49-9081-4256-ABC3-DD82EFC474B6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CFE7C6-3998-41E0-9441-7C56942AA4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91E9A3-6ABE-4B8C-B4F0-C8E57E7B4F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B799-FA36-4AA7-A5C2-ED8CF3B785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1223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6E80D-7B41-4FA2-A063-E53BD218B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16A8C2-5AE0-45B9-9060-5ADE0FBF3A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4474D8-EA79-466F-87C9-D8D7BBC368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BDC49-9081-4256-ABC3-DD82EFC474B6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236284-06B0-40F2-A48E-86AC2BF822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0C0536-9702-4A39-B0D9-3A54C69F7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B799-FA36-4AA7-A5C2-ED8CF3B785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248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BB4351-D31D-4926-BDCA-90F4CCC8F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B8B7D3-F99C-432E-84A3-40C09D84217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F3DBEE-B452-41BD-AB2B-8C1E437E30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6A4058-7A3A-4679-B472-5D3A088283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BDC49-9081-4256-ABC3-DD82EFC474B6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D13AB5-F81F-451F-9982-7F3E2B3D27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257B10-5BF9-4099-A51A-996F7A2E9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B799-FA36-4AA7-A5C2-ED8CF3B785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9330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75B68B-E14B-437E-A308-084EC5AED4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DCD8F6-068A-430F-BCFB-6D0B1DB967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635A1C-E946-4084-8DC2-B4EF94C40A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461F70-B260-4250-A5CF-42D3BF1A5A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B2BDB16-1C88-4D2A-BD26-902AA111A9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946F82-1F73-4421-BBEA-968B86D2AC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BDC49-9081-4256-ABC3-DD82EFC474B6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EA6147-3EE2-4565-878C-5FC71DD87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0DDA4C-B2A9-4DA3-B503-D3011A5AE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B799-FA36-4AA7-A5C2-ED8CF3B785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0134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4D143-6AEB-42D9-8B88-D2ABB5AED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E20583-B685-4496-B54F-C7B455DE96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BDC49-9081-4256-ABC3-DD82EFC474B6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738BB4-9DA3-4B56-9231-9FD1519DC9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A7FAE1-4497-4A0A-99D8-731D3C981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B799-FA36-4AA7-A5C2-ED8CF3B785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628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10A124-406A-4136-99F2-0ACFD77E6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BDC49-9081-4256-ABC3-DD82EFC474B6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F51A2C-3438-472B-BF14-E4AED203BF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03CB2B-8822-46F0-B24D-3D0DC3215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B799-FA36-4AA7-A5C2-ED8CF3B785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8892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6A683F-7363-4361-BB13-86BAF2CF5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A26807-D683-4EC7-84EA-93AF1C0308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C001DE-9FEA-42EB-BB63-6C94F649DD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9DDBA5-E0EB-4F6B-8952-ADD468C165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BDC49-9081-4256-ABC3-DD82EFC474B6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0473E5-D7CD-4C18-B1BF-229D654D23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0FCA79-DF6B-49A5-9E29-CE74D3177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B799-FA36-4AA7-A5C2-ED8CF3B785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7458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025992-19AB-4BF1-8603-D595EBD7CB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5117C81-71F8-4E82-BCC1-3EE65D3B1DD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3AEF46-A748-47D2-AA7E-999709F4E0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FE2DAE-3125-4151-AC95-058461BD2F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BDC49-9081-4256-ABC3-DD82EFC474B6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5CC3BA-5A9A-40F3-9920-3F41929E2F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0FF0C3-4D6A-4428-82E1-F24A80627E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B799-FA36-4AA7-A5C2-ED8CF3B785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9096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31262-1BE1-4F3C-97F4-EED5C866E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A0639E7-0C19-42A4-94B1-F20F586278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518A53-B1DB-4BEE-93F3-CFA3FFAAE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BDC49-9081-4256-ABC3-DD82EFC474B6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72042F-807C-449C-BFF8-F5E751EBF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1A2495-BA21-42BC-BF42-9E1E2D66C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B799-FA36-4AA7-A5C2-ED8CF3B785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498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463718C-669D-4984-9824-D44BBF9C4B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4CD2744-2C30-4090-96B6-1EE7074350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4D5D7E-8734-4566-B186-53C759202F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BDC49-9081-4256-ABC3-DD82EFC474B6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3CDF35-D284-4F25-8E38-79CF3A60C7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12428B-25A4-4BD0-8CF8-BB985351A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B799-FA36-4AA7-A5C2-ED8CF3B785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630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090B2-0048-45A8-A736-3EBE379DFA5C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F9CD-A97E-400E-A063-4DCA89081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3728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73A78E6-F71D-4312-BDB2-FA26CAF574B4}"/>
              </a:ext>
            </a:extLst>
          </p:cNvPr>
          <p:cNvSpPr/>
          <p:nvPr userDrawn="1"/>
        </p:nvSpPr>
        <p:spPr>
          <a:xfrm flipH="1" flipV="1">
            <a:off x="5119026" y="0"/>
            <a:ext cx="7072972" cy="6858000"/>
          </a:xfrm>
          <a:custGeom>
            <a:avLst/>
            <a:gdLst>
              <a:gd name="connsiteX0" fmla="*/ 0 w 7072972"/>
              <a:gd name="connsiteY0" fmla="*/ 0 h 6858000"/>
              <a:gd name="connsiteX1" fmla="*/ 7072972 w 7072972"/>
              <a:gd name="connsiteY1" fmla="*/ 1890052 h 6858000"/>
              <a:gd name="connsiteX2" fmla="*/ 3307176 w 7072972"/>
              <a:gd name="connsiteY2" fmla="*/ 6858000 h 6858000"/>
              <a:gd name="connsiteX3" fmla="*/ 0 w 707297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72972" h="6858000">
                <a:moveTo>
                  <a:pt x="0" y="0"/>
                </a:moveTo>
                <a:lnTo>
                  <a:pt x="7072972" y="1890052"/>
                </a:lnTo>
                <a:lnTo>
                  <a:pt x="33071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C75BF01-2621-417D-9B96-39DD8D08670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" y="0"/>
            <a:ext cx="7072972" cy="6858000"/>
          </a:xfrm>
          <a:custGeom>
            <a:avLst/>
            <a:gdLst>
              <a:gd name="connsiteX0" fmla="*/ 0 w 6200775"/>
              <a:gd name="connsiteY0" fmla="*/ 0 h 6858000"/>
              <a:gd name="connsiteX1" fmla="*/ 2158503 w 6200775"/>
              <a:gd name="connsiteY1" fmla="*/ 0 h 6858000"/>
              <a:gd name="connsiteX2" fmla="*/ 6200775 w 6200775"/>
              <a:gd name="connsiteY2" fmla="*/ 3676650 h 6858000"/>
              <a:gd name="connsiteX3" fmla="*/ 3307176 w 6200775"/>
              <a:gd name="connsiteY3" fmla="*/ 6858000 h 6858000"/>
              <a:gd name="connsiteX4" fmla="*/ 0 w 6200775"/>
              <a:gd name="connsiteY4" fmla="*/ 6858000 h 6858000"/>
              <a:gd name="connsiteX0" fmla="*/ 0 w 7424664"/>
              <a:gd name="connsiteY0" fmla="*/ 0 h 6858000"/>
              <a:gd name="connsiteX1" fmla="*/ 2158503 w 7424664"/>
              <a:gd name="connsiteY1" fmla="*/ 0 h 6858000"/>
              <a:gd name="connsiteX2" fmla="*/ 7424664 w 7424664"/>
              <a:gd name="connsiteY2" fmla="*/ 2326151 h 6858000"/>
              <a:gd name="connsiteX3" fmla="*/ 3307176 w 7424664"/>
              <a:gd name="connsiteY3" fmla="*/ 6858000 h 6858000"/>
              <a:gd name="connsiteX4" fmla="*/ 0 w 7424664"/>
              <a:gd name="connsiteY4" fmla="*/ 6858000 h 6858000"/>
              <a:gd name="connsiteX5" fmla="*/ 0 w 7424664"/>
              <a:gd name="connsiteY5" fmla="*/ 0 h 6858000"/>
              <a:gd name="connsiteX0" fmla="*/ 0 w 7424664"/>
              <a:gd name="connsiteY0" fmla="*/ 0 h 6858000"/>
              <a:gd name="connsiteX1" fmla="*/ 7424664 w 7424664"/>
              <a:gd name="connsiteY1" fmla="*/ 2326151 h 6858000"/>
              <a:gd name="connsiteX2" fmla="*/ 3307176 w 7424664"/>
              <a:gd name="connsiteY2" fmla="*/ 6858000 h 6858000"/>
              <a:gd name="connsiteX3" fmla="*/ 0 w 7424664"/>
              <a:gd name="connsiteY3" fmla="*/ 6858000 h 6858000"/>
              <a:gd name="connsiteX4" fmla="*/ 0 w 7424664"/>
              <a:gd name="connsiteY4" fmla="*/ 0 h 6858000"/>
              <a:gd name="connsiteX0" fmla="*/ 0 w 6904159"/>
              <a:gd name="connsiteY0" fmla="*/ 0 h 6858000"/>
              <a:gd name="connsiteX1" fmla="*/ 6904159 w 6904159"/>
              <a:gd name="connsiteY1" fmla="*/ 1805646 h 6858000"/>
              <a:gd name="connsiteX2" fmla="*/ 3307176 w 6904159"/>
              <a:gd name="connsiteY2" fmla="*/ 6858000 h 6858000"/>
              <a:gd name="connsiteX3" fmla="*/ 0 w 6904159"/>
              <a:gd name="connsiteY3" fmla="*/ 6858000 h 6858000"/>
              <a:gd name="connsiteX4" fmla="*/ 0 w 6904159"/>
              <a:gd name="connsiteY4" fmla="*/ 0 h 6858000"/>
              <a:gd name="connsiteX0" fmla="*/ 0 w 7072972"/>
              <a:gd name="connsiteY0" fmla="*/ 0 h 6858000"/>
              <a:gd name="connsiteX1" fmla="*/ 7072972 w 7072972"/>
              <a:gd name="connsiteY1" fmla="*/ 1890052 h 6858000"/>
              <a:gd name="connsiteX2" fmla="*/ 3307176 w 7072972"/>
              <a:gd name="connsiteY2" fmla="*/ 6858000 h 6858000"/>
              <a:gd name="connsiteX3" fmla="*/ 0 w 7072972"/>
              <a:gd name="connsiteY3" fmla="*/ 6858000 h 6858000"/>
              <a:gd name="connsiteX4" fmla="*/ 0 w 707297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72972" h="6858000">
                <a:moveTo>
                  <a:pt x="0" y="0"/>
                </a:moveTo>
                <a:lnTo>
                  <a:pt x="7072972" y="1890052"/>
                </a:lnTo>
                <a:lnTo>
                  <a:pt x="330717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696856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9EF537-F232-4F67-8737-BCE7101F7D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649513-7DC3-49FE-836B-0D27D8D888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F94830-F07F-453F-BFF8-EAD681A2B33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0BE125-DA88-4327-A3B5-1B2367BF325D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9B6C6B-1AD1-4F4B-A42A-30C9CDE669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3A5E71-2B22-4EA9-B316-9278711B0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056820-BB10-4204-A2AF-0559742AAB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41704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9870F-854A-4BE2-B6C0-86BFFB7E8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9B1565-5F86-4AF4-BA1F-1EA51F2F08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276EDD-6A91-4228-8B66-527945E152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0BE125-DA88-4327-A3B5-1B2367BF325D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66C8F4-DD9A-45A3-BD05-13F473287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C3E86C-777C-44BE-972D-00A099CD9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056820-BB10-4204-A2AF-0559742AAB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8160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9D943E-CC6C-45EA-A445-30EB48648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1CBFA1-CA2B-496A-955F-31F60C5ECA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93AE64-E381-4B56-881A-816F5581CD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0BE125-DA88-4327-A3B5-1B2367BF325D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C967EB-0408-4798-A6BB-1C954E8BF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7CF694-0E70-4A21-A061-B3F7BEF825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056820-BB10-4204-A2AF-0559742AAB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9522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C5F260-CD50-4E87-BC8C-52BFBEBA97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611913-E6C2-46B4-BB71-F0F7302C60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E6BA7B-D09D-407B-9D79-0A77327B30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A7C1AA-1AD6-438C-893C-C0E8863381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0BE125-DA88-4327-A3B5-1B2367BF325D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975417-16E7-4CD8-8FBD-7E3BB3B7E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852D82-D787-4940-9BDA-39288C291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056820-BB10-4204-A2AF-0559742AAB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1919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795AE-7EA2-4FCE-95CE-84EB85EB7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3749F0-2788-47D4-8317-65DA29E7CC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6454B9-9F60-4C20-A730-46A2109A68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86D2B0-C261-4A64-BE48-A4B6932BEE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DC8AA89-FFAC-47FC-8C15-4D15D0C6F9A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CAA5821-1917-4D3F-8AEA-BFF08ED928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0BE125-DA88-4327-A3B5-1B2367BF325D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F752C3-BA57-41C5-A8D4-E605E7C5F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A4BCEB-8CC3-4E5F-BCF7-DEB0E5E86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056820-BB10-4204-A2AF-0559742AAB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13913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DE0764-A43B-427E-9DAD-D64B5FCFE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5E4F52-6F32-4EB5-B01F-8B9B09D40F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0BE125-DA88-4327-A3B5-1B2367BF325D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5ACA85-0D8A-49C4-A5D2-8CD6364381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7DFCC6-4BB8-4AC9-9719-37D12ABD5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056820-BB10-4204-A2AF-0559742AAB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0083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00C2C5-9659-4527-A617-9018269EB7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0BE125-DA88-4327-A3B5-1B2367BF325D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953297-58E6-457A-A09C-E4EAD18C7D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7B364D-2E6C-477C-B605-505692FF37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056820-BB10-4204-A2AF-0559742AAB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5812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D299D-995D-422C-A94B-E0DD595E7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C2BF52-039E-4618-9438-BD909A973F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85D579-9FF8-406F-9916-858AC4EBAB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E88A9B-C7C1-478A-9E0F-81E9D27F076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0BE125-DA88-4327-A3B5-1B2367BF325D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DDDF00-17AC-4C09-9AB6-587FFD4B9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AF0E91-BB96-40B2-8C7C-A8610BAA4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056820-BB10-4204-A2AF-0559742AAB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4515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16D858-6184-4C39-A8A7-C01AD5E9F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61601FC-A2B3-480D-AD97-491B155639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C48479-FA60-4DED-84C6-21654477EE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5743EAC-3769-48DA-AE38-B749F65BAF8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0BE125-DA88-4327-A3B5-1B2367BF325D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89D302-07E3-439B-977D-0C667F301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FBB7D2-E09B-4A40-81C2-C373093FE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056820-BB10-4204-A2AF-0559742AAB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4048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090B2-0048-45A8-A736-3EBE379DFA5C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F9CD-A97E-400E-A063-4DCA89081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47370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2FD58E-1AFC-4B75-BA13-BEAEE46BB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9CE5594-D782-4D22-8F86-C783A94EC9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9D1B92-667B-467F-9F5E-404BFF158E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0BE125-DA88-4327-A3B5-1B2367BF325D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1EDDB8-BF01-4A00-BAD8-83CC31F7FE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CE6C79-95D9-457F-AF21-74AA5C53A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056820-BB10-4204-A2AF-0559742AAB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8594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B842E37-51DA-4D24-9C90-6CB4D2FFAD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9DE51F-2F87-4BB8-8EBD-B29E8FE3BB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D36B95-1ED6-44A5-AC0E-FA6BDF7C03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0BE125-DA88-4327-A3B5-1B2367BF325D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A99A2-5C25-49DC-BFAE-BECDE3EF5B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F5FF0F-F263-44C5-BD86-79ED7BCEA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056820-BB10-4204-A2AF-0559742AAB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8000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451B7-6778-41C3-BFB5-606474C135F8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CDC82-73F9-410E-BE0D-FB37D89DD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3714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451B7-6778-41C3-BFB5-606474C135F8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CDC82-73F9-410E-BE0D-FB37D89DD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73580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451B7-6778-41C3-BFB5-606474C135F8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CDC82-73F9-410E-BE0D-FB37D89DD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1733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451B7-6778-41C3-BFB5-606474C135F8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CDC82-73F9-410E-BE0D-FB37D89DD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2534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451B7-6778-41C3-BFB5-606474C135F8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CDC82-73F9-410E-BE0D-FB37D89DD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45283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451B7-6778-41C3-BFB5-606474C135F8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CDC82-73F9-410E-BE0D-FB37D89DD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8365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451B7-6778-41C3-BFB5-606474C135F8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CDC82-73F9-410E-BE0D-FB37D89DD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45529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451B7-6778-41C3-BFB5-606474C135F8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CDC82-73F9-410E-BE0D-FB37D89DD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3597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090B2-0048-45A8-A736-3EBE379DFA5C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F9CD-A97E-400E-A063-4DCA89081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446015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451B7-6778-41C3-BFB5-606474C135F8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CDC82-73F9-410E-BE0D-FB37D89DD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14918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451B7-6778-41C3-BFB5-606474C135F8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CDC82-73F9-410E-BE0D-FB37D89DD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58681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451B7-6778-41C3-BFB5-606474C135F8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CDC82-73F9-410E-BE0D-FB37D89DD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0951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8702542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01753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8013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54041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134768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115530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6030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090B2-0048-45A8-A736-3EBE379DFA5C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F9CD-A97E-400E-A063-4DCA89081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78137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78368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C5B47D6-DAD7-40A6-BD10-CD2FABB132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2097573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7960874-3F9B-4D3F-855A-5669B09C929B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0" y="0"/>
            <a:ext cx="12192000" cy="313508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2B1140DE-B7EF-4821-92DB-87F8292871A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905623" y="2078266"/>
            <a:ext cx="2298160" cy="20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</a:p>
          <a:p>
            <a:r>
              <a:rPr lang="en-US" altLang="ko-KR" dirty="0"/>
              <a:t>And Send To Back </a:t>
            </a:r>
            <a:endParaRPr lang="ko-KR" alt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72D1BE3B-CE32-4F45-9E7C-3CF4C5DACDC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282361" y="2078266"/>
            <a:ext cx="2298160" cy="20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</a:p>
          <a:p>
            <a:r>
              <a:rPr lang="en-US" altLang="ko-KR" dirty="0"/>
              <a:t>And Send To Back </a:t>
            </a:r>
            <a:endParaRPr lang="ko-KR" alt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6F1FA09A-98C2-4BC7-A032-43C843531C6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593992" y="2078266"/>
            <a:ext cx="2298160" cy="20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</a:p>
          <a:p>
            <a:r>
              <a:rPr lang="en-US" altLang="ko-KR" dirty="0"/>
              <a:t>And Send To Back </a:t>
            </a:r>
            <a:endParaRPr lang="ko-KR" alt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8718837-365D-4859-B99D-1C4C5BB7E508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70731" y="2078266"/>
            <a:ext cx="2298160" cy="20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</a:p>
          <a:p>
            <a:r>
              <a:rPr lang="en-US" altLang="ko-KR" dirty="0"/>
              <a:t>And Send To Back </a:t>
            </a:r>
            <a:endParaRPr lang="ko-KR" altLang="en-US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4111A57B-317A-41FC-8D5B-458B4DA86D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740105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7508339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4111A57B-317A-41FC-8D5B-458B4DA86D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8E24A2BE-80CE-4B79-BF31-91FA62C0442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0" y="2160665"/>
            <a:ext cx="12192000" cy="25027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800" baseline="0">
                <a:latin typeface="+mn-lt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2F51014-6E90-4769-BCD9-A06A9FC17AC8}"/>
              </a:ext>
            </a:extLst>
          </p:cNvPr>
          <p:cNvSpPr/>
          <p:nvPr userDrawn="1"/>
        </p:nvSpPr>
        <p:spPr>
          <a:xfrm>
            <a:off x="0" y="2026940"/>
            <a:ext cx="12192000" cy="72008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BC926F-7282-4E00-BF8A-8D24B274039B}"/>
              </a:ext>
            </a:extLst>
          </p:cNvPr>
          <p:cNvSpPr/>
          <p:nvPr userDrawn="1"/>
        </p:nvSpPr>
        <p:spPr>
          <a:xfrm>
            <a:off x="0" y="4725144"/>
            <a:ext cx="12192000" cy="72008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</p:spTree>
    <p:extLst>
      <p:ext uri="{BB962C8B-B14F-4D97-AF65-F5344CB8AC3E}">
        <p14:creationId xmlns:p14="http://schemas.microsoft.com/office/powerpoint/2010/main" val="50129877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4092000" y="545824"/>
            <a:ext cx="8100000" cy="273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effectLst/>
                <a:latin typeface="+mn-lt"/>
                <a:ea typeface="+mj-ea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0" y="3575404"/>
            <a:ext cx="8100000" cy="273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effectLst/>
                <a:latin typeface="+mn-lt"/>
                <a:ea typeface="+mj-ea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7296678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그림 개체 틀 12">
            <a:extLst>
              <a:ext uri="{FF2B5EF4-FFF2-40B4-BE49-F238E27FC236}">
                <a16:creationId xmlns:a16="http://schemas.microsoft.com/office/drawing/2014/main" id="{A7A44CD1-8791-4411-9DCF-BE8F9EB9EB1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99070" y="1223317"/>
            <a:ext cx="5441094" cy="4721980"/>
          </a:xfrm>
          <a:custGeom>
            <a:avLst/>
            <a:gdLst>
              <a:gd name="connsiteX0" fmla="*/ 2090352 w 5441094"/>
              <a:gd name="connsiteY0" fmla="*/ 2977952 h 4721980"/>
              <a:gd name="connsiteX1" fmla="*/ 3101888 w 5441094"/>
              <a:gd name="connsiteY1" fmla="*/ 4721980 h 4721980"/>
              <a:gd name="connsiteX2" fmla="*/ 1078816 w 5441094"/>
              <a:gd name="connsiteY2" fmla="*/ 4721980 h 4721980"/>
              <a:gd name="connsiteX3" fmla="*/ 2191267 w 5441094"/>
              <a:gd name="connsiteY3" fmla="*/ 2940880 h 4721980"/>
              <a:gd name="connsiteX4" fmla="*/ 4155992 w 5441094"/>
              <a:gd name="connsiteY4" fmla="*/ 2940880 h 4721980"/>
              <a:gd name="connsiteX5" fmla="*/ 3173629 w 5441094"/>
              <a:gd name="connsiteY5" fmla="*/ 4634609 h 4721980"/>
              <a:gd name="connsiteX6" fmla="*/ 0 w 5441094"/>
              <a:gd name="connsiteY6" fmla="*/ 2928524 h 4721980"/>
              <a:gd name="connsiteX7" fmla="*/ 2023072 w 5441094"/>
              <a:gd name="connsiteY7" fmla="*/ 2928524 h 4721980"/>
              <a:gd name="connsiteX8" fmla="*/ 1011536 w 5441094"/>
              <a:gd name="connsiteY8" fmla="*/ 4672552 h 4721980"/>
              <a:gd name="connsiteX9" fmla="*/ 982363 w 5441094"/>
              <a:gd name="connsiteY9" fmla="*/ 1120204 h 4721980"/>
              <a:gd name="connsiteX10" fmla="*/ 1964725 w 5441094"/>
              <a:gd name="connsiteY10" fmla="*/ 2813933 h 4721980"/>
              <a:gd name="connsiteX11" fmla="*/ 0 w 5441094"/>
              <a:gd name="connsiteY11" fmla="*/ 2813933 h 4721980"/>
              <a:gd name="connsiteX12" fmla="*/ 3816180 w 5441094"/>
              <a:gd name="connsiteY12" fmla="*/ 12357 h 4721980"/>
              <a:gd name="connsiteX13" fmla="*/ 5441094 w 5441094"/>
              <a:gd name="connsiteY13" fmla="*/ 2813933 h 4721980"/>
              <a:gd name="connsiteX14" fmla="*/ 2191266 w 5441094"/>
              <a:gd name="connsiteY14" fmla="*/ 2813933 h 4721980"/>
              <a:gd name="connsiteX15" fmla="*/ 465439 w 5441094"/>
              <a:gd name="connsiteY15" fmla="*/ 0 h 4721980"/>
              <a:gd name="connsiteX16" fmla="*/ 3715267 w 5441094"/>
              <a:gd name="connsiteY16" fmla="*/ 0 h 4721980"/>
              <a:gd name="connsiteX17" fmla="*/ 2090353 w 5441094"/>
              <a:gd name="connsiteY17" fmla="*/ 2801576 h 472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41094" h="4721980">
                <a:moveTo>
                  <a:pt x="2090352" y="2977952"/>
                </a:moveTo>
                <a:lnTo>
                  <a:pt x="3101888" y="4721980"/>
                </a:lnTo>
                <a:lnTo>
                  <a:pt x="1078816" y="4721980"/>
                </a:lnTo>
                <a:close/>
                <a:moveTo>
                  <a:pt x="2191267" y="2940880"/>
                </a:moveTo>
                <a:lnTo>
                  <a:pt x="4155992" y="2940880"/>
                </a:lnTo>
                <a:lnTo>
                  <a:pt x="3173629" y="4634609"/>
                </a:lnTo>
                <a:close/>
                <a:moveTo>
                  <a:pt x="0" y="2928524"/>
                </a:moveTo>
                <a:lnTo>
                  <a:pt x="2023072" y="2928524"/>
                </a:lnTo>
                <a:lnTo>
                  <a:pt x="1011536" y="4672552"/>
                </a:lnTo>
                <a:close/>
                <a:moveTo>
                  <a:pt x="982363" y="1120204"/>
                </a:moveTo>
                <a:lnTo>
                  <a:pt x="1964725" y="2813933"/>
                </a:lnTo>
                <a:lnTo>
                  <a:pt x="0" y="2813933"/>
                </a:lnTo>
                <a:close/>
                <a:moveTo>
                  <a:pt x="3816180" y="12357"/>
                </a:moveTo>
                <a:lnTo>
                  <a:pt x="5441094" y="2813933"/>
                </a:lnTo>
                <a:lnTo>
                  <a:pt x="2191266" y="2813933"/>
                </a:lnTo>
                <a:close/>
                <a:moveTo>
                  <a:pt x="465439" y="0"/>
                </a:moveTo>
                <a:lnTo>
                  <a:pt x="3715267" y="0"/>
                </a:lnTo>
                <a:lnTo>
                  <a:pt x="2090353" y="28015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7775876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73A78E6-F71D-4312-BDB2-FA26CAF574B4}"/>
              </a:ext>
            </a:extLst>
          </p:cNvPr>
          <p:cNvSpPr/>
          <p:nvPr userDrawn="1"/>
        </p:nvSpPr>
        <p:spPr>
          <a:xfrm flipH="1" flipV="1">
            <a:off x="5119026" y="0"/>
            <a:ext cx="7072972" cy="6858000"/>
          </a:xfrm>
          <a:custGeom>
            <a:avLst/>
            <a:gdLst>
              <a:gd name="connsiteX0" fmla="*/ 0 w 7072972"/>
              <a:gd name="connsiteY0" fmla="*/ 0 h 6858000"/>
              <a:gd name="connsiteX1" fmla="*/ 7072972 w 7072972"/>
              <a:gd name="connsiteY1" fmla="*/ 1890052 h 6858000"/>
              <a:gd name="connsiteX2" fmla="*/ 3307176 w 7072972"/>
              <a:gd name="connsiteY2" fmla="*/ 6858000 h 6858000"/>
              <a:gd name="connsiteX3" fmla="*/ 0 w 707297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72972" h="6858000">
                <a:moveTo>
                  <a:pt x="0" y="0"/>
                </a:moveTo>
                <a:lnTo>
                  <a:pt x="7072972" y="1890052"/>
                </a:lnTo>
                <a:lnTo>
                  <a:pt x="33071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C75BF01-2621-417D-9B96-39DD8D08670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" y="0"/>
            <a:ext cx="7072972" cy="6858000"/>
          </a:xfrm>
          <a:custGeom>
            <a:avLst/>
            <a:gdLst>
              <a:gd name="connsiteX0" fmla="*/ 0 w 6200775"/>
              <a:gd name="connsiteY0" fmla="*/ 0 h 6858000"/>
              <a:gd name="connsiteX1" fmla="*/ 2158503 w 6200775"/>
              <a:gd name="connsiteY1" fmla="*/ 0 h 6858000"/>
              <a:gd name="connsiteX2" fmla="*/ 6200775 w 6200775"/>
              <a:gd name="connsiteY2" fmla="*/ 3676650 h 6858000"/>
              <a:gd name="connsiteX3" fmla="*/ 3307176 w 6200775"/>
              <a:gd name="connsiteY3" fmla="*/ 6858000 h 6858000"/>
              <a:gd name="connsiteX4" fmla="*/ 0 w 6200775"/>
              <a:gd name="connsiteY4" fmla="*/ 6858000 h 6858000"/>
              <a:gd name="connsiteX0" fmla="*/ 0 w 7424664"/>
              <a:gd name="connsiteY0" fmla="*/ 0 h 6858000"/>
              <a:gd name="connsiteX1" fmla="*/ 2158503 w 7424664"/>
              <a:gd name="connsiteY1" fmla="*/ 0 h 6858000"/>
              <a:gd name="connsiteX2" fmla="*/ 7424664 w 7424664"/>
              <a:gd name="connsiteY2" fmla="*/ 2326151 h 6858000"/>
              <a:gd name="connsiteX3" fmla="*/ 3307176 w 7424664"/>
              <a:gd name="connsiteY3" fmla="*/ 6858000 h 6858000"/>
              <a:gd name="connsiteX4" fmla="*/ 0 w 7424664"/>
              <a:gd name="connsiteY4" fmla="*/ 6858000 h 6858000"/>
              <a:gd name="connsiteX5" fmla="*/ 0 w 7424664"/>
              <a:gd name="connsiteY5" fmla="*/ 0 h 6858000"/>
              <a:gd name="connsiteX0" fmla="*/ 0 w 7424664"/>
              <a:gd name="connsiteY0" fmla="*/ 0 h 6858000"/>
              <a:gd name="connsiteX1" fmla="*/ 7424664 w 7424664"/>
              <a:gd name="connsiteY1" fmla="*/ 2326151 h 6858000"/>
              <a:gd name="connsiteX2" fmla="*/ 3307176 w 7424664"/>
              <a:gd name="connsiteY2" fmla="*/ 6858000 h 6858000"/>
              <a:gd name="connsiteX3" fmla="*/ 0 w 7424664"/>
              <a:gd name="connsiteY3" fmla="*/ 6858000 h 6858000"/>
              <a:gd name="connsiteX4" fmla="*/ 0 w 7424664"/>
              <a:gd name="connsiteY4" fmla="*/ 0 h 6858000"/>
              <a:gd name="connsiteX0" fmla="*/ 0 w 6904159"/>
              <a:gd name="connsiteY0" fmla="*/ 0 h 6858000"/>
              <a:gd name="connsiteX1" fmla="*/ 6904159 w 6904159"/>
              <a:gd name="connsiteY1" fmla="*/ 1805646 h 6858000"/>
              <a:gd name="connsiteX2" fmla="*/ 3307176 w 6904159"/>
              <a:gd name="connsiteY2" fmla="*/ 6858000 h 6858000"/>
              <a:gd name="connsiteX3" fmla="*/ 0 w 6904159"/>
              <a:gd name="connsiteY3" fmla="*/ 6858000 h 6858000"/>
              <a:gd name="connsiteX4" fmla="*/ 0 w 6904159"/>
              <a:gd name="connsiteY4" fmla="*/ 0 h 6858000"/>
              <a:gd name="connsiteX0" fmla="*/ 0 w 7072972"/>
              <a:gd name="connsiteY0" fmla="*/ 0 h 6858000"/>
              <a:gd name="connsiteX1" fmla="*/ 7072972 w 7072972"/>
              <a:gd name="connsiteY1" fmla="*/ 1890052 h 6858000"/>
              <a:gd name="connsiteX2" fmla="*/ 3307176 w 7072972"/>
              <a:gd name="connsiteY2" fmla="*/ 6858000 h 6858000"/>
              <a:gd name="connsiteX3" fmla="*/ 0 w 7072972"/>
              <a:gd name="connsiteY3" fmla="*/ 6858000 h 6858000"/>
              <a:gd name="connsiteX4" fmla="*/ 0 w 707297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72972" h="6858000">
                <a:moveTo>
                  <a:pt x="0" y="0"/>
                </a:moveTo>
                <a:lnTo>
                  <a:pt x="7072972" y="1890052"/>
                </a:lnTo>
                <a:lnTo>
                  <a:pt x="330717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2178252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4111A57B-317A-41FC-8D5B-458B4DA86D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7C24402-8447-448E-89E3-183EBB1DA00D}"/>
              </a:ext>
            </a:extLst>
          </p:cNvPr>
          <p:cNvSpPr/>
          <p:nvPr userDrawn="1"/>
        </p:nvSpPr>
        <p:spPr>
          <a:xfrm>
            <a:off x="0" y="2996952"/>
            <a:ext cx="12192000" cy="18722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E4CF9D97-FAE0-4B0A-A30C-8936E46C66B2}"/>
              </a:ext>
            </a:extLst>
          </p:cNvPr>
          <p:cNvGrpSpPr/>
          <p:nvPr userDrawn="1"/>
        </p:nvGrpSpPr>
        <p:grpSpPr>
          <a:xfrm>
            <a:off x="4763852" y="1553600"/>
            <a:ext cx="2664296" cy="4683693"/>
            <a:chOff x="445712" y="1449040"/>
            <a:chExt cx="2113018" cy="3924176"/>
          </a:xfrm>
        </p:grpSpPr>
        <p:sp>
          <p:nvSpPr>
            <p:cNvPr id="6" name="Rounded Rectangle 7">
              <a:extLst>
                <a:ext uri="{FF2B5EF4-FFF2-40B4-BE49-F238E27FC236}">
                  <a16:creationId xmlns:a16="http://schemas.microsoft.com/office/drawing/2014/main" id="{A665FA86-6430-4D7E-ABCB-4F8C3E52E09B}"/>
                </a:ext>
              </a:extLst>
            </p:cNvPr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7" name="Rectangle 8">
              <a:extLst>
                <a:ext uri="{FF2B5EF4-FFF2-40B4-BE49-F238E27FC236}">
                  <a16:creationId xmlns:a16="http://schemas.microsoft.com/office/drawing/2014/main" id="{53DAFBD2-84EC-4D6B-80BE-DA2118509069}"/>
                </a:ext>
              </a:extLst>
            </p:cNvPr>
            <p:cNvSpPr/>
            <p:nvPr userDrawn="1"/>
          </p:nvSpPr>
          <p:spPr>
            <a:xfrm>
              <a:off x="1379920" y="1650572"/>
              <a:ext cx="216024" cy="34350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grpSp>
          <p:nvGrpSpPr>
            <p:cNvPr id="8" name="Group 10">
              <a:extLst>
                <a:ext uri="{FF2B5EF4-FFF2-40B4-BE49-F238E27FC236}">
                  <a16:creationId xmlns:a16="http://schemas.microsoft.com/office/drawing/2014/main" id="{78866A3A-5A93-49E6-8DE2-C98FC661D430}"/>
                </a:ext>
              </a:extLst>
            </p:cNvPr>
            <p:cNvGrpSpPr/>
            <p:nvPr userDrawn="1"/>
          </p:nvGrpSpPr>
          <p:grpSpPr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9" name="Oval 11">
                <a:extLst>
                  <a:ext uri="{FF2B5EF4-FFF2-40B4-BE49-F238E27FC236}">
                    <a16:creationId xmlns:a16="http://schemas.microsoft.com/office/drawing/2014/main" id="{EB10029A-074D-4812-8AB6-62EF3ED73579}"/>
                  </a:ext>
                </a:extLst>
              </p:cNvPr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  <p:sp>
            <p:nvSpPr>
              <p:cNvPr id="10" name="Rounded Rectangle 12">
                <a:extLst>
                  <a:ext uri="{FF2B5EF4-FFF2-40B4-BE49-F238E27FC236}">
                    <a16:creationId xmlns:a16="http://schemas.microsoft.com/office/drawing/2014/main" id="{BE572564-2A3A-45E0-93B7-2FB78757998F}"/>
                  </a:ext>
                </a:extLst>
              </p:cNvPr>
              <p:cNvSpPr/>
              <p:nvPr userDrawn="1"/>
            </p:nvSpPr>
            <p:spPr>
              <a:xfrm>
                <a:off x="1634225" y="5796647"/>
                <a:ext cx="142969" cy="144016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</p:grpSp>
      </p:grp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242F8FDE-91AA-45DB-A05E-7507C27F30F6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4951770" y="1965170"/>
            <a:ext cx="2288460" cy="37530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1118799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9112FC24-B0BB-43AE-AB6F-2F8A6318C976}"/>
              </a:ext>
            </a:extLst>
          </p:cNvPr>
          <p:cNvGrpSpPr/>
          <p:nvPr userDrawn="1"/>
        </p:nvGrpSpPr>
        <p:grpSpPr>
          <a:xfrm flipH="1">
            <a:off x="486250" y="477136"/>
            <a:ext cx="11704320" cy="5935130"/>
            <a:chOff x="-161213" y="477136"/>
            <a:chExt cx="11704320" cy="5935130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202B0099-32CD-4A9E-A010-EB75F1B7ADB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61213" y="477136"/>
              <a:ext cx="11704320" cy="0"/>
            </a:xfrm>
            <a:prstGeom prst="line">
              <a:avLst/>
            </a:prstGeom>
            <a:ln w="444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6FFECB2-D63A-4DED-B565-1B5EC1C6DBC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543107" y="477136"/>
              <a:ext cx="0" cy="5935130"/>
            </a:xfrm>
            <a:prstGeom prst="line">
              <a:avLst/>
            </a:prstGeom>
            <a:ln w="444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8423856D-6F4B-428C-8039-92BC2469A81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61213" y="6392850"/>
              <a:ext cx="11704320" cy="13272"/>
            </a:xfrm>
            <a:prstGeom prst="line">
              <a:avLst/>
            </a:prstGeom>
            <a:ln w="444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913480D-83E6-465D-B9EC-FA0799699FB0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268686" y="0"/>
            <a:ext cx="6923314" cy="6858000"/>
          </a:xfrm>
          <a:custGeom>
            <a:avLst/>
            <a:gdLst>
              <a:gd name="connsiteX0" fmla="*/ 1714500 w 6923314"/>
              <a:gd name="connsiteY0" fmla="*/ 0 h 6858000"/>
              <a:gd name="connsiteX1" fmla="*/ 6923314 w 6923314"/>
              <a:gd name="connsiteY1" fmla="*/ 0 h 6858000"/>
              <a:gd name="connsiteX2" fmla="*/ 6923314 w 6923314"/>
              <a:gd name="connsiteY2" fmla="*/ 1637212 h 6858000"/>
              <a:gd name="connsiteX3" fmla="*/ 5618117 w 6923314"/>
              <a:gd name="connsiteY3" fmla="*/ 6858000 h 6858000"/>
              <a:gd name="connsiteX4" fmla="*/ 0 w 692331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3314" h="6858000">
                <a:moveTo>
                  <a:pt x="1714500" y="0"/>
                </a:moveTo>
                <a:lnTo>
                  <a:pt x="6923314" y="0"/>
                </a:lnTo>
                <a:lnTo>
                  <a:pt x="6923314" y="1637212"/>
                </a:lnTo>
                <a:lnTo>
                  <a:pt x="56181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0257565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Imag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그림 개체 틀 7">
            <a:extLst>
              <a:ext uri="{FF2B5EF4-FFF2-40B4-BE49-F238E27FC236}">
                <a16:creationId xmlns:a16="http://schemas.microsoft.com/office/drawing/2014/main" id="{3CD10489-647D-4424-92F3-2E31185A69B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27514" y="0"/>
            <a:ext cx="7964489" cy="6858000"/>
          </a:xfrm>
          <a:custGeom>
            <a:avLst/>
            <a:gdLst>
              <a:gd name="connsiteX0" fmla="*/ 7895557 w 7964489"/>
              <a:gd name="connsiteY0" fmla="*/ 1035541 h 6858000"/>
              <a:gd name="connsiteX1" fmla="*/ 6561027 w 7964489"/>
              <a:gd name="connsiteY1" fmla="*/ 6858000 h 6858000"/>
              <a:gd name="connsiteX2" fmla="*/ 3421268 w 7964489"/>
              <a:gd name="connsiteY2" fmla="*/ 6858000 h 6858000"/>
              <a:gd name="connsiteX3" fmla="*/ 4816845 w 7964489"/>
              <a:gd name="connsiteY3" fmla="*/ 380744 h 6858000"/>
              <a:gd name="connsiteX4" fmla="*/ 3224260 w 7964489"/>
              <a:gd name="connsiteY4" fmla="*/ 6858000 h 6858000"/>
              <a:gd name="connsiteX5" fmla="*/ 0 w 7964489"/>
              <a:gd name="connsiteY5" fmla="*/ 6858000 h 6858000"/>
              <a:gd name="connsiteX6" fmla="*/ 5167647 w 7964489"/>
              <a:gd name="connsiteY6" fmla="*/ 0 h 6858000"/>
              <a:gd name="connsiteX7" fmla="*/ 7964489 w 7964489"/>
              <a:gd name="connsiteY7" fmla="*/ 0 h 6858000"/>
              <a:gd name="connsiteX8" fmla="*/ 7964489 w 7964489"/>
              <a:gd name="connsiteY8" fmla="*/ 581734 h 6858000"/>
              <a:gd name="connsiteX9" fmla="*/ 3748483 w 7964489"/>
              <a:gd name="connsiteY9" fmla="*/ 59826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64489" h="6858000">
                <a:moveTo>
                  <a:pt x="7895557" y="1035541"/>
                </a:moveTo>
                <a:lnTo>
                  <a:pt x="6561027" y="6858000"/>
                </a:lnTo>
                <a:lnTo>
                  <a:pt x="3421268" y="6858000"/>
                </a:lnTo>
                <a:close/>
                <a:moveTo>
                  <a:pt x="4816845" y="380744"/>
                </a:moveTo>
                <a:lnTo>
                  <a:pt x="3224260" y="6858000"/>
                </a:lnTo>
                <a:lnTo>
                  <a:pt x="0" y="6858000"/>
                </a:lnTo>
                <a:close/>
                <a:moveTo>
                  <a:pt x="5167647" y="0"/>
                </a:moveTo>
                <a:lnTo>
                  <a:pt x="7964489" y="0"/>
                </a:lnTo>
                <a:lnTo>
                  <a:pt x="7964489" y="581734"/>
                </a:lnTo>
                <a:lnTo>
                  <a:pt x="3748483" y="598267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097320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090B2-0048-45A8-A736-3EBE379DFA5C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F9CD-A97E-400E-A063-4DCA89081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45002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248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21431161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328255914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EFC97D53-FA99-4CBD-AB1D-83FFB3BD488F}"/>
              </a:ext>
            </a:extLst>
          </p:cNvPr>
          <p:cNvSpPr/>
          <p:nvPr userDrawn="1"/>
        </p:nvSpPr>
        <p:spPr>
          <a:xfrm rot="5400000">
            <a:off x="4877311" y="1608819"/>
            <a:ext cx="138403" cy="98930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B8A79FB9-F5E9-41A6-86D2-806115F5E6D1}"/>
              </a:ext>
            </a:extLst>
          </p:cNvPr>
          <p:cNvSpPr/>
          <p:nvPr userDrawn="1"/>
        </p:nvSpPr>
        <p:spPr>
          <a:xfrm rot="16200000" flipH="1">
            <a:off x="11665598" y="6098134"/>
            <a:ext cx="138403" cy="9144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03D248-C1F6-4A2E-BEBE-761B2FBA9433}"/>
              </a:ext>
            </a:extLst>
          </p:cNvPr>
          <p:cNvSpPr txBox="1"/>
          <p:nvPr userDrawn="1"/>
        </p:nvSpPr>
        <p:spPr>
          <a:xfrm>
            <a:off x="9893028" y="6386058"/>
            <a:ext cx="138457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dist"/>
            <a:r>
              <a:rPr lang="en-US" altLang="ko-KR" sz="1600" b="1" dirty="0">
                <a:solidFill>
                  <a:schemeClr val="accent1"/>
                </a:solidFill>
                <a:latin typeface="+mn-lt"/>
                <a:cs typeface="Arial" pitchFamily="34" charset="0"/>
              </a:rPr>
              <a:t>Real Estate</a:t>
            </a:r>
            <a:endParaRPr lang="ko-KR" altLang="en-US" sz="1600" b="1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950472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B5EAB53-0AB0-49A7-8A0C-0A9D85479EC0}"/>
              </a:ext>
            </a:extLst>
          </p:cNvPr>
          <p:cNvGrpSpPr/>
          <p:nvPr userDrawn="1"/>
        </p:nvGrpSpPr>
        <p:grpSpPr>
          <a:xfrm>
            <a:off x="10508830" y="5751672"/>
            <a:ext cx="1616495" cy="860583"/>
            <a:chOff x="3631780" y="1691976"/>
            <a:chExt cx="4859204" cy="2586924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67EC8A9F-0142-4609-95F7-1A271547C803}"/>
                </a:ext>
              </a:extLst>
            </p:cNvPr>
            <p:cNvSpPr/>
            <p:nvPr/>
          </p:nvSpPr>
          <p:spPr>
            <a:xfrm>
              <a:off x="4356826" y="3580626"/>
              <a:ext cx="692338" cy="69233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DCF3F67-0811-4C24-B10F-0D140D2AA63A}"/>
                </a:ext>
              </a:extLst>
            </p:cNvPr>
            <p:cNvGrpSpPr/>
            <p:nvPr/>
          </p:nvGrpSpPr>
          <p:grpSpPr>
            <a:xfrm>
              <a:off x="5715672" y="1691976"/>
              <a:ext cx="2775312" cy="2580988"/>
              <a:chOff x="5715672" y="1691976"/>
              <a:chExt cx="2775312" cy="2580988"/>
            </a:xfrm>
            <a:solidFill>
              <a:schemeClr val="accent4"/>
            </a:solidFill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BA3F13EE-C67A-4A94-8E09-F65FFC6AFA4A}"/>
                  </a:ext>
                </a:extLst>
              </p:cNvPr>
              <p:cNvSpPr/>
              <p:nvPr/>
            </p:nvSpPr>
            <p:spPr>
              <a:xfrm>
                <a:off x="7644977" y="3580626"/>
                <a:ext cx="692338" cy="69233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99456DDD-1149-4AA4-8114-105A36EE6101}"/>
                  </a:ext>
                </a:extLst>
              </p:cNvPr>
              <p:cNvSpPr/>
              <p:nvPr/>
            </p:nvSpPr>
            <p:spPr>
              <a:xfrm>
                <a:off x="7042069" y="2524772"/>
                <a:ext cx="1448915" cy="144891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B154FA3E-24E1-42E4-9A35-425F737CA35F}"/>
                  </a:ext>
                </a:extLst>
              </p:cNvPr>
              <p:cNvSpPr/>
              <p:nvPr/>
            </p:nvSpPr>
            <p:spPr>
              <a:xfrm>
                <a:off x="6494078" y="2004217"/>
                <a:ext cx="1150899" cy="11509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C6C7D145-134C-4FE3-8FF9-BCEC4B6CA6BA}"/>
                  </a:ext>
                </a:extLst>
              </p:cNvPr>
              <p:cNvSpPr/>
              <p:nvPr/>
            </p:nvSpPr>
            <p:spPr>
              <a:xfrm>
                <a:off x="5715672" y="1691976"/>
                <a:ext cx="969145" cy="969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717A5171-079A-4D92-B321-8987F6E34CC2}"/>
                  </a:ext>
                </a:extLst>
              </p:cNvPr>
              <p:cNvSpPr/>
              <p:nvPr/>
            </p:nvSpPr>
            <p:spPr>
              <a:xfrm>
                <a:off x="7084624" y="3972002"/>
                <a:ext cx="952666" cy="29313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FBBDD4EF-B3CB-4E3E-B303-0CD5F31B137E}"/>
                </a:ext>
              </a:extLst>
            </p:cNvPr>
            <p:cNvGrpSpPr/>
            <p:nvPr/>
          </p:nvGrpSpPr>
          <p:grpSpPr>
            <a:xfrm>
              <a:off x="4298370" y="1809306"/>
              <a:ext cx="3786551" cy="2465573"/>
              <a:chOff x="4298370" y="1809306"/>
              <a:chExt cx="3786551" cy="2465573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04D636DE-3F26-4E27-AD6D-B784D857AC99}"/>
                  </a:ext>
                </a:extLst>
              </p:cNvPr>
              <p:cNvSpPr/>
              <p:nvPr/>
            </p:nvSpPr>
            <p:spPr>
              <a:xfrm>
                <a:off x="5322069" y="2156859"/>
                <a:ext cx="1043914" cy="104391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D36D5D76-54F7-4983-873A-E9249D9B27AA}"/>
                  </a:ext>
                </a:extLst>
              </p:cNvPr>
              <p:cNvSpPr/>
              <p:nvPr/>
            </p:nvSpPr>
            <p:spPr>
              <a:xfrm>
                <a:off x="4298370" y="2176549"/>
                <a:ext cx="692338" cy="69233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0632AEFC-348B-439E-A407-D68AA774B02B}"/>
                  </a:ext>
                </a:extLst>
              </p:cNvPr>
              <p:cNvSpPr/>
              <p:nvPr/>
            </p:nvSpPr>
            <p:spPr>
              <a:xfrm>
                <a:off x="4809919" y="1809306"/>
                <a:ext cx="1081542" cy="108154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8EADCE84-13E0-496D-8C9D-04C0B9B6FB73}"/>
                  </a:ext>
                </a:extLst>
              </p:cNvPr>
              <p:cNvSpPr/>
              <p:nvPr/>
            </p:nvSpPr>
            <p:spPr>
              <a:xfrm>
                <a:off x="6180316" y="2502943"/>
                <a:ext cx="753706" cy="75370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BA412BF7-6E8B-46D7-91C0-20C9A7951A5A}"/>
                  </a:ext>
                </a:extLst>
              </p:cNvPr>
              <p:cNvSpPr/>
              <p:nvPr/>
            </p:nvSpPr>
            <p:spPr>
              <a:xfrm>
                <a:off x="6934022" y="2588625"/>
                <a:ext cx="1150899" cy="11509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643FFB8D-4436-4398-8669-1B7030A860AD}"/>
                  </a:ext>
                </a:extLst>
              </p:cNvPr>
              <p:cNvSpPr/>
              <p:nvPr/>
            </p:nvSpPr>
            <p:spPr>
              <a:xfrm>
                <a:off x="7325201" y="3425414"/>
                <a:ext cx="655148" cy="65514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8A1C9E68-FE5B-4D06-BFD6-B836A0EE0D8A}"/>
                  </a:ext>
                </a:extLst>
              </p:cNvPr>
              <p:cNvSpPr/>
              <p:nvPr/>
            </p:nvSpPr>
            <p:spPr>
              <a:xfrm>
                <a:off x="7095848" y="3619731"/>
                <a:ext cx="655148" cy="65514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411F6427-B46A-476C-A1FE-438921C33141}"/>
                  </a:ext>
                </a:extLst>
              </p:cNvPr>
              <p:cNvSpPr/>
              <p:nvPr/>
            </p:nvSpPr>
            <p:spPr>
              <a:xfrm>
                <a:off x="6575764" y="2862232"/>
                <a:ext cx="655148" cy="65514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0871897A-671A-4DF2-8FE8-89C3E46C5C41}"/>
                  </a:ext>
                </a:extLst>
              </p:cNvPr>
              <p:cNvSpPr/>
              <p:nvPr/>
            </p:nvSpPr>
            <p:spPr>
              <a:xfrm>
                <a:off x="6473567" y="3370881"/>
                <a:ext cx="841098" cy="84109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73E5CC0-00B6-418D-B32A-99090DFF4E42}"/>
                  </a:ext>
                </a:extLst>
              </p:cNvPr>
              <p:cNvSpPr/>
              <p:nvPr/>
            </p:nvSpPr>
            <p:spPr>
              <a:xfrm>
                <a:off x="6226213" y="4147024"/>
                <a:ext cx="1256511" cy="10344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BEF72336-3F79-4A97-8B24-887979BA1BC4}"/>
                  </a:ext>
                </a:extLst>
              </p:cNvPr>
              <p:cNvSpPr/>
              <p:nvPr/>
            </p:nvSpPr>
            <p:spPr>
              <a:xfrm>
                <a:off x="5260062" y="2611101"/>
                <a:ext cx="692338" cy="69233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04D2FE2-9428-49AD-8275-8646559047EA}"/>
                </a:ext>
              </a:extLst>
            </p:cNvPr>
            <p:cNvGrpSpPr/>
            <p:nvPr/>
          </p:nvGrpSpPr>
          <p:grpSpPr>
            <a:xfrm>
              <a:off x="3631780" y="2451097"/>
              <a:ext cx="3196921" cy="1827803"/>
              <a:chOff x="3631780" y="2451097"/>
              <a:chExt cx="3196921" cy="1827803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7C0BEA64-4E59-42CE-A307-A9B2FC69002A}"/>
                  </a:ext>
                </a:extLst>
              </p:cNvPr>
              <p:cNvSpPr/>
              <p:nvPr/>
            </p:nvSpPr>
            <p:spPr>
              <a:xfrm>
                <a:off x="3631780" y="2451097"/>
                <a:ext cx="969145" cy="96914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6EE78404-9AA0-4852-882C-49A3C9A44FC8}"/>
                  </a:ext>
                </a:extLst>
              </p:cNvPr>
              <p:cNvSpPr/>
              <p:nvPr/>
            </p:nvSpPr>
            <p:spPr>
              <a:xfrm>
                <a:off x="3681373" y="3214859"/>
                <a:ext cx="692338" cy="69233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9BABA818-FD93-46E2-B427-CAD3408031F7}"/>
                  </a:ext>
                </a:extLst>
              </p:cNvPr>
              <p:cNvSpPr/>
              <p:nvPr/>
            </p:nvSpPr>
            <p:spPr>
              <a:xfrm>
                <a:off x="4232071" y="2602088"/>
                <a:ext cx="1150899" cy="11509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F5C9629-B030-43F5-99A7-C079CDBFC02E}"/>
                  </a:ext>
                </a:extLst>
              </p:cNvPr>
              <p:cNvSpPr/>
              <p:nvPr/>
            </p:nvSpPr>
            <p:spPr>
              <a:xfrm>
                <a:off x="3857615" y="3486535"/>
                <a:ext cx="792365" cy="79236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D1B24AA7-6811-4B16-8042-685AC7A7252C}"/>
                  </a:ext>
                </a:extLst>
              </p:cNvPr>
              <p:cNvSpPr/>
              <p:nvPr/>
            </p:nvSpPr>
            <p:spPr>
              <a:xfrm>
                <a:off x="4643275" y="2959747"/>
                <a:ext cx="1312378" cy="131237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F1C50555-CD46-4DBA-A103-C149350D058C}"/>
                  </a:ext>
                </a:extLst>
              </p:cNvPr>
              <p:cNvSpPr/>
              <p:nvPr/>
            </p:nvSpPr>
            <p:spPr>
              <a:xfrm>
                <a:off x="5510955" y="3011196"/>
                <a:ext cx="1262266" cy="126226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11A46BE6-73B1-4DA6-91F3-F4D01E3522F8}"/>
                  </a:ext>
                </a:extLst>
              </p:cNvPr>
              <p:cNvSpPr/>
              <p:nvPr/>
            </p:nvSpPr>
            <p:spPr>
              <a:xfrm>
                <a:off x="4247109" y="4098443"/>
                <a:ext cx="1967954" cy="17252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D574A065-0D8C-45A4-B697-1EAEE7EAEF03}"/>
                  </a:ext>
                </a:extLst>
              </p:cNvPr>
              <p:cNvSpPr/>
              <p:nvPr/>
            </p:nvSpPr>
            <p:spPr>
              <a:xfrm>
                <a:off x="6296024" y="3742075"/>
                <a:ext cx="532677" cy="53267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F3D2ADC-CE7F-4D56-BFEF-9BEA82F4E688}"/>
                </a:ext>
              </a:extLst>
            </p:cNvPr>
            <p:cNvGrpSpPr/>
            <p:nvPr/>
          </p:nvGrpSpPr>
          <p:grpSpPr>
            <a:xfrm>
              <a:off x="4055658" y="1945053"/>
              <a:ext cx="4220275" cy="2333847"/>
              <a:chOff x="4055658" y="1925597"/>
              <a:chExt cx="4220275" cy="2333847"/>
            </a:xfrm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grpSpPr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4D5FE209-5876-4F41-AAB8-A3922AB0EAC6}"/>
                  </a:ext>
                </a:extLst>
              </p:cNvPr>
              <p:cNvSpPr/>
              <p:nvPr/>
            </p:nvSpPr>
            <p:spPr>
              <a:xfrm>
                <a:off x="5674127" y="2137226"/>
                <a:ext cx="428693" cy="2119360"/>
              </a:xfrm>
              <a:custGeom>
                <a:avLst/>
                <a:gdLst>
                  <a:gd name="connsiteX0" fmla="*/ 477202 w 476250"/>
                  <a:gd name="connsiteY0" fmla="*/ 2308860 h 2305050"/>
                  <a:gd name="connsiteX1" fmla="*/ 0 w 476250"/>
                  <a:gd name="connsiteY1" fmla="*/ 2308860 h 2305050"/>
                  <a:gd name="connsiteX2" fmla="*/ 0 w 476250"/>
                  <a:gd name="connsiteY2" fmla="*/ 0 h 2305050"/>
                  <a:gd name="connsiteX3" fmla="*/ 477202 w 476250"/>
                  <a:gd name="connsiteY3" fmla="*/ 0 h 2305050"/>
                  <a:gd name="connsiteX4" fmla="*/ 477202 w 476250"/>
                  <a:gd name="connsiteY4" fmla="*/ 2308860 h 2305050"/>
                  <a:gd name="connsiteX5" fmla="*/ 452438 w 476250"/>
                  <a:gd name="connsiteY5" fmla="*/ 1071563 h 2305050"/>
                  <a:gd name="connsiteX6" fmla="*/ 332422 w 476250"/>
                  <a:gd name="connsiteY6" fmla="*/ 1071563 h 2305050"/>
                  <a:gd name="connsiteX7" fmla="*/ 332422 w 476250"/>
                  <a:gd name="connsiteY7" fmla="*/ 1188720 h 2305050"/>
                  <a:gd name="connsiteX8" fmla="*/ 452438 w 476250"/>
                  <a:gd name="connsiteY8" fmla="*/ 1188720 h 2305050"/>
                  <a:gd name="connsiteX9" fmla="*/ 452438 w 476250"/>
                  <a:gd name="connsiteY9" fmla="*/ 1071563 h 2305050"/>
                  <a:gd name="connsiteX10" fmla="*/ 298132 w 476250"/>
                  <a:gd name="connsiteY10" fmla="*/ 1190625 h 2305050"/>
                  <a:gd name="connsiteX11" fmla="*/ 298132 w 476250"/>
                  <a:gd name="connsiteY11" fmla="*/ 1070610 h 2305050"/>
                  <a:gd name="connsiteX12" fmla="*/ 180975 w 476250"/>
                  <a:gd name="connsiteY12" fmla="*/ 1070610 h 2305050"/>
                  <a:gd name="connsiteX13" fmla="*/ 180975 w 476250"/>
                  <a:gd name="connsiteY13" fmla="*/ 1190625 h 2305050"/>
                  <a:gd name="connsiteX14" fmla="*/ 298132 w 476250"/>
                  <a:gd name="connsiteY14" fmla="*/ 1190625 h 2305050"/>
                  <a:gd name="connsiteX15" fmla="*/ 27622 w 476250"/>
                  <a:gd name="connsiteY15" fmla="*/ 1188720 h 2305050"/>
                  <a:gd name="connsiteX16" fmla="*/ 146685 w 476250"/>
                  <a:gd name="connsiteY16" fmla="*/ 1188720 h 2305050"/>
                  <a:gd name="connsiteX17" fmla="*/ 146685 w 476250"/>
                  <a:gd name="connsiteY17" fmla="*/ 1070610 h 2305050"/>
                  <a:gd name="connsiteX18" fmla="*/ 27622 w 476250"/>
                  <a:gd name="connsiteY18" fmla="*/ 1070610 h 2305050"/>
                  <a:gd name="connsiteX19" fmla="*/ 27622 w 476250"/>
                  <a:gd name="connsiteY19" fmla="*/ 1188720 h 2305050"/>
                  <a:gd name="connsiteX20" fmla="*/ 28575 w 476250"/>
                  <a:gd name="connsiteY20" fmla="*/ 328613 h 2305050"/>
                  <a:gd name="connsiteX21" fmla="*/ 28575 w 476250"/>
                  <a:gd name="connsiteY21" fmla="*/ 448627 h 2305050"/>
                  <a:gd name="connsiteX22" fmla="*/ 147638 w 476250"/>
                  <a:gd name="connsiteY22" fmla="*/ 448627 h 2305050"/>
                  <a:gd name="connsiteX23" fmla="*/ 147638 w 476250"/>
                  <a:gd name="connsiteY23" fmla="*/ 328613 h 2305050"/>
                  <a:gd name="connsiteX24" fmla="*/ 28575 w 476250"/>
                  <a:gd name="connsiteY24" fmla="*/ 328613 h 2305050"/>
                  <a:gd name="connsiteX25" fmla="*/ 450532 w 476250"/>
                  <a:gd name="connsiteY25" fmla="*/ 744855 h 2305050"/>
                  <a:gd name="connsiteX26" fmla="*/ 450532 w 476250"/>
                  <a:gd name="connsiteY26" fmla="*/ 627697 h 2305050"/>
                  <a:gd name="connsiteX27" fmla="*/ 331470 w 476250"/>
                  <a:gd name="connsiteY27" fmla="*/ 627697 h 2305050"/>
                  <a:gd name="connsiteX28" fmla="*/ 331470 w 476250"/>
                  <a:gd name="connsiteY28" fmla="*/ 744855 h 2305050"/>
                  <a:gd name="connsiteX29" fmla="*/ 450532 w 476250"/>
                  <a:gd name="connsiteY29" fmla="*/ 744855 h 2305050"/>
                  <a:gd name="connsiteX30" fmla="*/ 147638 w 476250"/>
                  <a:gd name="connsiteY30" fmla="*/ 626745 h 2305050"/>
                  <a:gd name="connsiteX31" fmla="*/ 27622 w 476250"/>
                  <a:gd name="connsiteY31" fmla="*/ 626745 h 2305050"/>
                  <a:gd name="connsiteX32" fmla="*/ 27622 w 476250"/>
                  <a:gd name="connsiteY32" fmla="*/ 743902 h 2305050"/>
                  <a:gd name="connsiteX33" fmla="*/ 147638 w 476250"/>
                  <a:gd name="connsiteY33" fmla="*/ 743902 h 2305050"/>
                  <a:gd name="connsiteX34" fmla="*/ 147638 w 476250"/>
                  <a:gd name="connsiteY34" fmla="*/ 626745 h 2305050"/>
                  <a:gd name="connsiteX35" fmla="*/ 298132 w 476250"/>
                  <a:gd name="connsiteY35" fmla="*/ 1337310 h 2305050"/>
                  <a:gd name="connsiteX36" fmla="*/ 298132 w 476250"/>
                  <a:gd name="connsiteY36" fmla="*/ 1219200 h 2305050"/>
                  <a:gd name="connsiteX37" fmla="*/ 180975 w 476250"/>
                  <a:gd name="connsiteY37" fmla="*/ 1219200 h 2305050"/>
                  <a:gd name="connsiteX38" fmla="*/ 180975 w 476250"/>
                  <a:gd name="connsiteY38" fmla="*/ 1337310 h 2305050"/>
                  <a:gd name="connsiteX39" fmla="*/ 298132 w 476250"/>
                  <a:gd name="connsiteY39" fmla="*/ 1337310 h 2305050"/>
                  <a:gd name="connsiteX40" fmla="*/ 180022 w 476250"/>
                  <a:gd name="connsiteY40" fmla="*/ 476250 h 2305050"/>
                  <a:gd name="connsiteX41" fmla="*/ 180022 w 476250"/>
                  <a:gd name="connsiteY41" fmla="*/ 595313 h 2305050"/>
                  <a:gd name="connsiteX42" fmla="*/ 299085 w 476250"/>
                  <a:gd name="connsiteY42" fmla="*/ 595313 h 2305050"/>
                  <a:gd name="connsiteX43" fmla="*/ 299085 w 476250"/>
                  <a:gd name="connsiteY43" fmla="*/ 476250 h 2305050"/>
                  <a:gd name="connsiteX44" fmla="*/ 180022 w 476250"/>
                  <a:gd name="connsiteY44" fmla="*/ 476250 h 2305050"/>
                  <a:gd name="connsiteX45" fmla="*/ 452438 w 476250"/>
                  <a:gd name="connsiteY45" fmla="*/ 32385 h 2305050"/>
                  <a:gd name="connsiteX46" fmla="*/ 330518 w 476250"/>
                  <a:gd name="connsiteY46" fmla="*/ 32385 h 2305050"/>
                  <a:gd name="connsiteX47" fmla="*/ 330518 w 476250"/>
                  <a:gd name="connsiteY47" fmla="*/ 148590 h 2305050"/>
                  <a:gd name="connsiteX48" fmla="*/ 452438 w 476250"/>
                  <a:gd name="connsiteY48" fmla="*/ 148590 h 2305050"/>
                  <a:gd name="connsiteX49" fmla="*/ 452438 w 476250"/>
                  <a:gd name="connsiteY49" fmla="*/ 32385 h 2305050"/>
                  <a:gd name="connsiteX50" fmla="*/ 300038 w 476250"/>
                  <a:gd name="connsiteY50" fmla="*/ 31432 h 2305050"/>
                  <a:gd name="connsiteX51" fmla="*/ 180022 w 476250"/>
                  <a:gd name="connsiteY51" fmla="*/ 31432 h 2305050"/>
                  <a:gd name="connsiteX52" fmla="*/ 180022 w 476250"/>
                  <a:gd name="connsiteY52" fmla="*/ 149542 h 2305050"/>
                  <a:gd name="connsiteX53" fmla="*/ 300038 w 476250"/>
                  <a:gd name="connsiteY53" fmla="*/ 149542 h 2305050"/>
                  <a:gd name="connsiteX54" fmla="*/ 300038 w 476250"/>
                  <a:gd name="connsiteY54" fmla="*/ 31432 h 2305050"/>
                  <a:gd name="connsiteX55" fmla="*/ 300038 w 476250"/>
                  <a:gd name="connsiteY55" fmla="*/ 299085 h 2305050"/>
                  <a:gd name="connsiteX56" fmla="*/ 300038 w 476250"/>
                  <a:gd name="connsiteY56" fmla="*/ 180022 h 2305050"/>
                  <a:gd name="connsiteX57" fmla="*/ 179070 w 476250"/>
                  <a:gd name="connsiteY57" fmla="*/ 180022 h 2305050"/>
                  <a:gd name="connsiteX58" fmla="*/ 179070 w 476250"/>
                  <a:gd name="connsiteY58" fmla="*/ 299085 h 2305050"/>
                  <a:gd name="connsiteX59" fmla="*/ 300038 w 476250"/>
                  <a:gd name="connsiteY59" fmla="*/ 299085 h 2305050"/>
                  <a:gd name="connsiteX60" fmla="*/ 147638 w 476250"/>
                  <a:gd name="connsiteY60" fmla="*/ 477202 h 2305050"/>
                  <a:gd name="connsiteX61" fmla="*/ 26670 w 476250"/>
                  <a:gd name="connsiteY61" fmla="*/ 477202 h 2305050"/>
                  <a:gd name="connsiteX62" fmla="*/ 26670 w 476250"/>
                  <a:gd name="connsiteY62" fmla="*/ 594360 h 2305050"/>
                  <a:gd name="connsiteX63" fmla="*/ 147638 w 476250"/>
                  <a:gd name="connsiteY63" fmla="*/ 594360 h 2305050"/>
                  <a:gd name="connsiteX64" fmla="*/ 147638 w 476250"/>
                  <a:gd name="connsiteY64" fmla="*/ 477202 h 2305050"/>
                  <a:gd name="connsiteX65" fmla="*/ 450532 w 476250"/>
                  <a:gd name="connsiteY65" fmla="*/ 1041082 h 2305050"/>
                  <a:gd name="connsiteX66" fmla="*/ 450532 w 476250"/>
                  <a:gd name="connsiteY66" fmla="*/ 923925 h 2305050"/>
                  <a:gd name="connsiteX67" fmla="*/ 331470 w 476250"/>
                  <a:gd name="connsiteY67" fmla="*/ 923925 h 2305050"/>
                  <a:gd name="connsiteX68" fmla="*/ 331470 w 476250"/>
                  <a:gd name="connsiteY68" fmla="*/ 1041082 h 2305050"/>
                  <a:gd name="connsiteX69" fmla="*/ 450532 w 476250"/>
                  <a:gd name="connsiteY69" fmla="*/ 1041082 h 2305050"/>
                  <a:gd name="connsiteX70" fmla="*/ 332422 w 476250"/>
                  <a:gd name="connsiteY70" fmla="*/ 1218248 h 2305050"/>
                  <a:gd name="connsiteX71" fmla="*/ 332422 w 476250"/>
                  <a:gd name="connsiteY71" fmla="*/ 1336357 h 2305050"/>
                  <a:gd name="connsiteX72" fmla="*/ 451485 w 476250"/>
                  <a:gd name="connsiteY72" fmla="*/ 1336357 h 2305050"/>
                  <a:gd name="connsiteX73" fmla="*/ 451485 w 476250"/>
                  <a:gd name="connsiteY73" fmla="*/ 1218248 h 2305050"/>
                  <a:gd name="connsiteX74" fmla="*/ 332422 w 476250"/>
                  <a:gd name="connsiteY74" fmla="*/ 1218248 h 2305050"/>
                  <a:gd name="connsiteX75" fmla="*/ 452438 w 476250"/>
                  <a:gd name="connsiteY75" fmla="*/ 447675 h 2305050"/>
                  <a:gd name="connsiteX76" fmla="*/ 452438 w 476250"/>
                  <a:gd name="connsiteY76" fmla="*/ 329565 h 2305050"/>
                  <a:gd name="connsiteX77" fmla="*/ 331470 w 476250"/>
                  <a:gd name="connsiteY77" fmla="*/ 329565 h 2305050"/>
                  <a:gd name="connsiteX78" fmla="*/ 331470 w 476250"/>
                  <a:gd name="connsiteY78" fmla="*/ 447675 h 2305050"/>
                  <a:gd name="connsiteX79" fmla="*/ 452438 w 476250"/>
                  <a:gd name="connsiteY79" fmla="*/ 447675 h 2305050"/>
                  <a:gd name="connsiteX80" fmla="*/ 300038 w 476250"/>
                  <a:gd name="connsiteY80" fmla="*/ 448627 h 2305050"/>
                  <a:gd name="connsiteX81" fmla="*/ 300038 w 476250"/>
                  <a:gd name="connsiteY81" fmla="*/ 328613 h 2305050"/>
                  <a:gd name="connsiteX82" fmla="*/ 180022 w 476250"/>
                  <a:gd name="connsiteY82" fmla="*/ 328613 h 2305050"/>
                  <a:gd name="connsiteX83" fmla="*/ 180022 w 476250"/>
                  <a:gd name="connsiteY83" fmla="*/ 448627 h 2305050"/>
                  <a:gd name="connsiteX84" fmla="*/ 300038 w 476250"/>
                  <a:gd name="connsiteY84" fmla="*/ 448627 h 2305050"/>
                  <a:gd name="connsiteX85" fmla="*/ 146685 w 476250"/>
                  <a:gd name="connsiteY85" fmla="*/ 299085 h 2305050"/>
                  <a:gd name="connsiteX86" fmla="*/ 146685 w 476250"/>
                  <a:gd name="connsiteY86" fmla="*/ 181927 h 2305050"/>
                  <a:gd name="connsiteX87" fmla="*/ 27622 w 476250"/>
                  <a:gd name="connsiteY87" fmla="*/ 181927 h 2305050"/>
                  <a:gd name="connsiteX88" fmla="*/ 27622 w 476250"/>
                  <a:gd name="connsiteY88" fmla="*/ 299085 h 2305050"/>
                  <a:gd name="connsiteX89" fmla="*/ 146685 w 476250"/>
                  <a:gd name="connsiteY89" fmla="*/ 299085 h 2305050"/>
                  <a:gd name="connsiteX90" fmla="*/ 145732 w 476250"/>
                  <a:gd name="connsiteY90" fmla="*/ 889635 h 2305050"/>
                  <a:gd name="connsiteX91" fmla="*/ 145732 w 476250"/>
                  <a:gd name="connsiteY91" fmla="*/ 772477 h 2305050"/>
                  <a:gd name="connsiteX92" fmla="*/ 28575 w 476250"/>
                  <a:gd name="connsiteY92" fmla="*/ 772477 h 2305050"/>
                  <a:gd name="connsiteX93" fmla="*/ 28575 w 476250"/>
                  <a:gd name="connsiteY93" fmla="*/ 889635 h 2305050"/>
                  <a:gd name="connsiteX94" fmla="*/ 145732 w 476250"/>
                  <a:gd name="connsiteY94" fmla="*/ 889635 h 2305050"/>
                  <a:gd name="connsiteX95" fmla="*/ 179070 w 476250"/>
                  <a:gd name="connsiteY95" fmla="*/ 889635 h 2305050"/>
                  <a:gd name="connsiteX96" fmla="*/ 298132 w 476250"/>
                  <a:gd name="connsiteY96" fmla="*/ 889635 h 2305050"/>
                  <a:gd name="connsiteX97" fmla="*/ 298132 w 476250"/>
                  <a:gd name="connsiteY97" fmla="*/ 772477 h 2305050"/>
                  <a:gd name="connsiteX98" fmla="*/ 179070 w 476250"/>
                  <a:gd name="connsiteY98" fmla="*/ 772477 h 2305050"/>
                  <a:gd name="connsiteX99" fmla="*/ 179070 w 476250"/>
                  <a:gd name="connsiteY99" fmla="*/ 889635 h 2305050"/>
                  <a:gd name="connsiteX100" fmla="*/ 450532 w 476250"/>
                  <a:gd name="connsiteY100" fmla="*/ 890588 h 2305050"/>
                  <a:gd name="connsiteX101" fmla="*/ 450532 w 476250"/>
                  <a:gd name="connsiteY101" fmla="*/ 771525 h 2305050"/>
                  <a:gd name="connsiteX102" fmla="*/ 331470 w 476250"/>
                  <a:gd name="connsiteY102" fmla="*/ 771525 h 2305050"/>
                  <a:gd name="connsiteX103" fmla="*/ 331470 w 476250"/>
                  <a:gd name="connsiteY103" fmla="*/ 890588 h 2305050"/>
                  <a:gd name="connsiteX104" fmla="*/ 450532 w 476250"/>
                  <a:gd name="connsiteY104" fmla="*/ 890588 h 2305050"/>
                  <a:gd name="connsiteX105" fmla="*/ 298132 w 476250"/>
                  <a:gd name="connsiteY105" fmla="*/ 1370648 h 2305050"/>
                  <a:gd name="connsiteX106" fmla="*/ 180022 w 476250"/>
                  <a:gd name="connsiteY106" fmla="*/ 1370648 h 2305050"/>
                  <a:gd name="connsiteX107" fmla="*/ 180022 w 476250"/>
                  <a:gd name="connsiteY107" fmla="*/ 1486853 h 2305050"/>
                  <a:gd name="connsiteX108" fmla="*/ 298132 w 476250"/>
                  <a:gd name="connsiteY108" fmla="*/ 1486853 h 2305050"/>
                  <a:gd name="connsiteX109" fmla="*/ 298132 w 476250"/>
                  <a:gd name="connsiteY109" fmla="*/ 1370648 h 2305050"/>
                  <a:gd name="connsiteX110" fmla="*/ 299085 w 476250"/>
                  <a:gd name="connsiteY110" fmla="*/ 1632585 h 2305050"/>
                  <a:gd name="connsiteX111" fmla="*/ 299085 w 476250"/>
                  <a:gd name="connsiteY111" fmla="*/ 1516380 h 2305050"/>
                  <a:gd name="connsiteX112" fmla="*/ 179070 w 476250"/>
                  <a:gd name="connsiteY112" fmla="*/ 1516380 h 2305050"/>
                  <a:gd name="connsiteX113" fmla="*/ 179070 w 476250"/>
                  <a:gd name="connsiteY113" fmla="*/ 1632585 h 2305050"/>
                  <a:gd name="connsiteX114" fmla="*/ 299085 w 476250"/>
                  <a:gd name="connsiteY114" fmla="*/ 1632585 h 2305050"/>
                  <a:gd name="connsiteX115" fmla="*/ 146685 w 476250"/>
                  <a:gd name="connsiteY115" fmla="*/ 1370648 h 2305050"/>
                  <a:gd name="connsiteX116" fmla="*/ 28575 w 476250"/>
                  <a:gd name="connsiteY116" fmla="*/ 1370648 h 2305050"/>
                  <a:gd name="connsiteX117" fmla="*/ 28575 w 476250"/>
                  <a:gd name="connsiteY117" fmla="*/ 1486853 h 2305050"/>
                  <a:gd name="connsiteX118" fmla="*/ 146685 w 476250"/>
                  <a:gd name="connsiteY118" fmla="*/ 1486853 h 2305050"/>
                  <a:gd name="connsiteX119" fmla="*/ 146685 w 476250"/>
                  <a:gd name="connsiteY119" fmla="*/ 1370648 h 2305050"/>
                  <a:gd name="connsiteX120" fmla="*/ 449580 w 476250"/>
                  <a:gd name="connsiteY120" fmla="*/ 1631632 h 2305050"/>
                  <a:gd name="connsiteX121" fmla="*/ 449580 w 476250"/>
                  <a:gd name="connsiteY121" fmla="*/ 1514475 h 2305050"/>
                  <a:gd name="connsiteX122" fmla="*/ 332422 w 476250"/>
                  <a:gd name="connsiteY122" fmla="*/ 1514475 h 2305050"/>
                  <a:gd name="connsiteX123" fmla="*/ 332422 w 476250"/>
                  <a:gd name="connsiteY123" fmla="*/ 1631632 h 2305050"/>
                  <a:gd name="connsiteX124" fmla="*/ 449580 w 476250"/>
                  <a:gd name="connsiteY124" fmla="*/ 1631632 h 230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476250" h="2305050">
                    <a:moveTo>
                      <a:pt x="477202" y="2308860"/>
                    </a:moveTo>
                    <a:cubicBezTo>
                      <a:pt x="316230" y="2308860"/>
                      <a:pt x="160020" y="2308860"/>
                      <a:pt x="0" y="2308860"/>
                    </a:cubicBezTo>
                    <a:cubicBezTo>
                      <a:pt x="0" y="1539240"/>
                      <a:pt x="0" y="771525"/>
                      <a:pt x="0" y="0"/>
                    </a:cubicBezTo>
                    <a:cubicBezTo>
                      <a:pt x="157163" y="0"/>
                      <a:pt x="315277" y="0"/>
                      <a:pt x="477202" y="0"/>
                    </a:cubicBezTo>
                    <a:cubicBezTo>
                      <a:pt x="477202" y="767715"/>
                      <a:pt x="477202" y="1536382"/>
                      <a:pt x="477202" y="2308860"/>
                    </a:cubicBezTo>
                    <a:close/>
                    <a:moveTo>
                      <a:pt x="452438" y="1071563"/>
                    </a:moveTo>
                    <a:cubicBezTo>
                      <a:pt x="412432" y="1071563"/>
                      <a:pt x="372427" y="1071563"/>
                      <a:pt x="332422" y="1071563"/>
                    </a:cubicBezTo>
                    <a:cubicBezTo>
                      <a:pt x="332422" y="1112520"/>
                      <a:pt x="332422" y="1150620"/>
                      <a:pt x="332422" y="1188720"/>
                    </a:cubicBezTo>
                    <a:cubicBezTo>
                      <a:pt x="374332" y="1188720"/>
                      <a:pt x="412432" y="1188720"/>
                      <a:pt x="452438" y="1188720"/>
                    </a:cubicBezTo>
                    <a:cubicBezTo>
                      <a:pt x="452438" y="1147763"/>
                      <a:pt x="452438" y="1111567"/>
                      <a:pt x="452438" y="1071563"/>
                    </a:cubicBezTo>
                    <a:close/>
                    <a:moveTo>
                      <a:pt x="298132" y="1190625"/>
                    </a:moveTo>
                    <a:cubicBezTo>
                      <a:pt x="298132" y="1147763"/>
                      <a:pt x="298132" y="1108710"/>
                      <a:pt x="298132" y="1070610"/>
                    </a:cubicBezTo>
                    <a:cubicBezTo>
                      <a:pt x="256222" y="1070610"/>
                      <a:pt x="218122" y="1070610"/>
                      <a:pt x="180975" y="1070610"/>
                    </a:cubicBezTo>
                    <a:cubicBezTo>
                      <a:pt x="180975" y="1112520"/>
                      <a:pt x="180975" y="1151573"/>
                      <a:pt x="180975" y="1190625"/>
                    </a:cubicBezTo>
                    <a:cubicBezTo>
                      <a:pt x="220980" y="1190625"/>
                      <a:pt x="257175" y="1190625"/>
                      <a:pt x="298132" y="1190625"/>
                    </a:cubicBezTo>
                    <a:close/>
                    <a:moveTo>
                      <a:pt x="27622" y="1188720"/>
                    </a:moveTo>
                    <a:cubicBezTo>
                      <a:pt x="68580" y="1188720"/>
                      <a:pt x="106680" y="1188720"/>
                      <a:pt x="146685" y="1188720"/>
                    </a:cubicBezTo>
                    <a:cubicBezTo>
                      <a:pt x="146685" y="1146810"/>
                      <a:pt x="146685" y="1108710"/>
                      <a:pt x="146685" y="1070610"/>
                    </a:cubicBezTo>
                    <a:cubicBezTo>
                      <a:pt x="104775" y="1070610"/>
                      <a:pt x="66675" y="1070610"/>
                      <a:pt x="27622" y="1070610"/>
                    </a:cubicBezTo>
                    <a:cubicBezTo>
                      <a:pt x="27622" y="1112520"/>
                      <a:pt x="27622" y="1149667"/>
                      <a:pt x="27622" y="1188720"/>
                    </a:cubicBezTo>
                    <a:close/>
                    <a:moveTo>
                      <a:pt x="28575" y="328613"/>
                    </a:moveTo>
                    <a:cubicBezTo>
                      <a:pt x="28575" y="372427"/>
                      <a:pt x="28575" y="410527"/>
                      <a:pt x="28575" y="448627"/>
                    </a:cubicBezTo>
                    <a:cubicBezTo>
                      <a:pt x="70485" y="448627"/>
                      <a:pt x="107632" y="448627"/>
                      <a:pt x="147638" y="448627"/>
                    </a:cubicBezTo>
                    <a:cubicBezTo>
                      <a:pt x="147638" y="407670"/>
                      <a:pt x="147638" y="369570"/>
                      <a:pt x="147638" y="328613"/>
                    </a:cubicBezTo>
                    <a:cubicBezTo>
                      <a:pt x="106680" y="328613"/>
                      <a:pt x="68580" y="328613"/>
                      <a:pt x="28575" y="328613"/>
                    </a:cubicBezTo>
                    <a:close/>
                    <a:moveTo>
                      <a:pt x="450532" y="744855"/>
                    </a:moveTo>
                    <a:cubicBezTo>
                      <a:pt x="450532" y="702945"/>
                      <a:pt x="450532" y="664845"/>
                      <a:pt x="450532" y="627697"/>
                    </a:cubicBezTo>
                    <a:cubicBezTo>
                      <a:pt x="408622" y="627697"/>
                      <a:pt x="369570" y="627697"/>
                      <a:pt x="331470" y="627697"/>
                    </a:cubicBezTo>
                    <a:cubicBezTo>
                      <a:pt x="331470" y="668655"/>
                      <a:pt x="331470" y="705802"/>
                      <a:pt x="331470" y="744855"/>
                    </a:cubicBezTo>
                    <a:cubicBezTo>
                      <a:pt x="371475" y="744855"/>
                      <a:pt x="409575" y="744855"/>
                      <a:pt x="450532" y="744855"/>
                    </a:cubicBezTo>
                    <a:close/>
                    <a:moveTo>
                      <a:pt x="147638" y="626745"/>
                    </a:moveTo>
                    <a:cubicBezTo>
                      <a:pt x="106680" y="626745"/>
                      <a:pt x="67627" y="626745"/>
                      <a:pt x="27622" y="626745"/>
                    </a:cubicBezTo>
                    <a:cubicBezTo>
                      <a:pt x="27622" y="667702"/>
                      <a:pt x="27622" y="706755"/>
                      <a:pt x="27622" y="743902"/>
                    </a:cubicBezTo>
                    <a:cubicBezTo>
                      <a:pt x="69532" y="743902"/>
                      <a:pt x="107632" y="743902"/>
                      <a:pt x="147638" y="743902"/>
                    </a:cubicBezTo>
                    <a:cubicBezTo>
                      <a:pt x="147638" y="702945"/>
                      <a:pt x="147638" y="665797"/>
                      <a:pt x="147638" y="626745"/>
                    </a:cubicBezTo>
                    <a:close/>
                    <a:moveTo>
                      <a:pt x="298132" y="1337310"/>
                    </a:moveTo>
                    <a:cubicBezTo>
                      <a:pt x="298132" y="1295400"/>
                      <a:pt x="298132" y="1257300"/>
                      <a:pt x="298132" y="1219200"/>
                    </a:cubicBezTo>
                    <a:cubicBezTo>
                      <a:pt x="256222" y="1219200"/>
                      <a:pt x="219075" y="1219200"/>
                      <a:pt x="180975" y="1219200"/>
                    </a:cubicBezTo>
                    <a:cubicBezTo>
                      <a:pt x="180975" y="1260157"/>
                      <a:pt x="180975" y="1298257"/>
                      <a:pt x="180975" y="1337310"/>
                    </a:cubicBezTo>
                    <a:cubicBezTo>
                      <a:pt x="220980" y="1337310"/>
                      <a:pt x="257175" y="1337310"/>
                      <a:pt x="298132" y="1337310"/>
                    </a:cubicBezTo>
                    <a:close/>
                    <a:moveTo>
                      <a:pt x="180022" y="476250"/>
                    </a:moveTo>
                    <a:cubicBezTo>
                      <a:pt x="180022" y="518160"/>
                      <a:pt x="180022" y="556260"/>
                      <a:pt x="180022" y="595313"/>
                    </a:cubicBezTo>
                    <a:cubicBezTo>
                      <a:pt x="220980" y="595313"/>
                      <a:pt x="259080" y="595313"/>
                      <a:pt x="299085" y="595313"/>
                    </a:cubicBezTo>
                    <a:cubicBezTo>
                      <a:pt x="299085" y="554355"/>
                      <a:pt x="299085" y="516255"/>
                      <a:pt x="299085" y="476250"/>
                    </a:cubicBezTo>
                    <a:cubicBezTo>
                      <a:pt x="259080" y="476250"/>
                      <a:pt x="220980" y="476250"/>
                      <a:pt x="180022" y="476250"/>
                    </a:cubicBezTo>
                    <a:close/>
                    <a:moveTo>
                      <a:pt x="452438" y="32385"/>
                    </a:moveTo>
                    <a:cubicBezTo>
                      <a:pt x="411480" y="32385"/>
                      <a:pt x="372427" y="32385"/>
                      <a:pt x="330518" y="32385"/>
                    </a:cubicBezTo>
                    <a:cubicBezTo>
                      <a:pt x="330518" y="71438"/>
                      <a:pt x="330518" y="108585"/>
                      <a:pt x="330518" y="148590"/>
                    </a:cubicBezTo>
                    <a:cubicBezTo>
                      <a:pt x="371475" y="148590"/>
                      <a:pt x="411480" y="148590"/>
                      <a:pt x="452438" y="148590"/>
                    </a:cubicBezTo>
                    <a:cubicBezTo>
                      <a:pt x="452438" y="109538"/>
                      <a:pt x="452438" y="73342"/>
                      <a:pt x="452438" y="32385"/>
                    </a:cubicBezTo>
                    <a:close/>
                    <a:moveTo>
                      <a:pt x="300038" y="31432"/>
                    </a:moveTo>
                    <a:cubicBezTo>
                      <a:pt x="257175" y="31432"/>
                      <a:pt x="219075" y="31432"/>
                      <a:pt x="180022" y="31432"/>
                    </a:cubicBezTo>
                    <a:cubicBezTo>
                      <a:pt x="180022" y="72390"/>
                      <a:pt x="180022" y="111442"/>
                      <a:pt x="180022" y="149542"/>
                    </a:cubicBezTo>
                    <a:cubicBezTo>
                      <a:pt x="221932" y="149542"/>
                      <a:pt x="260985" y="149542"/>
                      <a:pt x="300038" y="149542"/>
                    </a:cubicBezTo>
                    <a:cubicBezTo>
                      <a:pt x="300038" y="108585"/>
                      <a:pt x="300038" y="71438"/>
                      <a:pt x="300038" y="31432"/>
                    </a:cubicBezTo>
                    <a:close/>
                    <a:moveTo>
                      <a:pt x="300038" y="299085"/>
                    </a:moveTo>
                    <a:cubicBezTo>
                      <a:pt x="300038" y="257175"/>
                      <a:pt x="300038" y="220027"/>
                      <a:pt x="300038" y="180022"/>
                    </a:cubicBezTo>
                    <a:cubicBezTo>
                      <a:pt x="259080" y="180022"/>
                      <a:pt x="220027" y="180022"/>
                      <a:pt x="179070" y="180022"/>
                    </a:cubicBezTo>
                    <a:cubicBezTo>
                      <a:pt x="179070" y="220027"/>
                      <a:pt x="179070" y="258127"/>
                      <a:pt x="179070" y="299085"/>
                    </a:cubicBezTo>
                    <a:cubicBezTo>
                      <a:pt x="220027" y="299085"/>
                      <a:pt x="258127" y="299085"/>
                      <a:pt x="300038" y="299085"/>
                    </a:cubicBezTo>
                    <a:close/>
                    <a:moveTo>
                      <a:pt x="147638" y="477202"/>
                    </a:moveTo>
                    <a:cubicBezTo>
                      <a:pt x="104775" y="477202"/>
                      <a:pt x="66675" y="477202"/>
                      <a:pt x="26670" y="477202"/>
                    </a:cubicBezTo>
                    <a:cubicBezTo>
                      <a:pt x="26670" y="517207"/>
                      <a:pt x="26670" y="554355"/>
                      <a:pt x="26670" y="594360"/>
                    </a:cubicBezTo>
                    <a:cubicBezTo>
                      <a:pt x="67627" y="594360"/>
                      <a:pt x="106680" y="594360"/>
                      <a:pt x="147638" y="594360"/>
                    </a:cubicBezTo>
                    <a:cubicBezTo>
                      <a:pt x="147638" y="554355"/>
                      <a:pt x="147638" y="517207"/>
                      <a:pt x="147638" y="477202"/>
                    </a:cubicBezTo>
                    <a:close/>
                    <a:moveTo>
                      <a:pt x="450532" y="1041082"/>
                    </a:moveTo>
                    <a:cubicBezTo>
                      <a:pt x="450532" y="1001077"/>
                      <a:pt x="450532" y="962025"/>
                      <a:pt x="450532" y="923925"/>
                    </a:cubicBezTo>
                    <a:cubicBezTo>
                      <a:pt x="408622" y="923925"/>
                      <a:pt x="370522" y="923925"/>
                      <a:pt x="331470" y="923925"/>
                    </a:cubicBezTo>
                    <a:cubicBezTo>
                      <a:pt x="331470" y="964882"/>
                      <a:pt x="331470" y="1002030"/>
                      <a:pt x="331470" y="1041082"/>
                    </a:cubicBezTo>
                    <a:cubicBezTo>
                      <a:pt x="372427" y="1041082"/>
                      <a:pt x="410527" y="1041082"/>
                      <a:pt x="450532" y="1041082"/>
                    </a:cubicBezTo>
                    <a:close/>
                    <a:moveTo>
                      <a:pt x="332422" y="1218248"/>
                    </a:moveTo>
                    <a:cubicBezTo>
                      <a:pt x="332422" y="1258253"/>
                      <a:pt x="332422" y="1296353"/>
                      <a:pt x="332422" y="1336357"/>
                    </a:cubicBezTo>
                    <a:cubicBezTo>
                      <a:pt x="373380" y="1336357"/>
                      <a:pt x="410527" y="1336357"/>
                      <a:pt x="451485" y="1336357"/>
                    </a:cubicBezTo>
                    <a:cubicBezTo>
                      <a:pt x="451485" y="1296353"/>
                      <a:pt x="451485" y="1257300"/>
                      <a:pt x="451485" y="1218248"/>
                    </a:cubicBezTo>
                    <a:cubicBezTo>
                      <a:pt x="409575" y="1218248"/>
                      <a:pt x="372427" y="1218248"/>
                      <a:pt x="332422" y="1218248"/>
                    </a:cubicBezTo>
                    <a:close/>
                    <a:moveTo>
                      <a:pt x="452438" y="447675"/>
                    </a:moveTo>
                    <a:cubicBezTo>
                      <a:pt x="452438" y="406717"/>
                      <a:pt x="452438" y="369570"/>
                      <a:pt x="452438" y="329565"/>
                    </a:cubicBezTo>
                    <a:cubicBezTo>
                      <a:pt x="411480" y="329565"/>
                      <a:pt x="371475" y="329565"/>
                      <a:pt x="331470" y="329565"/>
                    </a:cubicBezTo>
                    <a:cubicBezTo>
                      <a:pt x="331470" y="370522"/>
                      <a:pt x="331470" y="408622"/>
                      <a:pt x="331470" y="447675"/>
                    </a:cubicBezTo>
                    <a:cubicBezTo>
                      <a:pt x="371475" y="447675"/>
                      <a:pt x="409575" y="447675"/>
                      <a:pt x="452438" y="447675"/>
                    </a:cubicBezTo>
                    <a:close/>
                    <a:moveTo>
                      <a:pt x="300038" y="448627"/>
                    </a:moveTo>
                    <a:cubicBezTo>
                      <a:pt x="300038" y="405765"/>
                      <a:pt x="300038" y="368617"/>
                      <a:pt x="300038" y="328613"/>
                    </a:cubicBezTo>
                    <a:cubicBezTo>
                      <a:pt x="258127" y="328613"/>
                      <a:pt x="219075" y="328613"/>
                      <a:pt x="180022" y="328613"/>
                    </a:cubicBezTo>
                    <a:cubicBezTo>
                      <a:pt x="180022" y="370522"/>
                      <a:pt x="180022" y="408622"/>
                      <a:pt x="180022" y="448627"/>
                    </a:cubicBezTo>
                    <a:cubicBezTo>
                      <a:pt x="220980" y="448627"/>
                      <a:pt x="258127" y="448627"/>
                      <a:pt x="300038" y="448627"/>
                    </a:cubicBezTo>
                    <a:close/>
                    <a:moveTo>
                      <a:pt x="146685" y="299085"/>
                    </a:moveTo>
                    <a:cubicBezTo>
                      <a:pt x="146685" y="256222"/>
                      <a:pt x="146685" y="218122"/>
                      <a:pt x="146685" y="181927"/>
                    </a:cubicBezTo>
                    <a:cubicBezTo>
                      <a:pt x="103822" y="181927"/>
                      <a:pt x="65722" y="181927"/>
                      <a:pt x="27622" y="181927"/>
                    </a:cubicBezTo>
                    <a:cubicBezTo>
                      <a:pt x="27622" y="222885"/>
                      <a:pt x="27622" y="260032"/>
                      <a:pt x="27622" y="299085"/>
                    </a:cubicBezTo>
                    <a:cubicBezTo>
                      <a:pt x="67627" y="299085"/>
                      <a:pt x="104775" y="299085"/>
                      <a:pt x="146685" y="299085"/>
                    </a:cubicBezTo>
                    <a:close/>
                    <a:moveTo>
                      <a:pt x="145732" y="889635"/>
                    </a:moveTo>
                    <a:cubicBezTo>
                      <a:pt x="145732" y="848677"/>
                      <a:pt x="145732" y="810577"/>
                      <a:pt x="145732" y="772477"/>
                    </a:cubicBezTo>
                    <a:cubicBezTo>
                      <a:pt x="103822" y="772477"/>
                      <a:pt x="66675" y="772477"/>
                      <a:pt x="28575" y="772477"/>
                    </a:cubicBezTo>
                    <a:cubicBezTo>
                      <a:pt x="28575" y="813435"/>
                      <a:pt x="28575" y="851535"/>
                      <a:pt x="28575" y="889635"/>
                    </a:cubicBezTo>
                    <a:cubicBezTo>
                      <a:pt x="70485" y="889635"/>
                      <a:pt x="107632" y="889635"/>
                      <a:pt x="145732" y="889635"/>
                    </a:cubicBezTo>
                    <a:close/>
                    <a:moveTo>
                      <a:pt x="179070" y="889635"/>
                    </a:moveTo>
                    <a:cubicBezTo>
                      <a:pt x="220027" y="889635"/>
                      <a:pt x="258127" y="889635"/>
                      <a:pt x="298132" y="889635"/>
                    </a:cubicBezTo>
                    <a:cubicBezTo>
                      <a:pt x="298132" y="848677"/>
                      <a:pt x="298132" y="810577"/>
                      <a:pt x="298132" y="772477"/>
                    </a:cubicBezTo>
                    <a:cubicBezTo>
                      <a:pt x="256222" y="772477"/>
                      <a:pt x="219075" y="772477"/>
                      <a:pt x="179070" y="772477"/>
                    </a:cubicBezTo>
                    <a:cubicBezTo>
                      <a:pt x="179070" y="812482"/>
                      <a:pt x="179070" y="849630"/>
                      <a:pt x="179070" y="889635"/>
                    </a:cubicBezTo>
                    <a:close/>
                    <a:moveTo>
                      <a:pt x="450532" y="890588"/>
                    </a:moveTo>
                    <a:cubicBezTo>
                      <a:pt x="450532" y="849630"/>
                      <a:pt x="450532" y="811530"/>
                      <a:pt x="450532" y="771525"/>
                    </a:cubicBezTo>
                    <a:cubicBezTo>
                      <a:pt x="409575" y="771525"/>
                      <a:pt x="372427" y="771525"/>
                      <a:pt x="331470" y="771525"/>
                    </a:cubicBezTo>
                    <a:cubicBezTo>
                      <a:pt x="331470" y="811530"/>
                      <a:pt x="331470" y="850582"/>
                      <a:pt x="331470" y="890588"/>
                    </a:cubicBezTo>
                    <a:cubicBezTo>
                      <a:pt x="372427" y="890588"/>
                      <a:pt x="410527" y="890588"/>
                      <a:pt x="450532" y="890588"/>
                    </a:cubicBezTo>
                    <a:close/>
                    <a:moveTo>
                      <a:pt x="298132" y="1370648"/>
                    </a:moveTo>
                    <a:cubicBezTo>
                      <a:pt x="257175" y="1370648"/>
                      <a:pt x="218122" y="1370648"/>
                      <a:pt x="180022" y="1370648"/>
                    </a:cubicBezTo>
                    <a:cubicBezTo>
                      <a:pt x="180022" y="1410653"/>
                      <a:pt x="180022" y="1447800"/>
                      <a:pt x="180022" y="1486853"/>
                    </a:cubicBezTo>
                    <a:cubicBezTo>
                      <a:pt x="220980" y="1486853"/>
                      <a:pt x="257175" y="1486853"/>
                      <a:pt x="298132" y="1486853"/>
                    </a:cubicBezTo>
                    <a:cubicBezTo>
                      <a:pt x="298132" y="1447800"/>
                      <a:pt x="298132" y="1411605"/>
                      <a:pt x="298132" y="1370648"/>
                    </a:cubicBezTo>
                    <a:close/>
                    <a:moveTo>
                      <a:pt x="299085" y="1632585"/>
                    </a:moveTo>
                    <a:cubicBezTo>
                      <a:pt x="299085" y="1590675"/>
                      <a:pt x="299085" y="1553528"/>
                      <a:pt x="299085" y="1516380"/>
                    </a:cubicBezTo>
                    <a:cubicBezTo>
                      <a:pt x="258127" y="1516380"/>
                      <a:pt x="219075" y="1516380"/>
                      <a:pt x="179070" y="1516380"/>
                    </a:cubicBezTo>
                    <a:cubicBezTo>
                      <a:pt x="179070" y="1557338"/>
                      <a:pt x="179070" y="1594485"/>
                      <a:pt x="179070" y="1632585"/>
                    </a:cubicBezTo>
                    <a:cubicBezTo>
                      <a:pt x="219075" y="1632585"/>
                      <a:pt x="256222" y="1632585"/>
                      <a:pt x="299085" y="1632585"/>
                    </a:cubicBezTo>
                    <a:close/>
                    <a:moveTo>
                      <a:pt x="146685" y="1370648"/>
                    </a:moveTo>
                    <a:cubicBezTo>
                      <a:pt x="104775" y="1370648"/>
                      <a:pt x="65722" y="1370648"/>
                      <a:pt x="28575" y="1370648"/>
                    </a:cubicBezTo>
                    <a:cubicBezTo>
                      <a:pt x="28575" y="1410653"/>
                      <a:pt x="28575" y="1447800"/>
                      <a:pt x="28575" y="1486853"/>
                    </a:cubicBezTo>
                    <a:cubicBezTo>
                      <a:pt x="69532" y="1486853"/>
                      <a:pt x="106680" y="1486853"/>
                      <a:pt x="146685" y="1486853"/>
                    </a:cubicBezTo>
                    <a:cubicBezTo>
                      <a:pt x="146685" y="1447800"/>
                      <a:pt x="146685" y="1410653"/>
                      <a:pt x="146685" y="1370648"/>
                    </a:cubicBezTo>
                    <a:close/>
                    <a:moveTo>
                      <a:pt x="449580" y="1631632"/>
                    </a:moveTo>
                    <a:cubicBezTo>
                      <a:pt x="449580" y="1591628"/>
                      <a:pt x="449580" y="1553528"/>
                      <a:pt x="449580" y="1514475"/>
                    </a:cubicBezTo>
                    <a:cubicBezTo>
                      <a:pt x="409575" y="1514475"/>
                      <a:pt x="372427" y="1514475"/>
                      <a:pt x="332422" y="1514475"/>
                    </a:cubicBezTo>
                    <a:cubicBezTo>
                      <a:pt x="332422" y="1554480"/>
                      <a:pt x="332422" y="1592580"/>
                      <a:pt x="332422" y="1631632"/>
                    </a:cubicBezTo>
                    <a:cubicBezTo>
                      <a:pt x="373380" y="1631632"/>
                      <a:pt x="410527" y="1631632"/>
                      <a:pt x="449580" y="16316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E63F6FB3-A081-4A24-9993-4B481E0AEBBF}"/>
                  </a:ext>
                </a:extLst>
              </p:cNvPr>
              <p:cNvSpPr/>
              <p:nvPr/>
            </p:nvSpPr>
            <p:spPr>
              <a:xfrm>
                <a:off x="6153901" y="2280010"/>
                <a:ext cx="565541" cy="1976576"/>
              </a:xfrm>
              <a:custGeom>
                <a:avLst/>
                <a:gdLst>
                  <a:gd name="connsiteX0" fmla="*/ 335796 w 565541"/>
                  <a:gd name="connsiteY0" fmla="*/ 1531565 h 1976576"/>
                  <a:gd name="connsiteX1" fmla="*/ 335796 w 565541"/>
                  <a:gd name="connsiteY1" fmla="*/ 1585857 h 1976576"/>
                  <a:gd name="connsiteX2" fmla="*/ 441823 w 565541"/>
                  <a:gd name="connsiteY2" fmla="*/ 1585857 h 1976576"/>
                  <a:gd name="connsiteX3" fmla="*/ 441823 w 565541"/>
                  <a:gd name="connsiteY3" fmla="*/ 1531565 h 1976576"/>
                  <a:gd name="connsiteX4" fmla="*/ 123718 w 565541"/>
                  <a:gd name="connsiteY4" fmla="*/ 1526871 h 1976576"/>
                  <a:gd name="connsiteX5" fmla="*/ 123718 w 565541"/>
                  <a:gd name="connsiteY5" fmla="*/ 1581163 h 1976576"/>
                  <a:gd name="connsiteX6" fmla="*/ 229745 w 565541"/>
                  <a:gd name="connsiteY6" fmla="*/ 1581163 h 1976576"/>
                  <a:gd name="connsiteX7" fmla="*/ 229745 w 565541"/>
                  <a:gd name="connsiteY7" fmla="*/ 1526871 h 1976576"/>
                  <a:gd name="connsiteX8" fmla="*/ 335796 w 565541"/>
                  <a:gd name="connsiteY8" fmla="*/ 1409581 h 1976576"/>
                  <a:gd name="connsiteX9" fmla="*/ 335796 w 565541"/>
                  <a:gd name="connsiteY9" fmla="*/ 1463873 h 1976576"/>
                  <a:gd name="connsiteX10" fmla="*/ 441823 w 565541"/>
                  <a:gd name="connsiteY10" fmla="*/ 1463873 h 1976576"/>
                  <a:gd name="connsiteX11" fmla="*/ 441823 w 565541"/>
                  <a:gd name="connsiteY11" fmla="*/ 1409581 h 1976576"/>
                  <a:gd name="connsiteX12" fmla="*/ 123718 w 565541"/>
                  <a:gd name="connsiteY12" fmla="*/ 1404887 h 1976576"/>
                  <a:gd name="connsiteX13" fmla="*/ 123718 w 565541"/>
                  <a:gd name="connsiteY13" fmla="*/ 1459180 h 1976576"/>
                  <a:gd name="connsiteX14" fmla="*/ 229745 w 565541"/>
                  <a:gd name="connsiteY14" fmla="*/ 1459180 h 1976576"/>
                  <a:gd name="connsiteX15" fmla="*/ 229745 w 565541"/>
                  <a:gd name="connsiteY15" fmla="*/ 1404887 h 1976576"/>
                  <a:gd name="connsiteX16" fmla="*/ 335796 w 565541"/>
                  <a:gd name="connsiteY16" fmla="*/ 1287599 h 1976576"/>
                  <a:gd name="connsiteX17" fmla="*/ 335796 w 565541"/>
                  <a:gd name="connsiteY17" fmla="*/ 1341892 h 1976576"/>
                  <a:gd name="connsiteX18" fmla="*/ 441823 w 565541"/>
                  <a:gd name="connsiteY18" fmla="*/ 1341892 h 1976576"/>
                  <a:gd name="connsiteX19" fmla="*/ 441823 w 565541"/>
                  <a:gd name="connsiteY19" fmla="*/ 1287599 h 1976576"/>
                  <a:gd name="connsiteX20" fmla="*/ 123718 w 565541"/>
                  <a:gd name="connsiteY20" fmla="*/ 1282905 h 1976576"/>
                  <a:gd name="connsiteX21" fmla="*/ 123718 w 565541"/>
                  <a:gd name="connsiteY21" fmla="*/ 1337198 h 1976576"/>
                  <a:gd name="connsiteX22" fmla="*/ 229745 w 565541"/>
                  <a:gd name="connsiteY22" fmla="*/ 1337198 h 1976576"/>
                  <a:gd name="connsiteX23" fmla="*/ 229745 w 565541"/>
                  <a:gd name="connsiteY23" fmla="*/ 1282905 h 1976576"/>
                  <a:gd name="connsiteX24" fmla="*/ 335796 w 565541"/>
                  <a:gd name="connsiteY24" fmla="*/ 1165617 h 1976576"/>
                  <a:gd name="connsiteX25" fmla="*/ 335796 w 565541"/>
                  <a:gd name="connsiteY25" fmla="*/ 1219910 h 1976576"/>
                  <a:gd name="connsiteX26" fmla="*/ 441823 w 565541"/>
                  <a:gd name="connsiteY26" fmla="*/ 1219910 h 1976576"/>
                  <a:gd name="connsiteX27" fmla="*/ 441823 w 565541"/>
                  <a:gd name="connsiteY27" fmla="*/ 1165617 h 1976576"/>
                  <a:gd name="connsiteX28" fmla="*/ 123718 w 565541"/>
                  <a:gd name="connsiteY28" fmla="*/ 1160924 h 1976576"/>
                  <a:gd name="connsiteX29" fmla="*/ 123718 w 565541"/>
                  <a:gd name="connsiteY29" fmla="*/ 1215216 h 1976576"/>
                  <a:gd name="connsiteX30" fmla="*/ 229745 w 565541"/>
                  <a:gd name="connsiteY30" fmla="*/ 1215216 h 1976576"/>
                  <a:gd name="connsiteX31" fmla="*/ 229745 w 565541"/>
                  <a:gd name="connsiteY31" fmla="*/ 1160924 h 1976576"/>
                  <a:gd name="connsiteX32" fmla="*/ 335796 w 565541"/>
                  <a:gd name="connsiteY32" fmla="*/ 1043636 h 1976576"/>
                  <a:gd name="connsiteX33" fmla="*/ 335796 w 565541"/>
                  <a:gd name="connsiteY33" fmla="*/ 1097928 h 1976576"/>
                  <a:gd name="connsiteX34" fmla="*/ 441823 w 565541"/>
                  <a:gd name="connsiteY34" fmla="*/ 1097928 h 1976576"/>
                  <a:gd name="connsiteX35" fmla="*/ 441823 w 565541"/>
                  <a:gd name="connsiteY35" fmla="*/ 1043636 h 1976576"/>
                  <a:gd name="connsiteX36" fmla="*/ 123718 w 565541"/>
                  <a:gd name="connsiteY36" fmla="*/ 1038942 h 1976576"/>
                  <a:gd name="connsiteX37" fmla="*/ 123718 w 565541"/>
                  <a:gd name="connsiteY37" fmla="*/ 1093234 h 1976576"/>
                  <a:gd name="connsiteX38" fmla="*/ 229745 w 565541"/>
                  <a:gd name="connsiteY38" fmla="*/ 1093234 h 1976576"/>
                  <a:gd name="connsiteX39" fmla="*/ 229745 w 565541"/>
                  <a:gd name="connsiteY39" fmla="*/ 1038942 h 1976576"/>
                  <a:gd name="connsiteX40" fmla="*/ 335796 w 565541"/>
                  <a:gd name="connsiteY40" fmla="*/ 921654 h 1976576"/>
                  <a:gd name="connsiteX41" fmla="*/ 335796 w 565541"/>
                  <a:gd name="connsiteY41" fmla="*/ 975946 h 1976576"/>
                  <a:gd name="connsiteX42" fmla="*/ 441823 w 565541"/>
                  <a:gd name="connsiteY42" fmla="*/ 975946 h 1976576"/>
                  <a:gd name="connsiteX43" fmla="*/ 441823 w 565541"/>
                  <a:gd name="connsiteY43" fmla="*/ 921654 h 1976576"/>
                  <a:gd name="connsiteX44" fmla="*/ 123718 w 565541"/>
                  <a:gd name="connsiteY44" fmla="*/ 916960 h 1976576"/>
                  <a:gd name="connsiteX45" fmla="*/ 123718 w 565541"/>
                  <a:gd name="connsiteY45" fmla="*/ 971252 h 1976576"/>
                  <a:gd name="connsiteX46" fmla="*/ 229745 w 565541"/>
                  <a:gd name="connsiteY46" fmla="*/ 971252 h 1976576"/>
                  <a:gd name="connsiteX47" fmla="*/ 229745 w 565541"/>
                  <a:gd name="connsiteY47" fmla="*/ 916960 h 1976576"/>
                  <a:gd name="connsiteX48" fmla="*/ 335796 w 565541"/>
                  <a:gd name="connsiteY48" fmla="*/ 799672 h 1976576"/>
                  <a:gd name="connsiteX49" fmla="*/ 335796 w 565541"/>
                  <a:gd name="connsiteY49" fmla="*/ 853964 h 1976576"/>
                  <a:gd name="connsiteX50" fmla="*/ 441823 w 565541"/>
                  <a:gd name="connsiteY50" fmla="*/ 853964 h 1976576"/>
                  <a:gd name="connsiteX51" fmla="*/ 441823 w 565541"/>
                  <a:gd name="connsiteY51" fmla="*/ 799672 h 1976576"/>
                  <a:gd name="connsiteX52" fmla="*/ 123718 w 565541"/>
                  <a:gd name="connsiteY52" fmla="*/ 794978 h 1976576"/>
                  <a:gd name="connsiteX53" fmla="*/ 123718 w 565541"/>
                  <a:gd name="connsiteY53" fmla="*/ 849270 h 1976576"/>
                  <a:gd name="connsiteX54" fmla="*/ 229745 w 565541"/>
                  <a:gd name="connsiteY54" fmla="*/ 849270 h 1976576"/>
                  <a:gd name="connsiteX55" fmla="*/ 229745 w 565541"/>
                  <a:gd name="connsiteY55" fmla="*/ 794978 h 1976576"/>
                  <a:gd name="connsiteX56" fmla="*/ 335796 w 565541"/>
                  <a:gd name="connsiteY56" fmla="*/ 677690 h 1976576"/>
                  <a:gd name="connsiteX57" fmla="*/ 335796 w 565541"/>
                  <a:gd name="connsiteY57" fmla="*/ 731982 h 1976576"/>
                  <a:gd name="connsiteX58" fmla="*/ 441823 w 565541"/>
                  <a:gd name="connsiteY58" fmla="*/ 731982 h 1976576"/>
                  <a:gd name="connsiteX59" fmla="*/ 441823 w 565541"/>
                  <a:gd name="connsiteY59" fmla="*/ 677690 h 1976576"/>
                  <a:gd name="connsiteX60" fmla="*/ 123718 w 565541"/>
                  <a:gd name="connsiteY60" fmla="*/ 672996 h 1976576"/>
                  <a:gd name="connsiteX61" fmla="*/ 123718 w 565541"/>
                  <a:gd name="connsiteY61" fmla="*/ 727289 h 1976576"/>
                  <a:gd name="connsiteX62" fmla="*/ 229745 w 565541"/>
                  <a:gd name="connsiteY62" fmla="*/ 727289 h 1976576"/>
                  <a:gd name="connsiteX63" fmla="*/ 229745 w 565541"/>
                  <a:gd name="connsiteY63" fmla="*/ 672996 h 1976576"/>
                  <a:gd name="connsiteX64" fmla="*/ 335796 w 565541"/>
                  <a:gd name="connsiteY64" fmla="*/ 555708 h 1976576"/>
                  <a:gd name="connsiteX65" fmla="*/ 335796 w 565541"/>
                  <a:gd name="connsiteY65" fmla="*/ 610000 h 1976576"/>
                  <a:gd name="connsiteX66" fmla="*/ 441823 w 565541"/>
                  <a:gd name="connsiteY66" fmla="*/ 610000 h 1976576"/>
                  <a:gd name="connsiteX67" fmla="*/ 441823 w 565541"/>
                  <a:gd name="connsiteY67" fmla="*/ 555708 h 1976576"/>
                  <a:gd name="connsiteX68" fmla="*/ 123718 w 565541"/>
                  <a:gd name="connsiteY68" fmla="*/ 551014 h 1976576"/>
                  <a:gd name="connsiteX69" fmla="*/ 123718 w 565541"/>
                  <a:gd name="connsiteY69" fmla="*/ 605307 h 1976576"/>
                  <a:gd name="connsiteX70" fmla="*/ 229745 w 565541"/>
                  <a:gd name="connsiteY70" fmla="*/ 605307 h 1976576"/>
                  <a:gd name="connsiteX71" fmla="*/ 229745 w 565541"/>
                  <a:gd name="connsiteY71" fmla="*/ 551014 h 1976576"/>
                  <a:gd name="connsiteX72" fmla="*/ 335796 w 565541"/>
                  <a:gd name="connsiteY72" fmla="*/ 433726 h 1976576"/>
                  <a:gd name="connsiteX73" fmla="*/ 335796 w 565541"/>
                  <a:gd name="connsiteY73" fmla="*/ 488019 h 1976576"/>
                  <a:gd name="connsiteX74" fmla="*/ 441823 w 565541"/>
                  <a:gd name="connsiteY74" fmla="*/ 488019 h 1976576"/>
                  <a:gd name="connsiteX75" fmla="*/ 441823 w 565541"/>
                  <a:gd name="connsiteY75" fmla="*/ 433726 h 1976576"/>
                  <a:gd name="connsiteX76" fmla="*/ 123718 w 565541"/>
                  <a:gd name="connsiteY76" fmla="*/ 429032 h 1976576"/>
                  <a:gd name="connsiteX77" fmla="*/ 123718 w 565541"/>
                  <a:gd name="connsiteY77" fmla="*/ 483325 h 1976576"/>
                  <a:gd name="connsiteX78" fmla="*/ 229745 w 565541"/>
                  <a:gd name="connsiteY78" fmla="*/ 483325 h 1976576"/>
                  <a:gd name="connsiteX79" fmla="*/ 229745 w 565541"/>
                  <a:gd name="connsiteY79" fmla="*/ 429032 h 1976576"/>
                  <a:gd name="connsiteX80" fmla="*/ 244058 w 565541"/>
                  <a:gd name="connsiteY80" fmla="*/ 0 h 1976576"/>
                  <a:gd name="connsiteX81" fmla="*/ 321484 w 565541"/>
                  <a:gd name="connsiteY81" fmla="*/ 0 h 1976576"/>
                  <a:gd name="connsiteX82" fmla="*/ 321484 w 565541"/>
                  <a:gd name="connsiteY82" fmla="*/ 178763 h 1976576"/>
                  <a:gd name="connsiteX83" fmla="*/ 388810 w 565541"/>
                  <a:gd name="connsiteY83" fmla="*/ 178763 h 1976576"/>
                  <a:gd name="connsiteX84" fmla="*/ 388810 w 565541"/>
                  <a:gd name="connsiteY84" fmla="*/ 299617 h 1976576"/>
                  <a:gd name="connsiteX85" fmla="*/ 565541 w 565541"/>
                  <a:gd name="connsiteY85" fmla="*/ 299617 h 1976576"/>
                  <a:gd name="connsiteX86" fmla="*/ 565541 w 565541"/>
                  <a:gd name="connsiteY86" fmla="*/ 1976576 h 1976576"/>
                  <a:gd name="connsiteX87" fmla="*/ 448247 w 565541"/>
                  <a:gd name="connsiteY87" fmla="*/ 1976576 h 1976576"/>
                  <a:gd name="connsiteX88" fmla="*/ 371127 w 565541"/>
                  <a:gd name="connsiteY88" fmla="*/ 1976576 h 1976576"/>
                  <a:gd name="connsiteX89" fmla="*/ 194414 w 565541"/>
                  <a:gd name="connsiteY89" fmla="*/ 1976576 h 1976576"/>
                  <a:gd name="connsiteX90" fmla="*/ 88332 w 565541"/>
                  <a:gd name="connsiteY90" fmla="*/ 1976576 h 1976576"/>
                  <a:gd name="connsiteX91" fmla="*/ 0 w 565541"/>
                  <a:gd name="connsiteY91" fmla="*/ 1976576 h 1976576"/>
                  <a:gd name="connsiteX92" fmla="*/ 0 w 565541"/>
                  <a:gd name="connsiteY92" fmla="*/ 299617 h 1976576"/>
                  <a:gd name="connsiteX93" fmla="*/ 176731 w 565541"/>
                  <a:gd name="connsiteY93" fmla="*/ 299617 h 1976576"/>
                  <a:gd name="connsiteX94" fmla="*/ 176731 w 565541"/>
                  <a:gd name="connsiteY94" fmla="*/ 178763 h 1976576"/>
                  <a:gd name="connsiteX95" fmla="*/ 244058 w 565541"/>
                  <a:gd name="connsiteY95" fmla="*/ 178763 h 1976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565541" h="1976576">
                    <a:moveTo>
                      <a:pt x="335796" y="1531565"/>
                    </a:moveTo>
                    <a:lnTo>
                      <a:pt x="335796" y="1585857"/>
                    </a:lnTo>
                    <a:lnTo>
                      <a:pt x="441823" y="1585857"/>
                    </a:lnTo>
                    <a:lnTo>
                      <a:pt x="441823" y="1531565"/>
                    </a:lnTo>
                    <a:close/>
                    <a:moveTo>
                      <a:pt x="123718" y="1526871"/>
                    </a:moveTo>
                    <a:lnTo>
                      <a:pt x="123718" y="1581163"/>
                    </a:lnTo>
                    <a:lnTo>
                      <a:pt x="229745" y="1581163"/>
                    </a:lnTo>
                    <a:lnTo>
                      <a:pt x="229745" y="1526871"/>
                    </a:lnTo>
                    <a:close/>
                    <a:moveTo>
                      <a:pt x="335796" y="1409581"/>
                    </a:moveTo>
                    <a:lnTo>
                      <a:pt x="335796" y="1463873"/>
                    </a:lnTo>
                    <a:lnTo>
                      <a:pt x="441823" y="1463873"/>
                    </a:lnTo>
                    <a:lnTo>
                      <a:pt x="441823" y="1409581"/>
                    </a:lnTo>
                    <a:close/>
                    <a:moveTo>
                      <a:pt x="123718" y="1404887"/>
                    </a:moveTo>
                    <a:lnTo>
                      <a:pt x="123718" y="1459180"/>
                    </a:lnTo>
                    <a:lnTo>
                      <a:pt x="229745" y="1459180"/>
                    </a:lnTo>
                    <a:lnTo>
                      <a:pt x="229745" y="1404887"/>
                    </a:lnTo>
                    <a:close/>
                    <a:moveTo>
                      <a:pt x="335796" y="1287599"/>
                    </a:moveTo>
                    <a:lnTo>
                      <a:pt x="335796" y="1341892"/>
                    </a:lnTo>
                    <a:lnTo>
                      <a:pt x="441823" y="1341892"/>
                    </a:lnTo>
                    <a:lnTo>
                      <a:pt x="441823" y="1287599"/>
                    </a:lnTo>
                    <a:close/>
                    <a:moveTo>
                      <a:pt x="123718" y="1282905"/>
                    </a:moveTo>
                    <a:lnTo>
                      <a:pt x="123718" y="1337198"/>
                    </a:lnTo>
                    <a:lnTo>
                      <a:pt x="229745" y="1337198"/>
                    </a:lnTo>
                    <a:lnTo>
                      <a:pt x="229745" y="1282905"/>
                    </a:lnTo>
                    <a:close/>
                    <a:moveTo>
                      <a:pt x="335796" y="1165617"/>
                    </a:moveTo>
                    <a:lnTo>
                      <a:pt x="335796" y="1219910"/>
                    </a:lnTo>
                    <a:lnTo>
                      <a:pt x="441823" y="1219910"/>
                    </a:lnTo>
                    <a:lnTo>
                      <a:pt x="441823" y="1165617"/>
                    </a:lnTo>
                    <a:close/>
                    <a:moveTo>
                      <a:pt x="123718" y="1160924"/>
                    </a:moveTo>
                    <a:lnTo>
                      <a:pt x="123718" y="1215216"/>
                    </a:lnTo>
                    <a:lnTo>
                      <a:pt x="229745" y="1215216"/>
                    </a:lnTo>
                    <a:lnTo>
                      <a:pt x="229745" y="1160924"/>
                    </a:lnTo>
                    <a:close/>
                    <a:moveTo>
                      <a:pt x="335796" y="1043636"/>
                    </a:moveTo>
                    <a:lnTo>
                      <a:pt x="335796" y="1097928"/>
                    </a:lnTo>
                    <a:lnTo>
                      <a:pt x="441823" y="1097928"/>
                    </a:lnTo>
                    <a:lnTo>
                      <a:pt x="441823" y="1043636"/>
                    </a:lnTo>
                    <a:close/>
                    <a:moveTo>
                      <a:pt x="123718" y="1038942"/>
                    </a:moveTo>
                    <a:lnTo>
                      <a:pt x="123718" y="1093234"/>
                    </a:lnTo>
                    <a:lnTo>
                      <a:pt x="229745" y="1093234"/>
                    </a:lnTo>
                    <a:lnTo>
                      <a:pt x="229745" y="1038942"/>
                    </a:lnTo>
                    <a:close/>
                    <a:moveTo>
                      <a:pt x="335796" y="921654"/>
                    </a:moveTo>
                    <a:lnTo>
                      <a:pt x="335796" y="975946"/>
                    </a:lnTo>
                    <a:lnTo>
                      <a:pt x="441823" y="975946"/>
                    </a:lnTo>
                    <a:lnTo>
                      <a:pt x="441823" y="921654"/>
                    </a:lnTo>
                    <a:close/>
                    <a:moveTo>
                      <a:pt x="123718" y="916960"/>
                    </a:moveTo>
                    <a:lnTo>
                      <a:pt x="123718" y="971252"/>
                    </a:lnTo>
                    <a:lnTo>
                      <a:pt x="229745" y="971252"/>
                    </a:lnTo>
                    <a:lnTo>
                      <a:pt x="229745" y="916960"/>
                    </a:lnTo>
                    <a:close/>
                    <a:moveTo>
                      <a:pt x="335796" y="799672"/>
                    </a:moveTo>
                    <a:lnTo>
                      <a:pt x="335796" y="853964"/>
                    </a:lnTo>
                    <a:lnTo>
                      <a:pt x="441823" y="853964"/>
                    </a:lnTo>
                    <a:lnTo>
                      <a:pt x="441823" y="799672"/>
                    </a:lnTo>
                    <a:close/>
                    <a:moveTo>
                      <a:pt x="123718" y="794978"/>
                    </a:moveTo>
                    <a:lnTo>
                      <a:pt x="123718" y="849270"/>
                    </a:lnTo>
                    <a:lnTo>
                      <a:pt x="229745" y="849270"/>
                    </a:lnTo>
                    <a:lnTo>
                      <a:pt x="229745" y="794978"/>
                    </a:lnTo>
                    <a:close/>
                    <a:moveTo>
                      <a:pt x="335796" y="677690"/>
                    </a:moveTo>
                    <a:lnTo>
                      <a:pt x="335796" y="731982"/>
                    </a:lnTo>
                    <a:lnTo>
                      <a:pt x="441823" y="731982"/>
                    </a:lnTo>
                    <a:lnTo>
                      <a:pt x="441823" y="677690"/>
                    </a:lnTo>
                    <a:close/>
                    <a:moveTo>
                      <a:pt x="123718" y="672996"/>
                    </a:moveTo>
                    <a:lnTo>
                      <a:pt x="123718" y="727289"/>
                    </a:lnTo>
                    <a:lnTo>
                      <a:pt x="229745" y="727289"/>
                    </a:lnTo>
                    <a:lnTo>
                      <a:pt x="229745" y="672996"/>
                    </a:lnTo>
                    <a:close/>
                    <a:moveTo>
                      <a:pt x="335796" y="555708"/>
                    </a:moveTo>
                    <a:lnTo>
                      <a:pt x="335796" y="610000"/>
                    </a:lnTo>
                    <a:lnTo>
                      <a:pt x="441823" y="610000"/>
                    </a:lnTo>
                    <a:lnTo>
                      <a:pt x="441823" y="555708"/>
                    </a:lnTo>
                    <a:close/>
                    <a:moveTo>
                      <a:pt x="123718" y="551014"/>
                    </a:moveTo>
                    <a:lnTo>
                      <a:pt x="123718" y="605307"/>
                    </a:lnTo>
                    <a:lnTo>
                      <a:pt x="229745" y="605307"/>
                    </a:lnTo>
                    <a:lnTo>
                      <a:pt x="229745" y="551014"/>
                    </a:lnTo>
                    <a:close/>
                    <a:moveTo>
                      <a:pt x="335796" y="433726"/>
                    </a:moveTo>
                    <a:lnTo>
                      <a:pt x="335796" y="488019"/>
                    </a:lnTo>
                    <a:lnTo>
                      <a:pt x="441823" y="488019"/>
                    </a:lnTo>
                    <a:lnTo>
                      <a:pt x="441823" y="433726"/>
                    </a:lnTo>
                    <a:close/>
                    <a:moveTo>
                      <a:pt x="123718" y="429032"/>
                    </a:moveTo>
                    <a:lnTo>
                      <a:pt x="123718" y="483325"/>
                    </a:lnTo>
                    <a:lnTo>
                      <a:pt x="229745" y="483325"/>
                    </a:lnTo>
                    <a:lnTo>
                      <a:pt x="229745" y="429032"/>
                    </a:lnTo>
                    <a:close/>
                    <a:moveTo>
                      <a:pt x="244058" y="0"/>
                    </a:moveTo>
                    <a:lnTo>
                      <a:pt x="321484" y="0"/>
                    </a:lnTo>
                    <a:lnTo>
                      <a:pt x="321484" y="178763"/>
                    </a:lnTo>
                    <a:lnTo>
                      <a:pt x="388810" y="178763"/>
                    </a:lnTo>
                    <a:lnTo>
                      <a:pt x="388810" y="299617"/>
                    </a:lnTo>
                    <a:lnTo>
                      <a:pt x="565541" y="299617"/>
                    </a:lnTo>
                    <a:lnTo>
                      <a:pt x="565541" y="1976576"/>
                    </a:lnTo>
                    <a:lnTo>
                      <a:pt x="448247" y="1976576"/>
                    </a:lnTo>
                    <a:lnTo>
                      <a:pt x="371127" y="1976576"/>
                    </a:lnTo>
                    <a:lnTo>
                      <a:pt x="194414" y="1976576"/>
                    </a:lnTo>
                    <a:lnTo>
                      <a:pt x="88332" y="1976576"/>
                    </a:lnTo>
                    <a:lnTo>
                      <a:pt x="0" y="1976576"/>
                    </a:lnTo>
                    <a:lnTo>
                      <a:pt x="0" y="299617"/>
                    </a:lnTo>
                    <a:lnTo>
                      <a:pt x="176731" y="299617"/>
                    </a:lnTo>
                    <a:lnTo>
                      <a:pt x="176731" y="178763"/>
                    </a:lnTo>
                    <a:lnTo>
                      <a:pt x="244058" y="17876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2701" dirty="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B6447CA1-2D32-4DA1-A223-78EF87674843}"/>
                  </a:ext>
                </a:extLst>
              </p:cNvPr>
              <p:cNvSpPr/>
              <p:nvPr/>
            </p:nvSpPr>
            <p:spPr>
              <a:xfrm>
                <a:off x="5147338" y="1925597"/>
                <a:ext cx="477157" cy="2330989"/>
              </a:xfrm>
              <a:custGeom>
                <a:avLst/>
                <a:gdLst>
                  <a:gd name="connsiteX0" fmla="*/ 285608 w 487386"/>
                  <a:gd name="connsiteY0" fmla="*/ 1339706 h 2330989"/>
                  <a:gd name="connsiteX1" fmla="*/ 285608 w 487386"/>
                  <a:gd name="connsiteY1" fmla="*/ 1414297 h 2330989"/>
                  <a:gd name="connsiteX2" fmla="*/ 356272 w 487386"/>
                  <a:gd name="connsiteY2" fmla="*/ 1414297 h 2330989"/>
                  <a:gd name="connsiteX3" fmla="*/ 356272 w 487386"/>
                  <a:gd name="connsiteY3" fmla="*/ 1339706 h 2330989"/>
                  <a:gd name="connsiteX4" fmla="*/ 285608 w 487386"/>
                  <a:gd name="connsiteY4" fmla="*/ 1339706 h 2330989"/>
                  <a:gd name="connsiteX5" fmla="*/ 31407 w 487386"/>
                  <a:gd name="connsiteY5" fmla="*/ 1338724 h 2330989"/>
                  <a:gd name="connsiteX6" fmla="*/ 31407 w 487386"/>
                  <a:gd name="connsiteY6" fmla="*/ 1414297 h 2330989"/>
                  <a:gd name="connsiteX7" fmla="*/ 258126 w 487386"/>
                  <a:gd name="connsiteY7" fmla="*/ 1414297 h 2330989"/>
                  <a:gd name="connsiteX8" fmla="*/ 258126 w 487386"/>
                  <a:gd name="connsiteY8" fmla="*/ 1338724 h 2330989"/>
                  <a:gd name="connsiteX9" fmla="*/ 31407 w 487386"/>
                  <a:gd name="connsiteY9" fmla="*/ 1338724 h 2330989"/>
                  <a:gd name="connsiteX10" fmla="*/ 385716 w 487386"/>
                  <a:gd name="connsiteY10" fmla="*/ 1245485 h 2330989"/>
                  <a:gd name="connsiteX11" fmla="*/ 385716 w 487386"/>
                  <a:gd name="connsiteY11" fmla="*/ 1318113 h 2330989"/>
                  <a:gd name="connsiteX12" fmla="*/ 453438 w 487386"/>
                  <a:gd name="connsiteY12" fmla="*/ 1318113 h 2330989"/>
                  <a:gd name="connsiteX13" fmla="*/ 453438 w 487386"/>
                  <a:gd name="connsiteY13" fmla="*/ 1245485 h 2330989"/>
                  <a:gd name="connsiteX14" fmla="*/ 385716 w 487386"/>
                  <a:gd name="connsiteY14" fmla="*/ 1245485 h 2330989"/>
                  <a:gd name="connsiteX15" fmla="*/ 32388 w 487386"/>
                  <a:gd name="connsiteY15" fmla="*/ 1243522 h 2330989"/>
                  <a:gd name="connsiteX16" fmla="*/ 32388 w 487386"/>
                  <a:gd name="connsiteY16" fmla="*/ 1318113 h 2330989"/>
                  <a:gd name="connsiteX17" fmla="*/ 102073 w 487386"/>
                  <a:gd name="connsiteY17" fmla="*/ 1318113 h 2330989"/>
                  <a:gd name="connsiteX18" fmla="*/ 102073 w 487386"/>
                  <a:gd name="connsiteY18" fmla="*/ 1243522 h 2330989"/>
                  <a:gd name="connsiteX19" fmla="*/ 32388 w 487386"/>
                  <a:gd name="connsiteY19" fmla="*/ 1243522 h 2330989"/>
                  <a:gd name="connsiteX20" fmla="*/ 130535 w 487386"/>
                  <a:gd name="connsiteY20" fmla="*/ 1242540 h 2330989"/>
                  <a:gd name="connsiteX21" fmla="*/ 130535 w 487386"/>
                  <a:gd name="connsiteY21" fmla="*/ 1317131 h 2330989"/>
                  <a:gd name="connsiteX22" fmla="*/ 356272 w 487386"/>
                  <a:gd name="connsiteY22" fmla="*/ 1317131 h 2330989"/>
                  <a:gd name="connsiteX23" fmla="*/ 356272 w 487386"/>
                  <a:gd name="connsiteY23" fmla="*/ 1242540 h 2330989"/>
                  <a:gd name="connsiteX24" fmla="*/ 130535 w 487386"/>
                  <a:gd name="connsiteY24" fmla="*/ 1242540 h 2330989"/>
                  <a:gd name="connsiteX25" fmla="*/ 128572 w 487386"/>
                  <a:gd name="connsiteY25" fmla="*/ 1149301 h 2330989"/>
                  <a:gd name="connsiteX26" fmla="*/ 128572 w 487386"/>
                  <a:gd name="connsiteY26" fmla="*/ 1220947 h 2330989"/>
                  <a:gd name="connsiteX27" fmla="*/ 199237 w 487386"/>
                  <a:gd name="connsiteY27" fmla="*/ 1220947 h 2330989"/>
                  <a:gd name="connsiteX28" fmla="*/ 199237 w 487386"/>
                  <a:gd name="connsiteY28" fmla="*/ 1149301 h 2330989"/>
                  <a:gd name="connsiteX29" fmla="*/ 128572 w 487386"/>
                  <a:gd name="connsiteY29" fmla="*/ 1149301 h 2330989"/>
                  <a:gd name="connsiteX30" fmla="*/ 226720 w 487386"/>
                  <a:gd name="connsiteY30" fmla="*/ 1148319 h 2330989"/>
                  <a:gd name="connsiteX31" fmla="*/ 226720 w 487386"/>
                  <a:gd name="connsiteY31" fmla="*/ 1219966 h 2330989"/>
                  <a:gd name="connsiteX32" fmla="*/ 453438 w 487386"/>
                  <a:gd name="connsiteY32" fmla="*/ 1219966 h 2330989"/>
                  <a:gd name="connsiteX33" fmla="*/ 453438 w 487386"/>
                  <a:gd name="connsiteY33" fmla="*/ 1148319 h 2330989"/>
                  <a:gd name="connsiteX34" fmla="*/ 226720 w 487386"/>
                  <a:gd name="connsiteY34" fmla="*/ 1148319 h 2330989"/>
                  <a:gd name="connsiteX35" fmla="*/ 128572 w 487386"/>
                  <a:gd name="connsiteY35" fmla="*/ 1050172 h 2330989"/>
                  <a:gd name="connsiteX36" fmla="*/ 128572 w 487386"/>
                  <a:gd name="connsiteY36" fmla="*/ 1121820 h 2330989"/>
                  <a:gd name="connsiteX37" fmla="*/ 357254 w 487386"/>
                  <a:gd name="connsiteY37" fmla="*/ 1121820 h 2330989"/>
                  <a:gd name="connsiteX38" fmla="*/ 357254 w 487386"/>
                  <a:gd name="connsiteY38" fmla="*/ 1050172 h 2330989"/>
                  <a:gd name="connsiteX39" fmla="*/ 128572 w 487386"/>
                  <a:gd name="connsiteY39" fmla="*/ 1050172 h 2330989"/>
                  <a:gd name="connsiteX40" fmla="*/ 32388 w 487386"/>
                  <a:gd name="connsiteY40" fmla="*/ 1050172 h 2330989"/>
                  <a:gd name="connsiteX41" fmla="*/ 32388 w 487386"/>
                  <a:gd name="connsiteY41" fmla="*/ 1122800 h 2330989"/>
                  <a:gd name="connsiteX42" fmla="*/ 103055 w 487386"/>
                  <a:gd name="connsiteY42" fmla="*/ 1122800 h 2330989"/>
                  <a:gd name="connsiteX43" fmla="*/ 103055 w 487386"/>
                  <a:gd name="connsiteY43" fmla="*/ 1050172 h 2330989"/>
                  <a:gd name="connsiteX44" fmla="*/ 32388 w 487386"/>
                  <a:gd name="connsiteY44" fmla="*/ 1050172 h 2330989"/>
                  <a:gd name="connsiteX45" fmla="*/ 383754 w 487386"/>
                  <a:gd name="connsiteY45" fmla="*/ 953007 h 2330989"/>
                  <a:gd name="connsiteX46" fmla="*/ 383754 w 487386"/>
                  <a:gd name="connsiteY46" fmla="*/ 1024654 h 2330989"/>
                  <a:gd name="connsiteX47" fmla="*/ 452457 w 487386"/>
                  <a:gd name="connsiteY47" fmla="*/ 1024654 h 2330989"/>
                  <a:gd name="connsiteX48" fmla="*/ 452457 w 487386"/>
                  <a:gd name="connsiteY48" fmla="*/ 953007 h 2330989"/>
                  <a:gd name="connsiteX49" fmla="*/ 383754 w 487386"/>
                  <a:gd name="connsiteY49" fmla="*/ 953007 h 2330989"/>
                  <a:gd name="connsiteX50" fmla="*/ 30425 w 487386"/>
                  <a:gd name="connsiteY50" fmla="*/ 953007 h 2330989"/>
                  <a:gd name="connsiteX51" fmla="*/ 30425 w 487386"/>
                  <a:gd name="connsiteY51" fmla="*/ 1023673 h 2330989"/>
                  <a:gd name="connsiteX52" fmla="*/ 259108 w 487386"/>
                  <a:gd name="connsiteY52" fmla="*/ 1023673 h 2330989"/>
                  <a:gd name="connsiteX53" fmla="*/ 259108 w 487386"/>
                  <a:gd name="connsiteY53" fmla="*/ 953007 h 2330989"/>
                  <a:gd name="connsiteX54" fmla="*/ 30425 w 487386"/>
                  <a:gd name="connsiteY54" fmla="*/ 953007 h 2330989"/>
                  <a:gd name="connsiteX55" fmla="*/ 286589 w 487386"/>
                  <a:gd name="connsiteY55" fmla="*/ 952025 h 2330989"/>
                  <a:gd name="connsiteX56" fmla="*/ 286589 w 487386"/>
                  <a:gd name="connsiteY56" fmla="*/ 1023673 h 2330989"/>
                  <a:gd name="connsiteX57" fmla="*/ 357254 w 487386"/>
                  <a:gd name="connsiteY57" fmla="*/ 1023673 h 2330989"/>
                  <a:gd name="connsiteX58" fmla="*/ 357254 w 487386"/>
                  <a:gd name="connsiteY58" fmla="*/ 952025 h 2330989"/>
                  <a:gd name="connsiteX59" fmla="*/ 286589 w 487386"/>
                  <a:gd name="connsiteY59" fmla="*/ 952025 h 2330989"/>
                  <a:gd name="connsiteX60" fmla="*/ 382772 w 487386"/>
                  <a:gd name="connsiteY60" fmla="*/ 854860 h 2330989"/>
                  <a:gd name="connsiteX61" fmla="*/ 382772 w 487386"/>
                  <a:gd name="connsiteY61" fmla="*/ 927489 h 2330989"/>
                  <a:gd name="connsiteX62" fmla="*/ 452457 w 487386"/>
                  <a:gd name="connsiteY62" fmla="*/ 927489 h 2330989"/>
                  <a:gd name="connsiteX63" fmla="*/ 452457 w 487386"/>
                  <a:gd name="connsiteY63" fmla="*/ 854860 h 2330989"/>
                  <a:gd name="connsiteX64" fmla="*/ 382772 w 487386"/>
                  <a:gd name="connsiteY64" fmla="*/ 854860 h 2330989"/>
                  <a:gd name="connsiteX65" fmla="*/ 286589 w 487386"/>
                  <a:gd name="connsiteY65" fmla="*/ 853878 h 2330989"/>
                  <a:gd name="connsiteX66" fmla="*/ 286589 w 487386"/>
                  <a:gd name="connsiteY66" fmla="*/ 927489 h 2330989"/>
                  <a:gd name="connsiteX67" fmla="*/ 355291 w 487386"/>
                  <a:gd name="connsiteY67" fmla="*/ 927489 h 2330989"/>
                  <a:gd name="connsiteX68" fmla="*/ 355291 w 487386"/>
                  <a:gd name="connsiteY68" fmla="*/ 853878 h 2330989"/>
                  <a:gd name="connsiteX69" fmla="*/ 286589 w 487386"/>
                  <a:gd name="connsiteY69" fmla="*/ 853878 h 2330989"/>
                  <a:gd name="connsiteX70" fmla="*/ 384735 w 487386"/>
                  <a:gd name="connsiteY70" fmla="*/ 756713 h 2330989"/>
                  <a:gd name="connsiteX71" fmla="*/ 384735 w 487386"/>
                  <a:gd name="connsiteY71" fmla="*/ 829342 h 2330989"/>
                  <a:gd name="connsiteX72" fmla="*/ 453438 w 487386"/>
                  <a:gd name="connsiteY72" fmla="*/ 829342 h 2330989"/>
                  <a:gd name="connsiteX73" fmla="*/ 453438 w 487386"/>
                  <a:gd name="connsiteY73" fmla="*/ 756713 h 2330989"/>
                  <a:gd name="connsiteX74" fmla="*/ 384735 w 487386"/>
                  <a:gd name="connsiteY74" fmla="*/ 756713 h 2330989"/>
                  <a:gd name="connsiteX75" fmla="*/ 130535 w 487386"/>
                  <a:gd name="connsiteY75" fmla="*/ 756713 h 2330989"/>
                  <a:gd name="connsiteX76" fmla="*/ 130535 w 487386"/>
                  <a:gd name="connsiteY76" fmla="*/ 829342 h 2330989"/>
                  <a:gd name="connsiteX77" fmla="*/ 357254 w 487386"/>
                  <a:gd name="connsiteY77" fmla="*/ 829342 h 2330989"/>
                  <a:gd name="connsiteX78" fmla="*/ 357254 w 487386"/>
                  <a:gd name="connsiteY78" fmla="*/ 756713 h 2330989"/>
                  <a:gd name="connsiteX79" fmla="*/ 130535 w 487386"/>
                  <a:gd name="connsiteY79" fmla="*/ 756713 h 2330989"/>
                  <a:gd name="connsiteX80" fmla="*/ 32388 w 487386"/>
                  <a:gd name="connsiteY80" fmla="*/ 755731 h 2330989"/>
                  <a:gd name="connsiteX81" fmla="*/ 32388 w 487386"/>
                  <a:gd name="connsiteY81" fmla="*/ 830323 h 2330989"/>
                  <a:gd name="connsiteX82" fmla="*/ 102073 w 487386"/>
                  <a:gd name="connsiteY82" fmla="*/ 830323 h 2330989"/>
                  <a:gd name="connsiteX83" fmla="*/ 102073 w 487386"/>
                  <a:gd name="connsiteY83" fmla="*/ 755731 h 2330989"/>
                  <a:gd name="connsiteX84" fmla="*/ 32388 w 487386"/>
                  <a:gd name="connsiteY84" fmla="*/ 755731 h 2330989"/>
                  <a:gd name="connsiteX85" fmla="*/ 382772 w 487386"/>
                  <a:gd name="connsiteY85" fmla="*/ 658566 h 2330989"/>
                  <a:gd name="connsiteX86" fmla="*/ 382772 w 487386"/>
                  <a:gd name="connsiteY86" fmla="*/ 733158 h 2330989"/>
                  <a:gd name="connsiteX87" fmla="*/ 452457 w 487386"/>
                  <a:gd name="connsiteY87" fmla="*/ 733158 h 2330989"/>
                  <a:gd name="connsiteX88" fmla="*/ 452457 w 487386"/>
                  <a:gd name="connsiteY88" fmla="*/ 658566 h 2330989"/>
                  <a:gd name="connsiteX89" fmla="*/ 382772 w 487386"/>
                  <a:gd name="connsiteY89" fmla="*/ 658566 h 2330989"/>
                  <a:gd name="connsiteX90" fmla="*/ 31407 w 487386"/>
                  <a:gd name="connsiteY90" fmla="*/ 658566 h 2330989"/>
                  <a:gd name="connsiteX91" fmla="*/ 31407 w 487386"/>
                  <a:gd name="connsiteY91" fmla="*/ 735121 h 2330989"/>
                  <a:gd name="connsiteX92" fmla="*/ 259108 w 487386"/>
                  <a:gd name="connsiteY92" fmla="*/ 735121 h 2330989"/>
                  <a:gd name="connsiteX93" fmla="*/ 259108 w 487386"/>
                  <a:gd name="connsiteY93" fmla="*/ 658566 h 2330989"/>
                  <a:gd name="connsiteX94" fmla="*/ 31407 w 487386"/>
                  <a:gd name="connsiteY94" fmla="*/ 658566 h 2330989"/>
                  <a:gd name="connsiteX95" fmla="*/ 226720 w 487386"/>
                  <a:gd name="connsiteY95" fmla="*/ 561400 h 2330989"/>
                  <a:gd name="connsiteX96" fmla="*/ 226720 w 487386"/>
                  <a:gd name="connsiteY96" fmla="*/ 638937 h 2330989"/>
                  <a:gd name="connsiteX97" fmla="*/ 451475 w 487386"/>
                  <a:gd name="connsiteY97" fmla="*/ 638937 h 2330989"/>
                  <a:gd name="connsiteX98" fmla="*/ 451475 w 487386"/>
                  <a:gd name="connsiteY98" fmla="*/ 561400 h 2330989"/>
                  <a:gd name="connsiteX99" fmla="*/ 226720 w 487386"/>
                  <a:gd name="connsiteY99" fmla="*/ 561400 h 2330989"/>
                  <a:gd name="connsiteX100" fmla="*/ 128572 w 487386"/>
                  <a:gd name="connsiteY100" fmla="*/ 561400 h 2330989"/>
                  <a:gd name="connsiteX101" fmla="*/ 128572 w 487386"/>
                  <a:gd name="connsiteY101" fmla="*/ 636974 h 2330989"/>
                  <a:gd name="connsiteX102" fmla="*/ 198257 w 487386"/>
                  <a:gd name="connsiteY102" fmla="*/ 636974 h 2330989"/>
                  <a:gd name="connsiteX103" fmla="*/ 198257 w 487386"/>
                  <a:gd name="connsiteY103" fmla="*/ 561400 h 2330989"/>
                  <a:gd name="connsiteX104" fmla="*/ 128572 w 487386"/>
                  <a:gd name="connsiteY104" fmla="*/ 561400 h 2330989"/>
                  <a:gd name="connsiteX105" fmla="*/ 129554 w 487386"/>
                  <a:gd name="connsiteY105" fmla="*/ 464235 h 2330989"/>
                  <a:gd name="connsiteX106" fmla="*/ 129554 w 487386"/>
                  <a:gd name="connsiteY106" fmla="*/ 540790 h 2330989"/>
                  <a:gd name="connsiteX107" fmla="*/ 356272 w 487386"/>
                  <a:gd name="connsiteY107" fmla="*/ 540790 h 2330989"/>
                  <a:gd name="connsiteX108" fmla="*/ 356272 w 487386"/>
                  <a:gd name="connsiteY108" fmla="*/ 464235 h 2330989"/>
                  <a:gd name="connsiteX109" fmla="*/ 129554 w 487386"/>
                  <a:gd name="connsiteY109" fmla="*/ 464235 h 2330989"/>
                  <a:gd name="connsiteX110" fmla="*/ 34352 w 487386"/>
                  <a:gd name="connsiteY110" fmla="*/ 463253 h 2330989"/>
                  <a:gd name="connsiteX111" fmla="*/ 34352 w 487386"/>
                  <a:gd name="connsiteY111" fmla="*/ 539808 h 2330989"/>
                  <a:gd name="connsiteX112" fmla="*/ 102073 w 487386"/>
                  <a:gd name="connsiteY112" fmla="*/ 539808 h 2330989"/>
                  <a:gd name="connsiteX113" fmla="*/ 102073 w 487386"/>
                  <a:gd name="connsiteY113" fmla="*/ 463253 h 2330989"/>
                  <a:gd name="connsiteX114" fmla="*/ 34352 w 487386"/>
                  <a:gd name="connsiteY114" fmla="*/ 463253 h 2330989"/>
                  <a:gd name="connsiteX115" fmla="*/ 384735 w 487386"/>
                  <a:gd name="connsiteY115" fmla="*/ 462272 h 2330989"/>
                  <a:gd name="connsiteX116" fmla="*/ 384735 w 487386"/>
                  <a:gd name="connsiteY116" fmla="*/ 540790 h 2330989"/>
                  <a:gd name="connsiteX117" fmla="*/ 451475 w 487386"/>
                  <a:gd name="connsiteY117" fmla="*/ 540790 h 2330989"/>
                  <a:gd name="connsiteX118" fmla="*/ 451475 w 487386"/>
                  <a:gd name="connsiteY118" fmla="*/ 462272 h 2330989"/>
                  <a:gd name="connsiteX119" fmla="*/ 384735 w 487386"/>
                  <a:gd name="connsiteY119" fmla="*/ 462272 h 2330989"/>
                  <a:gd name="connsiteX120" fmla="*/ 52999 w 487386"/>
                  <a:gd name="connsiteY120" fmla="*/ 286589 h 2330989"/>
                  <a:gd name="connsiteX121" fmla="*/ 52999 w 487386"/>
                  <a:gd name="connsiteY121" fmla="*/ 364126 h 2330989"/>
                  <a:gd name="connsiteX122" fmla="*/ 192368 w 487386"/>
                  <a:gd name="connsiteY122" fmla="*/ 364126 h 2330989"/>
                  <a:gd name="connsiteX123" fmla="*/ 192368 w 487386"/>
                  <a:gd name="connsiteY123" fmla="*/ 286589 h 2330989"/>
                  <a:gd name="connsiteX124" fmla="*/ 52999 w 487386"/>
                  <a:gd name="connsiteY124" fmla="*/ 286589 h 2330989"/>
                  <a:gd name="connsiteX125" fmla="*/ 295422 w 487386"/>
                  <a:gd name="connsiteY125" fmla="*/ 285608 h 2330989"/>
                  <a:gd name="connsiteX126" fmla="*/ 295422 w 487386"/>
                  <a:gd name="connsiteY126" fmla="*/ 364126 h 2330989"/>
                  <a:gd name="connsiteX127" fmla="*/ 434790 w 487386"/>
                  <a:gd name="connsiteY127" fmla="*/ 364126 h 2330989"/>
                  <a:gd name="connsiteX128" fmla="*/ 434790 w 487386"/>
                  <a:gd name="connsiteY128" fmla="*/ 285608 h 2330989"/>
                  <a:gd name="connsiteX129" fmla="*/ 295422 w 487386"/>
                  <a:gd name="connsiteY129" fmla="*/ 285608 h 2330989"/>
                  <a:gd name="connsiteX130" fmla="*/ 51036 w 487386"/>
                  <a:gd name="connsiteY130" fmla="*/ 186479 h 2330989"/>
                  <a:gd name="connsiteX131" fmla="*/ 51036 w 487386"/>
                  <a:gd name="connsiteY131" fmla="*/ 259108 h 2330989"/>
                  <a:gd name="connsiteX132" fmla="*/ 190405 w 487386"/>
                  <a:gd name="connsiteY132" fmla="*/ 259108 h 2330989"/>
                  <a:gd name="connsiteX133" fmla="*/ 190405 w 487386"/>
                  <a:gd name="connsiteY133" fmla="*/ 186479 h 2330989"/>
                  <a:gd name="connsiteX134" fmla="*/ 51036 w 487386"/>
                  <a:gd name="connsiteY134" fmla="*/ 186479 h 2330989"/>
                  <a:gd name="connsiteX135" fmla="*/ 294440 w 487386"/>
                  <a:gd name="connsiteY135" fmla="*/ 185498 h 2330989"/>
                  <a:gd name="connsiteX136" fmla="*/ 294440 w 487386"/>
                  <a:gd name="connsiteY136" fmla="*/ 260090 h 2330989"/>
                  <a:gd name="connsiteX137" fmla="*/ 432828 w 487386"/>
                  <a:gd name="connsiteY137" fmla="*/ 260090 h 2330989"/>
                  <a:gd name="connsiteX138" fmla="*/ 432828 w 487386"/>
                  <a:gd name="connsiteY138" fmla="*/ 185498 h 2330989"/>
                  <a:gd name="connsiteX139" fmla="*/ 294440 w 487386"/>
                  <a:gd name="connsiteY139" fmla="*/ 185498 h 2330989"/>
                  <a:gd name="connsiteX140" fmla="*/ 52999 w 487386"/>
                  <a:gd name="connsiteY140" fmla="*/ 89314 h 2330989"/>
                  <a:gd name="connsiteX141" fmla="*/ 52999 w 487386"/>
                  <a:gd name="connsiteY141" fmla="*/ 158017 h 2330989"/>
                  <a:gd name="connsiteX142" fmla="*/ 191387 w 487386"/>
                  <a:gd name="connsiteY142" fmla="*/ 158017 h 2330989"/>
                  <a:gd name="connsiteX143" fmla="*/ 191387 w 487386"/>
                  <a:gd name="connsiteY143" fmla="*/ 89314 h 2330989"/>
                  <a:gd name="connsiteX144" fmla="*/ 52999 w 487386"/>
                  <a:gd name="connsiteY144" fmla="*/ 89314 h 2330989"/>
                  <a:gd name="connsiteX145" fmla="*/ 296403 w 487386"/>
                  <a:gd name="connsiteY145" fmla="*/ 87351 h 2330989"/>
                  <a:gd name="connsiteX146" fmla="*/ 296403 w 487386"/>
                  <a:gd name="connsiteY146" fmla="*/ 158998 h 2330989"/>
                  <a:gd name="connsiteX147" fmla="*/ 432828 w 487386"/>
                  <a:gd name="connsiteY147" fmla="*/ 158998 h 2330989"/>
                  <a:gd name="connsiteX148" fmla="*/ 432828 w 487386"/>
                  <a:gd name="connsiteY148" fmla="*/ 87351 h 2330989"/>
                  <a:gd name="connsiteX149" fmla="*/ 296403 w 487386"/>
                  <a:gd name="connsiteY149" fmla="*/ 87351 h 2330989"/>
                  <a:gd name="connsiteX150" fmla="*/ 26499 w 487386"/>
                  <a:gd name="connsiteY150" fmla="*/ 0 h 2330989"/>
                  <a:gd name="connsiteX151" fmla="*/ 219849 w 487386"/>
                  <a:gd name="connsiteY151" fmla="*/ 0 h 2330989"/>
                  <a:gd name="connsiteX152" fmla="*/ 219849 w 487386"/>
                  <a:gd name="connsiteY152" fmla="*/ 111888 h 2330989"/>
                  <a:gd name="connsiteX153" fmla="*/ 219849 w 487386"/>
                  <a:gd name="connsiteY153" fmla="*/ 337625 h 2330989"/>
                  <a:gd name="connsiteX154" fmla="*/ 263033 w 487386"/>
                  <a:gd name="connsiteY154" fmla="*/ 366088 h 2330989"/>
                  <a:gd name="connsiteX155" fmla="*/ 263033 w 487386"/>
                  <a:gd name="connsiteY155" fmla="*/ 2945 h 2330989"/>
                  <a:gd name="connsiteX156" fmla="*/ 461290 w 487386"/>
                  <a:gd name="connsiteY156" fmla="*/ 2945 h 2330989"/>
                  <a:gd name="connsiteX157" fmla="*/ 463253 w 487386"/>
                  <a:gd name="connsiteY157" fmla="*/ 330756 h 2330989"/>
                  <a:gd name="connsiteX158" fmla="*/ 481901 w 487386"/>
                  <a:gd name="connsiteY158" fmla="*/ 1297502 h 2330989"/>
                  <a:gd name="connsiteX159" fmla="*/ 483863 w 487386"/>
                  <a:gd name="connsiteY159" fmla="*/ 2269156 h 2330989"/>
                  <a:gd name="connsiteX160" fmla="*/ 483863 w 487386"/>
                  <a:gd name="connsiteY160" fmla="*/ 2330989 h 2330989"/>
                  <a:gd name="connsiteX161" fmla="*/ 0 w 487386"/>
                  <a:gd name="connsiteY161" fmla="*/ 2330989 h 2330989"/>
                  <a:gd name="connsiteX162" fmla="*/ 0 w 487386"/>
                  <a:gd name="connsiteY162" fmla="*/ 2284859 h 2330989"/>
                  <a:gd name="connsiteX163" fmla="*/ 0 w 487386"/>
                  <a:gd name="connsiteY163" fmla="*/ 421051 h 2330989"/>
                  <a:gd name="connsiteX164" fmla="*/ 26499 w 487386"/>
                  <a:gd name="connsiteY164" fmla="*/ 0 h 2330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</a:cxnLst>
                <a:rect l="l" t="t" r="r" b="b"/>
                <a:pathLst>
                  <a:path w="487386" h="2330989">
                    <a:moveTo>
                      <a:pt x="285608" y="1339706"/>
                    </a:moveTo>
                    <a:cubicBezTo>
                      <a:pt x="285608" y="1366205"/>
                      <a:pt x="285608" y="1388779"/>
                      <a:pt x="285608" y="1414297"/>
                    </a:cubicBezTo>
                    <a:cubicBezTo>
                      <a:pt x="312107" y="1414297"/>
                      <a:pt x="333699" y="1414297"/>
                      <a:pt x="356272" y="1414297"/>
                    </a:cubicBezTo>
                    <a:cubicBezTo>
                      <a:pt x="356272" y="1387797"/>
                      <a:pt x="356272" y="1364242"/>
                      <a:pt x="356272" y="1339706"/>
                    </a:cubicBezTo>
                    <a:cubicBezTo>
                      <a:pt x="331736" y="1339706"/>
                      <a:pt x="309163" y="1339706"/>
                      <a:pt x="285608" y="1339706"/>
                    </a:cubicBezTo>
                    <a:close/>
                    <a:moveTo>
                      <a:pt x="31407" y="1338724"/>
                    </a:moveTo>
                    <a:cubicBezTo>
                      <a:pt x="31407" y="1366205"/>
                      <a:pt x="31407" y="1389760"/>
                      <a:pt x="31407" y="1414297"/>
                    </a:cubicBezTo>
                    <a:cubicBezTo>
                      <a:pt x="108942" y="1414297"/>
                      <a:pt x="183534" y="1414297"/>
                      <a:pt x="258126" y="1414297"/>
                    </a:cubicBezTo>
                    <a:cubicBezTo>
                      <a:pt x="258126" y="1386816"/>
                      <a:pt x="258126" y="1363261"/>
                      <a:pt x="258126" y="1338724"/>
                    </a:cubicBezTo>
                    <a:cubicBezTo>
                      <a:pt x="180590" y="1338724"/>
                      <a:pt x="106980" y="1338724"/>
                      <a:pt x="31407" y="1338724"/>
                    </a:cubicBezTo>
                    <a:close/>
                    <a:moveTo>
                      <a:pt x="385716" y="1245485"/>
                    </a:moveTo>
                    <a:cubicBezTo>
                      <a:pt x="385716" y="1271984"/>
                      <a:pt x="385716" y="1295539"/>
                      <a:pt x="385716" y="1318113"/>
                    </a:cubicBezTo>
                    <a:cubicBezTo>
                      <a:pt x="410253" y="1318113"/>
                      <a:pt x="430864" y="1318113"/>
                      <a:pt x="453438" y="1318113"/>
                    </a:cubicBezTo>
                    <a:cubicBezTo>
                      <a:pt x="453438" y="1293576"/>
                      <a:pt x="453438" y="1271003"/>
                      <a:pt x="453438" y="1245485"/>
                    </a:cubicBezTo>
                    <a:cubicBezTo>
                      <a:pt x="427920" y="1245485"/>
                      <a:pt x="406328" y="1245485"/>
                      <a:pt x="385716" y="1245485"/>
                    </a:cubicBezTo>
                    <a:close/>
                    <a:moveTo>
                      <a:pt x="32388" y="1243522"/>
                    </a:moveTo>
                    <a:cubicBezTo>
                      <a:pt x="32388" y="1270021"/>
                      <a:pt x="32388" y="1292595"/>
                      <a:pt x="32388" y="1318113"/>
                    </a:cubicBezTo>
                    <a:cubicBezTo>
                      <a:pt x="55943" y="1318113"/>
                      <a:pt x="78518" y="1318113"/>
                      <a:pt x="102073" y="1318113"/>
                    </a:cubicBezTo>
                    <a:cubicBezTo>
                      <a:pt x="102073" y="1292595"/>
                      <a:pt x="102073" y="1269040"/>
                      <a:pt x="102073" y="1243522"/>
                    </a:cubicBezTo>
                    <a:cubicBezTo>
                      <a:pt x="77536" y="1243522"/>
                      <a:pt x="55943" y="1243522"/>
                      <a:pt x="32388" y="1243522"/>
                    </a:cubicBezTo>
                    <a:close/>
                    <a:moveTo>
                      <a:pt x="130535" y="1242540"/>
                    </a:moveTo>
                    <a:cubicBezTo>
                      <a:pt x="130535" y="1271003"/>
                      <a:pt x="130535" y="1294558"/>
                      <a:pt x="130535" y="1317131"/>
                    </a:cubicBezTo>
                    <a:cubicBezTo>
                      <a:pt x="208071" y="1317131"/>
                      <a:pt x="281681" y="1317131"/>
                      <a:pt x="356272" y="1317131"/>
                    </a:cubicBezTo>
                    <a:cubicBezTo>
                      <a:pt x="356272" y="1290632"/>
                      <a:pt x="356272" y="1267077"/>
                      <a:pt x="356272" y="1242540"/>
                    </a:cubicBezTo>
                    <a:cubicBezTo>
                      <a:pt x="278737" y="1242540"/>
                      <a:pt x="206108" y="1242540"/>
                      <a:pt x="130535" y="1242540"/>
                    </a:cubicBezTo>
                    <a:close/>
                    <a:moveTo>
                      <a:pt x="128572" y="1149301"/>
                    </a:moveTo>
                    <a:cubicBezTo>
                      <a:pt x="128572" y="1174819"/>
                      <a:pt x="128572" y="1197392"/>
                      <a:pt x="128572" y="1220947"/>
                    </a:cubicBezTo>
                    <a:cubicBezTo>
                      <a:pt x="153109" y="1220947"/>
                      <a:pt x="174701" y="1220947"/>
                      <a:pt x="199237" y="1220947"/>
                    </a:cubicBezTo>
                    <a:cubicBezTo>
                      <a:pt x="199237" y="1193466"/>
                      <a:pt x="199237" y="1171874"/>
                      <a:pt x="199237" y="1149301"/>
                    </a:cubicBezTo>
                    <a:cubicBezTo>
                      <a:pt x="173719" y="1149301"/>
                      <a:pt x="151146" y="1149301"/>
                      <a:pt x="128572" y="1149301"/>
                    </a:cubicBezTo>
                    <a:close/>
                    <a:moveTo>
                      <a:pt x="226720" y="1148319"/>
                    </a:moveTo>
                    <a:cubicBezTo>
                      <a:pt x="226720" y="1174819"/>
                      <a:pt x="226720" y="1196411"/>
                      <a:pt x="226720" y="1219966"/>
                    </a:cubicBezTo>
                    <a:cubicBezTo>
                      <a:pt x="303273" y="1219966"/>
                      <a:pt x="377866" y="1219966"/>
                      <a:pt x="453438" y="1219966"/>
                    </a:cubicBezTo>
                    <a:cubicBezTo>
                      <a:pt x="453438" y="1195429"/>
                      <a:pt x="453438" y="1172856"/>
                      <a:pt x="453438" y="1148319"/>
                    </a:cubicBezTo>
                    <a:cubicBezTo>
                      <a:pt x="373940" y="1148319"/>
                      <a:pt x="300329" y="1148319"/>
                      <a:pt x="226720" y="1148319"/>
                    </a:cubicBezTo>
                    <a:close/>
                    <a:moveTo>
                      <a:pt x="128572" y="1050172"/>
                    </a:moveTo>
                    <a:cubicBezTo>
                      <a:pt x="128572" y="1075690"/>
                      <a:pt x="128572" y="1098264"/>
                      <a:pt x="128572" y="1121820"/>
                    </a:cubicBezTo>
                    <a:cubicBezTo>
                      <a:pt x="206108" y="1121820"/>
                      <a:pt x="280700" y="1121820"/>
                      <a:pt x="357254" y="1121820"/>
                    </a:cubicBezTo>
                    <a:cubicBezTo>
                      <a:pt x="357254" y="1096301"/>
                      <a:pt x="357254" y="1074709"/>
                      <a:pt x="357254" y="1050172"/>
                    </a:cubicBezTo>
                    <a:cubicBezTo>
                      <a:pt x="279719" y="1050172"/>
                      <a:pt x="204145" y="1050172"/>
                      <a:pt x="128572" y="1050172"/>
                    </a:cubicBezTo>
                    <a:close/>
                    <a:moveTo>
                      <a:pt x="32388" y="1050172"/>
                    </a:moveTo>
                    <a:cubicBezTo>
                      <a:pt x="32388" y="1076672"/>
                      <a:pt x="32388" y="1100227"/>
                      <a:pt x="32388" y="1122800"/>
                    </a:cubicBezTo>
                    <a:cubicBezTo>
                      <a:pt x="57906" y="1122800"/>
                      <a:pt x="79498" y="1122800"/>
                      <a:pt x="103055" y="1122800"/>
                    </a:cubicBezTo>
                    <a:cubicBezTo>
                      <a:pt x="103055" y="1097282"/>
                      <a:pt x="103055" y="1074709"/>
                      <a:pt x="103055" y="1050172"/>
                    </a:cubicBezTo>
                    <a:cubicBezTo>
                      <a:pt x="76555" y="1050172"/>
                      <a:pt x="53981" y="1050172"/>
                      <a:pt x="32388" y="1050172"/>
                    </a:cubicBezTo>
                    <a:close/>
                    <a:moveTo>
                      <a:pt x="383754" y="953007"/>
                    </a:moveTo>
                    <a:cubicBezTo>
                      <a:pt x="383754" y="978525"/>
                      <a:pt x="383754" y="1001098"/>
                      <a:pt x="383754" y="1024654"/>
                    </a:cubicBezTo>
                    <a:cubicBezTo>
                      <a:pt x="408291" y="1024654"/>
                      <a:pt x="429883" y="1024654"/>
                      <a:pt x="452457" y="1024654"/>
                    </a:cubicBezTo>
                    <a:cubicBezTo>
                      <a:pt x="452457" y="998154"/>
                      <a:pt x="452457" y="974599"/>
                      <a:pt x="452457" y="953007"/>
                    </a:cubicBezTo>
                    <a:cubicBezTo>
                      <a:pt x="426939" y="953007"/>
                      <a:pt x="405346" y="953007"/>
                      <a:pt x="383754" y="953007"/>
                    </a:cubicBezTo>
                    <a:close/>
                    <a:moveTo>
                      <a:pt x="30425" y="953007"/>
                    </a:moveTo>
                    <a:cubicBezTo>
                      <a:pt x="30425" y="977543"/>
                      <a:pt x="30425" y="998154"/>
                      <a:pt x="30425" y="1023673"/>
                    </a:cubicBezTo>
                    <a:cubicBezTo>
                      <a:pt x="109924" y="1023673"/>
                      <a:pt x="185497" y="1023673"/>
                      <a:pt x="259108" y="1023673"/>
                    </a:cubicBezTo>
                    <a:cubicBezTo>
                      <a:pt x="259108" y="997172"/>
                      <a:pt x="259108" y="975580"/>
                      <a:pt x="259108" y="953007"/>
                    </a:cubicBezTo>
                    <a:cubicBezTo>
                      <a:pt x="181572" y="953007"/>
                      <a:pt x="105999" y="953007"/>
                      <a:pt x="30425" y="953007"/>
                    </a:cubicBezTo>
                    <a:close/>
                    <a:moveTo>
                      <a:pt x="286589" y="952025"/>
                    </a:moveTo>
                    <a:cubicBezTo>
                      <a:pt x="286589" y="977543"/>
                      <a:pt x="286589" y="1001098"/>
                      <a:pt x="286589" y="1023673"/>
                    </a:cubicBezTo>
                    <a:cubicBezTo>
                      <a:pt x="312107" y="1023673"/>
                      <a:pt x="333699" y="1023673"/>
                      <a:pt x="357254" y="1023673"/>
                    </a:cubicBezTo>
                    <a:cubicBezTo>
                      <a:pt x="357254" y="999135"/>
                      <a:pt x="357254" y="977543"/>
                      <a:pt x="357254" y="952025"/>
                    </a:cubicBezTo>
                    <a:cubicBezTo>
                      <a:pt x="330754" y="952025"/>
                      <a:pt x="309163" y="952025"/>
                      <a:pt x="286589" y="952025"/>
                    </a:cubicBezTo>
                    <a:close/>
                    <a:moveTo>
                      <a:pt x="382772" y="854860"/>
                    </a:moveTo>
                    <a:cubicBezTo>
                      <a:pt x="382772" y="879396"/>
                      <a:pt x="382772" y="901970"/>
                      <a:pt x="382772" y="927489"/>
                    </a:cubicBezTo>
                    <a:cubicBezTo>
                      <a:pt x="409272" y="927489"/>
                      <a:pt x="429883" y="927489"/>
                      <a:pt x="452457" y="927489"/>
                    </a:cubicBezTo>
                    <a:cubicBezTo>
                      <a:pt x="452457" y="901970"/>
                      <a:pt x="452457" y="878415"/>
                      <a:pt x="452457" y="854860"/>
                    </a:cubicBezTo>
                    <a:cubicBezTo>
                      <a:pt x="426939" y="854860"/>
                      <a:pt x="405346" y="854860"/>
                      <a:pt x="382772" y="854860"/>
                    </a:cubicBezTo>
                    <a:close/>
                    <a:moveTo>
                      <a:pt x="286589" y="853878"/>
                    </a:moveTo>
                    <a:cubicBezTo>
                      <a:pt x="286589" y="880378"/>
                      <a:pt x="286589" y="902951"/>
                      <a:pt x="286589" y="927489"/>
                    </a:cubicBezTo>
                    <a:cubicBezTo>
                      <a:pt x="311125" y="927489"/>
                      <a:pt x="331736" y="927489"/>
                      <a:pt x="355291" y="927489"/>
                    </a:cubicBezTo>
                    <a:cubicBezTo>
                      <a:pt x="355291" y="901970"/>
                      <a:pt x="355291" y="878415"/>
                      <a:pt x="355291" y="853878"/>
                    </a:cubicBezTo>
                    <a:cubicBezTo>
                      <a:pt x="330754" y="853878"/>
                      <a:pt x="308181" y="853878"/>
                      <a:pt x="286589" y="853878"/>
                    </a:cubicBezTo>
                    <a:close/>
                    <a:moveTo>
                      <a:pt x="384735" y="756713"/>
                    </a:moveTo>
                    <a:cubicBezTo>
                      <a:pt x="384735" y="783212"/>
                      <a:pt x="384735" y="806767"/>
                      <a:pt x="384735" y="829342"/>
                    </a:cubicBezTo>
                    <a:cubicBezTo>
                      <a:pt x="409272" y="829342"/>
                      <a:pt x="429883" y="829342"/>
                      <a:pt x="453438" y="829342"/>
                    </a:cubicBezTo>
                    <a:cubicBezTo>
                      <a:pt x="453438" y="804805"/>
                      <a:pt x="453438" y="783212"/>
                      <a:pt x="453438" y="756713"/>
                    </a:cubicBezTo>
                    <a:cubicBezTo>
                      <a:pt x="427920" y="756713"/>
                      <a:pt x="406328" y="756713"/>
                      <a:pt x="384735" y="756713"/>
                    </a:cubicBezTo>
                    <a:close/>
                    <a:moveTo>
                      <a:pt x="130535" y="756713"/>
                    </a:moveTo>
                    <a:cubicBezTo>
                      <a:pt x="130535" y="784194"/>
                      <a:pt x="130535" y="807749"/>
                      <a:pt x="130535" y="829342"/>
                    </a:cubicBezTo>
                    <a:cubicBezTo>
                      <a:pt x="208071" y="829342"/>
                      <a:pt x="282663" y="829342"/>
                      <a:pt x="357254" y="829342"/>
                    </a:cubicBezTo>
                    <a:cubicBezTo>
                      <a:pt x="357254" y="802842"/>
                      <a:pt x="357254" y="781249"/>
                      <a:pt x="357254" y="756713"/>
                    </a:cubicBezTo>
                    <a:cubicBezTo>
                      <a:pt x="277755" y="756713"/>
                      <a:pt x="203163" y="756713"/>
                      <a:pt x="130535" y="756713"/>
                    </a:cubicBezTo>
                    <a:close/>
                    <a:moveTo>
                      <a:pt x="32388" y="755731"/>
                    </a:moveTo>
                    <a:cubicBezTo>
                      <a:pt x="32388" y="781249"/>
                      <a:pt x="32388" y="804805"/>
                      <a:pt x="32388" y="830323"/>
                    </a:cubicBezTo>
                    <a:cubicBezTo>
                      <a:pt x="56925" y="830323"/>
                      <a:pt x="78518" y="830323"/>
                      <a:pt x="102073" y="830323"/>
                    </a:cubicBezTo>
                    <a:cubicBezTo>
                      <a:pt x="102073" y="803824"/>
                      <a:pt x="102073" y="781249"/>
                      <a:pt x="102073" y="755731"/>
                    </a:cubicBezTo>
                    <a:cubicBezTo>
                      <a:pt x="77536" y="755731"/>
                      <a:pt x="55943" y="755731"/>
                      <a:pt x="32388" y="755731"/>
                    </a:cubicBezTo>
                    <a:close/>
                    <a:moveTo>
                      <a:pt x="382772" y="658566"/>
                    </a:moveTo>
                    <a:cubicBezTo>
                      <a:pt x="382772" y="685065"/>
                      <a:pt x="382772" y="707640"/>
                      <a:pt x="382772" y="733158"/>
                    </a:cubicBezTo>
                    <a:cubicBezTo>
                      <a:pt x="408291" y="733158"/>
                      <a:pt x="429883" y="733158"/>
                      <a:pt x="452457" y="733158"/>
                    </a:cubicBezTo>
                    <a:cubicBezTo>
                      <a:pt x="452457" y="706658"/>
                      <a:pt x="452457" y="683102"/>
                      <a:pt x="452457" y="658566"/>
                    </a:cubicBezTo>
                    <a:cubicBezTo>
                      <a:pt x="427920" y="658566"/>
                      <a:pt x="405346" y="658566"/>
                      <a:pt x="382772" y="658566"/>
                    </a:cubicBezTo>
                    <a:close/>
                    <a:moveTo>
                      <a:pt x="31407" y="658566"/>
                    </a:moveTo>
                    <a:cubicBezTo>
                      <a:pt x="31407" y="684084"/>
                      <a:pt x="31407" y="707640"/>
                      <a:pt x="31407" y="735121"/>
                    </a:cubicBezTo>
                    <a:cubicBezTo>
                      <a:pt x="107962" y="735121"/>
                      <a:pt x="182553" y="735121"/>
                      <a:pt x="259108" y="735121"/>
                    </a:cubicBezTo>
                    <a:cubicBezTo>
                      <a:pt x="259108" y="706658"/>
                      <a:pt x="259108" y="684084"/>
                      <a:pt x="259108" y="658566"/>
                    </a:cubicBezTo>
                    <a:cubicBezTo>
                      <a:pt x="182553" y="658566"/>
                      <a:pt x="107962" y="658566"/>
                      <a:pt x="31407" y="658566"/>
                    </a:cubicBezTo>
                    <a:close/>
                    <a:moveTo>
                      <a:pt x="226720" y="561400"/>
                    </a:moveTo>
                    <a:cubicBezTo>
                      <a:pt x="226720" y="586918"/>
                      <a:pt x="226720" y="610474"/>
                      <a:pt x="226720" y="638937"/>
                    </a:cubicBezTo>
                    <a:cubicBezTo>
                      <a:pt x="304255" y="638937"/>
                      <a:pt x="376884" y="638937"/>
                      <a:pt x="451475" y="638937"/>
                    </a:cubicBezTo>
                    <a:cubicBezTo>
                      <a:pt x="451475" y="611456"/>
                      <a:pt x="451475" y="586918"/>
                      <a:pt x="451475" y="561400"/>
                    </a:cubicBezTo>
                    <a:cubicBezTo>
                      <a:pt x="374921" y="561400"/>
                      <a:pt x="302292" y="561400"/>
                      <a:pt x="226720" y="561400"/>
                    </a:cubicBezTo>
                    <a:close/>
                    <a:moveTo>
                      <a:pt x="128572" y="561400"/>
                    </a:moveTo>
                    <a:cubicBezTo>
                      <a:pt x="128572" y="587900"/>
                      <a:pt x="128572" y="611456"/>
                      <a:pt x="128572" y="636974"/>
                    </a:cubicBezTo>
                    <a:cubicBezTo>
                      <a:pt x="156053" y="636974"/>
                      <a:pt x="177645" y="636974"/>
                      <a:pt x="198257" y="636974"/>
                    </a:cubicBezTo>
                    <a:cubicBezTo>
                      <a:pt x="198257" y="609493"/>
                      <a:pt x="198257" y="585938"/>
                      <a:pt x="198257" y="561400"/>
                    </a:cubicBezTo>
                    <a:cubicBezTo>
                      <a:pt x="173719" y="561400"/>
                      <a:pt x="152128" y="561400"/>
                      <a:pt x="128572" y="561400"/>
                    </a:cubicBezTo>
                    <a:close/>
                    <a:moveTo>
                      <a:pt x="129554" y="464235"/>
                    </a:moveTo>
                    <a:cubicBezTo>
                      <a:pt x="129554" y="489754"/>
                      <a:pt x="129554" y="513309"/>
                      <a:pt x="129554" y="540790"/>
                    </a:cubicBezTo>
                    <a:cubicBezTo>
                      <a:pt x="208071" y="540790"/>
                      <a:pt x="282663" y="540790"/>
                      <a:pt x="356272" y="540790"/>
                    </a:cubicBezTo>
                    <a:cubicBezTo>
                      <a:pt x="356272" y="513309"/>
                      <a:pt x="356272" y="489754"/>
                      <a:pt x="356272" y="464235"/>
                    </a:cubicBezTo>
                    <a:cubicBezTo>
                      <a:pt x="279719" y="464235"/>
                      <a:pt x="205126" y="464235"/>
                      <a:pt x="129554" y="464235"/>
                    </a:cubicBezTo>
                    <a:close/>
                    <a:moveTo>
                      <a:pt x="34352" y="463253"/>
                    </a:moveTo>
                    <a:cubicBezTo>
                      <a:pt x="34352" y="488772"/>
                      <a:pt x="34352" y="514290"/>
                      <a:pt x="34352" y="539808"/>
                    </a:cubicBezTo>
                    <a:cubicBezTo>
                      <a:pt x="58888" y="539808"/>
                      <a:pt x="80480" y="539808"/>
                      <a:pt x="102073" y="539808"/>
                    </a:cubicBezTo>
                    <a:cubicBezTo>
                      <a:pt x="102073" y="512327"/>
                      <a:pt x="102073" y="488772"/>
                      <a:pt x="102073" y="463253"/>
                    </a:cubicBezTo>
                    <a:cubicBezTo>
                      <a:pt x="79498" y="463253"/>
                      <a:pt x="58888" y="463253"/>
                      <a:pt x="34352" y="463253"/>
                    </a:cubicBezTo>
                    <a:close/>
                    <a:moveTo>
                      <a:pt x="384735" y="462272"/>
                    </a:moveTo>
                    <a:cubicBezTo>
                      <a:pt x="384735" y="490734"/>
                      <a:pt x="384735" y="516253"/>
                      <a:pt x="384735" y="540790"/>
                    </a:cubicBezTo>
                    <a:cubicBezTo>
                      <a:pt x="409272" y="540790"/>
                      <a:pt x="430864" y="540790"/>
                      <a:pt x="451475" y="540790"/>
                    </a:cubicBezTo>
                    <a:cubicBezTo>
                      <a:pt x="451475" y="512327"/>
                      <a:pt x="451475" y="487791"/>
                      <a:pt x="451475" y="462272"/>
                    </a:cubicBezTo>
                    <a:cubicBezTo>
                      <a:pt x="427920" y="462272"/>
                      <a:pt x="408291" y="462272"/>
                      <a:pt x="384735" y="462272"/>
                    </a:cubicBezTo>
                    <a:close/>
                    <a:moveTo>
                      <a:pt x="52999" y="286589"/>
                    </a:moveTo>
                    <a:cubicBezTo>
                      <a:pt x="52999" y="316033"/>
                      <a:pt x="52999" y="340570"/>
                      <a:pt x="52999" y="364126"/>
                    </a:cubicBezTo>
                    <a:cubicBezTo>
                      <a:pt x="101091" y="364126"/>
                      <a:pt x="146238" y="364126"/>
                      <a:pt x="192368" y="364126"/>
                    </a:cubicBezTo>
                    <a:cubicBezTo>
                      <a:pt x="192368" y="337625"/>
                      <a:pt x="192368" y="314070"/>
                      <a:pt x="192368" y="286589"/>
                    </a:cubicBezTo>
                    <a:cubicBezTo>
                      <a:pt x="142313" y="286589"/>
                      <a:pt x="97165" y="286589"/>
                      <a:pt x="52999" y="286589"/>
                    </a:cubicBezTo>
                    <a:close/>
                    <a:moveTo>
                      <a:pt x="295422" y="285608"/>
                    </a:moveTo>
                    <a:cubicBezTo>
                      <a:pt x="295422" y="314070"/>
                      <a:pt x="295422" y="339588"/>
                      <a:pt x="295422" y="364126"/>
                    </a:cubicBezTo>
                    <a:cubicBezTo>
                      <a:pt x="343514" y="364126"/>
                      <a:pt x="388661" y="364126"/>
                      <a:pt x="434790" y="364126"/>
                    </a:cubicBezTo>
                    <a:cubicBezTo>
                      <a:pt x="434790" y="337625"/>
                      <a:pt x="434790" y="313089"/>
                      <a:pt x="434790" y="285608"/>
                    </a:cubicBezTo>
                    <a:cubicBezTo>
                      <a:pt x="384735" y="285608"/>
                      <a:pt x="340569" y="285608"/>
                      <a:pt x="295422" y="285608"/>
                    </a:cubicBezTo>
                    <a:close/>
                    <a:moveTo>
                      <a:pt x="51036" y="186479"/>
                    </a:moveTo>
                    <a:cubicBezTo>
                      <a:pt x="51036" y="211997"/>
                      <a:pt x="51036" y="232609"/>
                      <a:pt x="51036" y="259108"/>
                    </a:cubicBezTo>
                    <a:cubicBezTo>
                      <a:pt x="100110" y="259108"/>
                      <a:pt x="144275" y="259108"/>
                      <a:pt x="190405" y="259108"/>
                    </a:cubicBezTo>
                    <a:cubicBezTo>
                      <a:pt x="190405" y="232609"/>
                      <a:pt x="190405" y="209053"/>
                      <a:pt x="190405" y="186479"/>
                    </a:cubicBezTo>
                    <a:cubicBezTo>
                      <a:pt x="142313" y="186479"/>
                      <a:pt x="97165" y="186479"/>
                      <a:pt x="51036" y="186479"/>
                    </a:cubicBezTo>
                    <a:close/>
                    <a:moveTo>
                      <a:pt x="294440" y="185498"/>
                    </a:moveTo>
                    <a:cubicBezTo>
                      <a:pt x="294440" y="211016"/>
                      <a:pt x="294440" y="232609"/>
                      <a:pt x="294440" y="260090"/>
                    </a:cubicBezTo>
                    <a:cubicBezTo>
                      <a:pt x="343514" y="260090"/>
                      <a:pt x="387680" y="260090"/>
                      <a:pt x="432828" y="260090"/>
                    </a:cubicBezTo>
                    <a:cubicBezTo>
                      <a:pt x="432828" y="233590"/>
                      <a:pt x="432828" y="210034"/>
                      <a:pt x="432828" y="185498"/>
                    </a:cubicBezTo>
                    <a:cubicBezTo>
                      <a:pt x="385716" y="185498"/>
                      <a:pt x="340569" y="185498"/>
                      <a:pt x="294440" y="185498"/>
                    </a:cubicBezTo>
                    <a:close/>
                    <a:moveTo>
                      <a:pt x="52999" y="89314"/>
                    </a:moveTo>
                    <a:cubicBezTo>
                      <a:pt x="52999" y="114832"/>
                      <a:pt x="52999" y="136425"/>
                      <a:pt x="52999" y="158017"/>
                    </a:cubicBezTo>
                    <a:cubicBezTo>
                      <a:pt x="101091" y="158017"/>
                      <a:pt x="145257" y="158017"/>
                      <a:pt x="191387" y="158017"/>
                    </a:cubicBezTo>
                    <a:cubicBezTo>
                      <a:pt x="191387" y="134462"/>
                      <a:pt x="191387" y="113850"/>
                      <a:pt x="191387" y="89314"/>
                    </a:cubicBezTo>
                    <a:cubicBezTo>
                      <a:pt x="142313" y="89314"/>
                      <a:pt x="97165" y="89314"/>
                      <a:pt x="52999" y="89314"/>
                    </a:cubicBezTo>
                    <a:close/>
                    <a:moveTo>
                      <a:pt x="296403" y="87351"/>
                    </a:moveTo>
                    <a:cubicBezTo>
                      <a:pt x="296403" y="114832"/>
                      <a:pt x="296403" y="137406"/>
                      <a:pt x="296403" y="158998"/>
                    </a:cubicBezTo>
                    <a:cubicBezTo>
                      <a:pt x="344496" y="158998"/>
                      <a:pt x="388661" y="158998"/>
                      <a:pt x="432828" y="158998"/>
                    </a:cubicBezTo>
                    <a:cubicBezTo>
                      <a:pt x="432828" y="133480"/>
                      <a:pt x="432828" y="110907"/>
                      <a:pt x="432828" y="87351"/>
                    </a:cubicBezTo>
                    <a:cubicBezTo>
                      <a:pt x="386698" y="87351"/>
                      <a:pt x="342532" y="87351"/>
                      <a:pt x="296403" y="87351"/>
                    </a:cubicBezTo>
                    <a:close/>
                    <a:moveTo>
                      <a:pt x="26499" y="0"/>
                    </a:moveTo>
                    <a:cubicBezTo>
                      <a:pt x="91276" y="0"/>
                      <a:pt x="151146" y="0"/>
                      <a:pt x="219849" y="0"/>
                    </a:cubicBezTo>
                    <a:cubicBezTo>
                      <a:pt x="219849" y="38278"/>
                      <a:pt x="219849" y="74592"/>
                      <a:pt x="219849" y="111888"/>
                    </a:cubicBezTo>
                    <a:cubicBezTo>
                      <a:pt x="219849" y="187461"/>
                      <a:pt x="220831" y="262053"/>
                      <a:pt x="219849" y="337625"/>
                    </a:cubicBezTo>
                    <a:cubicBezTo>
                      <a:pt x="218867" y="368051"/>
                      <a:pt x="231626" y="375903"/>
                      <a:pt x="263033" y="366088"/>
                    </a:cubicBezTo>
                    <a:cubicBezTo>
                      <a:pt x="263033" y="247330"/>
                      <a:pt x="263033" y="126610"/>
                      <a:pt x="263033" y="2945"/>
                    </a:cubicBezTo>
                    <a:cubicBezTo>
                      <a:pt x="329773" y="2945"/>
                      <a:pt x="392587" y="2945"/>
                      <a:pt x="461290" y="2945"/>
                    </a:cubicBezTo>
                    <a:cubicBezTo>
                      <a:pt x="461290" y="112869"/>
                      <a:pt x="448530" y="223775"/>
                      <a:pt x="463253" y="330756"/>
                    </a:cubicBezTo>
                    <a:cubicBezTo>
                      <a:pt x="508400" y="652677"/>
                      <a:pt x="475030" y="975580"/>
                      <a:pt x="481901" y="1297502"/>
                    </a:cubicBezTo>
                    <a:cubicBezTo>
                      <a:pt x="488771" y="1621387"/>
                      <a:pt x="483863" y="1945271"/>
                      <a:pt x="483863" y="2269156"/>
                    </a:cubicBezTo>
                    <a:cubicBezTo>
                      <a:pt x="483863" y="2288785"/>
                      <a:pt x="483863" y="2308415"/>
                      <a:pt x="483863" y="2330989"/>
                    </a:cubicBezTo>
                    <a:cubicBezTo>
                      <a:pt x="322902" y="2330989"/>
                      <a:pt x="164887" y="2330989"/>
                      <a:pt x="0" y="2330989"/>
                    </a:cubicBezTo>
                    <a:cubicBezTo>
                      <a:pt x="0" y="2315285"/>
                      <a:pt x="0" y="2299582"/>
                      <a:pt x="0" y="2284859"/>
                    </a:cubicBezTo>
                    <a:cubicBezTo>
                      <a:pt x="0" y="1663590"/>
                      <a:pt x="0" y="1042320"/>
                      <a:pt x="0" y="421051"/>
                    </a:cubicBezTo>
                    <a:cubicBezTo>
                      <a:pt x="45148" y="282663"/>
                      <a:pt x="12759" y="142314"/>
                      <a:pt x="2649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495D095-40B3-408D-92AE-BA75CA471A95}"/>
                  </a:ext>
                </a:extLst>
              </p:cNvPr>
              <p:cNvSpPr/>
              <p:nvPr/>
            </p:nvSpPr>
            <p:spPr>
              <a:xfrm>
                <a:off x="6782219" y="2659087"/>
                <a:ext cx="252773" cy="1597499"/>
              </a:xfrm>
              <a:custGeom>
                <a:avLst/>
                <a:gdLst>
                  <a:gd name="connsiteX0" fmla="*/ 94664 w 252773"/>
                  <a:gd name="connsiteY0" fmla="*/ 1169580 h 1597499"/>
                  <a:gd name="connsiteX1" fmla="*/ 94664 w 252773"/>
                  <a:gd name="connsiteY1" fmla="*/ 1232327 h 1597499"/>
                  <a:gd name="connsiteX2" fmla="*/ 158109 w 252773"/>
                  <a:gd name="connsiteY2" fmla="*/ 1232327 h 1597499"/>
                  <a:gd name="connsiteX3" fmla="*/ 158109 w 252773"/>
                  <a:gd name="connsiteY3" fmla="*/ 1169580 h 1597499"/>
                  <a:gd name="connsiteX4" fmla="*/ 94664 w 252773"/>
                  <a:gd name="connsiteY4" fmla="*/ 1169580 h 1597499"/>
                  <a:gd name="connsiteX5" fmla="*/ 175733 w 252773"/>
                  <a:gd name="connsiteY5" fmla="*/ 1168551 h 1597499"/>
                  <a:gd name="connsiteX6" fmla="*/ 175733 w 252773"/>
                  <a:gd name="connsiteY6" fmla="*/ 1231813 h 1597499"/>
                  <a:gd name="connsiteX7" fmla="*/ 237667 w 252773"/>
                  <a:gd name="connsiteY7" fmla="*/ 1231813 h 1597499"/>
                  <a:gd name="connsiteX8" fmla="*/ 237667 w 252773"/>
                  <a:gd name="connsiteY8" fmla="*/ 1168551 h 1597499"/>
                  <a:gd name="connsiteX9" fmla="*/ 175733 w 252773"/>
                  <a:gd name="connsiteY9" fmla="*/ 1168551 h 1597499"/>
                  <a:gd name="connsiteX10" fmla="*/ 95168 w 252773"/>
                  <a:gd name="connsiteY10" fmla="*/ 1090888 h 1597499"/>
                  <a:gd name="connsiteX11" fmla="*/ 95168 w 252773"/>
                  <a:gd name="connsiteY11" fmla="*/ 1153636 h 1597499"/>
                  <a:gd name="connsiteX12" fmla="*/ 157605 w 252773"/>
                  <a:gd name="connsiteY12" fmla="*/ 1153636 h 1597499"/>
                  <a:gd name="connsiteX13" fmla="*/ 157605 w 252773"/>
                  <a:gd name="connsiteY13" fmla="*/ 1090888 h 1597499"/>
                  <a:gd name="connsiteX14" fmla="*/ 95168 w 252773"/>
                  <a:gd name="connsiteY14" fmla="*/ 1090888 h 1597499"/>
                  <a:gd name="connsiteX15" fmla="*/ 15106 w 252773"/>
                  <a:gd name="connsiteY15" fmla="*/ 1090888 h 1597499"/>
                  <a:gd name="connsiteX16" fmla="*/ 15106 w 252773"/>
                  <a:gd name="connsiteY16" fmla="*/ 1153636 h 1597499"/>
                  <a:gd name="connsiteX17" fmla="*/ 77544 w 252773"/>
                  <a:gd name="connsiteY17" fmla="*/ 1153636 h 1597499"/>
                  <a:gd name="connsiteX18" fmla="*/ 77544 w 252773"/>
                  <a:gd name="connsiteY18" fmla="*/ 1090888 h 1597499"/>
                  <a:gd name="connsiteX19" fmla="*/ 15106 w 252773"/>
                  <a:gd name="connsiteY19" fmla="*/ 1090888 h 1597499"/>
                  <a:gd name="connsiteX20" fmla="*/ 95671 w 252773"/>
                  <a:gd name="connsiteY20" fmla="*/ 1009110 h 1597499"/>
                  <a:gd name="connsiteX21" fmla="*/ 95671 w 252773"/>
                  <a:gd name="connsiteY21" fmla="*/ 1072886 h 1597499"/>
                  <a:gd name="connsiteX22" fmla="*/ 157605 w 252773"/>
                  <a:gd name="connsiteY22" fmla="*/ 1072886 h 1597499"/>
                  <a:gd name="connsiteX23" fmla="*/ 157605 w 252773"/>
                  <a:gd name="connsiteY23" fmla="*/ 1009110 h 1597499"/>
                  <a:gd name="connsiteX24" fmla="*/ 95671 w 252773"/>
                  <a:gd name="connsiteY24" fmla="*/ 1009110 h 1597499"/>
                  <a:gd name="connsiteX25" fmla="*/ 175733 w 252773"/>
                  <a:gd name="connsiteY25" fmla="*/ 1008595 h 1597499"/>
                  <a:gd name="connsiteX26" fmla="*/ 175733 w 252773"/>
                  <a:gd name="connsiteY26" fmla="*/ 1072371 h 1597499"/>
                  <a:gd name="connsiteX27" fmla="*/ 238674 w 252773"/>
                  <a:gd name="connsiteY27" fmla="*/ 1072371 h 1597499"/>
                  <a:gd name="connsiteX28" fmla="*/ 238674 w 252773"/>
                  <a:gd name="connsiteY28" fmla="*/ 1008595 h 1597499"/>
                  <a:gd name="connsiteX29" fmla="*/ 175733 w 252773"/>
                  <a:gd name="connsiteY29" fmla="*/ 1008595 h 1597499"/>
                  <a:gd name="connsiteX30" fmla="*/ 175733 w 252773"/>
                  <a:gd name="connsiteY30" fmla="*/ 929389 h 1597499"/>
                  <a:gd name="connsiteX31" fmla="*/ 175733 w 252773"/>
                  <a:gd name="connsiteY31" fmla="*/ 992651 h 1597499"/>
                  <a:gd name="connsiteX32" fmla="*/ 239178 w 252773"/>
                  <a:gd name="connsiteY32" fmla="*/ 992651 h 1597499"/>
                  <a:gd name="connsiteX33" fmla="*/ 239178 w 252773"/>
                  <a:gd name="connsiteY33" fmla="*/ 929389 h 1597499"/>
                  <a:gd name="connsiteX34" fmla="*/ 175733 w 252773"/>
                  <a:gd name="connsiteY34" fmla="*/ 929389 h 1597499"/>
                  <a:gd name="connsiteX35" fmla="*/ 95671 w 252773"/>
                  <a:gd name="connsiteY35" fmla="*/ 928875 h 1597499"/>
                  <a:gd name="connsiteX36" fmla="*/ 95671 w 252773"/>
                  <a:gd name="connsiteY36" fmla="*/ 993680 h 1597499"/>
                  <a:gd name="connsiteX37" fmla="*/ 157605 w 252773"/>
                  <a:gd name="connsiteY37" fmla="*/ 993680 h 1597499"/>
                  <a:gd name="connsiteX38" fmla="*/ 157605 w 252773"/>
                  <a:gd name="connsiteY38" fmla="*/ 928875 h 1597499"/>
                  <a:gd name="connsiteX39" fmla="*/ 95671 w 252773"/>
                  <a:gd name="connsiteY39" fmla="*/ 928875 h 1597499"/>
                  <a:gd name="connsiteX40" fmla="*/ 14602 w 252773"/>
                  <a:gd name="connsiteY40" fmla="*/ 928875 h 1597499"/>
                  <a:gd name="connsiteX41" fmla="*/ 14602 w 252773"/>
                  <a:gd name="connsiteY41" fmla="*/ 992651 h 1597499"/>
                  <a:gd name="connsiteX42" fmla="*/ 77544 w 252773"/>
                  <a:gd name="connsiteY42" fmla="*/ 992651 h 1597499"/>
                  <a:gd name="connsiteX43" fmla="*/ 77544 w 252773"/>
                  <a:gd name="connsiteY43" fmla="*/ 928875 h 1597499"/>
                  <a:gd name="connsiteX44" fmla="*/ 14602 w 252773"/>
                  <a:gd name="connsiteY44" fmla="*/ 928875 h 1597499"/>
                  <a:gd name="connsiteX45" fmla="*/ 175229 w 252773"/>
                  <a:gd name="connsiteY45" fmla="*/ 849668 h 1597499"/>
                  <a:gd name="connsiteX46" fmla="*/ 175229 w 252773"/>
                  <a:gd name="connsiteY46" fmla="*/ 912930 h 1597499"/>
                  <a:gd name="connsiteX47" fmla="*/ 238171 w 252773"/>
                  <a:gd name="connsiteY47" fmla="*/ 912930 h 1597499"/>
                  <a:gd name="connsiteX48" fmla="*/ 238171 w 252773"/>
                  <a:gd name="connsiteY48" fmla="*/ 849668 h 1597499"/>
                  <a:gd name="connsiteX49" fmla="*/ 175229 w 252773"/>
                  <a:gd name="connsiteY49" fmla="*/ 849668 h 1597499"/>
                  <a:gd name="connsiteX50" fmla="*/ 94664 w 252773"/>
                  <a:gd name="connsiteY50" fmla="*/ 767890 h 1597499"/>
                  <a:gd name="connsiteX51" fmla="*/ 94664 w 252773"/>
                  <a:gd name="connsiteY51" fmla="*/ 831152 h 1597499"/>
                  <a:gd name="connsiteX52" fmla="*/ 157605 w 252773"/>
                  <a:gd name="connsiteY52" fmla="*/ 831152 h 1597499"/>
                  <a:gd name="connsiteX53" fmla="*/ 157605 w 252773"/>
                  <a:gd name="connsiteY53" fmla="*/ 767890 h 1597499"/>
                  <a:gd name="connsiteX54" fmla="*/ 94664 w 252773"/>
                  <a:gd name="connsiteY54" fmla="*/ 767890 h 1597499"/>
                  <a:gd name="connsiteX55" fmla="*/ 15106 w 252773"/>
                  <a:gd name="connsiteY55" fmla="*/ 767890 h 1597499"/>
                  <a:gd name="connsiteX56" fmla="*/ 15106 w 252773"/>
                  <a:gd name="connsiteY56" fmla="*/ 831152 h 1597499"/>
                  <a:gd name="connsiteX57" fmla="*/ 77040 w 252773"/>
                  <a:gd name="connsiteY57" fmla="*/ 831152 h 1597499"/>
                  <a:gd name="connsiteX58" fmla="*/ 77040 w 252773"/>
                  <a:gd name="connsiteY58" fmla="*/ 767890 h 1597499"/>
                  <a:gd name="connsiteX59" fmla="*/ 15106 w 252773"/>
                  <a:gd name="connsiteY59" fmla="*/ 767890 h 1597499"/>
                  <a:gd name="connsiteX60" fmla="*/ 175229 w 252773"/>
                  <a:gd name="connsiteY60" fmla="*/ 767376 h 1597499"/>
                  <a:gd name="connsiteX61" fmla="*/ 175229 w 252773"/>
                  <a:gd name="connsiteY61" fmla="*/ 831667 h 1597499"/>
                  <a:gd name="connsiteX62" fmla="*/ 238171 w 252773"/>
                  <a:gd name="connsiteY62" fmla="*/ 831667 h 1597499"/>
                  <a:gd name="connsiteX63" fmla="*/ 238171 w 252773"/>
                  <a:gd name="connsiteY63" fmla="*/ 767376 h 1597499"/>
                  <a:gd name="connsiteX64" fmla="*/ 175229 w 252773"/>
                  <a:gd name="connsiteY64" fmla="*/ 767376 h 1597499"/>
                  <a:gd name="connsiteX65" fmla="*/ 175229 w 252773"/>
                  <a:gd name="connsiteY65" fmla="*/ 689712 h 1597499"/>
                  <a:gd name="connsiteX66" fmla="*/ 175229 w 252773"/>
                  <a:gd name="connsiteY66" fmla="*/ 752975 h 1597499"/>
                  <a:gd name="connsiteX67" fmla="*/ 238171 w 252773"/>
                  <a:gd name="connsiteY67" fmla="*/ 752975 h 1597499"/>
                  <a:gd name="connsiteX68" fmla="*/ 238171 w 252773"/>
                  <a:gd name="connsiteY68" fmla="*/ 689712 h 1597499"/>
                  <a:gd name="connsiteX69" fmla="*/ 175229 w 252773"/>
                  <a:gd name="connsiteY69" fmla="*/ 689712 h 1597499"/>
                  <a:gd name="connsiteX70" fmla="*/ 14602 w 252773"/>
                  <a:gd name="connsiteY70" fmla="*/ 689198 h 1597499"/>
                  <a:gd name="connsiteX71" fmla="*/ 14602 w 252773"/>
                  <a:gd name="connsiteY71" fmla="*/ 752460 h 1597499"/>
                  <a:gd name="connsiteX72" fmla="*/ 78048 w 252773"/>
                  <a:gd name="connsiteY72" fmla="*/ 752460 h 1597499"/>
                  <a:gd name="connsiteX73" fmla="*/ 78048 w 252773"/>
                  <a:gd name="connsiteY73" fmla="*/ 689198 h 1597499"/>
                  <a:gd name="connsiteX74" fmla="*/ 14602 w 252773"/>
                  <a:gd name="connsiteY74" fmla="*/ 689198 h 1597499"/>
                  <a:gd name="connsiteX75" fmla="*/ 14099 w 252773"/>
                  <a:gd name="connsiteY75" fmla="*/ 608449 h 1597499"/>
                  <a:gd name="connsiteX76" fmla="*/ 14099 w 252773"/>
                  <a:gd name="connsiteY76" fmla="*/ 671711 h 1597499"/>
                  <a:gd name="connsiteX77" fmla="*/ 78048 w 252773"/>
                  <a:gd name="connsiteY77" fmla="*/ 671711 h 1597499"/>
                  <a:gd name="connsiteX78" fmla="*/ 78048 w 252773"/>
                  <a:gd name="connsiteY78" fmla="*/ 608449 h 1597499"/>
                  <a:gd name="connsiteX79" fmla="*/ 14099 w 252773"/>
                  <a:gd name="connsiteY79" fmla="*/ 608449 h 1597499"/>
                  <a:gd name="connsiteX80" fmla="*/ 95168 w 252773"/>
                  <a:gd name="connsiteY80" fmla="*/ 607935 h 1597499"/>
                  <a:gd name="connsiteX81" fmla="*/ 95168 w 252773"/>
                  <a:gd name="connsiteY81" fmla="*/ 672226 h 1597499"/>
                  <a:gd name="connsiteX82" fmla="*/ 158109 w 252773"/>
                  <a:gd name="connsiteY82" fmla="*/ 672226 h 1597499"/>
                  <a:gd name="connsiteX83" fmla="*/ 158109 w 252773"/>
                  <a:gd name="connsiteY83" fmla="*/ 607935 h 1597499"/>
                  <a:gd name="connsiteX84" fmla="*/ 95168 w 252773"/>
                  <a:gd name="connsiteY84" fmla="*/ 607935 h 1597499"/>
                  <a:gd name="connsiteX85" fmla="*/ 175229 w 252773"/>
                  <a:gd name="connsiteY85" fmla="*/ 528728 h 1597499"/>
                  <a:gd name="connsiteX86" fmla="*/ 175229 w 252773"/>
                  <a:gd name="connsiteY86" fmla="*/ 592505 h 1597499"/>
                  <a:gd name="connsiteX87" fmla="*/ 239178 w 252773"/>
                  <a:gd name="connsiteY87" fmla="*/ 592505 h 1597499"/>
                  <a:gd name="connsiteX88" fmla="*/ 239178 w 252773"/>
                  <a:gd name="connsiteY88" fmla="*/ 528728 h 1597499"/>
                  <a:gd name="connsiteX89" fmla="*/ 175229 w 252773"/>
                  <a:gd name="connsiteY89" fmla="*/ 528728 h 1597499"/>
                  <a:gd name="connsiteX90" fmla="*/ 95168 w 252773"/>
                  <a:gd name="connsiteY90" fmla="*/ 528214 h 1597499"/>
                  <a:gd name="connsiteX91" fmla="*/ 95168 w 252773"/>
                  <a:gd name="connsiteY91" fmla="*/ 593019 h 1597499"/>
                  <a:gd name="connsiteX92" fmla="*/ 158613 w 252773"/>
                  <a:gd name="connsiteY92" fmla="*/ 593019 h 1597499"/>
                  <a:gd name="connsiteX93" fmla="*/ 158613 w 252773"/>
                  <a:gd name="connsiteY93" fmla="*/ 528214 h 1597499"/>
                  <a:gd name="connsiteX94" fmla="*/ 95168 w 252773"/>
                  <a:gd name="connsiteY94" fmla="*/ 528214 h 1597499"/>
                  <a:gd name="connsiteX95" fmla="*/ 15106 w 252773"/>
                  <a:gd name="connsiteY95" fmla="*/ 528214 h 1597499"/>
                  <a:gd name="connsiteX96" fmla="*/ 15106 w 252773"/>
                  <a:gd name="connsiteY96" fmla="*/ 593019 h 1597499"/>
                  <a:gd name="connsiteX97" fmla="*/ 78048 w 252773"/>
                  <a:gd name="connsiteY97" fmla="*/ 593019 h 1597499"/>
                  <a:gd name="connsiteX98" fmla="*/ 78048 w 252773"/>
                  <a:gd name="connsiteY98" fmla="*/ 528214 h 1597499"/>
                  <a:gd name="connsiteX99" fmla="*/ 15106 w 252773"/>
                  <a:gd name="connsiteY99" fmla="*/ 528214 h 1597499"/>
                  <a:gd name="connsiteX100" fmla="*/ 14602 w 252773"/>
                  <a:gd name="connsiteY100" fmla="*/ 449007 h 1597499"/>
                  <a:gd name="connsiteX101" fmla="*/ 14602 w 252773"/>
                  <a:gd name="connsiteY101" fmla="*/ 512270 h 1597499"/>
                  <a:gd name="connsiteX102" fmla="*/ 77544 w 252773"/>
                  <a:gd name="connsiteY102" fmla="*/ 512270 h 1597499"/>
                  <a:gd name="connsiteX103" fmla="*/ 77544 w 252773"/>
                  <a:gd name="connsiteY103" fmla="*/ 449007 h 1597499"/>
                  <a:gd name="connsiteX104" fmla="*/ 14602 w 252773"/>
                  <a:gd name="connsiteY104" fmla="*/ 449007 h 1597499"/>
                  <a:gd name="connsiteX105" fmla="*/ 94664 w 252773"/>
                  <a:gd name="connsiteY105" fmla="*/ 447979 h 1597499"/>
                  <a:gd name="connsiteX106" fmla="*/ 94664 w 252773"/>
                  <a:gd name="connsiteY106" fmla="*/ 512270 h 1597499"/>
                  <a:gd name="connsiteX107" fmla="*/ 158613 w 252773"/>
                  <a:gd name="connsiteY107" fmla="*/ 512270 h 1597499"/>
                  <a:gd name="connsiteX108" fmla="*/ 158613 w 252773"/>
                  <a:gd name="connsiteY108" fmla="*/ 447979 h 1597499"/>
                  <a:gd name="connsiteX109" fmla="*/ 94664 w 252773"/>
                  <a:gd name="connsiteY109" fmla="*/ 447979 h 1597499"/>
                  <a:gd name="connsiteX110" fmla="*/ 174726 w 252773"/>
                  <a:gd name="connsiteY110" fmla="*/ 368258 h 1597499"/>
                  <a:gd name="connsiteX111" fmla="*/ 174726 w 252773"/>
                  <a:gd name="connsiteY111" fmla="*/ 431006 h 1597499"/>
                  <a:gd name="connsiteX112" fmla="*/ 239178 w 252773"/>
                  <a:gd name="connsiteY112" fmla="*/ 431006 h 1597499"/>
                  <a:gd name="connsiteX113" fmla="*/ 239178 w 252773"/>
                  <a:gd name="connsiteY113" fmla="*/ 368258 h 1597499"/>
                  <a:gd name="connsiteX114" fmla="*/ 174726 w 252773"/>
                  <a:gd name="connsiteY114" fmla="*/ 368258 h 1597499"/>
                  <a:gd name="connsiteX115" fmla="*/ 95168 w 252773"/>
                  <a:gd name="connsiteY115" fmla="*/ 367744 h 1597499"/>
                  <a:gd name="connsiteX116" fmla="*/ 95168 w 252773"/>
                  <a:gd name="connsiteY116" fmla="*/ 431520 h 1597499"/>
                  <a:gd name="connsiteX117" fmla="*/ 158613 w 252773"/>
                  <a:gd name="connsiteY117" fmla="*/ 431520 h 1597499"/>
                  <a:gd name="connsiteX118" fmla="*/ 158613 w 252773"/>
                  <a:gd name="connsiteY118" fmla="*/ 367744 h 1597499"/>
                  <a:gd name="connsiteX119" fmla="*/ 95168 w 252773"/>
                  <a:gd name="connsiteY119" fmla="*/ 367744 h 1597499"/>
                  <a:gd name="connsiteX120" fmla="*/ 0 w 252773"/>
                  <a:gd name="connsiteY120" fmla="*/ 350771 h 1597499"/>
                  <a:gd name="connsiteX121" fmla="*/ 252270 w 252773"/>
                  <a:gd name="connsiteY121" fmla="*/ 350771 h 1597499"/>
                  <a:gd name="connsiteX122" fmla="*/ 252270 w 252773"/>
                  <a:gd name="connsiteY122" fmla="*/ 1597499 h 1597499"/>
                  <a:gd name="connsiteX123" fmla="*/ 0 w 252773"/>
                  <a:gd name="connsiteY123" fmla="*/ 1597499 h 1597499"/>
                  <a:gd name="connsiteX124" fmla="*/ 0 w 252773"/>
                  <a:gd name="connsiteY124" fmla="*/ 350771 h 1597499"/>
                  <a:gd name="connsiteX125" fmla="*/ 134947 w 252773"/>
                  <a:gd name="connsiteY125" fmla="*/ 273107 h 1597499"/>
                  <a:gd name="connsiteX126" fmla="*/ 134947 w 252773"/>
                  <a:gd name="connsiteY126" fmla="*/ 321969 h 1597499"/>
                  <a:gd name="connsiteX127" fmla="*/ 238674 w 252773"/>
                  <a:gd name="connsiteY127" fmla="*/ 321969 h 1597499"/>
                  <a:gd name="connsiteX128" fmla="*/ 238674 w 252773"/>
                  <a:gd name="connsiteY128" fmla="*/ 273107 h 1597499"/>
                  <a:gd name="connsiteX129" fmla="*/ 134947 w 252773"/>
                  <a:gd name="connsiteY129" fmla="*/ 273107 h 1597499"/>
                  <a:gd name="connsiteX130" fmla="*/ 14099 w 252773"/>
                  <a:gd name="connsiteY130" fmla="*/ 271564 h 1597499"/>
                  <a:gd name="connsiteX131" fmla="*/ 14099 w 252773"/>
                  <a:gd name="connsiteY131" fmla="*/ 321969 h 1597499"/>
                  <a:gd name="connsiteX132" fmla="*/ 117827 w 252773"/>
                  <a:gd name="connsiteY132" fmla="*/ 321969 h 1597499"/>
                  <a:gd name="connsiteX133" fmla="*/ 117827 w 252773"/>
                  <a:gd name="connsiteY133" fmla="*/ 271564 h 1597499"/>
                  <a:gd name="connsiteX134" fmla="*/ 66466 w 252773"/>
                  <a:gd name="connsiteY134" fmla="*/ 271564 h 1597499"/>
                  <a:gd name="connsiteX135" fmla="*/ 14099 w 252773"/>
                  <a:gd name="connsiteY135" fmla="*/ 271564 h 1597499"/>
                  <a:gd name="connsiteX136" fmla="*/ 49346 w 252773"/>
                  <a:gd name="connsiteY136" fmla="*/ 209331 h 1597499"/>
                  <a:gd name="connsiteX137" fmla="*/ 17120 w 252773"/>
                  <a:gd name="connsiteY137" fmla="*/ 255106 h 1597499"/>
                  <a:gd name="connsiteX138" fmla="*/ 237164 w 252773"/>
                  <a:gd name="connsiteY138" fmla="*/ 255106 h 1597499"/>
                  <a:gd name="connsiteX139" fmla="*/ 202923 w 252773"/>
                  <a:gd name="connsiteY139" fmla="*/ 209331 h 1597499"/>
                  <a:gd name="connsiteX140" fmla="*/ 49346 w 252773"/>
                  <a:gd name="connsiteY140" fmla="*/ 209331 h 1597499"/>
                  <a:gd name="connsiteX141" fmla="*/ 0 w 252773"/>
                  <a:gd name="connsiteY141" fmla="*/ 190815 h 1597499"/>
                  <a:gd name="connsiteX142" fmla="*/ 252773 w 252773"/>
                  <a:gd name="connsiteY142" fmla="*/ 190815 h 1597499"/>
                  <a:gd name="connsiteX143" fmla="*/ 252773 w 252773"/>
                  <a:gd name="connsiteY143" fmla="*/ 340484 h 1597499"/>
                  <a:gd name="connsiteX144" fmla="*/ 0 w 252773"/>
                  <a:gd name="connsiteY144" fmla="*/ 340484 h 1597499"/>
                  <a:gd name="connsiteX145" fmla="*/ 0 w 252773"/>
                  <a:gd name="connsiteY145" fmla="*/ 190815 h 1597499"/>
                  <a:gd name="connsiteX146" fmla="*/ 31723 w 252773"/>
                  <a:gd name="connsiteY146" fmla="*/ 0 h 1597499"/>
                  <a:gd name="connsiteX147" fmla="*/ 31723 w 252773"/>
                  <a:gd name="connsiteY147" fmla="*/ 120867 h 1597499"/>
                  <a:gd name="connsiteX148" fmla="*/ 95168 w 252773"/>
                  <a:gd name="connsiteY148" fmla="*/ 120867 h 1597499"/>
                  <a:gd name="connsiteX149" fmla="*/ 95168 w 252773"/>
                  <a:gd name="connsiteY149" fmla="*/ 183100 h 1597499"/>
                  <a:gd name="connsiteX150" fmla="*/ 11078 w 252773"/>
                  <a:gd name="connsiteY150" fmla="*/ 183100 h 1597499"/>
                  <a:gd name="connsiteX151" fmla="*/ 24170 w 252773"/>
                  <a:gd name="connsiteY151" fmla="*/ 514 h 1597499"/>
                  <a:gd name="connsiteX152" fmla="*/ 31723 w 252773"/>
                  <a:gd name="connsiteY152" fmla="*/ 0 h 1597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252773" h="1597499">
                    <a:moveTo>
                      <a:pt x="94664" y="1169580"/>
                    </a:moveTo>
                    <a:cubicBezTo>
                      <a:pt x="94664" y="1191696"/>
                      <a:pt x="94664" y="1211754"/>
                      <a:pt x="94664" y="1232327"/>
                    </a:cubicBezTo>
                    <a:cubicBezTo>
                      <a:pt x="115813" y="1232327"/>
                      <a:pt x="135450" y="1232327"/>
                      <a:pt x="158109" y="1232327"/>
                    </a:cubicBezTo>
                    <a:cubicBezTo>
                      <a:pt x="158109" y="1209697"/>
                      <a:pt x="158109" y="1189639"/>
                      <a:pt x="158109" y="1169580"/>
                    </a:cubicBezTo>
                    <a:cubicBezTo>
                      <a:pt x="136457" y="1169580"/>
                      <a:pt x="115813" y="1169580"/>
                      <a:pt x="94664" y="1169580"/>
                    </a:cubicBezTo>
                    <a:close/>
                    <a:moveTo>
                      <a:pt x="175733" y="1168551"/>
                    </a:moveTo>
                    <a:cubicBezTo>
                      <a:pt x="175733" y="1190153"/>
                      <a:pt x="175733" y="1210726"/>
                      <a:pt x="175733" y="1231813"/>
                    </a:cubicBezTo>
                    <a:cubicBezTo>
                      <a:pt x="197385" y="1231813"/>
                      <a:pt x="217022" y="1231813"/>
                      <a:pt x="237667" y="1231813"/>
                    </a:cubicBezTo>
                    <a:cubicBezTo>
                      <a:pt x="237667" y="1210212"/>
                      <a:pt x="237667" y="1189639"/>
                      <a:pt x="237667" y="1168551"/>
                    </a:cubicBezTo>
                    <a:cubicBezTo>
                      <a:pt x="216519" y="1168551"/>
                      <a:pt x="196881" y="1168551"/>
                      <a:pt x="175733" y="1168551"/>
                    </a:cubicBezTo>
                    <a:close/>
                    <a:moveTo>
                      <a:pt x="95168" y="1090888"/>
                    </a:moveTo>
                    <a:cubicBezTo>
                      <a:pt x="95168" y="1112490"/>
                      <a:pt x="95168" y="1132548"/>
                      <a:pt x="95168" y="1153636"/>
                    </a:cubicBezTo>
                    <a:cubicBezTo>
                      <a:pt x="116820" y="1153636"/>
                      <a:pt x="135954" y="1153636"/>
                      <a:pt x="157605" y="1153636"/>
                    </a:cubicBezTo>
                    <a:cubicBezTo>
                      <a:pt x="157605" y="1132548"/>
                      <a:pt x="157605" y="1113004"/>
                      <a:pt x="157605" y="1090888"/>
                    </a:cubicBezTo>
                    <a:cubicBezTo>
                      <a:pt x="135954" y="1090888"/>
                      <a:pt x="115309" y="1090888"/>
                      <a:pt x="95168" y="1090888"/>
                    </a:cubicBezTo>
                    <a:close/>
                    <a:moveTo>
                      <a:pt x="15106" y="1090888"/>
                    </a:moveTo>
                    <a:cubicBezTo>
                      <a:pt x="15106" y="1112490"/>
                      <a:pt x="15106" y="1132548"/>
                      <a:pt x="15106" y="1153636"/>
                    </a:cubicBezTo>
                    <a:cubicBezTo>
                      <a:pt x="36758" y="1153636"/>
                      <a:pt x="56396" y="1153636"/>
                      <a:pt x="77544" y="1153636"/>
                    </a:cubicBezTo>
                    <a:cubicBezTo>
                      <a:pt x="77544" y="1132548"/>
                      <a:pt x="77544" y="1112490"/>
                      <a:pt x="77544" y="1090888"/>
                    </a:cubicBezTo>
                    <a:cubicBezTo>
                      <a:pt x="55389" y="1090888"/>
                      <a:pt x="34744" y="1090888"/>
                      <a:pt x="15106" y="1090888"/>
                    </a:cubicBezTo>
                    <a:close/>
                    <a:moveTo>
                      <a:pt x="95671" y="1009110"/>
                    </a:moveTo>
                    <a:cubicBezTo>
                      <a:pt x="95671" y="1031225"/>
                      <a:pt x="95671" y="1051798"/>
                      <a:pt x="95671" y="1072886"/>
                    </a:cubicBezTo>
                    <a:cubicBezTo>
                      <a:pt x="116820" y="1072886"/>
                      <a:pt x="135954" y="1072886"/>
                      <a:pt x="157605" y="1072886"/>
                    </a:cubicBezTo>
                    <a:cubicBezTo>
                      <a:pt x="157605" y="1050256"/>
                      <a:pt x="157605" y="1029683"/>
                      <a:pt x="157605" y="1009110"/>
                    </a:cubicBezTo>
                    <a:cubicBezTo>
                      <a:pt x="135450" y="1009110"/>
                      <a:pt x="115813" y="1009110"/>
                      <a:pt x="95671" y="1009110"/>
                    </a:cubicBezTo>
                    <a:close/>
                    <a:moveTo>
                      <a:pt x="175733" y="1008595"/>
                    </a:moveTo>
                    <a:cubicBezTo>
                      <a:pt x="175733" y="1030197"/>
                      <a:pt x="175733" y="1050770"/>
                      <a:pt x="175733" y="1072371"/>
                    </a:cubicBezTo>
                    <a:cubicBezTo>
                      <a:pt x="197385" y="1072371"/>
                      <a:pt x="217022" y="1072371"/>
                      <a:pt x="238674" y="1072371"/>
                    </a:cubicBezTo>
                    <a:cubicBezTo>
                      <a:pt x="238674" y="1050770"/>
                      <a:pt x="238674" y="1029683"/>
                      <a:pt x="238674" y="1008595"/>
                    </a:cubicBezTo>
                    <a:cubicBezTo>
                      <a:pt x="216519" y="1008595"/>
                      <a:pt x="196881" y="1008595"/>
                      <a:pt x="175733" y="1008595"/>
                    </a:cubicBezTo>
                    <a:close/>
                    <a:moveTo>
                      <a:pt x="175733" y="929389"/>
                    </a:moveTo>
                    <a:cubicBezTo>
                      <a:pt x="175733" y="951505"/>
                      <a:pt x="175733" y="972078"/>
                      <a:pt x="175733" y="992651"/>
                    </a:cubicBezTo>
                    <a:cubicBezTo>
                      <a:pt x="197888" y="992651"/>
                      <a:pt x="218029" y="992651"/>
                      <a:pt x="239178" y="992651"/>
                    </a:cubicBezTo>
                    <a:cubicBezTo>
                      <a:pt x="239178" y="970535"/>
                      <a:pt x="239178" y="950990"/>
                      <a:pt x="239178" y="929389"/>
                    </a:cubicBezTo>
                    <a:cubicBezTo>
                      <a:pt x="218029" y="929389"/>
                      <a:pt x="196881" y="929389"/>
                      <a:pt x="175733" y="929389"/>
                    </a:cubicBezTo>
                    <a:close/>
                    <a:moveTo>
                      <a:pt x="95671" y="928875"/>
                    </a:moveTo>
                    <a:cubicBezTo>
                      <a:pt x="95671" y="951505"/>
                      <a:pt x="95671" y="972593"/>
                      <a:pt x="95671" y="993680"/>
                    </a:cubicBezTo>
                    <a:cubicBezTo>
                      <a:pt x="116820" y="993680"/>
                      <a:pt x="135954" y="993680"/>
                      <a:pt x="157605" y="993680"/>
                    </a:cubicBezTo>
                    <a:cubicBezTo>
                      <a:pt x="157605" y="970535"/>
                      <a:pt x="157605" y="949448"/>
                      <a:pt x="157605" y="928875"/>
                    </a:cubicBezTo>
                    <a:cubicBezTo>
                      <a:pt x="135450" y="928875"/>
                      <a:pt x="115309" y="928875"/>
                      <a:pt x="95671" y="928875"/>
                    </a:cubicBezTo>
                    <a:close/>
                    <a:moveTo>
                      <a:pt x="14602" y="928875"/>
                    </a:moveTo>
                    <a:cubicBezTo>
                      <a:pt x="14602" y="951505"/>
                      <a:pt x="14602" y="971563"/>
                      <a:pt x="14602" y="992651"/>
                    </a:cubicBezTo>
                    <a:cubicBezTo>
                      <a:pt x="36255" y="992651"/>
                      <a:pt x="56396" y="992651"/>
                      <a:pt x="77544" y="992651"/>
                    </a:cubicBezTo>
                    <a:cubicBezTo>
                      <a:pt x="77544" y="970021"/>
                      <a:pt x="77544" y="949448"/>
                      <a:pt x="77544" y="928875"/>
                    </a:cubicBezTo>
                    <a:cubicBezTo>
                      <a:pt x="55389" y="928875"/>
                      <a:pt x="35247" y="928875"/>
                      <a:pt x="14602" y="928875"/>
                    </a:cubicBezTo>
                    <a:close/>
                    <a:moveTo>
                      <a:pt x="175229" y="849668"/>
                    </a:moveTo>
                    <a:cubicBezTo>
                      <a:pt x="175229" y="871784"/>
                      <a:pt x="175229" y="891843"/>
                      <a:pt x="175229" y="912930"/>
                    </a:cubicBezTo>
                    <a:cubicBezTo>
                      <a:pt x="196881" y="912930"/>
                      <a:pt x="217022" y="912930"/>
                      <a:pt x="238171" y="912930"/>
                    </a:cubicBezTo>
                    <a:cubicBezTo>
                      <a:pt x="238171" y="891328"/>
                      <a:pt x="238171" y="870241"/>
                      <a:pt x="238171" y="849668"/>
                    </a:cubicBezTo>
                    <a:cubicBezTo>
                      <a:pt x="216015" y="849668"/>
                      <a:pt x="195874" y="849668"/>
                      <a:pt x="175229" y="849668"/>
                    </a:cubicBezTo>
                    <a:close/>
                    <a:moveTo>
                      <a:pt x="94664" y="767890"/>
                    </a:moveTo>
                    <a:cubicBezTo>
                      <a:pt x="94664" y="789492"/>
                      <a:pt x="94664" y="809551"/>
                      <a:pt x="94664" y="831152"/>
                    </a:cubicBezTo>
                    <a:cubicBezTo>
                      <a:pt x="116316" y="831152"/>
                      <a:pt x="136457" y="831152"/>
                      <a:pt x="157605" y="831152"/>
                    </a:cubicBezTo>
                    <a:cubicBezTo>
                      <a:pt x="157605" y="809036"/>
                      <a:pt x="157605" y="788463"/>
                      <a:pt x="157605" y="767890"/>
                    </a:cubicBezTo>
                    <a:cubicBezTo>
                      <a:pt x="135450" y="767890"/>
                      <a:pt x="115813" y="767890"/>
                      <a:pt x="94664" y="767890"/>
                    </a:cubicBezTo>
                    <a:close/>
                    <a:moveTo>
                      <a:pt x="15106" y="767890"/>
                    </a:moveTo>
                    <a:cubicBezTo>
                      <a:pt x="15106" y="790006"/>
                      <a:pt x="15106" y="810579"/>
                      <a:pt x="15106" y="831152"/>
                    </a:cubicBezTo>
                    <a:cubicBezTo>
                      <a:pt x="37262" y="831152"/>
                      <a:pt x="56899" y="831152"/>
                      <a:pt x="77040" y="831152"/>
                    </a:cubicBezTo>
                    <a:cubicBezTo>
                      <a:pt x="77040" y="809036"/>
                      <a:pt x="77040" y="788463"/>
                      <a:pt x="77040" y="767890"/>
                    </a:cubicBezTo>
                    <a:cubicBezTo>
                      <a:pt x="54885" y="767890"/>
                      <a:pt x="35247" y="767890"/>
                      <a:pt x="15106" y="767890"/>
                    </a:cubicBezTo>
                    <a:close/>
                    <a:moveTo>
                      <a:pt x="175229" y="767376"/>
                    </a:moveTo>
                    <a:cubicBezTo>
                      <a:pt x="175229" y="788978"/>
                      <a:pt x="175229" y="810065"/>
                      <a:pt x="175229" y="831667"/>
                    </a:cubicBezTo>
                    <a:cubicBezTo>
                      <a:pt x="196881" y="831667"/>
                      <a:pt x="217022" y="831667"/>
                      <a:pt x="238171" y="831667"/>
                    </a:cubicBezTo>
                    <a:cubicBezTo>
                      <a:pt x="238171" y="809551"/>
                      <a:pt x="238171" y="788978"/>
                      <a:pt x="238171" y="767376"/>
                    </a:cubicBezTo>
                    <a:cubicBezTo>
                      <a:pt x="216519" y="767376"/>
                      <a:pt x="196881" y="767376"/>
                      <a:pt x="175229" y="767376"/>
                    </a:cubicBezTo>
                    <a:close/>
                    <a:moveTo>
                      <a:pt x="175229" y="689712"/>
                    </a:moveTo>
                    <a:cubicBezTo>
                      <a:pt x="175229" y="711829"/>
                      <a:pt x="175229" y="731887"/>
                      <a:pt x="175229" y="752975"/>
                    </a:cubicBezTo>
                    <a:cubicBezTo>
                      <a:pt x="196378" y="752975"/>
                      <a:pt x="216519" y="752975"/>
                      <a:pt x="238171" y="752975"/>
                    </a:cubicBezTo>
                    <a:cubicBezTo>
                      <a:pt x="238171" y="730344"/>
                      <a:pt x="238171" y="709771"/>
                      <a:pt x="238171" y="689712"/>
                    </a:cubicBezTo>
                    <a:cubicBezTo>
                      <a:pt x="216015" y="689712"/>
                      <a:pt x="195371" y="689712"/>
                      <a:pt x="175229" y="689712"/>
                    </a:cubicBezTo>
                    <a:close/>
                    <a:moveTo>
                      <a:pt x="14602" y="689198"/>
                    </a:moveTo>
                    <a:cubicBezTo>
                      <a:pt x="14602" y="711314"/>
                      <a:pt x="14602" y="732402"/>
                      <a:pt x="14602" y="752460"/>
                    </a:cubicBezTo>
                    <a:cubicBezTo>
                      <a:pt x="36758" y="752460"/>
                      <a:pt x="56899" y="752460"/>
                      <a:pt x="78048" y="752460"/>
                    </a:cubicBezTo>
                    <a:cubicBezTo>
                      <a:pt x="78048" y="730344"/>
                      <a:pt x="78048" y="710285"/>
                      <a:pt x="78048" y="689198"/>
                    </a:cubicBezTo>
                    <a:cubicBezTo>
                      <a:pt x="56396" y="689198"/>
                      <a:pt x="35751" y="689198"/>
                      <a:pt x="14602" y="689198"/>
                    </a:cubicBezTo>
                    <a:close/>
                    <a:moveTo>
                      <a:pt x="14099" y="608449"/>
                    </a:moveTo>
                    <a:cubicBezTo>
                      <a:pt x="14099" y="630050"/>
                      <a:pt x="14099" y="650109"/>
                      <a:pt x="14099" y="671711"/>
                    </a:cubicBezTo>
                    <a:cubicBezTo>
                      <a:pt x="35751" y="671711"/>
                      <a:pt x="56396" y="671711"/>
                      <a:pt x="78048" y="671711"/>
                    </a:cubicBezTo>
                    <a:cubicBezTo>
                      <a:pt x="78048" y="650109"/>
                      <a:pt x="78048" y="630050"/>
                      <a:pt x="78048" y="608449"/>
                    </a:cubicBezTo>
                    <a:cubicBezTo>
                      <a:pt x="55389" y="608449"/>
                      <a:pt x="35247" y="608449"/>
                      <a:pt x="14099" y="608449"/>
                    </a:cubicBezTo>
                    <a:close/>
                    <a:moveTo>
                      <a:pt x="95168" y="607935"/>
                    </a:moveTo>
                    <a:cubicBezTo>
                      <a:pt x="95168" y="630565"/>
                      <a:pt x="95168" y="651138"/>
                      <a:pt x="95168" y="672226"/>
                    </a:cubicBezTo>
                    <a:cubicBezTo>
                      <a:pt x="116820" y="672226"/>
                      <a:pt x="136961" y="672226"/>
                      <a:pt x="158109" y="672226"/>
                    </a:cubicBezTo>
                    <a:cubicBezTo>
                      <a:pt x="158109" y="650109"/>
                      <a:pt x="158109" y="629536"/>
                      <a:pt x="158109" y="607935"/>
                    </a:cubicBezTo>
                    <a:cubicBezTo>
                      <a:pt x="136961" y="607935"/>
                      <a:pt x="116820" y="607935"/>
                      <a:pt x="95168" y="607935"/>
                    </a:cubicBezTo>
                    <a:close/>
                    <a:moveTo>
                      <a:pt x="175229" y="528728"/>
                    </a:moveTo>
                    <a:cubicBezTo>
                      <a:pt x="175229" y="550844"/>
                      <a:pt x="175229" y="571417"/>
                      <a:pt x="175229" y="592505"/>
                    </a:cubicBezTo>
                    <a:cubicBezTo>
                      <a:pt x="196378" y="592505"/>
                      <a:pt x="216519" y="592505"/>
                      <a:pt x="239178" y="592505"/>
                    </a:cubicBezTo>
                    <a:cubicBezTo>
                      <a:pt x="239178" y="570388"/>
                      <a:pt x="239178" y="550330"/>
                      <a:pt x="239178" y="528728"/>
                    </a:cubicBezTo>
                    <a:cubicBezTo>
                      <a:pt x="217526" y="528728"/>
                      <a:pt x="196378" y="528728"/>
                      <a:pt x="175229" y="528728"/>
                    </a:cubicBezTo>
                    <a:close/>
                    <a:moveTo>
                      <a:pt x="95168" y="528214"/>
                    </a:moveTo>
                    <a:cubicBezTo>
                      <a:pt x="95168" y="550844"/>
                      <a:pt x="95168" y="571417"/>
                      <a:pt x="95168" y="593019"/>
                    </a:cubicBezTo>
                    <a:cubicBezTo>
                      <a:pt x="116820" y="593019"/>
                      <a:pt x="136457" y="593019"/>
                      <a:pt x="158613" y="593019"/>
                    </a:cubicBezTo>
                    <a:cubicBezTo>
                      <a:pt x="158613" y="569874"/>
                      <a:pt x="158613" y="549815"/>
                      <a:pt x="158613" y="528214"/>
                    </a:cubicBezTo>
                    <a:cubicBezTo>
                      <a:pt x="136457" y="528214"/>
                      <a:pt x="115813" y="528214"/>
                      <a:pt x="95168" y="528214"/>
                    </a:cubicBezTo>
                    <a:close/>
                    <a:moveTo>
                      <a:pt x="15106" y="528214"/>
                    </a:moveTo>
                    <a:cubicBezTo>
                      <a:pt x="15106" y="551873"/>
                      <a:pt x="15106" y="572446"/>
                      <a:pt x="15106" y="593019"/>
                    </a:cubicBezTo>
                    <a:cubicBezTo>
                      <a:pt x="37262" y="593019"/>
                      <a:pt x="56899" y="593019"/>
                      <a:pt x="78048" y="593019"/>
                    </a:cubicBezTo>
                    <a:cubicBezTo>
                      <a:pt x="78048" y="570903"/>
                      <a:pt x="78048" y="550330"/>
                      <a:pt x="78048" y="528214"/>
                    </a:cubicBezTo>
                    <a:cubicBezTo>
                      <a:pt x="56396" y="528214"/>
                      <a:pt x="36255" y="528214"/>
                      <a:pt x="15106" y="528214"/>
                    </a:cubicBezTo>
                    <a:close/>
                    <a:moveTo>
                      <a:pt x="14602" y="449007"/>
                    </a:moveTo>
                    <a:cubicBezTo>
                      <a:pt x="14602" y="471124"/>
                      <a:pt x="14602" y="491182"/>
                      <a:pt x="14602" y="512270"/>
                    </a:cubicBezTo>
                    <a:cubicBezTo>
                      <a:pt x="35751" y="512270"/>
                      <a:pt x="55389" y="512270"/>
                      <a:pt x="77544" y="512270"/>
                    </a:cubicBezTo>
                    <a:cubicBezTo>
                      <a:pt x="77544" y="489125"/>
                      <a:pt x="77544" y="468552"/>
                      <a:pt x="77544" y="449007"/>
                    </a:cubicBezTo>
                    <a:cubicBezTo>
                      <a:pt x="54885" y="449007"/>
                      <a:pt x="34744" y="449007"/>
                      <a:pt x="14602" y="449007"/>
                    </a:cubicBezTo>
                    <a:close/>
                    <a:moveTo>
                      <a:pt x="94664" y="447979"/>
                    </a:moveTo>
                    <a:cubicBezTo>
                      <a:pt x="94664" y="469580"/>
                      <a:pt x="94664" y="490153"/>
                      <a:pt x="94664" y="512270"/>
                    </a:cubicBezTo>
                    <a:cubicBezTo>
                      <a:pt x="116316" y="512270"/>
                      <a:pt x="136457" y="512270"/>
                      <a:pt x="158613" y="512270"/>
                    </a:cubicBezTo>
                    <a:cubicBezTo>
                      <a:pt x="158613" y="489639"/>
                      <a:pt x="158613" y="469580"/>
                      <a:pt x="158613" y="447979"/>
                    </a:cubicBezTo>
                    <a:cubicBezTo>
                      <a:pt x="136961" y="447979"/>
                      <a:pt x="116316" y="447979"/>
                      <a:pt x="94664" y="447979"/>
                    </a:cubicBezTo>
                    <a:close/>
                    <a:moveTo>
                      <a:pt x="174726" y="368258"/>
                    </a:moveTo>
                    <a:cubicBezTo>
                      <a:pt x="174726" y="389346"/>
                      <a:pt x="174726" y="409404"/>
                      <a:pt x="174726" y="431006"/>
                    </a:cubicBezTo>
                    <a:cubicBezTo>
                      <a:pt x="196378" y="431006"/>
                      <a:pt x="217526" y="431006"/>
                      <a:pt x="239178" y="431006"/>
                    </a:cubicBezTo>
                    <a:cubicBezTo>
                      <a:pt x="239178" y="409919"/>
                      <a:pt x="239178" y="390374"/>
                      <a:pt x="239178" y="368258"/>
                    </a:cubicBezTo>
                    <a:cubicBezTo>
                      <a:pt x="217526" y="368258"/>
                      <a:pt x="196881" y="368258"/>
                      <a:pt x="174726" y="368258"/>
                    </a:cubicBezTo>
                    <a:close/>
                    <a:moveTo>
                      <a:pt x="95168" y="367744"/>
                    </a:moveTo>
                    <a:cubicBezTo>
                      <a:pt x="95168" y="389860"/>
                      <a:pt x="95168" y="410947"/>
                      <a:pt x="95168" y="431520"/>
                    </a:cubicBezTo>
                    <a:cubicBezTo>
                      <a:pt x="117323" y="431520"/>
                      <a:pt x="137968" y="431520"/>
                      <a:pt x="158613" y="431520"/>
                    </a:cubicBezTo>
                    <a:cubicBezTo>
                      <a:pt x="158613" y="409404"/>
                      <a:pt x="158613" y="389346"/>
                      <a:pt x="158613" y="367744"/>
                    </a:cubicBezTo>
                    <a:cubicBezTo>
                      <a:pt x="135954" y="367744"/>
                      <a:pt x="115813" y="367744"/>
                      <a:pt x="95168" y="367744"/>
                    </a:cubicBezTo>
                    <a:close/>
                    <a:moveTo>
                      <a:pt x="0" y="350771"/>
                    </a:moveTo>
                    <a:cubicBezTo>
                      <a:pt x="83083" y="350771"/>
                      <a:pt x="166669" y="350771"/>
                      <a:pt x="252270" y="350771"/>
                    </a:cubicBezTo>
                    <a:cubicBezTo>
                      <a:pt x="252270" y="765319"/>
                      <a:pt x="252270" y="1180380"/>
                      <a:pt x="252270" y="1597499"/>
                    </a:cubicBezTo>
                    <a:cubicBezTo>
                      <a:pt x="167173" y="1597499"/>
                      <a:pt x="84594" y="1597499"/>
                      <a:pt x="0" y="1597499"/>
                    </a:cubicBezTo>
                    <a:cubicBezTo>
                      <a:pt x="0" y="1181923"/>
                      <a:pt x="0" y="767376"/>
                      <a:pt x="0" y="350771"/>
                    </a:cubicBezTo>
                    <a:close/>
                    <a:moveTo>
                      <a:pt x="134947" y="273107"/>
                    </a:moveTo>
                    <a:cubicBezTo>
                      <a:pt x="134947" y="290080"/>
                      <a:pt x="134947" y="306024"/>
                      <a:pt x="134947" y="321969"/>
                    </a:cubicBezTo>
                    <a:cubicBezTo>
                      <a:pt x="170194" y="321969"/>
                      <a:pt x="203931" y="321969"/>
                      <a:pt x="238674" y="321969"/>
                    </a:cubicBezTo>
                    <a:cubicBezTo>
                      <a:pt x="238674" y="304482"/>
                      <a:pt x="238674" y="289566"/>
                      <a:pt x="238674" y="273107"/>
                    </a:cubicBezTo>
                    <a:cubicBezTo>
                      <a:pt x="202420" y="273107"/>
                      <a:pt x="169691" y="273107"/>
                      <a:pt x="134947" y="273107"/>
                    </a:cubicBezTo>
                    <a:close/>
                    <a:moveTo>
                      <a:pt x="14099" y="271564"/>
                    </a:moveTo>
                    <a:cubicBezTo>
                      <a:pt x="14099" y="290080"/>
                      <a:pt x="14099" y="304996"/>
                      <a:pt x="14099" y="321969"/>
                    </a:cubicBezTo>
                    <a:cubicBezTo>
                      <a:pt x="50353" y="321969"/>
                      <a:pt x="83587" y="321969"/>
                      <a:pt x="117827" y="321969"/>
                    </a:cubicBezTo>
                    <a:cubicBezTo>
                      <a:pt x="117827" y="304996"/>
                      <a:pt x="117827" y="289052"/>
                      <a:pt x="117827" y="271564"/>
                    </a:cubicBezTo>
                    <a:cubicBezTo>
                      <a:pt x="99700" y="271564"/>
                      <a:pt x="83083" y="271564"/>
                      <a:pt x="66466" y="271564"/>
                    </a:cubicBezTo>
                    <a:cubicBezTo>
                      <a:pt x="49346" y="271564"/>
                      <a:pt x="32226" y="271564"/>
                      <a:pt x="14099" y="271564"/>
                    </a:cubicBezTo>
                    <a:close/>
                    <a:moveTo>
                      <a:pt x="49346" y="209331"/>
                    </a:moveTo>
                    <a:cubicBezTo>
                      <a:pt x="11581" y="209331"/>
                      <a:pt x="6043" y="217045"/>
                      <a:pt x="17120" y="255106"/>
                    </a:cubicBezTo>
                    <a:cubicBezTo>
                      <a:pt x="90132" y="255106"/>
                      <a:pt x="163145" y="255106"/>
                      <a:pt x="237164" y="255106"/>
                    </a:cubicBezTo>
                    <a:cubicBezTo>
                      <a:pt x="243710" y="212417"/>
                      <a:pt x="241192" y="209331"/>
                      <a:pt x="202923" y="209331"/>
                    </a:cubicBezTo>
                    <a:cubicBezTo>
                      <a:pt x="151563" y="209331"/>
                      <a:pt x="100707" y="209331"/>
                      <a:pt x="49346" y="209331"/>
                    </a:cubicBezTo>
                    <a:close/>
                    <a:moveTo>
                      <a:pt x="0" y="190815"/>
                    </a:moveTo>
                    <a:cubicBezTo>
                      <a:pt x="84594" y="190815"/>
                      <a:pt x="167676" y="190815"/>
                      <a:pt x="252773" y="190815"/>
                    </a:cubicBezTo>
                    <a:cubicBezTo>
                      <a:pt x="252773" y="240704"/>
                      <a:pt x="252773" y="290080"/>
                      <a:pt x="252773" y="340484"/>
                    </a:cubicBezTo>
                    <a:cubicBezTo>
                      <a:pt x="168180" y="340484"/>
                      <a:pt x="84594" y="340484"/>
                      <a:pt x="0" y="340484"/>
                    </a:cubicBezTo>
                    <a:cubicBezTo>
                      <a:pt x="0" y="290594"/>
                      <a:pt x="0" y="241219"/>
                      <a:pt x="0" y="190815"/>
                    </a:cubicBezTo>
                    <a:close/>
                    <a:moveTo>
                      <a:pt x="31723" y="0"/>
                    </a:moveTo>
                    <a:cubicBezTo>
                      <a:pt x="31723" y="39603"/>
                      <a:pt x="31723" y="78691"/>
                      <a:pt x="31723" y="120867"/>
                    </a:cubicBezTo>
                    <a:cubicBezTo>
                      <a:pt x="55892" y="120867"/>
                      <a:pt x="74523" y="120867"/>
                      <a:pt x="95168" y="120867"/>
                    </a:cubicBezTo>
                    <a:cubicBezTo>
                      <a:pt x="95168" y="142468"/>
                      <a:pt x="95168" y="162013"/>
                      <a:pt x="95168" y="183100"/>
                    </a:cubicBezTo>
                    <a:cubicBezTo>
                      <a:pt x="66467" y="183100"/>
                      <a:pt x="40786" y="183100"/>
                      <a:pt x="11078" y="183100"/>
                    </a:cubicBezTo>
                    <a:cubicBezTo>
                      <a:pt x="15610" y="121381"/>
                      <a:pt x="20142" y="61205"/>
                      <a:pt x="24170" y="514"/>
                    </a:cubicBezTo>
                    <a:cubicBezTo>
                      <a:pt x="26688" y="514"/>
                      <a:pt x="29205" y="514"/>
                      <a:pt x="3172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CAA82FE2-E2DD-431D-8D46-7855EDEAA3AE}"/>
                  </a:ext>
                </a:extLst>
              </p:cNvPr>
              <p:cNvSpPr/>
              <p:nvPr/>
            </p:nvSpPr>
            <p:spPr>
              <a:xfrm>
                <a:off x="4797295" y="2666418"/>
                <a:ext cx="300411" cy="1590168"/>
              </a:xfrm>
              <a:custGeom>
                <a:avLst/>
                <a:gdLst>
                  <a:gd name="connsiteX0" fmla="*/ 99275 w 306851"/>
                  <a:gd name="connsiteY0" fmla="*/ 971161 h 1218693"/>
                  <a:gd name="connsiteX1" fmla="*/ 99275 w 306851"/>
                  <a:gd name="connsiteY1" fmla="*/ 1025454 h 1218693"/>
                  <a:gd name="connsiteX2" fmla="*/ 207576 w 306851"/>
                  <a:gd name="connsiteY2" fmla="*/ 1025454 h 1218693"/>
                  <a:gd name="connsiteX3" fmla="*/ 207576 w 306851"/>
                  <a:gd name="connsiteY3" fmla="*/ 971161 h 1218693"/>
                  <a:gd name="connsiteX4" fmla="*/ 99275 w 306851"/>
                  <a:gd name="connsiteY4" fmla="*/ 849179 h 1218693"/>
                  <a:gd name="connsiteX5" fmla="*/ 99275 w 306851"/>
                  <a:gd name="connsiteY5" fmla="*/ 903472 h 1218693"/>
                  <a:gd name="connsiteX6" fmla="*/ 207576 w 306851"/>
                  <a:gd name="connsiteY6" fmla="*/ 903472 h 1218693"/>
                  <a:gd name="connsiteX7" fmla="*/ 207576 w 306851"/>
                  <a:gd name="connsiteY7" fmla="*/ 849179 h 1218693"/>
                  <a:gd name="connsiteX8" fmla="*/ 99275 w 306851"/>
                  <a:gd name="connsiteY8" fmla="*/ 727198 h 1218693"/>
                  <a:gd name="connsiteX9" fmla="*/ 99275 w 306851"/>
                  <a:gd name="connsiteY9" fmla="*/ 781490 h 1218693"/>
                  <a:gd name="connsiteX10" fmla="*/ 207576 w 306851"/>
                  <a:gd name="connsiteY10" fmla="*/ 781490 h 1218693"/>
                  <a:gd name="connsiteX11" fmla="*/ 207576 w 306851"/>
                  <a:gd name="connsiteY11" fmla="*/ 727198 h 1218693"/>
                  <a:gd name="connsiteX12" fmla="*/ 99275 w 306851"/>
                  <a:gd name="connsiteY12" fmla="*/ 605216 h 1218693"/>
                  <a:gd name="connsiteX13" fmla="*/ 99275 w 306851"/>
                  <a:gd name="connsiteY13" fmla="*/ 659508 h 1218693"/>
                  <a:gd name="connsiteX14" fmla="*/ 207576 w 306851"/>
                  <a:gd name="connsiteY14" fmla="*/ 659508 h 1218693"/>
                  <a:gd name="connsiteX15" fmla="*/ 207576 w 306851"/>
                  <a:gd name="connsiteY15" fmla="*/ 605216 h 1218693"/>
                  <a:gd name="connsiteX16" fmla="*/ 99275 w 306851"/>
                  <a:gd name="connsiteY16" fmla="*/ 483234 h 1218693"/>
                  <a:gd name="connsiteX17" fmla="*/ 99275 w 306851"/>
                  <a:gd name="connsiteY17" fmla="*/ 537526 h 1218693"/>
                  <a:gd name="connsiteX18" fmla="*/ 207576 w 306851"/>
                  <a:gd name="connsiteY18" fmla="*/ 537526 h 1218693"/>
                  <a:gd name="connsiteX19" fmla="*/ 207576 w 306851"/>
                  <a:gd name="connsiteY19" fmla="*/ 483234 h 1218693"/>
                  <a:gd name="connsiteX20" fmla="*/ 99275 w 306851"/>
                  <a:gd name="connsiteY20" fmla="*/ 361252 h 1218693"/>
                  <a:gd name="connsiteX21" fmla="*/ 99275 w 306851"/>
                  <a:gd name="connsiteY21" fmla="*/ 415544 h 1218693"/>
                  <a:gd name="connsiteX22" fmla="*/ 207576 w 306851"/>
                  <a:gd name="connsiteY22" fmla="*/ 415544 h 1218693"/>
                  <a:gd name="connsiteX23" fmla="*/ 207576 w 306851"/>
                  <a:gd name="connsiteY23" fmla="*/ 361252 h 1218693"/>
                  <a:gd name="connsiteX24" fmla="*/ 99275 w 306851"/>
                  <a:gd name="connsiteY24" fmla="*/ 239270 h 1218693"/>
                  <a:gd name="connsiteX25" fmla="*/ 99275 w 306851"/>
                  <a:gd name="connsiteY25" fmla="*/ 293563 h 1218693"/>
                  <a:gd name="connsiteX26" fmla="*/ 207576 w 306851"/>
                  <a:gd name="connsiteY26" fmla="*/ 293563 h 1218693"/>
                  <a:gd name="connsiteX27" fmla="*/ 207576 w 306851"/>
                  <a:gd name="connsiteY27" fmla="*/ 239270 h 1218693"/>
                  <a:gd name="connsiteX28" fmla="*/ 99275 w 306851"/>
                  <a:gd name="connsiteY28" fmla="*/ 117288 h 1218693"/>
                  <a:gd name="connsiteX29" fmla="*/ 99275 w 306851"/>
                  <a:gd name="connsiteY29" fmla="*/ 171581 h 1218693"/>
                  <a:gd name="connsiteX30" fmla="*/ 207576 w 306851"/>
                  <a:gd name="connsiteY30" fmla="*/ 171581 h 1218693"/>
                  <a:gd name="connsiteX31" fmla="*/ 207576 w 306851"/>
                  <a:gd name="connsiteY31" fmla="*/ 117288 h 1218693"/>
                  <a:gd name="connsiteX32" fmla="*/ 0 w 306851"/>
                  <a:gd name="connsiteY32" fmla="*/ 0 h 1218693"/>
                  <a:gd name="connsiteX33" fmla="*/ 306851 w 306851"/>
                  <a:gd name="connsiteY33" fmla="*/ 0 h 1218693"/>
                  <a:gd name="connsiteX34" fmla="*/ 306851 w 306851"/>
                  <a:gd name="connsiteY34" fmla="*/ 1218693 h 1218693"/>
                  <a:gd name="connsiteX35" fmla="*/ 0 w 306851"/>
                  <a:gd name="connsiteY35" fmla="*/ 1218693 h 1218693"/>
                  <a:gd name="connsiteX0" fmla="*/ 99275 w 306851"/>
                  <a:gd name="connsiteY0" fmla="*/ 1342636 h 1590168"/>
                  <a:gd name="connsiteX1" fmla="*/ 99275 w 306851"/>
                  <a:gd name="connsiteY1" fmla="*/ 1396929 h 1590168"/>
                  <a:gd name="connsiteX2" fmla="*/ 207576 w 306851"/>
                  <a:gd name="connsiteY2" fmla="*/ 1396929 h 1590168"/>
                  <a:gd name="connsiteX3" fmla="*/ 207576 w 306851"/>
                  <a:gd name="connsiteY3" fmla="*/ 1342636 h 1590168"/>
                  <a:gd name="connsiteX4" fmla="*/ 99275 w 306851"/>
                  <a:gd name="connsiteY4" fmla="*/ 1342636 h 1590168"/>
                  <a:gd name="connsiteX5" fmla="*/ 99275 w 306851"/>
                  <a:gd name="connsiteY5" fmla="*/ 1220654 h 1590168"/>
                  <a:gd name="connsiteX6" fmla="*/ 99275 w 306851"/>
                  <a:gd name="connsiteY6" fmla="*/ 1274947 h 1590168"/>
                  <a:gd name="connsiteX7" fmla="*/ 207576 w 306851"/>
                  <a:gd name="connsiteY7" fmla="*/ 1274947 h 1590168"/>
                  <a:gd name="connsiteX8" fmla="*/ 207576 w 306851"/>
                  <a:gd name="connsiteY8" fmla="*/ 1220654 h 1590168"/>
                  <a:gd name="connsiteX9" fmla="*/ 99275 w 306851"/>
                  <a:gd name="connsiteY9" fmla="*/ 1220654 h 1590168"/>
                  <a:gd name="connsiteX10" fmla="*/ 99275 w 306851"/>
                  <a:gd name="connsiteY10" fmla="*/ 1098673 h 1590168"/>
                  <a:gd name="connsiteX11" fmla="*/ 99275 w 306851"/>
                  <a:gd name="connsiteY11" fmla="*/ 1152965 h 1590168"/>
                  <a:gd name="connsiteX12" fmla="*/ 207576 w 306851"/>
                  <a:gd name="connsiteY12" fmla="*/ 1152965 h 1590168"/>
                  <a:gd name="connsiteX13" fmla="*/ 207576 w 306851"/>
                  <a:gd name="connsiteY13" fmla="*/ 1098673 h 1590168"/>
                  <a:gd name="connsiteX14" fmla="*/ 99275 w 306851"/>
                  <a:gd name="connsiteY14" fmla="*/ 1098673 h 1590168"/>
                  <a:gd name="connsiteX15" fmla="*/ 99275 w 306851"/>
                  <a:gd name="connsiteY15" fmla="*/ 976691 h 1590168"/>
                  <a:gd name="connsiteX16" fmla="*/ 99275 w 306851"/>
                  <a:gd name="connsiteY16" fmla="*/ 1030983 h 1590168"/>
                  <a:gd name="connsiteX17" fmla="*/ 207576 w 306851"/>
                  <a:gd name="connsiteY17" fmla="*/ 1030983 h 1590168"/>
                  <a:gd name="connsiteX18" fmla="*/ 207576 w 306851"/>
                  <a:gd name="connsiteY18" fmla="*/ 976691 h 1590168"/>
                  <a:gd name="connsiteX19" fmla="*/ 99275 w 306851"/>
                  <a:gd name="connsiteY19" fmla="*/ 976691 h 1590168"/>
                  <a:gd name="connsiteX20" fmla="*/ 99275 w 306851"/>
                  <a:gd name="connsiteY20" fmla="*/ 854709 h 1590168"/>
                  <a:gd name="connsiteX21" fmla="*/ 99275 w 306851"/>
                  <a:gd name="connsiteY21" fmla="*/ 909001 h 1590168"/>
                  <a:gd name="connsiteX22" fmla="*/ 207576 w 306851"/>
                  <a:gd name="connsiteY22" fmla="*/ 909001 h 1590168"/>
                  <a:gd name="connsiteX23" fmla="*/ 207576 w 306851"/>
                  <a:gd name="connsiteY23" fmla="*/ 854709 h 1590168"/>
                  <a:gd name="connsiteX24" fmla="*/ 99275 w 306851"/>
                  <a:gd name="connsiteY24" fmla="*/ 854709 h 1590168"/>
                  <a:gd name="connsiteX25" fmla="*/ 99275 w 306851"/>
                  <a:gd name="connsiteY25" fmla="*/ 732727 h 1590168"/>
                  <a:gd name="connsiteX26" fmla="*/ 99275 w 306851"/>
                  <a:gd name="connsiteY26" fmla="*/ 787019 h 1590168"/>
                  <a:gd name="connsiteX27" fmla="*/ 207576 w 306851"/>
                  <a:gd name="connsiteY27" fmla="*/ 787019 h 1590168"/>
                  <a:gd name="connsiteX28" fmla="*/ 207576 w 306851"/>
                  <a:gd name="connsiteY28" fmla="*/ 732727 h 1590168"/>
                  <a:gd name="connsiteX29" fmla="*/ 99275 w 306851"/>
                  <a:gd name="connsiteY29" fmla="*/ 732727 h 1590168"/>
                  <a:gd name="connsiteX30" fmla="*/ 99275 w 306851"/>
                  <a:gd name="connsiteY30" fmla="*/ 610745 h 1590168"/>
                  <a:gd name="connsiteX31" fmla="*/ 99275 w 306851"/>
                  <a:gd name="connsiteY31" fmla="*/ 665038 h 1590168"/>
                  <a:gd name="connsiteX32" fmla="*/ 207576 w 306851"/>
                  <a:gd name="connsiteY32" fmla="*/ 665038 h 1590168"/>
                  <a:gd name="connsiteX33" fmla="*/ 207576 w 306851"/>
                  <a:gd name="connsiteY33" fmla="*/ 610745 h 1590168"/>
                  <a:gd name="connsiteX34" fmla="*/ 99275 w 306851"/>
                  <a:gd name="connsiteY34" fmla="*/ 610745 h 1590168"/>
                  <a:gd name="connsiteX35" fmla="*/ 99275 w 306851"/>
                  <a:gd name="connsiteY35" fmla="*/ 488763 h 1590168"/>
                  <a:gd name="connsiteX36" fmla="*/ 99275 w 306851"/>
                  <a:gd name="connsiteY36" fmla="*/ 543056 h 1590168"/>
                  <a:gd name="connsiteX37" fmla="*/ 207576 w 306851"/>
                  <a:gd name="connsiteY37" fmla="*/ 543056 h 1590168"/>
                  <a:gd name="connsiteX38" fmla="*/ 207576 w 306851"/>
                  <a:gd name="connsiteY38" fmla="*/ 488763 h 1590168"/>
                  <a:gd name="connsiteX39" fmla="*/ 99275 w 306851"/>
                  <a:gd name="connsiteY39" fmla="*/ 488763 h 1590168"/>
                  <a:gd name="connsiteX40" fmla="*/ 9525 w 306851"/>
                  <a:gd name="connsiteY40" fmla="*/ 0 h 1590168"/>
                  <a:gd name="connsiteX41" fmla="*/ 306851 w 306851"/>
                  <a:gd name="connsiteY41" fmla="*/ 371475 h 1590168"/>
                  <a:gd name="connsiteX42" fmla="*/ 306851 w 306851"/>
                  <a:gd name="connsiteY42" fmla="*/ 1590168 h 1590168"/>
                  <a:gd name="connsiteX43" fmla="*/ 0 w 306851"/>
                  <a:gd name="connsiteY43" fmla="*/ 1590168 h 1590168"/>
                  <a:gd name="connsiteX44" fmla="*/ 9525 w 306851"/>
                  <a:gd name="connsiteY44" fmla="*/ 0 h 1590168"/>
                  <a:gd name="connsiteX0" fmla="*/ 99275 w 306851"/>
                  <a:gd name="connsiteY0" fmla="*/ 1342636 h 1590168"/>
                  <a:gd name="connsiteX1" fmla="*/ 99275 w 306851"/>
                  <a:gd name="connsiteY1" fmla="*/ 1396929 h 1590168"/>
                  <a:gd name="connsiteX2" fmla="*/ 207576 w 306851"/>
                  <a:gd name="connsiteY2" fmla="*/ 1396929 h 1590168"/>
                  <a:gd name="connsiteX3" fmla="*/ 207576 w 306851"/>
                  <a:gd name="connsiteY3" fmla="*/ 1342636 h 1590168"/>
                  <a:gd name="connsiteX4" fmla="*/ 99275 w 306851"/>
                  <a:gd name="connsiteY4" fmla="*/ 1342636 h 1590168"/>
                  <a:gd name="connsiteX5" fmla="*/ 99275 w 306851"/>
                  <a:gd name="connsiteY5" fmla="*/ 1220654 h 1590168"/>
                  <a:gd name="connsiteX6" fmla="*/ 99275 w 306851"/>
                  <a:gd name="connsiteY6" fmla="*/ 1274947 h 1590168"/>
                  <a:gd name="connsiteX7" fmla="*/ 207576 w 306851"/>
                  <a:gd name="connsiteY7" fmla="*/ 1274947 h 1590168"/>
                  <a:gd name="connsiteX8" fmla="*/ 207576 w 306851"/>
                  <a:gd name="connsiteY8" fmla="*/ 1220654 h 1590168"/>
                  <a:gd name="connsiteX9" fmla="*/ 99275 w 306851"/>
                  <a:gd name="connsiteY9" fmla="*/ 1220654 h 1590168"/>
                  <a:gd name="connsiteX10" fmla="*/ 99275 w 306851"/>
                  <a:gd name="connsiteY10" fmla="*/ 1098673 h 1590168"/>
                  <a:gd name="connsiteX11" fmla="*/ 99275 w 306851"/>
                  <a:gd name="connsiteY11" fmla="*/ 1152965 h 1590168"/>
                  <a:gd name="connsiteX12" fmla="*/ 207576 w 306851"/>
                  <a:gd name="connsiteY12" fmla="*/ 1152965 h 1590168"/>
                  <a:gd name="connsiteX13" fmla="*/ 207576 w 306851"/>
                  <a:gd name="connsiteY13" fmla="*/ 1098673 h 1590168"/>
                  <a:gd name="connsiteX14" fmla="*/ 99275 w 306851"/>
                  <a:gd name="connsiteY14" fmla="*/ 1098673 h 1590168"/>
                  <a:gd name="connsiteX15" fmla="*/ 99275 w 306851"/>
                  <a:gd name="connsiteY15" fmla="*/ 976691 h 1590168"/>
                  <a:gd name="connsiteX16" fmla="*/ 99275 w 306851"/>
                  <a:gd name="connsiteY16" fmla="*/ 1030983 h 1590168"/>
                  <a:gd name="connsiteX17" fmla="*/ 207576 w 306851"/>
                  <a:gd name="connsiteY17" fmla="*/ 1030983 h 1590168"/>
                  <a:gd name="connsiteX18" fmla="*/ 207576 w 306851"/>
                  <a:gd name="connsiteY18" fmla="*/ 976691 h 1590168"/>
                  <a:gd name="connsiteX19" fmla="*/ 99275 w 306851"/>
                  <a:gd name="connsiteY19" fmla="*/ 976691 h 1590168"/>
                  <a:gd name="connsiteX20" fmla="*/ 99275 w 306851"/>
                  <a:gd name="connsiteY20" fmla="*/ 854709 h 1590168"/>
                  <a:gd name="connsiteX21" fmla="*/ 99275 w 306851"/>
                  <a:gd name="connsiteY21" fmla="*/ 909001 h 1590168"/>
                  <a:gd name="connsiteX22" fmla="*/ 207576 w 306851"/>
                  <a:gd name="connsiteY22" fmla="*/ 909001 h 1590168"/>
                  <a:gd name="connsiteX23" fmla="*/ 207576 w 306851"/>
                  <a:gd name="connsiteY23" fmla="*/ 854709 h 1590168"/>
                  <a:gd name="connsiteX24" fmla="*/ 99275 w 306851"/>
                  <a:gd name="connsiteY24" fmla="*/ 854709 h 1590168"/>
                  <a:gd name="connsiteX25" fmla="*/ 99275 w 306851"/>
                  <a:gd name="connsiteY25" fmla="*/ 732727 h 1590168"/>
                  <a:gd name="connsiteX26" fmla="*/ 99275 w 306851"/>
                  <a:gd name="connsiteY26" fmla="*/ 787019 h 1590168"/>
                  <a:gd name="connsiteX27" fmla="*/ 207576 w 306851"/>
                  <a:gd name="connsiteY27" fmla="*/ 787019 h 1590168"/>
                  <a:gd name="connsiteX28" fmla="*/ 207576 w 306851"/>
                  <a:gd name="connsiteY28" fmla="*/ 732727 h 1590168"/>
                  <a:gd name="connsiteX29" fmla="*/ 99275 w 306851"/>
                  <a:gd name="connsiteY29" fmla="*/ 732727 h 1590168"/>
                  <a:gd name="connsiteX30" fmla="*/ 99275 w 306851"/>
                  <a:gd name="connsiteY30" fmla="*/ 610745 h 1590168"/>
                  <a:gd name="connsiteX31" fmla="*/ 99275 w 306851"/>
                  <a:gd name="connsiteY31" fmla="*/ 665038 h 1590168"/>
                  <a:gd name="connsiteX32" fmla="*/ 207576 w 306851"/>
                  <a:gd name="connsiteY32" fmla="*/ 665038 h 1590168"/>
                  <a:gd name="connsiteX33" fmla="*/ 207576 w 306851"/>
                  <a:gd name="connsiteY33" fmla="*/ 610745 h 1590168"/>
                  <a:gd name="connsiteX34" fmla="*/ 99275 w 306851"/>
                  <a:gd name="connsiteY34" fmla="*/ 610745 h 1590168"/>
                  <a:gd name="connsiteX35" fmla="*/ 99275 w 306851"/>
                  <a:gd name="connsiteY35" fmla="*/ 488763 h 1590168"/>
                  <a:gd name="connsiteX36" fmla="*/ 99275 w 306851"/>
                  <a:gd name="connsiteY36" fmla="*/ 543056 h 1590168"/>
                  <a:gd name="connsiteX37" fmla="*/ 207576 w 306851"/>
                  <a:gd name="connsiteY37" fmla="*/ 543056 h 1590168"/>
                  <a:gd name="connsiteX38" fmla="*/ 207576 w 306851"/>
                  <a:gd name="connsiteY38" fmla="*/ 488763 h 1590168"/>
                  <a:gd name="connsiteX39" fmla="*/ 99275 w 306851"/>
                  <a:gd name="connsiteY39" fmla="*/ 488763 h 1590168"/>
                  <a:gd name="connsiteX40" fmla="*/ 0 w 306851"/>
                  <a:gd name="connsiteY40" fmla="*/ 0 h 1590168"/>
                  <a:gd name="connsiteX41" fmla="*/ 306851 w 306851"/>
                  <a:gd name="connsiteY41" fmla="*/ 371475 h 1590168"/>
                  <a:gd name="connsiteX42" fmla="*/ 306851 w 306851"/>
                  <a:gd name="connsiteY42" fmla="*/ 1590168 h 1590168"/>
                  <a:gd name="connsiteX43" fmla="*/ 0 w 306851"/>
                  <a:gd name="connsiteY43" fmla="*/ 1590168 h 1590168"/>
                  <a:gd name="connsiteX44" fmla="*/ 0 w 306851"/>
                  <a:gd name="connsiteY44" fmla="*/ 0 h 1590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306851" h="1590168">
                    <a:moveTo>
                      <a:pt x="99275" y="1342636"/>
                    </a:moveTo>
                    <a:lnTo>
                      <a:pt x="99275" y="1396929"/>
                    </a:lnTo>
                    <a:lnTo>
                      <a:pt x="207576" y="1396929"/>
                    </a:lnTo>
                    <a:lnTo>
                      <a:pt x="207576" y="1342636"/>
                    </a:lnTo>
                    <a:lnTo>
                      <a:pt x="99275" y="1342636"/>
                    </a:lnTo>
                    <a:close/>
                    <a:moveTo>
                      <a:pt x="99275" y="1220654"/>
                    </a:moveTo>
                    <a:lnTo>
                      <a:pt x="99275" y="1274947"/>
                    </a:lnTo>
                    <a:lnTo>
                      <a:pt x="207576" y="1274947"/>
                    </a:lnTo>
                    <a:lnTo>
                      <a:pt x="207576" y="1220654"/>
                    </a:lnTo>
                    <a:lnTo>
                      <a:pt x="99275" y="1220654"/>
                    </a:lnTo>
                    <a:close/>
                    <a:moveTo>
                      <a:pt x="99275" y="1098673"/>
                    </a:moveTo>
                    <a:lnTo>
                      <a:pt x="99275" y="1152965"/>
                    </a:lnTo>
                    <a:lnTo>
                      <a:pt x="207576" y="1152965"/>
                    </a:lnTo>
                    <a:lnTo>
                      <a:pt x="207576" y="1098673"/>
                    </a:lnTo>
                    <a:lnTo>
                      <a:pt x="99275" y="1098673"/>
                    </a:lnTo>
                    <a:close/>
                    <a:moveTo>
                      <a:pt x="99275" y="976691"/>
                    </a:moveTo>
                    <a:lnTo>
                      <a:pt x="99275" y="1030983"/>
                    </a:lnTo>
                    <a:lnTo>
                      <a:pt x="207576" y="1030983"/>
                    </a:lnTo>
                    <a:lnTo>
                      <a:pt x="207576" y="976691"/>
                    </a:lnTo>
                    <a:lnTo>
                      <a:pt x="99275" y="976691"/>
                    </a:lnTo>
                    <a:close/>
                    <a:moveTo>
                      <a:pt x="99275" y="854709"/>
                    </a:moveTo>
                    <a:lnTo>
                      <a:pt x="99275" y="909001"/>
                    </a:lnTo>
                    <a:lnTo>
                      <a:pt x="207576" y="909001"/>
                    </a:lnTo>
                    <a:lnTo>
                      <a:pt x="207576" y="854709"/>
                    </a:lnTo>
                    <a:lnTo>
                      <a:pt x="99275" y="854709"/>
                    </a:lnTo>
                    <a:close/>
                    <a:moveTo>
                      <a:pt x="99275" y="732727"/>
                    </a:moveTo>
                    <a:lnTo>
                      <a:pt x="99275" y="787019"/>
                    </a:lnTo>
                    <a:lnTo>
                      <a:pt x="207576" y="787019"/>
                    </a:lnTo>
                    <a:lnTo>
                      <a:pt x="207576" y="732727"/>
                    </a:lnTo>
                    <a:lnTo>
                      <a:pt x="99275" y="732727"/>
                    </a:lnTo>
                    <a:close/>
                    <a:moveTo>
                      <a:pt x="99275" y="610745"/>
                    </a:moveTo>
                    <a:lnTo>
                      <a:pt x="99275" y="665038"/>
                    </a:lnTo>
                    <a:lnTo>
                      <a:pt x="207576" y="665038"/>
                    </a:lnTo>
                    <a:lnTo>
                      <a:pt x="207576" y="610745"/>
                    </a:lnTo>
                    <a:lnTo>
                      <a:pt x="99275" y="610745"/>
                    </a:lnTo>
                    <a:close/>
                    <a:moveTo>
                      <a:pt x="99275" y="488763"/>
                    </a:moveTo>
                    <a:lnTo>
                      <a:pt x="99275" y="543056"/>
                    </a:lnTo>
                    <a:lnTo>
                      <a:pt x="207576" y="543056"/>
                    </a:lnTo>
                    <a:lnTo>
                      <a:pt x="207576" y="488763"/>
                    </a:lnTo>
                    <a:lnTo>
                      <a:pt x="99275" y="488763"/>
                    </a:lnTo>
                    <a:close/>
                    <a:moveTo>
                      <a:pt x="0" y="0"/>
                    </a:moveTo>
                    <a:lnTo>
                      <a:pt x="306851" y="371475"/>
                    </a:lnTo>
                    <a:lnTo>
                      <a:pt x="306851" y="1590168"/>
                    </a:lnTo>
                    <a:lnTo>
                      <a:pt x="0" y="159016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2701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B2AD73A5-152E-4424-89CE-9BF6CBA0DB5D}"/>
                  </a:ext>
                </a:extLst>
              </p:cNvPr>
              <p:cNvSpPr/>
              <p:nvPr/>
            </p:nvSpPr>
            <p:spPr>
              <a:xfrm>
                <a:off x="4310739" y="3286263"/>
                <a:ext cx="532405" cy="970323"/>
              </a:xfrm>
              <a:custGeom>
                <a:avLst/>
                <a:gdLst>
                  <a:gd name="connsiteX0" fmla="*/ 475422 w 923439"/>
                  <a:gd name="connsiteY0" fmla="*/ 855427 h 1647670"/>
                  <a:gd name="connsiteX1" fmla="*/ 475422 w 923439"/>
                  <a:gd name="connsiteY1" fmla="*/ 969146 h 1647670"/>
                  <a:gd name="connsiteX2" fmla="*/ 589141 w 923439"/>
                  <a:gd name="connsiteY2" fmla="*/ 969146 h 1647670"/>
                  <a:gd name="connsiteX3" fmla="*/ 589141 w 923439"/>
                  <a:gd name="connsiteY3" fmla="*/ 855427 h 1647670"/>
                  <a:gd name="connsiteX4" fmla="*/ 334298 w 923439"/>
                  <a:gd name="connsiteY4" fmla="*/ 855427 h 1647670"/>
                  <a:gd name="connsiteX5" fmla="*/ 334298 w 923439"/>
                  <a:gd name="connsiteY5" fmla="*/ 969146 h 1647670"/>
                  <a:gd name="connsiteX6" fmla="*/ 448017 w 923439"/>
                  <a:gd name="connsiteY6" fmla="*/ 969146 h 1647670"/>
                  <a:gd name="connsiteX7" fmla="*/ 448017 w 923439"/>
                  <a:gd name="connsiteY7" fmla="*/ 855427 h 1647670"/>
                  <a:gd name="connsiteX8" fmla="*/ 475422 w 923439"/>
                  <a:gd name="connsiteY8" fmla="*/ 709876 h 1647670"/>
                  <a:gd name="connsiteX9" fmla="*/ 475422 w 923439"/>
                  <a:gd name="connsiteY9" fmla="*/ 823595 h 1647670"/>
                  <a:gd name="connsiteX10" fmla="*/ 589141 w 923439"/>
                  <a:gd name="connsiteY10" fmla="*/ 823595 h 1647670"/>
                  <a:gd name="connsiteX11" fmla="*/ 589141 w 923439"/>
                  <a:gd name="connsiteY11" fmla="*/ 709876 h 1647670"/>
                  <a:gd name="connsiteX12" fmla="*/ 334298 w 923439"/>
                  <a:gd name="connsiteY12" fmla="*/ 709876 h 1647670"/>
                  <a:gd name="connsiteX13" fmla="*/ 334298 w 923439"/>
                  <a:gd name="connsiteY13" fmla="*/ 823595 h 1647670"/>
                  <a:gd name="connsiteX14" fmla="*/ 448017 w 923439"/>
                  <a:gd name="connsiteY14" fmla="*/ 823595 h 1647670"/>
                  <a:gd name="connsiteX15" fmla="*/ 448017 w 923439"/>
                  <a:gd name="connsiteY15" fmla="*/ 709876 h 1647670"/>
                  <a:gd name="connsiteX16" fmla="*/ 475422 w 923439"/>
                  <a:gd name="connsiteY16" fmla="*/ 500489 h 1647670"/>
                  <a:gd name="connsiteX17" fmla="*/ 475422 w 923439"/>
                  <a:gd name="connsiteY17" fmla="*/ 614208 h 1647670"/>
                  <a:gd name="connsiteX18" fmla="*/ 589141 w 923439"/>
                  <a:gd name="connsiteY18" fmla="*/ 614208 h 1647670"/>
                  <a:gd name="connsiteX19" fmla="*/ 589141 w 923439"/>
                  <a:gd name="connsiteY19" fmla="*/ 500489 h 1647670"/>
                  <a:gd name="connsiteX20" fmla="*/ 334298 w 923439"/>
                  <a:gd name="connsiteY20" fmla="*/ 500489 h 1647670"/>
                  <a:gd name="connsiteX21" fmla="*/ 334298 w 923439"/>
                  <a:gd name="connsiteY21" fmla="*/ 614208 h 1647670"/>
                  <a:gd name="connsiteX22" fmla="*/ 448017 w 923439"/>
                  <a:gd name="connsiteY22" fmla="*/ 614208 h 1647670"/>
                  <a:gd name="connsiteX23" fmla="*/ 448017 w 923439"/>
                  <a:gd name="connsiteY23" fmla="*/ 500489 h 1647670"/>
                  <a:gd name="connsiteX24" fmla="*/ 475422 w 923439"/>
                  <a:gd name="connsiteY24" fmla="*/ 354938 h 1647670"/>
                  <a:gd name="connsiteX25" fmla="*/ 475422 w 923439"/>
                  <a:gd name="connsiteY25" fmla="*/ 468657 h 1647670"/>
                  <a:gd name="connsiteX26" fmla="*/ 589141 w 923439"/>
                  <a:gd name="connsiteY26" fmla="*/ 468657 h 1647670"/>
                  <a:gd name="connsiteX27" fmla="*/ 589141 w 923439"/>
                  <a:gd name="connsiteY27" fmla="*/ 354938 h 1647670"/>
                  <a:gd name="connsiteX28" fmla="*/ 334298 w 923439"/>
                  <a:gd name="connsiteY28" fmla="*/ 354938 h 1647670"/>
                  <a:gd name="connsiteX29" fmla="*/ 334298 w 923439"/>
                  <a:gd name="connsiteY29" fmla="*/ 468657 h 1647670"/>
                  <a:gd name="connsiteX30" fmla="*/ 448017 w 923439"/>
                  <a:gd name="connsiteY30" fmla="*/ 468657 h 1647670"/>
                  <a:gd name="connsiteX31" fmla="*/ 448017 w 923439"/>
                  <a:gd name="connsiteY31" fmla="*/ 354938 h 1647670"/>
                  <a:gd name="connsiteX32" fmla="*/ 461720 w 923439"/>
                  <a:gd name="connsiteY32" fmla="*/ 0 h 1647670"/>
                  <a:gd name="connsiteX33" fmla="*/ 923439 w 923439"/>
                  <a:gd name="connsiteY33" fmla="*/ 308459 h 1647670"/>
                  <a:gd name="connsiteX34" fmla="*/ 768082 w 923439"/>
                  <a:gd name="connsiteY34" fmla="*/ 308459 h 1647670"/>
                  <a:gd name="connsiteX35" fmla="*/ 768082 w 923439"/>
                  <a:gd name="connsiteY35" fmla="*/ 1647670 h 1647670"/>
                  <a:gd name="connsiteX36" fmla="*/ 155357 w 923439"/>
                  <a:gd name="connsiteY36" fmla="*/ 1647670 h 1647670"/>
                  <a:gd name="connsiteX37" fmla="*/ 155357 w 923439"/>
                  <a:gd name="connsiteY37" fmla="*/ 308459 h 1647670"/>
                  <a:gd name="connsiteX38" fmla="*/ 0 w 923439"/>
                  <a:gd name="connsiteY38" fmla="*/ 308459 h 164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923439" h="1647670">
                    <a:moveTo>
                      <a:pt x="475422" y="855427"/>
                    </a:moveTo>
                    <a:lnTo>
                      <a:pt x="475422" y="969146"/>
                    </a:lnTo>
                    <a:lnTo>
                      <a:pt x="589141" y="969146"/>
                    </a:lnTo>
                    <a:lnTo>
                      <a:pt x="589141" y="855427"/>
                    </a:lnTo>
                    <a:close/>
                    <a:moveTo>
                      <a:pt x="334298" y="855427"/>
                    </a:moveTo>
                    <a:lnTo>
                      <a:pt x="334298" y="969146"/>
                    </a:lnTo>
                    <a:lnTo>
                      <a:pt x="448017" y="969146"/>
                    </a:lnTo>
                    <a:lnTo>
                      <a:pt x="448017" y="855427"/>
                    </a:lnTo>
                    <a:close/>
                    <a:moveTo>
                      <a:pt x="475422" y="709876"/>
                    </a:moveTo>
                    <a:lnTo>
                      <a:pt x="475422" y="823595"/>
                    </a:lnTo>
                    <a:lnTo>
                      <a:pt x="589141" y="823595"/>
                    </a:lnTo>
                    <a:lnTo>
                      <a:pt x="589141" y="709876"/>
                    </a:lnTo>
                    <a:close/>
                    <a:moveTo>
                      <a:pt x="334298" y="709876"/>
                    </a:moveTo>
                    <a:lnTo>
                      <a:pt x="334298" y="823595"/>
                    </a:lnTo>
                    <a:lnTo>
                      <a:pt x="448017" y="823595"/>
                    </a:lnTo>
                    <a:lnTo>
                      <a:pt x="448017" y="709876"/>
                    </a:lnTo>
                    <a:close/>
                    <a:moveTo>
                      <a:pt x="475422" y="500489"/>
                    </a:moveTo>
                    <a:lnTo>
                      <a:pt x="475422" y="614208"/>
                    </a:lnTo>
                    <a:lnTo>
                      <a:pt x="589141" y="614208"/>
                    </a:lnTo>
                    <a:lnTo>
                      <a:pt x="589141" y="500489"/>
                    </a:lnTo>
                    <a:close/>
                    <a:moveTo>
                      <a:pt x="334298" y="500489"/>
                    </a:moveTo>
                    <a:lnTo>
                      <a:pt x="334298" y="614208"/>
                    </a:lnTo>
                    <a:lnTo>
                      <a:pt x="448017" y="614208"/>
                    </a:lnTo>
                    <a:lnTo>
                      <a:pt x="448017" y="500489"/>
                    </a:lnTo>
                    <a:close/>
                    <a:moveTo>
                      <a:pt x="475422" y="354938"/>
                    </a:moveTo>
                    <a:lnTo>
                      <a:pt x="475422" y="468657"/>
                    </a:lnTo>
                    <a:lnTo>
                      <a:pt x="589141" y="468657"/>
                    </a:lnTo>
                    <a:lnTo>
                      <a:pt x="589141" y="354938"/>
                    </a:lnTo>
                    <a:close/>
                    <a:moveTo>
                      <a:pt x="334298" y="354938"/>
                    </a:moveTo>
                    <a:lnTo>
                      <a:pt x="334298" y="468657"/>
                    </a:lnTo>
                    <a:lnTo>
                      <a:pt x="448017" y="468657"/>
                    </a:lnTo>
                    <a:lnTo>
                      <a:pt x="448017" y="354938"/>
                    </a:lnTo>
                    <a:close/>
                    <a:moveTo>
                      <a:pt x="461720" y="0"/>
                    </a:moveTo>
                    <a:lnTo>
                      <a:pt x="923439" y="308459"/>
                    </a:lnTo>
                    <a:lnTo>
                      <a:pt x="768082" y="308459"/>
                    </a:lnTo>
                    <a:lnTo>
                      <a:pt x="768082" y="1647670"/>
                    </a:lnTo>
                    <a:lnTo>
                      <a:pt x="155357" y="1647670"/>
                    </a:lnTo>
                    <a:lnTo>
                      <a:pt x="155357" y="308459"/>
                    </a:lnTo>
                    <a:lnTo>
                      <a:pt x="0" y="30845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82097D85-AD29-468F-93DF-059351CB873C}"/>
                  </a:ext>
                </a:extLst>
              </p:cNvPr>
              <p:cNvSpPr/>
              <p:nvPr/>
            </p:nvSpPr>
            <p:spPr>
              <a:xfrm>
                <a:off x="7531101" y="3229418"/>
                <a:ext cx="202983" cy="1027168"/>
              </a:xfrm>
              <a:custGeom>
                <a:avLst/>
                <a:gdLst>
                  <a:gd name="connsiteX0" fmla="*/ 99275 w 306850"/>
                  <a:gd name="connsiteY0" fmla="*/ 1096373 h 1339211"/>
                  <a:gd name="connsiteX1" fmla="*/ 99275 w 306850"/>
                  <a:gd name="connsiteY1" fmla="*/ 1150665 h 1339211"/>
                  <a:gd name="connsiteX2" fmla="*/ 207575 w 306850"/>
                  <a:gd name="connsiteY2" fmla="*/ 1150665 h 1339211"/>
                  <a:gd name="connsiteX3" fmla="*/ 207575 w 306850"/>
                  <a:gd name="connsiteY3" fmla="*/ 1096373 h 1339211"/>
                  <a:gd name="connsiteX4" fmla="*/ 99275 w 306850"/>
                  <a:gd name="connsiteY4" fmla="*/ 974391 h 1339211"/>
                  <a:gd name="connsiteX5" fmla="*/ 99275 w 306850"/>
                  <a:gd name="connsiteY5" fmla="*/ 1028684 h 1339211"/>
                  <a:gd name="connsiteX6" fmla="*/ 207575 w 306850"/>
                  <a:gd name="connsiteY6" fmla="*/ 1028684 h 1339211"/>
                  <a:gd name="connsiteX7" fmla="*/ 207575 w 306850"/>
                  <a:gd name="connsiteY7" fmla="*/ 974391 h 1339211"/>
                  <a:gd name="connsiteX8" fmla="*/ 99275 w 306850"/>
                  <a:gd name="connsiteY8" fmla="*/ 852409 h 1339211"/>
                  <a:gd name="connsiteX9" fmla="*/ 99275 w 306850"/>
                  <a:gd name="connsiteY9" fmla="*/ 906702 h 1339211"/>
                  <a:gd name="connsiteX10" fmla="*/ 207575 w 306850"/>
                  <a:gd name="connsiteY10" fmla="*/ 906702 h 1339211"/>
                  <a:gd name="connsiteX11" fmla="*/ 207575 w 306850"/>
                  <a:gd name="connsiteY11" fmla="*/ 852409 h 1339211"/>
                  <a:gd name="connsiteX12" fmla="*/ 99275 w 306850"/>
                  <a:gd name="connsiteY12" fmla="*/ 730427 h 1339211"/>
                  <a:gd name="connsiteX13" fmla="*/ 99275 w 306850"/>
                  <a:gd name="connsiteY13" fmla="*/ 784720 h 1339211"/>
                  <a:gd name="connsiteX14" fmla="*/ 207575 w 306850"/>
                  <a:gd name="connsiteY14" fmla="*/ 784720 h 1339211"/>
                  <a:gd name="connsiteX15" fmla="*/ 207575 w 306850"/>
                  <a:gd name="connsiteY15" fmla="*/ 730427 h 1339211"/>
                  <a:gd name="connsiteX16" fmla="*/ 99275 w 306850"/>
                  <a:gd name="connsiteY16" fmla="*/ 608446 h 1339211"/>
                  <a:gd name="connsiteX17" fmla="*/ 99275 w 306850"/>
                  <a:gd name="connsiteY17" fmla="*/ 662738 h 1339211"/>
                  <a:gd name="connsiteX18" fmla="*/ 207575 w 306850"/>
                  <a:gd name="connsiteY18" fmla="*/ 662738 h 1339211"/>
                  <a:gd name="connsiteX19" fmla="*/ 207575 w 306850"/>
                  <a:gd name="connsiteY19" fmla="*/ 608446 h 1339211"/>
                  <a:gd name="connsiteX20" fmla="*/ 99275 w 306850"/>
                  <a:gd name="connsiteY20" fmla="*/ 486464 h 1339211"/>
                  <a:gd name="connsiteX21" fmla="*/ 99275 w 306850"/>
                  <a:gd name="connsiteY21" fmla="*/ 540756 h 1339211"/>
                  <a:gd name="connsiteX22" fmla="*/ 207575 w 306850"/>
                  <a:gd name="connsiteY22" fmla="*/ 540756 h 1339211"/>
                  <a:gd name="connsiteX23" fmla="*/ 207575 w 306850"/>
                  <a:gd name="connsiteY23" fmla="*/ 486464 h 1339211"/>
                  <a:gd name="connsiteX24" fmla="*/ 99275 w 306850"/>
                  <a:gd name="connsiteY24" fmla="*/ 364482 h 1339211"/>
                  <a:gd name="connsiteX25" fmla="*/ 99275 w 306850"/>
                  <a:gd name="connsiteY25" fmla="*/ 418774 h 1339211"/>
                  <a:gd name="connsiteX26" fmla="*/ 207575 w 306850"/>
                  <a:gd name="connsiteY26" fmla="*/ 418774 h 1339211"/>
                  <a:gd name="connsiteX27" fmla="*/ 207575 w 306850"/>
                  <a:gd name="connsiteY27" fmla="*/ 364482 h 1339211"/>
                  <a:gd name="connsiteX28" fmla="*/ 99275 w 306850"/>
                  <a:gd name="connsiteY28" fmla="*/ 242500 h 1339211"/>
                  <a:gd name="connsiteX29" fmla="*/ 99275 w 306850"/>
                  <a:gd name="connsiteY29" fmla="*/ 296792 h 1339211"/>
                  <a:gd name="connsiteX30" fmla="*/ 207575 w 306850"/>
                  <a:gd name="connsiteY30" fmla="*/ 296792 h 1339211"/>
                  <a:gd name="connsiteX31" fmla="*/ 207575 w 306850"/>
                  <a:gd name="connsiteY31" fmla="*/ 242500 h 1339211"/>
                  <a:gd name="connsiteX32" fmla="*/ 99275 w 306850"/>
                  <a:gd name="connsiteY32" fmla="*/ 120518 h 1339211"/>
                  <a:gd name="connsiteX33" fmla="*/ 99275 w 306850"/>
                  <a:gd name="connsiteY33" fmla="*/ 174811 h 1339211"/>
                  <a:gd name="connsiteX34" fmla="*/ 207575 w 306850"/>
                  <a:gd name="connsiteY34" fmla="*/ 174811 h 1339211"/>
                  <a:gd name="connsiteX35" fmla="*/ 207575 w 306850"/>
                  <a:gd name="connsiteY35" fmla="*/ 120518 h 1339211"/>
                  <a:gd name="connsiteX36" fmla="*/ 0 w 306850"/>
                  <a:gd name="connsiteY36" fmla="*/ 0 h 1339211"/>
                  <a:gd name="connsiteX37" fmla="*/ 306850 w 306850"/>
                  <a:gd name="connsiteY37" fmla="*/ 0 h 1339211"/>
                  <a:gd name="connsiteX38" fmla="*/ 306850 w 306850"/>
                  <a:gd name="connsiteY38" fmla="*/ 1339211 h 1339211"/>
                  <a:gd name="connsiteX39" fmla="*/ 0 w 306850"/>
                  <a:gd name="connsiteY39" fmla="*/ 1339211 h 1339211"/>
                  <a:gd name="connsiteX0" fmla="*/ 99275 w 306850"/>
                  <a:gd name="connsiteY0" fmla="*/ 1277348 h 1520186"/>
                  <a:gd name="connsiteX1" fmla="*/ 99275 w 306850"/>
                  <a:gd name="connsiteY1" fmla="*/ 1331640 h 1520186"/>
                  <a:gd name="connsiteX2" fmla="*/ 207575 w 306850"/>
                  <a:gd name="connsiteY2" fmla="*/ 1331640 h 1520186"/>
                  <a:gd name="connsiteX3" fmla="*/ 207575 w 306850"/>
                  <a:gd name="connsiteY3" fmla="*/ 1277348 h 1520186"/>
                  <a:gd name="connsiteX4" fmla="*/ 99275 w 306850"/>
                  <a:gd name="connsiteY4" fmla="*/ 1277348 h 1520186"/>
                  <a:gd name="connsiteX5" fmla="*/ 99275 w 306850"/>
                  <a:gd name="connsiteY5" fmla="*/ 1155366 h 1520186"/>
                  <a:gd name="connsiteX6" fmla="*/ 99275 w 306850"/>
                  <a:gd name="connsiteY6" fmla="*/ 1209659 h 1520186"/>
                  <a:gd name="connsiteX7" fmla="*/ 207575 w 306850"/>
                  <a:gd name="connsiteY7" fmla="*/ 1209659 h 1520186"/>
                  <a:gd name="connsiteX8" fmla="*/ 207575 w 306850"/>
                  <a:gd name="connsiteY8" fmla="*/ 1155366 h 1520186"/>
                  <a:gd name="connsiteX9" fmla="*/ 99275 w 306850"/>
                  <a:gd name="connsiteY9" fmla="*/ 1155366 h 1520186"/>
                  <a:gd name="connsiteX10" fmla="*/ 99275 w 306850"/>
                  <a:gd name="connsiteY10" fmla="*/ 1033384 h 1520186"/>
                  <a:gd name="connsiteX11" fmla="*/ 99275 w 306850"/>
                  <a:gd name="connsiteY11" fmla="*/ 1087677 h 1520186"/>
                  <a:gd name="connsiteX12" fmla="*/ 207575 w 306850"/>
                  <a:gd name="connsiteY12" fmla="*/ 1087677 h 1520186"/>
                  <a:gd name="connsiteX13" fmla="*/ 207575 w 306850"/>
                  <a:gd name="connsiteY13" fmla="*/ 1033384 h 1520186"/>
                  <a:gd name="connsiteX14" fmla="*/ 99275 w 306850"/>
                  <a:gd name="connsiteY14" fmla="*/ 1033384 h 1520186"/>
                  <a:gd name="connsiteX15" fmla="*/ 99275 w 306850"/>
                  <a:gd name="connsiteY15" fmla="*/ 911402 h 1520186"/>
                  <a:gd name="connsiteX16" fmla="*/ 99275 w 306850"/>
                  <a:gd name="connsiteY16" fmla="*/ 965695 h 1520186"/>
                  <a:gd name="connsiteX17" fmla="*/ 207575 w 306850"/>
                  <a:gd name="connsiteY17" fmla="*/ 965695 h 1520186"/>
                  <a:gd name="connsiteX18" fmla="*/ 207575 w 306850"/>
                  <a:gd name="connsiteY18" fmla="*/ 911402 h 1520186"/>
                  <a:gd name="connsiteX19" fmla="*/ 99275 w 306850"/>
                  <a:gd name="connsiteY19" fmla="*/ 911402 h 1520186"/>
                  <a:gd name="connsiteX20" fmla="*/ 99275 w 306850"/>
                  <a:gd name="connsiteY20" fmla="*/ 789421 h 1520186"/>
                  <a:gd name="connsiteX21" fmla="*/ 99275 w 306850"/>
                  <a:gd name="connsiteY21" fmla="*/ 843713 h 1520186"/>
                  <a:gd name="connsiteX22" fmla="*/ 207575 w 306850"/>
                  <a:gd name="connsiteY22" fmla="*/ 843713 h 1520186"/>
                  <a:gd name="connsiteX23" fmla="*/ 207575 w 306850"/>
                  <a:gd name="connsiteY23" fmla="*/ 789421 h 1520186"/>
                  <a:gd name="connsiteX24" fmla="*/ 99275 w 306850"/>
                  <a:gd name="connsiteY24" fmla="*/ 789421 h 1520186"/>
                  <a:gd name="connsiteX25" fmla="*/ 99275 w 306850"/>
                  <a:gd name="connsiteY25" fmla="*/ 667439 h 1520186"/>
                  <a:gd name="connsiteX26" fmla="*/ 99275 w 306850"/>
                  <a:gd name="connsiteY26" fmla="*/ 721731 h 1520186"/>
                  <a:gd name="connsiteX27" fmla="*/ 207575 w 306850"/>
                  <a:gd name="connsiteY27" fmla="*/ 721731 h 1520186"/>
                  <a:gd name="connsiteX28" fmla="*/ 207575 w 306850"/>
                  <a:gd name="connsiteY28" fmla="*/ 667439 h 1520186"/>
                  <a:gd name="connsiteX29" fmla="*/ 99275 w 306850"/>
                  <a:gd name="connsiteY29" fmla="*/ 667439 h 1520186"/>
                  <a:gd name="connsiteX30" fmla="*/ 99275 w 306850"/>
                  <a:gd name="connsiteY30" fmla="*/ 545457 h 1520186"/>
                  <a:gd name="connsiteX31" fmla="*/ 99275 w 306850"/>
                  <a:gd name="connsiteY31" fmla="*/ 599749 h 1520186"/>
                  <a:gd name="connsiteX32" fmla="*/ 207575 w 306850"/>
                  <a:gd name="connsiteY32" fmla="*/ 599749 h 1520186"/>
                  <a:gd name="connsiteX33" fmla="*/ 207575 w 306850"/>
                  <a:gd name="connsiteY33" fmla="*/ 545457 h 1520186"/>
                  <a:gd name="connsiteX34" fmla="*/ 99275 w 306850"/>
                  <a:gd name="connsiteY34" fmla="*/ 545457 h 1520186"/>
                  <a:gd name="connsiteX35" fmla="*/ 99275 w 306850"/>
                  <a:gd name="connsiteY35" fmla="*/ 423475 h 1520186"/>
                  <a:gd name="connsiteX36" fmla="*/ 99275 w 306850"/>
                  <a:gd name="connsiteY36" fmla="*/ 477767 h 1520186"/>
                  <a:gd name="connsiteX37" fmla="*/ 207575 w 306850"/>
                  <a:gd name="connsiteY37" fmla="*/ 477767 h 1520186"/>
                  <a:gd name="connsiteX38" fmla="*/ 207575 w 306850"/>
                  <a:gd name="connsiteY38" fmla="*/ 423475 h 1520186"/>
                  <a:gd name="connsiteX39" fmla="*/ 99275 w 306850"/>
                  <a:gd name="connsiteY39" fmla="*/ 423475 h 1520186"/>
                  <a:gd name="connsiteX40" fmla="*/ 99275 w 306850"/>
                  <a:gd name="connsiteY40" fmla="*/ 301493 h 1520186"/>
                  <a:gd name="connsiteX41" fmla="*/ 99275 w 306850"/>
                  <a:gd name="connsiteY41" fmla="*/ 355786 h 1520186"/>
                  <a:gd name="connsiteX42" fmla="*/ 207575 w 306850"/>
                  <a:gd name="connsiteY42" fmla="*/ 355786 h 1520186"/>
                  <a:gd name="connsiteX43" fmla="*/ 207575 w 306850"/>
                  <a:gd name="connsiteY43" fmla="*/ 301493 h 1520186"/>
                  <a:gd name="connsiteX44" fmla="*/ 99275 w 306850"/>
                  <a:gd name="connsiteY44" fmla="*/ 301493 h 1520186"/>
                  <a:gd name="connsiteX45" fmla="*/ 0 w 306850"/>
                  <a:gd name="connsiteY45" fmla="*/ 180975 h 1520186"/>
                  <a:gd name="connsiteX46" fmla="*/ 297325 w 306850"/>
                  <a:gd name="connsiteY46" fmla="*/ 0 h 1520186"/>
                  <a:gd name="connsiteX47" fmla="*/ 306850 w 306850"/>
                  <a:gd name="connsiteY47" fmla="*/ 1520186 h 1520186"/>
                  <a:gd name="connsiteX48" fmla="*/ 0 w 306850"/>
                  <a:gd name="connsiteY48" fmla="*/ 1520186 h 1520186"/>
                  <a:gd name="connsiteX49" fmla="*/ 0 w 306850"/>
                  <a:gd name="connsiteY49" fmla="*/ 180975 h 1520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06850" h="1520186">
                    <a:moveTo>
                      <a:pt x="99275" y="1277348"/>
                    </a:moveTo>
                    <a:lnTo>
                      <a:pt x="99275" y="1331640"/>
                    </a:lnTo>
                    <a:lnTo>
                      <a:pt x="207575" y="1331640"/>
                    </a:lnTo>
                    <a:lnTo>
                      <a:pt x="207575" y="1277348"/>
                    </a:lnTo>
                    <a:lnTo>
                      <a:pt x="99275" y="1277348"/>
                    </a:lnTo>
                    <a:close/>
                    <a:moveTo>
                      <a:pt x="99275" y="1155366"/>
                    </a:moveTo>
                    <a:lnTo>
                      <a:pt x="99275" y="1209659"/>
                    </a:lnTo>
                    <a:lnTo>
                      <a:pt x="207575" y="1209659"/>
                    </a:lnTo>
                    <a:lnTo>
                      <a:pt x="207575" y="1155366"/>
                    </a:lnTo>
                    <a:lnTo>
                      <a:pt x="99275" y="1155366"/>
                    </a:lnTo>
                    <a:close/>
                    <a:moveTo>
                      <a:pt x="99275" y="1033384"/>
                    </a:moveTo>
                    <a:lnTo>
                      <a:pt x="99275" y="1087677"/>
                    </a:lnTo>
                    <a:lnTo>
                      <a:pt x="207575" y="1087677"/>
                    </a:lnTo>
                    <a:lnTo>
                      <a:pt x="207575" y="1033384"/>
                    </a:lnTo>
                    <a:lnTo>
                      <a:pt x="99275" y="1033384"/>
                    </a:lnTo>
                    <a:close/>
                    <a:moveTo>
                      <a:pt x="99275" y="911402"/>
                    </a:moveTo>
                    <a:lnTo>
                      <a:pt x="99275" y="965695"/>
                    </a:lnTo>
                    <a:lnTo>
                      <a:pt x="207575" y="965695"/>
                    </a:lnTo>
                    <a:lnTo>
                      <a:pt x="207575" y="911402"/>
                    </a:lnTo>
                    <a:lnTo>
                      <a:pt x="99275" y="911402"/>
                    </a:lnTo>
                    <a:close/>
                    <a:moveTo>
                      <a:pt x="99275" y="789421"/>
                    </a:moveTo>
                    <a:lnTo>
                      <a:pt x="99275" y="843713"/>
                    </a:lnTo>
                    <a:lnTo>
                      <a:pt x="207575" y="843713"/>
                    </a:lnTo>
                    <a:lnTo>
                      <a:pt x="207575" y="789421"/>
                    </a:lnTo>
                    <a:lnTo>
                      <a:pt x="99275" y="789421"/>
                    </a:lnTo>
                    <a:close/>
                    <a:moveTo>
                      <a:pt x="99275" y="667439"/>
                    </a:moveTo>
                    <a:lnTo>
                      <a:pt x="99275" y="721731"/>
                    </a:lnTo>
                    <a:lnTo>
                      <a:pt x="207575" y="721731"/>
                    </a:lnTo>
                    <a:lnTo>
                      <a:pt x="207575" y="667439"/>
                    </a:lnTo>
                    <a:lnTo>
                      <a:pt x="99275" y="667439"/>
                    </a:lnTo>
                    <a:close/>
                    <a:moveTo>
                      <a:pt x="99275" y="545457"/>
                    </a:moveTo>
                    <a:lnTo>
                      <a:pt x="99275" y="599749"/>
                    </a:lnTo>
                    <a:lnTo>
                      <a:pt x="207575" y="599749"/>
                    </a:lnTo>
                    <a:lnTo>
                      <a:pt x="207575" y="545457"/>
                    </a:lnTo>
                    <a:lnTo>
                      <a:pt x="99275" y="545457"/>
                    </a:lnTo>
                    <a:close/>
                    <a:moveTo>
                      <a:pt x="99275" y="423475"/>
                    </a:moveTo>
                    <a:lnTo>
                      <a:pt x="99275" y="477767"/>
                    </a:lnTo>
                    <a:lnTo>
                      <a:pt x="207575" y="477767"/>
                    </a:lnTo>
                    <a:lnTo>
                      <a:pt x="207575" y="423475"/>
                    </a:lnTo>
                    <a:lnTo>
                      <a:pt x="99275" y="423475"/>
                    </a:lnTo>
                    <a:close/>
                    <a:moveTo>
                      <a:pt x="99275" y="301493"/>
                    </a:moveTo>
                    <a:lnTo>
                      <a:pt x="99275" y="355786"/>
                    </a:lnTo>
                    <a:lnTo>
                      <a:pt x="207575" y="355786"/>
                    </a:lnTo>
                    <a:lnTo>
                      <a:pt x="207575" y="301493"/>
                    </a:lnTo>
                    <a:lnTo>
                      <a:pt x="99275" y="301493"/>
                    </a:lnTo>
                    <a:close/>
                    <a:moveTo>
                      <a:pt x="0" y="180975"/>
                    </a:moveTo>
                    <a:lnTo>
                      <a:pt x="297325" y="0"/>
                    </a:lnTo>
                    <a:lnTo>
                      <a:pt x="306850" y="1520186"/>
                    </a:lnTo>
                    <a:lnTo>
                      <a:pt x="0" y="1520186"/>
                    </a:lnTo>
                    <a:lnTo>
                      <a:pt x="0" y="18097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2701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8AB19738-EE19-4B71-AF87-297FFDD95F5F}"/>
                  </a:ext>
                </a:extLst>
              </p:cNvPr>
              <p:cNvSpPr/>
              <p:nvPr/>
            </p:nvSpPr>
            <p:spPr>
              <a:xfrm>
                <a:off x="7673737" y="3386055"/>
                <a:ext cx="602196" cy="870531"/>
              </a:xfrm>
              <a:custGeom>
                <a:avLst/>
                <a:gdLst>
                  <a:gd name="connsiteX0" fmla="*/ 238494 w 462454"/>
                  <a:gd name="connsiteY0" fmla="*/ 563076 h 870531"/>
                  <a:gd name="connsiteX1" fmla="*/ 238494 w 462454"/>
                  <a:gd name="connsiteY1" fmla="*/ 715154 h 870531"/>
                  <a:gd name="connsiteX2" fmla="*/ 324676 w 462454"/>
                  <a:gd name="connsiteY2" fmla="*/ 715154 h 870531"/>
                  <a:gd name="connsiteX3" fmla="*/ 324676 w 462454"/>
                  <a:gd name="connsiteY3" fmla="*/ 563076 h 870531"/>
                  <a:gd name="connsiteX4" fmla="*/ 238494 w 462454"/>
                  <a:gd name="connsiteY4" fmla="*/ 353251 h 870531"/>
                  <a:gd name="connsiteX5" fmla="*/ 238494 w 462454"/>
                  <a:gd name="connsiteY5" fmla="*/ 505329 h 870531"/>
                  <a:gd name="connsiteX6" fmla="*/ 324676 w 462454"/>
                  <a:gd name="connsiteY6" fmla="*/ 505329 h 870531"/>
                  <a:gd name="connsiteX7" fmla="*/ 324676 w 462454"/>
                  <a:gd name="connsiteY7" fmla="*/ 353251 h 870531"/>
                  <a:gd name="connsiteX8" fmla="*/ 231227 w 462454"/>
                  <a:gd name="connsiteY8" fmla="*/ 0 h 870531"/>
                  <a:gd name="connsiteX9" fmla="*/ 462454 w 462454"/>
                  <a:gd name="connsiteY9" fmla="*/ 308459 h 870531"/>
                  <a:gd name="connsiteX10" fmla="*/ 384652 w 462454"/>
                  <a:gd name="connsiteY10" fmla="*/ 308459 h 870531"/>
                  <a:gd name="connsiteX11" fmla="*/ 384652 w 462454"/>
                  <a:gd name="connsiteY11" fmla="*/ 870531 h 870531"/>
                  <a:gd name="connsiteX12" fmla="*/ 77802 w 462454"/>
                  <a:gd name="connsiteY12" fmla="*/ 870531 h 870531"/>
                  <a:gd name="connsiteX13" fmla="*/ 77802 w 462454"/>
                  <a:gd name="connsiteY13" fmla="*/ 308459 h 870531"/>
                  <a:gd name="connsiteX14" fmla="*/ 0 w 462454"/>
                  <a:gd name="connsiteY14" fmla="*/ 308459 h 870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62454" h="870531">
                    <a:moveTo>
                      <a:pt x="238494" y="563076"/>
                    </a:moveTo>
                    <a:lnTo>
                      <a:pt x="238494" y="715154"/>
                    </a:lnTo>
                    <a:lnTo>
                      <a:pt x="324676" y="715154"/>
                    </a:lnTo>
                    <a:lnTo>
                      <a:pt x="324676" y="563076"/>
                    </a:lnTo>
                    <a:close/>
                    <a:moveTo>
                      <a:pt x="238494" y="353251"/>
                    </a:moveTo>
                    <a:lnTo>
                      <a:pt x="238494" y="505329"/>
                    </a:lnTo>
                    <a:lnTo>
                      <a:pt x="324676" y="505329"/>
                    </a:lnTo>
                    <a:lnTo>
                      <a:pt x="324676" y="353251"/>
                    </a:lnTo>
                    <a:close/>
                    <a:moveTo>
                      <a:pt x="231227" y="0"/>
                    </a:moveTo>
                    <a:lnTo>
                      <a:pt x="462454" y="308459"/>
                    </a:lnTo>
                    <a:lnTo>
                      <a:pt x="384652" y="308459"/>
                    </a:lnTo>
                    <a:lnTo>
                      <a:pt x="384652" y="870531"/>
                    </a:lnTo>
                    <a:lnTo>
                      <a:pt x="77802" y="870531"/>
                    </a:lnTo>
                    <a:lnTo>
                      <a:pt x="77802" y="308459"/>
                    </a:lnTo>
                    <a:lnTo>
                      <a:pt x="0" y="30845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CB06252B-9018-4237-8DB9-10D51B4066CB}"/>
                  </a:ext>
                </a:extLst>
              </p:cNvPr>
              <p:cNvSpPr/>
              <p:nvPr/>
            </p:nvSpPr>
            <p:spPr>
              <a:xfrm>
                <a:off x="7084624" y="3097854"/>
                <a:ext cx="399552" cy="1158732"/>
              </a:xfrm>
              <a:custGeom>
                <a:avLst/>
                <a:gdLst>
                  <a:gd name="connsiteX0" fmla="*/ 159201 w 408118"/>
                  <a:gd name="connsiteY0" fmla="*/ 578755 h 1158732"/>
                  <a:gd name="connsiteX1" fmla="*/ 159201 w 408118"/>
                  <a:gd name="connsiteY1" fmla="*/ 665832 h 1158732"/>
                  <a:gd name="connsiteX2" fmla="*/ 248917 w 408118"/>
                  <a:gd name="connsiteY2" fmla="*/ 665832 h 1158732"/>
                  <a:gd name="connsiteX3" fmla="*/ 248917 w 408118"/>
                  <a:gd name="connsiteY3" fmla="*/ 578755 h 1158732"/>
                  <a:gd name="connsiteX4" fmla="*/ 159201 w 408118"/>
                  <a:gd name="connsiteY4" fmla="*/ 578755 h 1158732"/>
                  <a:gd name="connsiteX5" fmla="*/ 278823 w 408118"/>
                  <a:gd name="connsiteY5" fmla="*/ 576996 h 1158732"/>
                  <a:gd name="connsiteX6" fmla="*/ 278823 w 408118"/>
                  <a:gd name="connsiteY6" fmla="*/ 664073 h 1158732"/>
                  <a:gd name="connsiteX7" fmla="*/ 365020 w 408118"/>
                  <a:gd name="connsiteY7" fmla="*/ 664073 h 1158732"/>
                  <a:gd name="connsiteX8" fmla="*/ 365020 w 408118"/>
                  <a:gd name="connsiteY8" fmla="*/ 576996 h 1158732"/>
                  <a:gd name="connsiteX9" fmla="*/ 278823 w 408118"/>
                  <a:gd name="connsiteY9" fmla="*/ 576996 h 1158732"/>
                  <a:gd name="connsiteX10" fmla="*/ 43979 w 408118"/>
                  <a:gd name="connsiteY10" fmla="*/ 576996 h 1158732"/>
                  <a:gd name="connsiteX11" fmla="*/ 43979 w 408118"/>
                  <a:gd name="connsiteY11" fmla="*/ 664952 h 1158732"/>
                  <a:gd name="connsiteX12" fmla="*/ 131935 w 408118"/>
                  <a:gd name="connsiteY12" fmla="*/ 665832 h 1158732"/>
                  <a:gd name="connsiteX13" fmla="*/ 132814 w 408118"/>
                  <a:gd name="connsiteY13" fmla="*/ 576996 h 1158732"/>
                  <a:gd name="connsiteX14" fmla="*/ 43979 w 408118"/>
                  <a:gd name="connsiteY14" fmla="*/ 576996 h 1158732"/>
                  <a:gd name="connsiteX15" fmla="*/ 160960 w 408118"/>
                  <a:gd name="connsiteY15" fmla="*/ 449459 h 1158732"/>
                  <a:gd name="connsiteX16" fmla="*/ 160960 w 408118"/>
                  <a:gd name="connsiteY16" fmla="*/ 539174 h 1158732"/>
                  <a:gd name="connsiteX17" fmla="*/ 248917 w 408118"/>
                  <a:gd name="connsiteY17" fmla="*/ 539174 h 1158732"/>
                  <a:gd name="connsiteX18" fmla="*/ 248917 w 408118"/>
                  <a:gd name="connsiteY18" fmla="*/ 449459 h 1158732"/>
                  <a:gd name="connsiteX19" fmla="*/ 160960 w 408118"/>
                  <a:gd name="connsiteY19" fmla="*/ 449459 h 1158732"/>
                  <a:gd name="connsiteX20" fmla="*/ 44858 w 408118"/>
                  <a:gd name="connsiteY20" fmla="*/ 449459 h 1158732"/>
                  <a:gd name="connsiteX21" fmla="*/ 44858 w 408118"/>
                  <a:gd name="connsiteY21" fmla="*/ 539174 h 1158732"/>
                  <a:gd name="connsiteX22" fmla="*/ 131935 w 408118"/>
                  <a:gd name="connsiteY22" fmla="*/ 539174 h 1158732"/>
                  <a:gd name="connsiteX23" fmla="*/ 131935 w 408118"/>
                  <a:gd name="connsiteY23" fmla="*/ 449459 h 1158732"/>
                  <a:gd name="connsiteX24" fmla="*/ 44858 w 408118"/>
                  <a:gd name="connsiteY24" fmla="*/ 449459 h 1158732"/>
                  <a:gd name="connsiteX25" fmla="*/ 278823 w 408118"/>
                  <a:gd name="connsiteY25" fmla="*/ 448579 h 1158732"/>
                  <a:gd name="connsiteX26" fmla="*/ 278823 w 408118"/>
                  <a:gd name="connsiteY26" fmla="*/ 538295 h 1158732"/>
                  <a:gd name="connsiteX27" fmla="*/ 365020 w 408118"/>
                  <a:gd name="connsiteY27" fmla="*/ 538295 h 1158732"/>
                  <a:gd name="connsiteX28" fmla="*/ 365020 w 408118"/>
                  <a:gd name="connsiteY28" fmla="*/ 448579 h 1158732"/>
                  <a:gd name="connsiteX29" fmla="*/ 278823 w 408118"/>
                  <a:gd name="connsiteY29" fmla="*/ 448579 h 1158732"/>
                  <a:gd name="connsiteX30" fmla="*/ 277943 w 408118"/>
                  <a:gd name="connsiteY30" fmla="*/ 318403 h 1158732"/>
                  <a:gd name="connsiteX31" fmla="*/ 277943 w 408118"/>
                  <a:gd name="connsiteY31" fmla="*/ 408999 h 1158732"/>
                  <a:gd name="connsiteX32" fmla="*/ 366779 w 408118"/>
                  <a:gd name="connsiteY32" fmla="*/ 408999 h 1158732"/>
                  <a:gd name="connsiteX33" fmla="*/ 366779 w 408118"/>
                  <a:gd name="connsiteY33" fmla="*/ 318403 h 1158732"/>
                  <a:gd name="connsiteX34" fmla="*/ 277943 w 408118"/>
                  <a:gd name="connsiteY34" fmla="*/ 318403 h 1158732"/>
                  <a:gd name="connsiteX35" fmla="*/ 159201 w 408118"/>
                  <a:gd name="connsiteY35" fmla="*/ 318403 h 1158732"/>
                  <a:gd name="connsiteX36" fmla="*/ 159201 w 408118"/>
                  <a:gd name="connsiteY36" fmla="*/ 407239 h 1158732"/>
                  <a:gd name="connsiteX37" fmla="*/ 249797 w 408118"/>
                  <a:gd name="connsiteY37" fmla="*/ 407239 h 1158732"/>
                  <a:gd name="connsiteX38" fmla="*/ 249797 w 408118"/>
                  <a:gd name="connsiteY38" fmla="*/ 318403 h 1158732"/>
                  <a:gd name="connsiteX39" fmla="*/ 159201 w 408118"/>
                  <a:gd name="connsiteY39" fmla="*/ 318403 h 1158732"/>
                  <a:gd name="connsiteX40" fmla="*/ 43979 w 408118"/>
                  <a:gd name="connsiteY40" fmla="*/ 318403 h 1158732"/>
                  <a:gd name="connsiteX41" fmla="*/ 43979 w 408118"/>
                  <a:gd name="connsiteY41" fmla="*/ 408119 h 1158732"/>
                  <a:gd name="connsiteX42" fmla="*/ 131935 w 408118"/>
                  <a:gd name="connsiteY42" fmla="*/ 408119 h 1158732"/>
                  <a:gd name="connsiteX43" fmla="*/ 131935 w 408118"/>
                  <a:gd name="connsiteY43" fmla="*/ 318403 h 1158732"/>
                  <a:gd name="connsiteX44" fmla="*/ 43979 w 408118"/>
                  <a:gd name="connsiteY44" fmla="*/ 318403 h 1158732"/>
                  <a:gd name="connsiteX45" fmla="*/ 43098 w 408118"/>
                  <a:gd name="connsiteY45" fmla="*/ 187348 h 1158732"/>
                  <a:gd name="connsiteX46" fmla="*/ 43098 w 408118"/>
                  <a:gd name="connsiteY46" fmla="*/ 279702 h 1158732"/>
                  <a:gd name="connsiteX47" fmla="*/ 132814 w 408118"/>
                  <a:gd name="connsiteY47" fmla="*/ 279702 h 1158732"/>
                  <a:gd name="connsiteX48" fmla="*/ 132814 w 408118"/>
                  <a:gd name="connsiteY48" fmla="*/ 187348 h 1158732"/>
                  <a:gd name="connsiteX49" fmla="*/ 43098 w 408118"/>
                  <a:gd name="connsiteY49" fmla="*/ 187348 h 1158732"/>
                  <a:gd name="connsiteX50" fmla="*/ 43979 w 408118"/>
                  <a:gd name="connsiteY50" fmla="*/ 60690 h 1158732"/>
                  <a:gd name="connsiteX51" fmla="*/ 43979 w 408118"/>
                  <a:gd name="connsiteY51" fmla="*/ 152166 h 1158732"/>
                  <a:gd name="connsiteX52" fmla="*/ 133694 w 408118"/>
                  <a:gd name="connsiteY52" fmla="*/ 152166 h 1158732"/>
                  <a:gd name="connsiteX53" fmla="*/ 133694 w 408118"/>
                  <a:gd name="connsiteY53" fmla="*/ 60690 h 1158732"/>
                  <a:gd name="connsiteX54" fmla="*/ 43979 w 408118"/>
                  <a:gd name="connsiteY54" fmla="*/ 60690 h 1158732"/>
                  <a:gd name="connsiteX55" fmla="*/ 0 w 408118"/>
                  <a:gd name="connsiteY55" fmla="*/ 0 h 1158732"/>
                  <a:gd name="connsiteX56" fmla="*/ 155702 w 408118"/>
                  <a:gd name="connsiteY56" fmla="*/ 0 h 1158732"/>
                  <a:gd name="connsiteX57" fmla="*/ 155702 w 408118"/>
                  <a:gd name="connsiteY57" fmla="*/ 281913 h 1158732"/>
                  <a:gd name="connsiteX58" fmla="*/ 277943 w 408118"/>
                  <a:gd name="connsiteY58" fmla="*/ 281913 h 1158732"/>
                  <a:gd name="connsiteX59" fmla="*/ 277943 w 408118"/>
                  <a:gd name="connsiteY59" fmla="*/ 282341 h 1158732"/>
                  <a:gd name="connsiteX60" fmla="*/ 366779 w 408118"/>
                  <a:gd name="connsiteY60" fmla="*/ 282341 h 1158732"/>
                  <a:gd name="connsiteX61" fmla="*/ 366779 w 408118"/>
                  <a:gd name="connsiteY61" fmla="*/ 281913 h 1158732"/>
                  <a:gd name="connsiteX62" fmla="*/ 408118 w 408118"/>
                  <a:gd name="connsiteY62" fmla="*/ 281913 h 1158732"/>
                  <a:gd name="connsiteX63" fmla="*/ 408118 w 408118"/>
                  <a:gd name="connsiteY63" fmla="*/ 1158732 h 1158732"/>
                  <a:gd name="connsiteX64" fmla="*/ 0 w 408118"/>
                  <a:gd name="connsiteY64" fmla="*/ 1158732 h 1158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408118" h="1158732">
                    <a:moveTo>
                      <a:pt x="159201" y="578755"/>
                    </a:moveTo>
                    <a:cubicBezTo>
                      <a:pt x="159201" y="608660"/>
                      <a:pt x="159201" y="638565"/>
                      <a:pt x="159201" y="665832"/>
                    </a:cubicBezTo>
                    <a:cubicBezTo>
                      <a:pt x="189986" y="668470"/>
                      <a:pt x="222530" y="665832"/>
                      <a:pt x="248917" y="665832"/>
                    </a:cubicBezTo>
                    <a:cubicBezTo>
                      <a:pt x="248917" y="634168"/>
                      <a:pt x="248917" y="608660"/>
                      <a:pt x="248917" y="578755"/>
                    </a:cubicBezTo>
                    <a:cubicBezTo>
                      <a:pt x="217253" y="578755"/>
                      <a:pt x="188227" y="578755"/>
                      <a:pt x="159201" y="578755"/>
                    </a:cubicBezTo>
                    <a:close/>
                    <a:moveTo>
                      <a:pt x="278823" y="576996"/>
                    </a:moveTo>
                    <a:cubicBezTo>
                      <a:pt x="278823" y="606901"/>
                      <a:pt x="278823" y="632408"/>
                      <a:pt x="278823" y="664073"/>
                    </a:cubicBezTo>
                    <a:cubicBezTo>
                      <a:pt x="311366" y="664073"/>
                      <a:pt x="346549" y="664952"/>
                      <a:pt x="365020" y="664073"/>
                    </a:cubicBezTo>
                    <a:cubicBezTo>
                      <a:pt x="365020" y="632408"/>
                      <a:pt x="365020" y="606021"/>
                      <a:pt x="365020" y="576996"/>
                    </a:cubicBezTo>
                    <a:cubicBezTo>
                      <a:pt x="335114" y="576996"/>
                      <a:pt x="306968" y="576996"/>
                      <a:pt x="278823" y="576996"/>
                    </a:cubicBezTo>
                    <a:close/>
                    <a:moveTo>
                      <a:pt x="43979" y="576996"/>
                    </a:moveTo>
                    <a:cubicBezTo>
                      <a:pt x="43979" y="605142"/>
                      <a:pt x="43979" y="638565"/>
                      <a:pt x="43979" y="664952"/>
                    </a:cubicBezTo>
                    <a:cubicBezTo>
                      <a:pt x="81799" y="664952"/>
                      <a:pt x="105548" y="664073"/>
                      <a:pt x="131935" y="665832"/>
                    </a:cubicBezTo>
                    <a:cubicBezTo>
                      <a:pt x="131935" y="631529"/>
                      <a:pt x="132814" y="602503"/>
                      <a:pt x="132814" y="576996"/>
                    </a:cubicBezTo>
                    <a:cubicBezTo>
                      <a:pt x="102030" y="576996"/>
                      <a:pt x="73884" y="576996"/>
                      <a:pt x="43979" y="576996"/>
                    </a:cubicBezTo>
                    <a:close/>
                    <a:moveTo>
                      <a:pt x="160960" y="449459"/>
                    </a:moveTo>
                    <a:cubicBezTo>
                      <a:pt x="160960" y="481123"/>
                      <a:pt x="160960" y="509268"/>
                      <a:pt x="160960" y="539174"/>
                    </a:cubicBezTo>
                    <a:cubicBezTo>
                      <a:pt x="189986" y="539174"/>
                      <a:pt x="217253" y="539174"/>
                      <a:pt x="248917" y="539174"/>
                    </a:cubicBezTo>
                    <a:cubicBezTo>
                      <a:pt x="248917" y="506630"/>
                      <a:pt x="248917" y="477604"/>
                      <a:pt x="248917" y="449459"/>
                    </a:cubicBezTo>
                    <a:cubicBezTo>
                      <a:pt x="218132" y="449459"/>
                      <a:pt x="189107" y="449459"/>
                      <a:pt x="160960" y="449459"/>
                    </a:cubicBezTo>
                    <a:close/>
                    <a:moveTo>
                      <a:pt x="44858" y="449459"/>
                    </a:moveTo>
                    <a:cubicBezTo>
                      <a:pt x="44858" y="481123"/>
                      <a:pt x="44858" y="509268"/>
                      <a:pt x="44858" y="539174"/>
                    </a:cubicBezTo>
                    <a:cubicBezTo>
                      <a:pt x="75643" y="539174"/>
                      <a:pt x="102910" y="539174"/>
                      <a:pt x="131935" y="539174"/>
                    </a:cubicBezTo>
                    <a:cubicBezTo>
                      <a:pt x="131935" y="505751"/>
                      <a:pt x="131935" y="477604"/>
                      <a:pt x="131935" y="449459"/>
                    </a:cubicBezTo>
                    <a:cubicBezTo>
                      <a:pt x="100271" y="449459"/>
                      <a:pt x="72125" y="449459"/>
                      <a:pt x="44858" y="449459"/>
                    </a:cubicBezTo>
                    <a:close/>
                    <a:moveTo>
                      <a:pt x="278823" y="448579"/>
                    </a:moveTo>
                    <a:cubicBezTo>
                      <a:pt x="278823" y="479364"/>
                      <a:pt x="278823" y="508389"/>
                      <a:pt x="278823" y="538295"/>
                    </a:cubicBezTo>
                    <a:cubicBezTo>
                      <a:pt x="308727" y="538295"/>
                      <a:pt x="335994" y="538295"/>
                      <a:pt x="365020" y="538295"/>
                    </a:cubicBezTo>
                    <a:cubicBezTo>
                      <a:pt x="365020" y="507510"/>
                      <a:pt x="365020" y="478484"/>
                      <a:pt x="365020" y="448579"/>
                    </a:cubicBezTo>
                    <a:cubicBezTo>
                      <a:pt x="335994" y="448579"/>
                      <a:pt x="308727" y="448579"/>
                      <a:pt x="278823" y="448579"/>
                    </a:cubicBezTo>
                    <a:close/>
                    <a:moveTo>
                      <a:pt x="277943" y="318403"/>
                    </a:moveTo>
                    <a:cubicBezTo>
                      <a:pt x="277943" y="350067"/>
                      <a:pt x="277943" y="379094"/>
                      <a:pt x="277943" y="408999"/>
                    </a:cubicBezTo>
                    <a:cubicBezTo>
                      <a:pt x="309607" y="408999"/>
                      <a:pt x="337753" y="408999"/>
                      <a:pt x="366779" y="408999"/>
                    </a:cubicBezTo>
                    <a:cubicBezTo>
                      <a:pt x="366779" y="378214"/>
                      <a:pt x="366779" y="349187"/>
                      <a:pt x="366779" y="318403"/>
                    </a:cubicBezTo>
                    <a:cubicBezTo>
                      <a:pt x="336873" y="318403"/>
                      <a:pt x="307848" y="318403"/>
                      <a:pt x="277943" y="318403"/>
                    </a:cubicBezTo>
                    <a:close/>
                    <a:moveTo>
                      <a:pt x="159201" y="318403"/>
                    </a:moveTo>
                    <a:cubicBezTo>
                      <a:pt x="159201" y="349187"/>
                      <a:pt x="159201" y="378214"/>
                      <a:pt x="159201" y="407239"/>
                    </a:cubicBezTo>
                    <a:cubicBezTo>
                      <a:pt x="190866" y="407239"/>
                      <a:pt x="219892" y="407239"/>
                      <a:pt x="249797" y="407239"/>
                    </a:cubicBezTo>
                    <a:cubicBezTo>
                      <a:pt x="249797" y="376454"/>
                      <a:pt x="249797" y="349187"/>
                      <a:pt x="249797" y="318403"/>
                    </a:cubicBezTo>
                    <a:cubicBezTo>
                      <a:pt x="217253" y="318403"/>
                      <a:pt x="188227" y="318403"/>
                      <a:pt x="159201" y="318403"/>
                    </a:cubicBezTo>
                    <a:close/>
                    <a:moveTo>
                      <a:pt x="43979" y="318403"/>
                    </a:moveTo>
                    <a:cubicBezTo>
                      <a:pt x="43979" y="349187"/>
                      <a:pt x="43979" y="378214"/>
                      <a:pt x="43979" y="408119"/>
                    </a:cubicBezTo>
                    <a:cubicBezTo>
                      <a:pt x="74764" y="408119"/>
                      <a:pt x="102910" y="408119"/>
                      <a:pt x="131935" y="408119"/>
                    </a:cubicBezTo>
                    <a:cubicBezTo>
                      <a:pt x="131935" y="376454"/>
                      <a:pt x="131935" y="347429"/>
                      <a:pt x="131935" y="318403"/>
                    </a:cubicBezTo>
                    <a:cubicBezTo>
                      <a:pt x="100271" y="318403"/>
                      <a:pt x="72125" y="318403"/>
                      <a:pt x="43979" y="318403"/>
                    </a:cubicBezTo>
                    <a:close/>
                    <a:moveTo>
                      <a:pt x="43098" y="187348"/>
                    </a:moveTo>
                    <a:cubicBezTo>
                      <a:pt x="43098" y="219892"/>
                      <a:pt x="43098" y="249797"/>
                      <a:pt x="43098" y="279702"/>
                    </a:cubicBezTo>
                    <a:cubicBezTo>
                      <a:pt x="74764" y="279702"/>
                      <a:pt x="104668" y="279702"/>
                      <a:pt x="132814" y="279702"/>
                    </a:cubicBezTo>
                    <a:cubicBezTo>
                      <a:pt x="132814" y="247159"/>
                      <a:pt x="132814" y="218133"/>
                      <a:pt x="132814" y="187348"/>
                    </a:cubicBezTo>
                    <a:cubicBezTo>
                      <a:pt x="102030" y="187348"/>
                      <a:pt x="73884" y="187348"/>
                      <a:pt x="43098" y="187348"/>
                    </a:cubicBezTo>
                    <a:close/>
                    <a:moveTo>
                      <a:pt x="43979" y="60690"/>
                    </a:moveTo>
                    <a:cubicBezTo>
                      <a:pt x="43979" y="93234"/>
                      <a:pt x="43979" y="122259"/>
                      <a:pt x="43979" y="152166"/>
                    </a:cubicBezTo>
                    <a:cubicBezTo>
                      <a:pt x="75643" y="152166"/>
                      <a:pt x="103789" y="152166"/>
                      <a:pt x="133694" y="152166"/>
                    </a:cubicBezTo>
                    <a:cubicBezTo>
                      <a:pt x="133694" y="121380"/>
                      <a:pt x="133694" y="93234"/>
                      <a:pt x="133694" y="60690"/>
                    </a:cubicBezTo>
                    <a:cubicBezTo>
                      <a:pt x="101151" y="60690"/>
                      <a:pt x="72125" y="60690"/>
                      <a:pt x="43979" y="60690"/>
                    </a:cubicBezTo>
                    <a:close/>
                    <a:moveTo>
                      <a:pt x="0" y="0"/>
                    </a:moveTo>
                    <a:lnTo>
                      <a:pt x="155702" y="0"/>
                    </a:lnTo>
                    <a:lnTo>
                      <a:pt x="155702" y="281913"/>
                    </a:lnTo>
                    <a:lnTo>
                      <a:pt x="277943" y="281913"/>
                    </a:lnTo>
                    <a:lnTo>
                      <a:pt x="277943" y="282341"/>
                    </a:lnTo>
                    <a:cubicBezTo>
                      <a:pt x="307848" y="282341"/>
                      <a:pt x="334235" y="282341"/>
                      <a:pt x="366779" y="282341"/>
                    </a:cubicBezTo>
                    <a:lnTo>
                      <a:pt x="366779" y="281913"/>
                    </a:lnTo>
                    <a:lnTo>
                      <a:pt x="408118" y="281913"/>
                    </a:lnTo>
                    <a:lnTo>
                      <a:pt x="408118" y="1158732"/>
                    </a:lnTo>
                    <a:lnTo>
                      <a:pt x="0" y="1158732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D816686D-75D3-419F-AC85-6CA2FEEB76FB}"/>
                  </a:ext>
                </a:extLst>
              </p:cNvPr>
              <p:cNvSpPr/>
              <p:nvPr/>
            </p:nvSpPr>
            <p:spPr>
              <a:xfrm flipH="1">
                <a:off x="4055658" y="3389508"/>
                <a:ext cx="299970" cy="869936"/>
              </a:xfrm>
              <a:custGeom>
                <a:avLst/>
                <a:gdLst>
                  <a:gd name="connsiteX0" fmla="*/ 159201 w 408118"/>
                  <a:gd name="connsiteY0" fmla="*/ 578755 h 1158732"/>
                  <a:gd name="connsiteX1" fmla="*/ 159201 w 408118"/>
                  <a:gd name="connsiteY1" fmla="*/ 665832 h 1158732"/>
                  <a:gd name="connsiteX2" fmla="*/ 248917 w 408118"/>
                  <a:gd name="connsiteY2" fmla="*/ 665832 h 1158732"/>
                  <a:gd name="connsiteX3" fmla="*/ 248917 w 408118"/>
                  <a:gd name="connsiteY3" fmla="*/ 578755 h 1158732"/>
                  <a:gd name="connsiteX4" fmla="*/ 159201 w 408118"/>
                  <a:gd name="connsiteY4" fmla="*/ 578755 h 1158732"/>
                  <a:gd name="connsiteX5" fmla="*/ 278823 w 408118"/>
                  <a:gd name="connsiteY5" fmla="*/ 576996 h 1158732"/>
                  <a:gd name="connsiteX6" fmla="*/ 278823 w 408118"/>
                  <a:gd name="connsiteY6" fmla="*/ 664073 h 1158732"/>
                  <a:gd name="connsiteX7" fmla="*/ 365020 w 408118"/>
                  <a:gd name="connsiteY7" fmla="*/ 664073 h 1158732"/>
                  <a:gd name="connsiteX8" fmla="*/ 365020 w 408118"/>
                  <a:gd name="connsiteY8" fmla="*/ 576996 h 1158732"/>
                  <a:gd name="connsiteX9" fmla="*/ 278823 w 408118"/>
                  <a:gd name="connsiteY9" fmla="*/ 576996 h 1158732"/>
                  <a:gd name="connsiteX10" fmla="*/ 43979 w 408118"/>
                  <a:gd name="connsiteY10" fmla="*/ 576996 h 1158732"/>
                  <a:gd name="connsiteX11" fmla="*/ 43979 w 408118"/>
                  <a:gd name="connsiteY11" fmla="*/ 664952 h 1158732"/>
                  <a:gd name="connsiteX12" fmla="*/ 131935 w 408118"/>
                  <a:gd name="connsiteY12" fmla="*/ 665832 h 1158732"/>
                  <a:gd name="connsiteX13" fmla="*/ 132814 w 408118"/>
                  <a:gd name="connsiteY13" fmla="*/ 576996 h 1158732"/>
                  <a:gd name="connsiteX14" fmla="*/ 43979 w 408118"/>
                  <a:gd name="connsiteY14" fmla="*/ 576996 h 1158732"/>
                  <a:gd name="connsiteX15" fmla="*/ 160960 w 408118"/>
                  <a:gd name="connsiteY15" fmla="*/ 449459 h 1158732"/>
                  <a:gd name="connsiteX16" fmla="*/ 160960 w 408118"/>
                  <a:gd name="connsiteY16" fmla="*/ 539174 h 1158732"/>
                  <a:gd name="connsiteX17" fmla="*/ 248917 w 408118"/>
                  <a:gd name="connsiteY17" fmla="*/ 539174 h 1158732"/>
                  <a:gd name="connsiteX18" fmla="*/ 248917 w 408118"/>
                  <a:gd name="connsiteY18" fmla="*/ 449459 h 1158732"/>
                  <a:gd name="connsiteX19" fmla="*/ 160960 w 408118"/>
                  <a:gd name="connsiteY19" fmla="*/ 449459 h 1158732"/>
                  <a:gd name="connsiteX20" fmla="*/ 44858 w 408118"/>
                  <a:gd name="connsiteY20" fmla="*/ 449459 h 1158732"/>
                  <a:gd name="connsiteX21" fmla="*/ 44858 w 408118"/>
                  <a:gd name="connsiteY21" fmla="*/ 539174 h 1158732"/>
                  <a:gd name="connsiteX22" fmla="*/ 131935 w 408118"/>
                  <a:gd name="connsiteY22" fmla="*/ 539174 h 1158732"/>
                  <a:gd name="connsiteX23" fmla="*/ 131935 w 408118"/>
                  <a:gd name="connsiteY23" fmla="*/ 449459 h 1158732"/>
                  <a:gd name="connsiteX24" fmla="*/ 44858 w 408118"/>
                  <a:gd name="connsiteY24" fmla="*/ 449459 h 1158732"/>
                  <a:gd name="connsiteX25" fmla="*/ 278823 w 408118"/>
                  <a:gd name="connsiteY25" fmla="*/ 448579 h 1158732"/>
                  <a:gd name="connsiteX26" fmla="*/ 278823 w 408118"/>
                  <a:gd name="connsiteY26" fmla="*/ 538295 h 1158732"/>
                  <a:gd name="connsiteX27" fmla="*/ 365020 w 408118"/>
                  <a:gd name="connsiteY27" fmla="*/ 538295 h 1158732"/>
                  <a:gd name="connsiteX28" fmla="*/ 365020 w 408118"/>
                  <a:gd name="connsiteY28" fmla="*/ 448579 h 1158732"/>
                  <a:gd name="connsiteX29" fmla="*/ 278823 w 408118"/>
                  <a:gd name="connsiteY29" fmla="*/ 448579 h 1158732"/>
                  <a:gd name="connsiteX30" fmla="*/ 277943 w 408118"/>
                  <a:gd name="connsiteY30" fmla="*/ 318403 h 1158732"/>
                  <a:gd name="connsiteX31" fmla="*/ 277943 w 408118"/>
                  <a:gd name="connsiteY31" fmla="*/ 408999 h 1158732"/>
                  <a:gd name="connsiteX32" fmla="*/ 366779 w 408118"/>
                  <a:gd name="connsiteY32" fmla="*/ 408999 h 1158732"/>
                  <a:gd name="connsiteX33" fmla="*/ 366779 w 408118"/>
                  <a:gd name="connsiteY33" fmla="*/ 318403 h 1158732"/>
                  <a:gd name="connsiteX34" fmla="*/ 277943 w 408118"/>
                  <a:gd name="connsiteY34" fmla="*/ 318403 h 1158732"/>
                  <a:gd name="connsiteX35" fmla="*/ 159201 w 408118"/>
                  <a:gd name="connsiteY35" fmla="*/ 318403 h 1158732"/>
                  <a:gd name="connsiteX36" fmla="*/ 159201 w 408118"/>
                  <a:gd name="connsiteY36" fmla="*/ 407239 h 1158732"/>
                  <a:gd name="connsiteX37" fmla="*/ 249797 w 408118"/>
                  <a:gd name="connsiteY37" fmla="*/ 407239 h 1158732"/>
                  <a:gd name="connsiteX38" fmla="*/ 249797 w 408118"/>
                  <a:gd name="connsiteY38" fmla="*/ 318403 h 1158732"/>
                  <a:gd name="connsiteX39" fmla="*/ 159201 w 408118"/>
                  <a:gd name="connsiteY39" fmla="*/ 318403 h 1158732"/>
                  <a:gd name="connsiteX40" fmla="*/ 43979 w 408118"/>
                  <a:gd name="connsiteY40" fmla="*/ 318403 h 1158732"/>
                  <a:gd name="connsiteX41" fmla="*/ 43979 w 408118"/>
                  <a:gd name="connsiteY41" fmla="*/ 408119 h 1158732"/>
                  <a:gd name="connsiteX42" fmla="*/ 131935 w 408118"/>
                  <a:gd name="connsiteY42" fmla="*/ 408119 h 1158732"/>
                  <a:gd name="connsiteX43" fmla="*/ 131935 w 408118"/>
                  <a:gd name="connsiteY43" fmla="*/ 318403 h 1158732"/>
                  <a:gd name="connsiteX44" fmla="*/ 43979 w 408118"/>
                  <a:gd name="connsiteY44" fmla="*/ 318403 h 1158732"/>
                  <a:gd name="connsiteX45" fmla="*/ 43098 w 408118"/>
                  <a:gd name="connsiteY45" fmla="*/ 187348 h 1158732"/>
                  <a:gd name="connsiteX46" fmla="*/ 43098 w 408118"/>
                  <a:gd name="connsiteY46" fmla="*/ 279702 h 1158732"/>
                  <a:gd name="connsiteX47" fmla="*/ 132814 w 408118"/>
                  <a:gd name="connsiteY47" fmla="*/ 279702 h 1158732"/>
                  <a:gd name="connsiteX48" fmla="*/ 132814 w 408118"/>
                  <a:gd name="connsiteY48" fmla="*/ 187348 h 1158732"/>
                  <a:gd name="connsiteX49" fmla="*/ 43098 w 408118"/>
                  <a:gd name="connsiteY49" fmla="*/ 187348 h 1158732"/>
                  <a:gd name="connsiteX50" fmla="*/ 43979 w 408118"/>
                  <a:gd name="connsiteY50" fmla="*/ 60690 h 1158732"/>
                  <a:gd name="connsiteX51" fmla="*/ 43979 w 408118"/>
                  <a:gd name="connsiteY51" fmla="*/ 152166 h 1158732"/>
                  <a:gd name="connsiteX52" fmla="*/ 133694 w 408118"/>
                  <a:gd name="connsiteY52" fmla="*/ 152166 h 1158732"/>
                  <a:gd name="connsiteX53" fmla="*/ 133694 w 408118"/>
                  <a:gd name="connsiteY53" fmla="*/ 60690 h 1158732"/>
                  <a:gd name="connsiteX54" fmla="*/ 43979 w 408118"/>
                  <a:gd name="connsiteY54" fmla="*/ 60690 h 1158732"/>
                  <a:gd name="connsiteX55" fmla="*/ 0 w 408118"/>
                  <a:gd name="connsiteY55" fmla="*/ 0 h 1158732"/>
                  <a:gd name="connsiteX56" fmla="*/ 155702 w 408118"/>
                  <a:gd name="connsiteY56" fmla="*/ 0 h 1158732"/>
                  <a:gd name="connsiteX57" fmla="*/ 155702 w 408118"/>
                  <a:gd name="connsiteY57" fmla="*/ 281913 h 1158732"/>
                  <a:gd name="connsiteX58" fmla="*/ 277943 w 408118"/>
                  <a:gd name="connsiteY58" fmla="*/ 281913 h 1158732"/>
                  <a:gd name="connsiteX59" fmla="*/ 277943 w 408118"/>
                  <a:gd name="connsiteY59" fmla="*/ 282341 h 1158732"/>
                  <a:gd name="connsiteX60" fmla="*/ 366779 w 408118"/>
                  <a:gd name="connsiteY60" fmla="*/ 282341 h 1158732"/>
                  <a:gd name="connsiteX61" fmla="*/ 366779 w 408118"/>
                  <a:gd name="connsiteY61" fmla="*/ 281913 h 1158732"/>
                  <a:gd name="connsiteX62" fmla="*/ 408118 w 408118"/>
                  <a:gd name="connsiteY62" fmla="*/ 281913 h 1158732"/>
                  <a:gd name="connsiteX63" fmla="*/ 408118 w 408118"/>
                  <a:gd name="connsiteY63" fmla="*/ 1158732 h 1158732"/>
                  <a:gd name="connsiteX64" fmla="*/ 0 w 408118"/>
                  <a:gd name="connsiteY64" fmla="*/ 1158732 h 1158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408118" h="1158732">
                    <a:moveTo>
                      <a:pt x="159201" y="578755"/>
                    </a:moveTo>
                    <a:cubicBezTo>
                      <a:pt x="159201" y="608660"/>
                      <a:pt x="159201" y="638565"/>
                      <a:pt x="159201" y="665832"/>
                    </a:cubicBezTo>
                    <a:cubicBezTo>
                      <a:pt x="189986" y="668470"/>
                      <a:pt x="222530" y="665832"/>
                      <a:pt x="248917" y="665832"/>
                    </a:cubicBezTo>
                    <a:cubicBezTo>
                      <a:pt x="248917" y="634168"/>
                      <a:pt x="248917" y="608660"/>
                      <a:pt x="248917" y="578755"/>
                    </a:cubicBezTo>
                    <a:cubicBezTo>
                      <a:pt x="217253" y="578755"/>
                      <a:pt x="188227" y="578755"/>
                      <a:pt x="159201" y="578755"/>
                    </a:cubicBezTo>
                    <a:close/>
                    <a:moveTo>
                      <a:pt x="278823" y="576996"/>
                    </a:moveTo>
                    <a:cubicBezTo>
                      <a:pt x="278823" y="606901"/>
                      <a:pt x="278823" y="632408"/>
                      <a:pt x="278823" y="664073"/>
                    </a:cubicBezTo>
                    <a:cubicBezTo>
                      <a:pt x="311366" y="664073"/>
                      <a:pt x="346549" y="664952"/>
                      <a:pt x="365020" y="664073"/>
                    </a:cubicBezTo>
                    <a:cubicBezTo>
                      <a:pt x="365020" y="632408"/>
                      <a:pt x="365020" y="606021"/>
                      <a:pt x="365020" y="576996"/>
                    </a:cubicBezTo>
                    <a:cubicBezTo>
                      <a:pt x="335114" y="576996"/>
                      <a:pt x="306968" y="576996"/>
                      <a:pt x="278823" y="576996"/>
                    </a:cubicBezTo>
                    <a:close/>
                    <a:moveTo>
                      <a:pt x="43979" y="576996"/>
                    </a:moveTo>
                    <a:cubicBezTo>
                      <a:pt x="43979" y="605142"/>
                      <a:pt x="43979" y="638565"/>
                      <a:pt x="43979" y="664952"/>
                    </a:cubicBezTo>
                    <a:cubicBezTo>
                      <a:pt x="81799" y="664952"/>
                      <a:pt x="105548" y="664073"/>
                      <a:pt x="131935" y="665832"/>
                    </a:cubicBezTo>
                    <a:cubicBezTo>
                      <a:pt x="131935" y="631529"/>
                      <a:pt x="132814" y="602503"/>
                      <a:pt x="132814" y="576996"/>
                    </a:cubicBezTo>
                    <a:cubicBezTo>
                      <a:pt x="102030" y="576996"/>
                      <a:pt x="73884" y="576996"/>
                      <a:pt x="43979" y="576996"/>
                    </a:cubicBezTo>
                    <a:close/>
                    <a:moveTo>
                      <a:pt x="160960" y="449459"/>
                    </a:moveTo>
                    <a:cubicBezTo>
                      <a:pt x="160960" y="481123"/>
                      <a:pt x="160960" y="509268"/>
                      <a:pt x="160960" y="539174"/>
                    </a:cubicBezTo>
                    <a:cubicBezTo>
                      <a:pt x="189986" y="539174"/>
                      <a:pt x="217253" y="539174"/>
                      <a:pt x="248917" y="539174"/>
                    </a:cubicBezTo>
                    <a:cubicBezTo>
                      <a:pt x="248917" y="506630"/>
                      <a:pt x="248917" y="477604"/>
                      <a:pt x="248917" y="449459"/>
                    </a:cubicBezTo>
                    <a:cubicBezTo>
                      <a:pt x="218132" y="449459"/>
                      <a:pt x="189107" y="449459"/>
                      <a:pt x="160960" y="449459"/>
                    </a:cubicBezTo>
                    <a:close/>
                    <a:moveTo>
                      <a:pt x="44858" y="449459"/>
                    </a:moveTo>
                    <a:cubicBezTo>
                      <a:pt x="44858" y="481123"/>
                      <a:pt x="44858" y="509268"/>
                      <a:pt x="44858" y="539174"/>
                    </a:cubicBezTo>
                    <a:cubicBezTo>
                      <a:pt x="75643" y="539174"/>
                      <a:pt x="102910" y="539174"/>
                      <a:pt x="131935" y="539174"/>
                    </a:cubicBezTo>
                    <a:cubicBezTo>
                      <a:pt x="131935" y="505751"/>
                      <a:pt x="131935" y="477604"/>
                      <a:pt x="131935" y="449459"/>
                    </a:cubicBezTo>
                    <a:cubicBezTo>
                      <a:pt x="100271" y="449459"/>
                      <a:pt x="72125" y="449459"/>
                      <a:pt x="44858" y="449459"/>
                    </a:cubicBezTo>
                    <a:close/>
                    <a:moveTo>
                      <a:pt x="278823" y="448579"/>
                    </a:moveTo>
                    <a:cubicBezTo>
                      <a:pt x="278823" y="479364"/>
                      <a:pt x="278823" y="508389"/>
                      <a:pt x="278823" y="538295"/>
                    </a:cubicBezTo>
                    <a:cubicBezTo>
                      <a:pt x="308727" y="538295"/>
                      <a:pt x="335994" y="538295"/>
                      <a:pt x="365020" y="538295"/>
                    </a:cubicBezTo>
                    <a:cubicBezTo>
                      <a:pt x="365020" y="507510"/>
                      <a:pt x="365020" y="478484"/>
                      <a:pt x="365020" y="448579"/>
                    </a:cubicBezTo>
                    <a:cubicBezTo>
                      <a:pt x="335994" y="448579"/>
                      <a:pt x="308727" y="448579"/>
                      <a:pt x="278823" y="448579"/>
                    </a:cubicBezTo>
                    <a:close/>
                    <a:moveTo>
                      <a:pt x="277943" y="318403"/>
                    </a:moveTo>
                    <a:cubicBezTo>
                      <a:pt x="277943" y="350067"/>
                      <a:pt x="277943" y="379094"/>
                      <a:pt x="277943" y="408999"/>
                    </a:cubicBezTo>
                    <a:cubicBezTo>
                      <a:pt x="309607" y="408999"/>
                      <a:pt x="337753" y="408999"/>
                      <a:pt x="366779" y="408999"/>
                    </a:cubicBezTo>
                    <a:cubicBezTo>
                      <a:pt x="366779" y="378214"/>
                      <a:pt x="366779" y="349187"/>
                      <a:pt x="366779" y="318403"/>
                    </a:cubicBezTo>
                    <a:cubicBezTo>
                      <a:pt x="336873" y="318403"/>
                      <a:pt x="307848" y="318403"/>
                      <a:pt x="277943" y="318403"/>
                    </a:cubicBezTo>
                    <a:close/>
                    <a:moveTo>
                      <a:pt x="159201" y="318403"/>
                    </a:moveTo>
                    <a:cubicBezTo>
                      <a:pt x="159201" y="349187"/>
                      <a:pt x="159201" y="378214"/>
                      <a:pt x="159201" y="407239"/>
                    </a:cubicBezTo>
                    <a:cubicBezTo>
                      <a:pt x="190866" y="407239"/>
                      <a:pt x="219892" y="407239"/>
                      <a:pt x="249797" y="407239"/>
                    </a:cubicBezTo>
                    <a:cubicBezTo>
                      <a:pt x="249797" y="376454"/>
                      <a:pt x="249797" y="349187"/>
                      <a:pt x="249797" y="318403"/>
                    </a:cubicBezTo>
                    <a:cubicBezTo>
                      <a:pt x="217253" y="318403"/>
                      <a:pt x="188227" y="318403"/>
                      <a:pt x="159201" y="318403"/>
                    </a:cubicBezTo>
                    <a:close/>
                    <a:moveTo>
                      <a:pt x="43979" y="318403"/>
                    </a:moveTo>
                    <a:cubicBezTo>
                      <a:pt x="43979" y="349187"/>
                      <a:pt x="43979" y="378214"/>
                      <a:pt x="43979" y="408119"/>
                    </a:cubicBezTo>
                    <a:cubicBezTo>
                      <a:pt x="74764" y="408119"/>
                      <a:pt x="102910" y="408119"/>
                      <a:pt x="131935" y="408119"/>
                    </a:cubicBezTo>
                    <a:cubicBezTo>
                      <a:pt x="131935" y="376454"/>
                      <a:pt x="131935" y="347429"/>
                      <a:pt x="131935" y="318403"/>
                    </a:cubicBezTo>
                    <a:cubicBezTo>
                      <a:pt x="100271" y="318403"/>
                      <a:pt x="72125" y="318403"/>
                      <a:pt x="43979" y="318403"/>
                    </a:cubicBezTo>
                    <a:close/>
                    <a:moveTo>
                      <a:pt x="43098" y="187348"/>
                    </a:moveTo>
                    <a:cubicBezTo>
                      <a:pt x="43098" y="219892"/>
                      <a:pt x="43098" y="249797"/>
                      <a:pt x="43098" y="279702"/>
                    </a:cubicBezTo>
                    <a:cubicBezTo>
                      <a:pt x="74764" y="279702"/>
                      <a:pt x="104668" y="279702"/>
                      <a:pt x="132814" y="279702"/>
                    </a:cubicBezTo>
                    <a:cubicBezTo>
                      <a:pt x="132814" y="247159"/>
                      <a:pt x="132814" y="218133"/>
                      <a:pt x="132814" y="187348"/>
                    </a:cubicBezTo>
                    <a:cubicBezTo>
                      <a:pt x="102030" y="187348"/>
                      <a:pt x="73884" y="187348"/>
                      <a:pt x="43098" y="187348"/>
                    </a:cubicBezTo>
                    <a:close/>
                    <a:moveTo>
                      <a:pt x="43979" y="60690"/>
                    </a:moveTo>
                    <a:cubicBezTo>
                      <a:pt x="43979" y="93234"/>
                      <a:pt x="43979" y="122259"/>
                      <a:pt x="43979" y="152166"/>
                    </a:cubicBezTo>
                    <a:cubicBezTo>
                      <a:pt x="75643" y="152166"/>
                      <a:pt x="103789" y="152166"/>
                      <a:pt x="133694" y="152166"/>
                    </a:cubicBezTo>
                    <a:cubicBezTo>
                      <a:pt x="133694" y="121380"/>
                      <a:pt x="133694" y="93234"/>
                      <a:pt x="133694" y="60690"/>
                    </a:cubicBezTo>
                    <a:cubicBezTo>
                      <a:pt x="101151" y="60690"/>
                      <a:pt x="72125" y="60690"/>
                      <a:pt x="43979" y="60690"/>
                    </a:cubicBezTo>
                    <a:close/>
                    <a:moveTo>
                      <a:pt x="0" y="0"/>
                    </a:moveTo>
                    <a:lnTo>
                      <a:pt x="155702" y="0"/>
                    </a:lnTo>
                    <a:lnTo>
                      <a:pt x="155702" y="281913"/>
                    </a:lnTo>
                    <a:lnTo>
                      <a:pt x="277943" y="281913"/>
                    </a:lnTo>
                    <a:lnTo>
                      <a:pt x="277943" y="282341"/>
                    </a:lnTo>
                    <a:cubicBezTo>
                      <a:pt x="307848" y="282341"/>
                      <a:pt x="334235" y="282341"/>
                      <a:pt x="366779" y="282341"/>
                    </a:cubicBezTo>
                    <a:lnTo>
                      <a:pt x="366779" y="281913"/>
                    </a:lnTo>
                    <a:lnTo>
                      <a:pt x="408118" y="281913"/>
                    </a:lnTo>
                    <a:lnTo>
                      <a:pt x="408118" y="1158732"/>
                    </a:lnTo>
                    <a:lnTo>
                      <a:pt x="0" y="1158732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FE17257E-496D-43B5-AF2E-E2A20B9FBD10}"/>
              </a:ext>
            </a:extLst>
          </p:cNvPr>
          <p:cNvGrpSpPr/>
          <p:nvPr userDrawn="1"/>
        </p:nvGrpSpPr>
        <p:grpSpPr>
          <a:xfrm>
            <a:off x="0" y="6593205"/>
            <a:ext cx="12192000" cy="283845"/>
            <a:chOff x="0" y="6593205"/>
            <a:chExt cx="12192000" cy="283845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09A48D2-D68F-4890-A42F-5BB72CFCCFD6}"/>
                </a:ext>
              </a:extLst>
            </p:cNvPr>
            <p:cNvSpPr/>
            <p:nvPr/>
          </p:nvSpPr>
          <p:spPr>
            <a:xfrm>
              <a:off x="0" y="6593205"/>
              <a:ext cx="12192000" cy="27432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59F2605-0DF1-4906-A75E-0ED8566A8648}"/>
                </a:ext>
              </a:extLst>
            </p:cNvPr>
            <p:cNvSpPr/>
            <p:nvPr/>
          </p:nvSpPr>
          <p:spPr>
            <a:xfrm>
              <a:off x="0" y="6684645"/>
              <a:ext cx="12192000" cy="1828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E70C75D-A69D-47EF-91AF-4C580B47C566}"/>
                </a:ext>
              </a:extLst>
            </p:cNvPr>
            <p:cNvSpPr/>
            <p:nvPr/>
          </p:nvSpPr>
          <p:spPr>
            <a:xfrm>
              <a:off x="0" y="6785610"/>
              <a:ext cx="1219200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162561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7DBDC731-CCCD-4C3D-A9AF-48F6234A2FDF}"/>
              </a:ext>
            </a:extLst>
          </p:cNvPr>
          <p:cNvGrpSpPr/>
          <p:nvPr userDrawn="1"/>
        </p:nvGrpSpPr>
        <p:grpSpPr>
          <a:xfrm>
            <a:off x="-1" y="-121539"/>
            <a:ext cx="12192001" cy="1608851"/>
            <a:chOff x="-1" y="-121539"/>
            <a:chExt cx="12192001" cy="1608851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00FB6E0-B02A-4B89-A387-E6A49302804A}"/>
                </a:ext>
              </a:extLst>
            </p:cNvPr>
            <p:cNvSpPr/>
            <p:nvPr userDrawn="1"/>
          </p:nvSpPr>
          <p:spPr>
            <a:xfrm>
              <a:off x="0" y="1"/>
              <a:ext cx="12192000" cy="140017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F04D15E-A661-4B09-87F0-33BFFB2C63B4}"/>
                </a:ext>
              </a:extLst>
            </p:cNvPr>
            <p:cNvSpPr/>
            <p:nvPr userDrawn="1"/>
          </p:nvSpPr>
          <p:spPr>
            <a:xfrm>
              <a:off x="-1" y="-121539"/>
              <a:ext cx="12192000" cy="1608851"/>
            </a:xfrm>
            <a:custGeom>
              <a:avLst/>
              <a:gdLst>
                <a:gd name="connsiteX0" fmla="*/ 8760317 w 12192000"/>
                <a:gd name="connsiteY0" fmla="*/ 780798 h 1608850"/>
                <a:gd name="connsiteX1" fmla="*/ 8760317 w 12192000"/>
                <a:gd name="connsiteY1" fmla="*/ 785159 h 1608850"/>
                <a:gd name="connsiteX2" fmla="*/ 8761882 w 12192000"/>
                <a:gd name="connsiteY2" fmla="*/ 787771 h 1608850"/>
                <a:gd name="connsiteX3" fmla="*/ 8762996 w 12192000"/>
                <a:gd name="connsiteY3" fmla="*/ 787771 h 1608850"/>
                <a:gd name="connsiteX4" fmla="*/ 8762996 w 12192000"/>
                <a:gd name="connsiteY4" fmla="*/ 786900 h 1608850"/>
                <a:gd name="connsiteX5" fmla="*/ 8762996 w 12192000"/>
                <a:gd name="connsiteY5" fmla="*/ 780798 h 1608850"/>
                <a:gd name="connsiteX6" fmla="*/ 8761881 w 12192000"/>
                <a:gd name="connsiteY6" fmla="*/ 780798 h 1608850"/>
                <a:gd name="connsiteX7" fmla="*/ 8758924 w 12192000"/>
                <a:gd name="connsiteY7" fmla="*/ 762200 h 1608850"/>
                <a:gd name="connsiteX8" fmla="*/ 8759734 w 12192000"/>
                <a:gd name="connsiteY8" fmla="*/ 771499 h 1608850"/>
                <a:gd name="connsiteX9" fmla="*/ 8762996 w 12192000"/>
                <a:gd name="connsiteY9" fmla="*/ 771499 h 1608850"/>
                <a:gd name="connsiteX10" fmla="*/ 8762996 w 12192000"/>
                <a:gd name="connsiteY10" fmla="*/ 770337 h 1608850"/>
                <a:gd name="connsiteX11" fmla="*/ 8762996 w 12192000"/>
                <a:gd name="connsiteY11" fmla="*/ 762200 h 1608850"/>
                <a:gd name="connsiteX12" fmla="*/ 8761881 w 12192000"/>
                <a:gd name="connsiteY12" fmla="*/ 762200 h 1608850"/>
                <a:gd name="connsiteX13" fmla="*/ 8755951 w 12192000"/>
                <a:gd name="connsiteY13" fmla="*/ 745928 h 1608850"/>
                <a:gd name="connsiteX14" fmla="*/ 8756137 w 12192000"/>
                <a:gd name="connsiteY14" fmla="*/ 746512 h 1608850"/>
                <a:gd name="connsiteX15" fmla="*/ 8758088 w 12192000"/>
                <a:gd name="connsiteY15" fmla="*/ 752614 h 1608850"/>
                <a:gd name="connsiteX16" fmla="*/ 8758113 w 12192000"/>
                <a:gd name="connsiteY16" fmla="*/ 752902 h 1608850"/>
                <a:gd name="connsiteX17" fmla="*/ 8762996 w 12192000"/>
                <a:gd name="connsiteY17" fmla="*/ 752902 h 1608850"/>
                <a:gd name="connsiteX18" fmla="*/ 8762996 w 12192000"/>
                <a:gd name="connsiteY18" fmla="*/ 752030 h 1608850"/>
                <a:gd name="connsiteX19" fmla="*/ 8762996 w 12192000"/>
                <a:gd name="connsiteY19" fmla="*/ 745928 h 1608850"/>
                <a:gd name="connsiteX20" fmla="*/ 8761881 w 12192000"/>
                <a:gd name="connsiteY20" fmla="*/ 745928 h 1608850"/>
                <a:gd name="connsiteX21" fmla="*/ 8907881 w 12192000"/>
                <a:gd name="connsiteY21" fmla="*/ 718032 h 1608850"/>
                <a:gd name="connsiteX22" fmla="*/ 8907881 w 12192000"/>
                <a:gd name="connsiteY22" fmla="*/ 719194 h 1608850"/>
                <a:gd name="connsiteX23" fmla="*/ 8907881 w 12192000"/>
                <a:gd name="connsiteY23" fmla="*/ 727331 h 1608850"/>
                <a:gd name="connsiteX24" fmla="*/ 8908543 w 12192000"/>
                <a:gd name="connsiteY24" fmla="*/ 727331 h 1608850"/>
                <a:gd name="connsiteX25" fmla="*/ 8908543 w 12192000"/>
                <a:gd name="connsiteY25" fmla="*/ 718032 h 1608850"/>
                <a:gd name="connsiteX26" fmla="*/ 1099585 w 12192000"/>
                <a:gd name="connsiteY26" fmla="*/ 0 h 1608850"/>
                <a:gd name="connsiteX27" fmla="*/ 1101611 w 12192000"/>
                <a:gd name="connsiteY27" fmla="*/ 246443 h 1608850"/>
                <a:gd name="connsiteX28" fmla="*/ 1140117 w 12192000"/>
                <a:gd name="connsiteY28" fmla="*/ 326429 h 1608850"/>
                <a:gd name="connsiteX29" fmla="*/ 1142145 w 12192000"/>
                <a:gd name="connsiteY29" fmla="*/ 326429 h 1608850"/>
                <a:gd name="connsiteX30" fmla="*/ 1156331 w 12192000"/>
                <a:gd name="connsiteY30" fmla="*/ 326429 h 1608850"/>
                <a:gd name="connsiteX31" fmla="*/ 1156331 w 12192000"/>
                <a:gd name="connsiteY31" fmla="*/ 350208 h 1608850"/>
                <a:gd name="connsiteX32" fmla="*/ 1156839 w 12192000"/>
                <a:gd name="connsiteY32" fmla="*/ 351019 h 1608850"/>
                <a:gd name="connsiteX33" fmla="*/ 1160385 w 12192000"/>
                <a:gd name="connsiteY33" fmla="*/ 356694 h 1608850"/>
                <a:gd name="connsiteX34" fmla="*/ 1160385 w 12192000"/>
                <a:gd name="connsiteY34" fmla="*/ 471268 h 1608850"/>
                <a:gd name="connsiteX35" fmla="*/ 1162664 w 12192000"/>
                <a:gd name="connsiteY35" fmla="*/ 471268 h 1608850"/>
                <a:gd name="connsiteX36" fmla="*/ 1178625 w 12192000"/>
                <a:gd name="connsiteY36" fmla="*/ 471268 h 1608850"/>
                <a:gd name="connsiteX37" fmla="*/ 1178625 w 12192000"/>
                <a:gd name="connsiteY37" fmla="*/ 611783 h 1608850"/>
                <a:gd name="connsiteX38" fmla="*/ 1180145 w 12192000"/>
                <a:gd name="connsiteY38" fmla="*/ 611513 h 1608850"/>
                <a:gd name="connsiteX39" fmla="*/ 1190785 w 12192000"/>
                <a:gd name="connsiteY39" fmla="*/ 609622 h 1608850"/>
                <a:gd name="connsiteX40" fmla="*/ 1188759 w 12192000"/>
                <a:gd name="connsiteY40" fmla="*/ 698254 h 1608850"/>
                <a:gd name="connsiteX41" fmla="*/ 1190279 w 12192000"/>
                <a:gd name="connsiteY41" fmla="*/ 698525 h 1608850"/>
                <a:gd name="connsiteX42" fmla="*/ 1200919 w 12192000"/>
                <a:gd name="connsiteY42" fmla="*/ 700416 h 1608850"/>
                <a:gd name="connsiteX43" fmla="*/ 1201171 w 12192000"/>
                <a:gd name="connsiteY43" fmla="*/ 701227 h 1608850"/>
                <a:gd name="connsiteX44" fmla="*/ 1202945 w 12192000"/>
                <a:gd name="connsiteY44" fmla="*/ 706902 h 1608850"/>
                <a:gd name="connsiteX45" fmla="*/ 1203705 w 12192000"/>
                <a:gd name="connsiteY45" fmla="*/ 704470 h 1608850"/>
                <a:gd name="connsiteX46" fmla="*/ 1209025 w 12192000"/>
                <a:gd name="connsiteY46" fmla="*/ 687446 h 1608850"/>
                <a:gd name="connsiteX47" fmla="*/ 1210799 w 12192000"/>
                <a:gd name="connsiteY47" fmla="*/ 687446 h 1608850"/>
                <a:gd name="connsiteX48" fmla="*/ 1223212 w 12192000"/>
                <a:gd name="connsiteY48" fmla="*/ 687446 h 1608850"/>
                <a:gd name="connsiteX49" fmla="*/ 1223212 w 12192000"/>
                <a:gd name="connsiteY49" fmla="*/ 719872 h 1608850"/>
                <a:gd name="connsiteX50" fmla="*/ 1224225 w 12192000"/>
                <a:gd name="connsiteY50" fmla="*/ 720413 h 1608850"/>
                <a:gd name="connsiteX51" fmla="*/ 1231319 w 12192000"/>
                <a:gd name="connsiteY51" fmla="*/ 724196 h 1608850"/>
                <a:gd name="connsiteX52" fmla="*/ 1231319 w 12192000"/>
                <a:gd name="connsiteY52" fmla="*/ 725547 h 1608850"/>
                <a:gd name="connsiteX53" fmla="*/ 1231319 w 12192000"/>
                <a:gd name="connsiteY53" fmla="*/ 735005 h 1608850"/>
                <a:gd name="connsiteX54" fmla="*/ 1275907 w 12192000"/>
                <a:gd name="connsiteY54" fmla="*/ 735005 h 1608850"/>
                <a:gd name="connsiteX55" fmla="*/ 1275907 w 12192000"/>
                <a:gd name="connsiteY55" fmla="*/ 736086 h 1608850"/>
                <a:gd name="connsiteX56" fmla="*/ 1275907 w 12192000"/>
                <a:gd name="connsiteY56" fmla="*/ 743652 h 1608850"/>
                <a:gd name="connsiteX57" fmla="*/ 1277933 w 12192000"/>
                <a:gd name="connsiteY57" fmla="*/ 743652 h 1608850"/>
                <a:gd name="connsiteX58" fmla="*/ 1292119 w 12192000"/>
                <a:gd name="connsiteY58" fmla="*/ 743652 h 1608850"/>
                <a:gd name="connsiteX59" fmla="*/ 1292119 w 12192000"/>
                <a:gd name="connsiteY59" fmla="*/ 713387 h 1608850"/>
                <a:gd name="connsiteX60" fmla="*/ 1336706 w 12192000"/>
                <a:gd name="connsiteY60" fmla="*/ 713387 h 1608850"/>
                <a:gd name="connsiteX61" fmla="*/ 1336706 w 12192000"/>
                <a:gd name="connsiteY61" fmla="*/ 712036 h 1608850"/>
                <a:gd name="connsiteX62" fmla="*/ 1336706 w 12192000"/>
                <a:gd name="connsiteY62" fmla="*/ 702578 h 1608850"/>
                <a:gd name="connsiteX63" fmla="*/ 1337721 w 12192000"/>
                <a:gd name="connsiteY63" fmla="*/ 702578 h 1608850"/>
                <a:gd name="connsiteX64" fmla="*/ 1344813 w 12192000"/>
                <a:gd name="connsiteY64" fmla="*/ 702578 h 1608850"/>
                <a:gd name="connsiteX65" fmla="*/ 1344813 w 12192000"/>
                <a:gd name="connsiteY65" fmla="*/ 700687 h 1608850"/>
                <a:gd name="connsiteX66" fmla="*/ 1344813 w 12192000"/>
                <a:gd name="connsiteY66" fmla="*/ 687446 h 1608850"/>
                <a:gd name="connsiteX67" fmla="*/ 1345573 w 12192000"/>
                <a:gd name="connsiteY67" fmla="*/ 687446 h 1608850"/>
                <a:gd name="connsiteX68" fmla="*/ 1350893 w 12192000"/>
                <a:gd name="connsiteY68" fmla="*/ 687446 h 1608850"/>
                <a:gd name="connsiteX69" fmla="*/ 1350893 w 12192000"/>
                <a:gd name="connsiteY69" fmla="*/ 686365 h 1608850"/>
                <a:gd name="connsiteX70" fmla="*/ 1350893 w 12192000"/>
                <a:gd name="connsiteY70" fmla="*/ 678798 h 1608850"/>
                <a:gd name="connsiteX71" fmla="*/ 1352921 w 12192000"/>
                <a:gd name="connsiteY71" fmla="*/ 678798 h 1608850"/>
                <a:gd name="connsiteX72" fmla="*/ 1367107 w 12192000"/>
                <a:gd name="connsiteY72" fmla="*/ 678798 h 1608850"/>
                <a:gd name="connsiteX73" fmla="*/ 1367107 w 12192000"/>
                <a:gd name="connsiteY73" fmla="*/ 679879 h 1608850"/>
                <a:gd name="connsiteX74" fmla="*/ 1367107 w 12192000"/>
                <a:gd name="connsiteY74" fmla="*/ 687446 h 1608850"/>
                <a:gd name="connsiteX75" fmla="*/ 1389401 w 12192000"/>
                <a:gd name="connsiteY75" fmla="*/ 687446 h 1608850"/>
                <a:gd name="connsiteX76" fmla="*/ 1389401 w 12192000"/>
                <a:gd name="connsiteY76" fmla="*/ 685554 h 1608850"/>
                <a:gd name="connsiteX77" fmla="*/ 1389401 w 12192000"/>
                <a:gd name="connsiteY77" fmla="*/ 672313 h 1608850"/>
                <a:gd name="connsiteX78" fmla="*/ 1391174 w 12192000"/>
                <a:gd name="connsiteY78" fmla="*/ 672313 h 1608850"/>
                <a:gd name="connsiteX79" fmla="*/ 1403587 w 12192000"/>
                <a:gd name="connsiteY79" fmla="*/ 672313 h 1608850"/>
                <a:gd name="connsiteX80" fmla="*/ 1403587 w 12192000"/>
                <a:gd name="connsiteY80" fmla="*/ 696093 h 1608850"/>
                <a:gd name="connsiteX81" fmla="*/ 1404601 w 12192000"/>
                <a:gd name="connsiteY81" fmla="*/ 696093 h 1608850"/>
                <a:gd name="connsiteX82" fmla="*/ 1411695 w 12192000"/>
                <a:gd name="connsiteY82" fmla="*/ 696093 h 1608850"/>
                <a:gd name="connsiteX83" fmla="*/ 1411695 w 12192000"/>
                <a:gd name="connsiteY83" fmla="*/ 695012 h 1608850"/>
                <a:gd name="connsiteX84" fmla="*/ 1411695 w 12192000"/>
                <a:gd name="connsiteY84" fmla="*/ 687446 h 1608850"/>
                <a:gd name="connsiteX85" fmla="*/ 1413467 w 12192000"/>
                <a:gd name="connsiteY85" fmla="*/ 687446 h 1608850"/>
                <a:gd name="connsiteX86" fmla="*/ 1425881 w 12192000"/>
                <a:gd name="connsiteY86" fmla="*/ 687446 h 1608850"/>
                <a:gd name="connsiteX87" fmla="*/ 1425881 w 12192000"/>
                <a:gd name="connsiteY87" fmla="*/ 713387 h 1608850"/>
                <a:gd name="connsiteX88" fmla="*/ 1427909 w 12192000"/>
                <a:gd name="connsiteY88" fmla="*/ 713387 h 1608850"/>
                <a:gd name="connsiteX89" fmla="*/ 1442095 w 12192000"/>
                <a:gd name="connsiteY89" fmla="*/ 713387 h 1608850"/>
                <a:gd name="connsiteX90" fmla="*/ 1442095 w 12192000"/>
                <a:gd name="connsiteY90" fmla="*/ 715008 h 1608850"/>
                <a:gd name="connsiteX91" fmla="*/ 1442095 w 12192000"/>
                <a:gd name="connsiteY91" fmla="*/ 726358 h 1608850"/>
                <a:gd name="connsiteX92" fmla="*/ 1442855 w 12192000"/>
                <a:gd name="connsiteY92" fmla="*/ 726358 h 1608850"/>
                <a:gd name="connsiteX93" fmla="*/ 1448175 w 12192000"/>
                <a:gd name="connsiteY93" fmla="*/ 726358 h 1608850"/>
                <a:gd name="connsiteX94" fmla="*/ 1448175 w 12192000"/>
                <a:gd name="connsiteY94" fmla="*/ 725547 h 1608850"/>
                <a:gd name="connsiteX95" fmla="*/ 1448175 w 12192000"/>
                <a:gd name="connsiteY95" fmla="*/ 719872 h 1608850"/>
                <a:gd name="connsiteX96" fmla="*/ 1478575 w 12192000"/>
                <a:gd name="connsiteY96" fmla="*/ 719872 h 1608850"/>
                <a:gd name="connsiteX97" fmla="*/ 1478575 w 12192000"/>
                <a:gd name="connsiteY97" fmla="*/ 743652 h 1608850"/>
                <a:gd name="connsiteX98" fmla="*/ 1479589 w 12192000"/>
                <a:gd name="connsiteY98" fmla="*/ 743652 h 1608850"/>
                <a:gd name="connsiteX99" fmla="*/ 1486683 w 12192000"/>
                <a:gd name="connsiteY99" fmla="*/ 743652 h 1608850"/>
                <a:gd name="connsiteX100" fmla="*/ 1486683 w 12192000"/>
                <a:gd name="connsiteY100" fmla="*/ 744733 h 1608850"/>
                <a:gd name="connsiteX101" fmla="*/ 1486683 w 12192000"/>
                <a:gd name="connsiteY101" fmla="*/ 752299 h 1608850"/>
                <a:gd name="connsiteX102" fmla="*/ 1487443 w 12192000"/>
                <a:gd name="connsiteY102" fmla="*/ 752299 h 1608850"/>
                <a:gd name="connsiteX103" fmla="*/ 1492763 w 12192000"/>
                <a:gd name="connsiteY103" fmla="*/ 752299 h 1608850"/>
                <a:gd name="connsiteX104" fmla="*/ 1492763 w 12192000"/>
                <a:gd name="connsiteY104" fmla="*/ 750137 h 1608850"/>
                <a:gd name="connsiteX105" fmla="*/ 1492763 w 12192000"/>
                <a:gd name="connsiteY105" fmla="*/ 735005 h 1608850"/>
                <a:gd name="connsiteX106" fmla="*/ 1493775 w 12192000"/>
                <a:gd name="connsiteY106" fmla="*/ 735005 h 1608850"/>
                <a:gd name="connsiteX107" fmla="*/ 1500869 w 12192000"/>
                <a:gd name="connsiteY107" fmla="*/ 735005 h 1608850"/>
                <a:gd name="connsiteX108" fmla="*/ 1500869 w 12192000"/>
                <a:gd name="connsiteY108" fmla="*/ 736086 h 1608850"/>
                <a:gd name="connsiteX109" fmla="*/ 1500869 w 12192000"/>
                <a:gd name="connsiteY109" fmla="*/ 743652 h 1608850"/>
                <a:gd name="connsiteX110" fmla="*/ 1506189 w 12192000"/>
                <a:gd name="connsiteY110" fmla="*/ 741659 h 1608850"/>
                <a:gd name="connsiteX111" fmla="*/ 1506949 w 12192000"/>
                <a:gd name="connsiteY111" fmla="*/ 740679 h 1608850"/>
                <a:gd name="connsiteX112" fmla="*/ 1506949 w 12192000"/>
                <a:gd name="connsiteY112" fmla="*/ 735005 h 1608850"/>
                <a:gd name="connsiteX113" fmla="*/ 1545457 w 12192000"/>
                <a:gd name="connsiteY113" fmla="*/ 735005 h 1608850"/>
                <a:gd name="connsiteX114" fmla="*/ 1545457 w 12192000"/>
                <a:gd name="connsiteY114" fmla="*/ 758784 h 1608850"/>
                <a:gd name="connsiteX115" fmla="*/ 1547483 w 12192000"/>
                <a:gd name="connsiteY115" fmla="*/ 758784 h 1608850"/>
                <a:gd name="connsiteX116" fmla="*/ 1561669 w 12192000"/>
                <a:gd name="connsiteY116" fmla="*/ 758784 h 1608850"/>
                <a:gd name="connsiteX117" fmla="*/ 1561669 w 12192000"/>
                <a:gd name="connsiteY117" fmla="*/ 759865 h 1608850"/>
                <a:gd name="connsiteX118" fmla="*/ 1561669 w 12192000"/>
                <a:gd name="connsiteY118" fmla="*/ 767431 h 1608850"/>
                <a:gd name="connsiteX119" fmla="*/ 1563443 w 12192000"/>
                <a:gd name="connsiteY119" fmla="*/ 767431 h 1608850"/>
                <a:gd name="connsiteX120" fmla="*/ 1575857 w 12192000"/>
                <a:gd name="connsiteY120" fmla="*/ 767431 h 1608850"/>
                <a:gd name="connsiteX121" fmla="*/ 1575857 w 12192000"/>
                <a:gd name="connsiteY121" fmla="*/ 743652 h 1608850"/>
                <a:gd name="connsiteX122" fmla="*/ 1576869 w 12192000"/>
                <a:gd name="connsiteY122" fmla="*/ 743652 h 1608850"/>
                <a:gd name="connsiteX123" fmla="*/ 1583963 w 12192000"/>
                <a:gd name="connsiteY123" fmla="*/ 743652 h 1608850"/>
                <a:gd name="connsiteX124" fmla="*/ 1583963 w 12192000"/>
                <a:gd name="connsiteY124" fmla="*/ 711225 h 1608850"/>
                <a:gd name="connsiteX125" fmla="*/ 1584977 w 12192000"/>
                <a:gd name="connsiteY125" fmla="*/ 711225 h 1608850"/>
                <a:gd name="connsiteX126" fmla="*/ 1592071 w 12192000"/>
                <a:gd name="connsiteY126" fmla="*/ 711225 h 1608850"/>
                <a:gd name="connsiteX127" fmla="*/ 1592071 w 12192000"/>
                <a:gd name="connsiteY127" fmla="*/ 709334 h 1608850"/>
                <a:gd name="connsiteX128" fmla="*/ 1592071 w 12192000"/>
                <a:gd name="connsiteY128" fmla="*/ 696093 h 1608850"/>
                <a:gd name="connsiteX129" fmla="*/ 1590803 w 12192000"/>
                <a:gd name="connsiteY129" fmla="*/ 694471 h 1608850"/>
                <a:gd name="connsiteX130" fmla="*/ 1596123 w 12192000"/>
                <a:gd name="connsiteY130" fmla="*/ 683122 h 1608850"/>
                <a:gd name="connsiteX131" fmla="*/ 1604231 w 12192000"/>
                <a:gd name="connsiteY131" fmla="*/ 711225 h 1608850"/>
                <a:gd name="connsiteX132" fmla="*/ 1604991 w 12192000"/>
                <a:gd name="connsiteY132" fmla="*/ 711225 h 1608850"/>
                <a:gd name="connsiteX133" fmla="*/ 1610311 w 12192000"/>
                <a:gd name="connsiteY133" fmla="*/ 711225 h 1608850"/>
                <a:gd name="connsiteX134" fmla="*/ 1610311 w 12192000"/>
                <a:gd name="connsiteY134" fmla="*/ 605298 h 1608850"/>
                <a:gd name="connsiteX135" fmla="*/ 1611831 w 12192000"/>
                <a:gd name="connsiteY135" fmla="*/ 605298 h 1608850"/>
                <a:gd name="connsiteX136" fmla="*/ 1622471 w 12192000"/>
                <a:gd name="connsiteY136" fmla="*/ 605298 h 1608850"/>
                <a:gd name="connsiteX137" fmla="*/ 1622471 w 12192000"/>
                <a:gd name="connsiteY137" fmla="*/ 557739 h 1608850"/>
                <a:gd name="connsiteX138" fmla="*/ 1648817 w 12192000"/>
                <a:gd name="connsiteY138" fmla="*/ 557739 h 1608850"/>
                <a:gd name="connsiteX139" fmla="*/ 1648817 w 12192000"/>
                <a:gd name="connsiteY139" fmla="*/ 536121 h 1608850"/>
                <a:gd name="connsiteX140" fmla="*/ 1683271 w 12192000"/>
                <a:gd name="connsiteY140" fmla="*/ 536121 h 1608850"/>
                <a:gd name="connsiteX141" fmla="*/ 1683271 w 12192000"/>
                <a:gd name="connsiteY141" fmla="*/ 538553 h 1608850"/>
                <a:gd name="connsiteX142" fmla="*/ 1683271 w 12192000"/>
                <a:gd name="connsiteY142" fmla="*/ 555577 h 1608850"/>
                <a:gd name="connsiteX143" fmla="*/ 1685551 w 12192000"/>
                <a:gd name="connsiteY143" fmla="*/ 555577 h 1608850"/>
                <a:gd name="connsiteX144" fmla="*/ 1701511 w 12192000"/>
                <a:gd name="connsiteY144" fmla="*/ 555577 h 1608850"/>
                <a:gd name="connsiteX145" fmla="*/ 1701511 w 12192000"/>
                <a:gd name="connsiteY145" fmla="*/ 603136 h 1608850"/>
                <a:gd name="connsiteX146" fmla="*/ 1702525 w 12192000"/>
                <a:gd name="connsiteY146" fmla="*/ 603136 h 1608850"/>
                <a:gd name="connsiteX147" fmla="*/ 1709619 w 12192000"/>
                <a:gd name="connsiteY147" fmla="*/ 603136 h 1608850"/>
                <a:gd name="connsiteX148" fmla="*/ 1723805 w 12192000"/>
                <a:gd name="connsiteY148" fmla="*/ 607460 h 1608850"/>
                <a:gd name="connsiteX149" fmla="*/ 1723805 w 12192000"/>
                <a:gd name="connsiteY149" fmla="*/ 646372 h 1608850"/>
                <a:gd name="connsiteX150" fmla="*/ 1724819 w 12192000"/>
                <a:gd name="connsiteY150" fmla="*/ 646372 h 1608850"/>
                <a:gd name="connsiteX151" fmla="*/ 1731911 w 12192000"/>
                <a:gd name="connsiteY151" fmla="*/ 646372 h 1608850"/>
                <a:gd name="connsiteX152" fmla="*/ 1731911 w 12192000"/>
                <a:gd name="connsiteY152" fmla="*/ 647993 h 1608850"/>
                <a:gd name="connsiteX153" fmla="*/ 1731911 w 12192000"/>
                <a:gd name="connsiteY153" fmla="*/ 659342 h 1608850"/>
                <a:gd name="connsiteX154" fmla="*/ 1733939 w 12192000"/>
                <a:gd name="connsiteY154" fmla="*/ 659342 h 1608850"/>
                <a:gd name="connsiteX155" fmla="*/ 1748125 w 12192000"/>
                <a:gd name="connsiteY155" fmla="*/ 659342 h 1608850"/>
                <a:gd name="connsiteX156" fmla="*/ 1754205 w 12192000"/>
                <a:gd name="connsiteY156" fmla="*/ 665828 h 1608850"/>
                <a:gd name="connsiteX157" fmla="*/ 1754205 w 12192000"/>
                <a:gd name="connsiteY157" fmla="*/ 687446 h 1608850"/>
                <a:gd name="connsiteX158" fmla="*/ 1756485 w 12192000"/>
                <a:gd name="connsiteY158" fmla="*/ 687446 h 1608850"/>
                <a:gd name="connsiteX159" fmla="*/ 1772445 w 12192000"/>
                <a:gd name="connsiteY159" fmla="*/ 687446 h 1608850"/>
                <a:gd name="connsiteX160" fmla="*/ 1772445 w 12192000"/>
                <a:gd name="connsiteY160" fmla="*/ 688526 h 1608850"/>
                <a:gd name="connsiteX161" fmla="*/ 1772445 w 12192000"/>
                <a:gd name="connsiteY161" fmla="*/ 696093 h 1608850"/>
                <a:gd name="connsiteX162" fmla="*/ 1773713 w 12192000"/>
                <a:gd name="connsiteY162" fmla="*/ 696093 h 1608850"/>
                <a:gd name="connsiteX163" fmla="*/ 1782579 w 12192000"/>
                <a:gd name="connsiteY163" fmla="*/ 696093 h 1608850"/>
                <a:gd name="connsiteX164" fmla="*/ 1782579 w 12192000"/>
                <a:gd name="connsiteY164" fmla="*/ 698254 h 1608850"/>
                <a:gd name="connsiteX165" fmla="*/ 1782579 w 12192000"/>
                <a:gd name="connsiteY165" fmla="*/ 713387 h 1608850"/>
                <a:gd name="connsiteX166" fmla="*/ 1786633 w 12192000"/>
                <a:gd name="connsiteY166" fmla="*/ 711495 h 1608850"/>
                <a:gd name="connsiteX167" fmla="*/ 1786633 w 12192000"/>
                <a:gd name="connsiteY167" fmla="*/ 698254 h 1608850"/>
                <a:gd name="connsiteX168" fmla="*/ 1787645 w 12192000"/>
                <a:gd name="connsiteY168" fmla="*/ 698254 h 1608850"/>
                <a:gd name="connsiteX169" fmla="*/ 1794739 w 12192000"/>
                <a:gd name="connsiteY169" fmla="*/ 698254 h 1608850"/>
                <a:gd name="connsiteX170" fmla="*/ 1794739 w 12192000"/>
                <a:gd name="connsiteY170" fmla="*/ 699876 h 1608850"/>
                <a:gd name="connsiteX171" fmla="*/ 1794739 w 12192000"/>
                <a:gd name="connsiteY171" fmla="*/ 711225 h 1608850"/>
                <a:gd name="connsiteX172" fmla="*/ 1795499 w 12192000"/>
                <a:gd name="connsiteY172" fmla="*/ 711225 h 1608850"/>
                <a:gd name="connsiteX173" fmla="*/ 1800819 w 12192000"/>
                <a:gd name="connsiteY173" fmla="*/ 711225 h 1608850"/>
                <a:gd name="connsiteX174" fmla="*/ 1849459 w 12192000"/>
                <a:gd name="connsiteY174" fmla="*/ 706902 h 1608850"/>
                <a:gd name="connsiteX175" fmla="*/ 1849459 w 12192000"/>
                <a:gd name="connsiteY175" fmla="*/ 708253 h 1608850"/>
                <a:gd name="connsiteX176" fmla="*/ 1849459 w 12192000"/>
                <a:gd name="connsiteY176" fmla="*/ 717710 h 1608850"/>
                <a:gd name="connsiteX177" fmla="*/ 1850219 w 12192000"/>
                <a:gd name="connsiteY177" fmla="*/ 717710 h 1608850"/>
                <a:gd name="connsiteX178" fmla="*/ 1855541 w 12192000"/>
                <a:gd name="connsiteY178" fmla="*/ 717710 h 1608850"/>
                <a:gd name="connsiteX179" fmla="*/ 1855541 w 12192000"/>
                <a:gd name="connsiteY179" fmla="*/ 719872 h 1608850"/>
                <a:gd name="connsiteX180" fmla="*/ 1855541 w 12192000"/>
                <a:gd name="connsiteY180" fmla="*/ 735005 h 1608850"/>
                <a:gd name="connsiteX181" fmla="*/ 1857567 w 12192000"/>
                <a:gd name="connsiteY181" fmla="*/ 733654 h 1608850"/>
                <a:gd name="connsiteX182" fmla="*/ 1871753 w 12192000"/>
                <a:gd name="connsiteY182" fmla="*/ 724196 h 1608850"/>
                <a:gd name="connsiteX183" fmla="*/ 1877833 w 12192000"/>
                <a:gd name="connsiteY183" fmla="*/ 683122 h 1608850"/>
                <a:gd name="connsiteX184" fmla="*/ 1878593 w 12192000"/>
                <a:gd name="connsiteY184" fmla="*/ 682852 h 1608850"/>
                <a:gd name="connsiteX185" fmla="*/ 1883913 w 12192000"/>
                <a:gd name="connsiteY185" fmla="*/ 680960 h 1608850"/>
                <a:gd name="connsiteX186" fmla="*/ 1885941 w 12192000"/>
                <a:gd name="connsiteY186" fmla="*/ 611783 h 1608850"/>
                <a:gd name="connsiteX187" fmla="*/ 1887967 w 12192000"/>
                <a:gd name="connsiteY187" fmla="*/ 680960 h 1608850"/>
                <a:gd name="connsiteX188" fmla="*/ 1888727 w 12192000"/>
                <a:gd name="connsiteY188" fmla="*/ 681230 h 1608850"/>
                <a:gd name="connsiteX189" fmla="*/ 1894047 w 12192000"/>
                <a:gd name="connsiteY189" fmla="*/ 683122 h 1608850"/>
                <a:gd name="connsiteX190" fmla="*/ 1894047 w 12192000"/>
                <a:gd name="connsiteY190" fmla="*/ 596651 h 1608850"/>
                <a:gd name="connsiteX191" fmla="*/ 1898101 w 12192000"/>
                <a:gd name="connsiteY191" fmla="*/ 564224 h 1608850"/>
                <a:gd name="connsiteX192" fmla="*/ 1936607 w 12192000"/>
                <a:gd name="connsiteY192" fmla="*/ 564224 h 1608850"/>
                <a:gd name="connsiteX193" fmla="*/ 1936607 w 12192000"/>
                <a:gd name="connsiteY193" fmla="*/ 596651 h 1608850"/>
                <a:gd name="connsiteX194" fmla="*/ 1937367 w 12192000"/>
                <a:gd name="connsiteY194" fmla="*/ 596651 h 1608850"/>
                <a:gd name="connsiteX195" fmla="*/ 1942687 w 12192000"/>
                <a:gd name="connsiteY195" fmla="*/ 596651 h 1608850"/>
                <a:gd name="connsiteX196" fmla="*/ 1942687 w 12192000"/>
                <a:gd name="connsiteY196" fmla="*/ 514503 h 1608850"/>
                <a:gd name="connsiteX197" fmla="*/ 1944461 w 12192000"/>
                <a:gd name="connsiteY197" fmla="*/ 514503 h 1608850"/>
                <a:gd name="connsiteX198" fmla="*/ 1956875 w 12192000"/>
                <a:gd name="connsiteY198" fmla="*/ 514503 h 1608850"/>
                <a:gd name="connsiteX199" fmla="*/ 1956875 w 12192000"/>
                <a:gd name="connsiteY199" fmla="*/ 512612 h 1608850"/>
                <a:gd name="connsiteX200" fmla="*/ 1956875 w 12192000"/>
                <a:gd name="connsiteY200" fmla="*/ 499371 h 1608850"/>
                <a:gd name="connsiteX201" fmla="*/ 1979169 w 12192000"/>
                <a:gd name="connsiteY201" fmla="*/ 499371 h 1608850"/>
                <a:gd name="connsiteX202" fmla="*/ 1979169 w 12192000"/>
                <a:gd name="connsiteY202" fmla="*/ 498290 h 1608850"/>
                <a:gd name="connsiteX203" fmla="*/ 1979169 w 12192000"/>
                <a:gd name="connsiteY203" fmla="*/ 490724 h 1608850"/>
                <a:gd name="connsiteX204" fmla="*/ 1980941 w 12192000"/>
                <a:gd name="connsiteY204" fmla="*/ 490724 h 1608850"/>
                <a:gd name="connsiteX205" fmla="*/ 1993355 w 12192000"/>
                <a:gd name="connsiteY205" fmla="*/ 490724 h 1608850"/>
                <a:gd name="connsiteX206" fmla="*/ 1993355 w 12192000"/>
                <a:gd name="connsiteY206" fmla="*/ 491805 h 1608850"/>
                <a:gd name="connsiteX207" fmla="*/ 1993355 w 12192000"/>
                <a:gd name="connsiteY207" fmla="*/ 499371 h 1608850"/>
                <a:gd name="connsiteX208" fmla="*/ 1994115 w 12192000"/>
                <a:gd name="connsiteY208" fmla="*/ 499371 h 1608850"/>
                <a:gd name="connsiteX209" fmla="*/ 1999435 w 12192000"/>
                <a:gd name="connsiteY209" fmla="*/ 499371 h 1608850"/>
                <a:gd name="connsiteX210" fmla="*/ 2009569 w 12192000"/>
                <a:gd name="connsiteY210" fmla="*/ 495047 h 1608850"/>
                <a:gd name="connsiteX211" fmla="*/ 2013621 w 12192000"/>
                <a:gd name="connsiteY211" fmla="*/ 498290 h 1608850"/>
                <a:gd name="connsiteX212" fmla="*/ 2013621 w 12192000"/>
                <a:gd name="connsiteY212" fmla="*/ 490724 h 1608850"/>
                <a:gd name="connsiteX213" fmla="*/ 2015901 w 12192000"/>
                <a:gd name="connsiteY213" fmla="*/ 490724 h 1608850"/>
                <a:gd name="connsiteX214" fmla="*/ 2031863 w 12192000"/>
                <a:gd name="connsiteY214" fmla="*/ 490724 h 1608850"/>
                <a:gd name="connsiteX215" fmla="*/ 2031863 w 12192000"/>
                <a:gd name="connsiteY215" fmla="*/ 491805 h 1608850"/>
                <a:gd name="connsiteX216" fmla="*/ 2031863 w 12192000"/>
                <a:gd name="connsiteY216" fmla="*/ 499371 h 1608850"/>
                <a:gd name="connsiteX217" fmla="*/ 2062263 w 12192000"/>
                <a:gd name="connsiteY217" fmla="*/ 499371 h 1608850"/>
                <a:gd name="connsiteX218" fmla="*/ 2062263 w 12192000"/>
                <a:gd name="connsiteY218" fmla="*/ 500992 h 1608850"/>
                <a:gd name="connsiteX219" fmla="*/ 2062263 w 12192000"/>
                <a:gd name="connsiteY219" fmla="*/ 512342 h 1608850"/>
                <a:gd name="connsiteX220" fmla="*/ 2088609 w 12192000"/>
                <a:gd name="connsiteY220" fmla="*/ 512342 h 1608850"/>
                <a:gd name="connsiteX221" fmla="*/ 2088609 w 12192000"/>
                <a:gd name="connsiteY221" fmla="*/ 542606 h 1608850"/>
                <a:gd name="connsiteX222" fmla="*/ 2089369 w 12192000"/>
                <a:gd name="connsiteY222" fmla="*/ 542606 h 1608850"/>
                <a:gd name="connsiteX223" fmla="*/ 2094689 w 12192000"/>
                <a:gd name="connsiteY223" fmla="*/ 542606 h 1608850"/>
                <a:gd name="connsiteX224" fmla="*/ 2094689 w 12192000"/>
                <a:gd name="connsiteY224" fmla="*/ 543687 h 1608850"/>
                <a:gd name="connsiteX225" fmla="*/ 2094689 w 12192000"/>
                <a:gd name="connsiteY225" fmla="*/ 551254 h 1608850"/>
                <a:gd name="connsiteX226" fmla="*/ 2098743 w 12192000"/>
                <a:gd name="connsiteY226" fmla="*/ 581518 h 1608850"/>
                <a:gd name="connsiteX227" fmla="*/ 2099503 w 12192000"/>
                <a:gd name="connsiteY227" fmla="*/ 581518 h 1608850"/>
                <a:gd name="connsiteX228" fmla="*/ 2104823 w 12192000"/>
                <a:gd name="connsiteY228" fmla="*/ 581518 h 1608850"/>
                <a:gd name="connsiteX229" fmla="*/ 2104823 w 12192000"/>
                <a:gd name="connsiteY229" fmla="*/ 582329 h 1608850"/>
                <a:gd name="connsiteX230" fmla="*/ 2104823 w 12192000"/>
                <a:gd name="connsiteY230" fmla="*/ 588004 h 1608850"/>
                <a:gd name="connsiteX231" fmla="*/ 2105837 w 12192000"/>
                <a:gd name="connsiteY231" fmla="*/ 588004 h 1608850"/>
                <a:gd name="connsiteX232" fmla="*/ 2112929 w 12192000"/>
                <a:gd name="connsiteY232" fmla="*/ 588004 h 1608850"/>
                <a:gd name="connsiteX233" fmla="*/ 2112929 w 12192000"/>
                <a:gd name="connsiteY233" fmla="*/ 618269 h 1608850"/>
                <a:gd name="connsiteX234" fmla="*/ 2114957 w 12192000"/>
                <a:gd name="connsiteY234" fmla="*/ 618269 h 1608850"/>
                <a:gd name="connsiteX235" fmla="*/ 2129143 w 12192000"/>
                <a:gd name="connsiteY235" fmla="*/ 618269 h 1608850"/>
                <a:gd name="connsiteX236" fmla="*/ 2129143 w 12192000"/>
                <a:gd name="connsiteY236" fmla="*/ 642048 h 1608850"/>
                <a:gd name="connsiteX237" fmla="*/ 2131171 w 12192000"/>
                <a:gd name="connsiteY237" fmla="*/ 643669 h 1608850"/>
                <a:gd name="connsiteX238" fmla="*/ 2131171 w 12192000"/>
                <a:gd name="connsiteY238" fmla="*/ 655019 h 1608850"/>
                <a:gd name="connsiteX239" fmla="*/ 2131931 w 12192000"/>
                <a:gd name="connsiteY239" fmla="*/ 655019 h 1608850"/>
                <a:gd name="connsiteX240" fmla="*/ 2137251 w 12192000"/>
                <a:gd name="connsiteY240" fmla="*/ 655019 h 1608850"/>
                <a:gd name="connsiteX241" fmla="*/ 2137251 w 12192000"/>
                <a:gd name="connsiteY241" fmla="*/ 678798 h 1608850"/>
                <a:gd name="connsiteX242" fmla="*/ 2138517 w 12192000"/>
                <a:gd name="connsiteY242" fmla="*/ 678798 h 1608850"/>
                <a:gd name="connsiteX243" fmla="*/ 2147383 w 12192000"/>
                <a:gd name="connsiteY243" fmla="*/ 678798 h 1608850"/>
                <a:gd name="connsiteX244" fmla="*/ 2149411 w 12192000"/>
                <a:gd name="connsiteY244" fmla="*/ 682852 h 1608850"/>
                <a:gd name="connsiteX245" fmla="*/ 2149411 w 12192000"/>
                <a:gd name="connsiteY245" fmla="*/ 696093 h 1608850"/>
                <a:gd name="connsiteX246" fmla="*/ 2150931 w 12192000"/>
                <a:gd name="connsiteY246" fmla="*/ 694201 h 1608850"/>
                <a:gd name="connsiteX247" fmla="*/ 2161571 w 12192000"/>
                <a:gd name="connsiteY247" fmla="*/ 680960 h 1608850"/>
                <a:gd name="connsiteX248" fmla="*/ 2189945 w 12192000"/>
                <a:gd name="connsiteY248" fmla="*/ 680960 h 1608850"/>
                <a:gd name="connsiteX249" fmla="*/ 2189945 w 12192000"/>
                <a:gd name="connsiteY249" fmla="*/ 767431 h 1608850"/>
                <a:gd name="connsiteX250" fmla="*/ 2190705 w 12192000"/>
                <a:gd name="connsiteY250" fmla="*/ 767431 h 1608850"/>
                <a:gd name="connsiteX251" fmla="*/ 2196025 w 12192000"/>
                <a:gd name="connsiteY251" fmla="*/ 767431 h 1608850"/>
                <a:gd name="connsiteX252" fmla="*/ 2196785 w 12192000"/>
                <a:gd name="connsiteY252" fmla="*/ 766080 h 1608850"/>
                <a:gd name="connsiteX253" fmla="*/ 2202105 w 12192000"/>
                <a:gd name="connsiteY253" fmla="*/ 756622 h 1608850"/>
                <a:gd name="connsiteX254" fmla="*/ 2202105 w 12192000"/>
                <a:gd name="connsiteY254" fmla="*/ 758514 h 1608850"/>
                <a:gd name="connsiteX255" fmla="*/ 2202105 w 12192000"/>
                <a:gd name="connsiteY255" fmla="*/ 771755 h 1608850"/>
                <a:gd name="connsiteX256" fmla="*/ 2206157 w 12192000"/>
                <a:gd name="connsiteY256" fmla="*/ 726358 h 1608850"/>
                <a:gd name="connsiteX257" fmla="*/ 2206917 w 12192000"/>
                <a:gd name="connsiteY257" fmla="*/ 726358 h 1608850"/>
                <a:gd name="connsiteX258" fmla="*/ 2212237 w 12192000"/>
                <a:gd name="connsiteY258" fmla="*/ 726358 h 1608850"/>
                <a:gd name="connsiteX259" fmla="*/ 2212237 w 12192000"/>
                <a:gd name="connsiteY259" fmla="*/ 661504 h 1608850"/>
                <a:gd name="connsiteX260" fmla="*/ 2213251 w 12192000"/>
                <a:gd name="connsiteY260" fmla="*/ 661504 h 1608850"/>
                <a:gd name="connsiteX261" fmla="*/ 2220345 w 12192000"/>
                <a:gd name="connsiteY261" fmla="*/ 661504 h 1608850"/>
                <a:gd name="connsiteX262" fmla="*/ 2232505 w 12192000"/>
                <a:gd name="connsiteY262" fmla="*/ 618269 h 1608850"/>
                <a:gd name="connsiteX263" fmla="*/ 2233771 w 12192000"/>
                <a:gd name="connsiteY263" fmla="*/ 618269 h 1608850"/>
                <a:gd name="connsiteX264" fmla="*/ 2242639 w 12192000"/>
                <a:gd name="connsiteY264" fmla="*/ 618269 h 1608850"/>
                <a:gd name="connsiteX265" fmla="*/ 2252771 w 12192000"/>
                <a:gd name="connsiteY265" fmla="*/ 661504 h 1608850"/>
                <a:gd name="connsiteX266" fmla="*/ 2253785 w 12192000"/>
                <a:gd name="connsiteY266" fmla="*/ 661504 h 1608850"/>
                <a:gd name="connsiteX267" fmla="*/ 2260879 w 12192000"/>
                <a:gd name="connsiteY267" fmla="*/ 661504 h 1608850"/>
                <a:gd name="connsiteX268" fmla="*/ 2260879 w 12192000"/>
                <a:gd name="connsiteY268" fmla="*/ 700416 h 1608850"/>
                <a:gd name="connsiteX269" fmla="*/ 2262651 w 12192000"/>
                <a:gd name="connsiteY269" fmla="*/ 700416 h 1608850"/>
                <a:gd name="connsiteX270" fmla="*/ 2275065 w 12192000"/>
                <a:gd name="connsiteY270" fmla="*/ 700416 h 1608850"/>
                <a:gd name="connsiteX271" fmla="*/ 2275065 w 12192000"/>
                <a:gd name="connsiteY271" fmla="*/ 702578 h 1608850"/>
                <a:gd name="connsiteX272" fmla="*/ 2275065 w 12192000"/>
                <a:gd name="connsiteY272" fmla="*/ 717710 h 1608850"/>
                <a:gd name="connsiteX273" fmla="*/ 2279119 w 12192000"/>
                <a:gd name="connsiteY273" fmla="*/ 715549 h 1608850"/>
                <a:gd name="connsiteX274" fmla="*/ 2279119 w 12192000"/>
                <a:gd name="connsiteY274" fmla="*/ 700416 h 1608850"/>
                <a:gd name="connsiteX275" fmla="*/ 2280639 w 12192000"/>
                <a:gd name="connsiteY275" fmla="*/ 700416 h 1608850"/>
                <a:gd name="connsiteX276" fmla="*/ 2291279 w 12192000"/>
                <a:gd name="connsiteY276" fmla="*/ 700416 h 1608850"/>
                <a:gd name="connsiteX277" fmla="*/ 2291279 w 12192000"/>
                <a:gd name="connsiteY277" fmla="*/ 702037 h 1608850"/>
                <a:gd name="connsiteX278" fmla="*/ 2291279 w 12192000"/>
                <a:gd name="connsiteY278" fmla="*/ 713387 h 1608850"/>
                <a:gd name="connsiteX279" fmla="*/ 2321680 w 12192000"/>
                <a:gd name="connsiteY279" fmla="*/ 713387 h 1608850"/>
                <a:gd name="connsiteX280" fmla="*/ 2321680 w 12192000"/>
                <a:gd name="connsiteY280" fmla="*/ 676637 h 1608850"/>
                <a:gd name="connsiteX281" fmla="*/ 2322945 w 12192000"/>
                <a:gd name="connsiteY281" fmla="*/ 676637 h 1608850"/>
                <a:gd name="connsiteX282" fmla="*/ 2331813 w 12192000"/>
                <a:gd name="connsiteY282" fmla="*/ 676637 h 1608850"/>
                <a:gd name="connsiteX283" fmla="*/ 2331813 w 12192000"/>
                <a:gd name="connsiteY283" fmla="*/ 698254 h 1608850"/>
                <a:gd name="connsiteX284" fmla="*/ 2333840 w 12192000"/>
                <a:gd name="connsiteY284" fmla="*/ 665828 h 1608850"/>
                <a:gd name="connsiteX285" fmla="*/ 2356133 w 12192000"/>
                <a:gd name="connsiteY285" fmla="*/ 665828 h 1608850"/>
                <a:gd name="connsiteX286" fmla="*/ 2356133 w 12192000"/>
                <a:gd name="connsiteY286" fmla="*/ 664206 h 1608850"/>
                <a:gd name="connsiteX287" fmla="*/ 2356133 w 12192000"/>
                <a:gd name="connsiteY287" fmla="*/ 652857 h 1608850"/>
                <a:gd name="connsiteX288" fmla="*/ 2356893 w 12192000"/>
                <a:gd name="connsiteY288" fmla="*/ 652857 h 1608850"/>
                <a:gd name="connsiteX289" fmla="*/ 2362213 w 12192000"/>
                <a:gd name="connsiteY289" fmla="*/ 652857 h 1608850"/>
                <a:gd name="connsiteX290" fmla="*/ 2362213 w 12192000"/>
                <a:gd name="connsiteY290" fmla="*/ 650966 h 1608850"/>
                <a:gd name="connsiteX291" fmla="*/ 2362213 w 12192000"/>
                <a:gd name="connsiteY291" fmla="*/ 637725 h 1608850"/>
                <a:gd name="connsiteX292" fmla="*/ 2366267 w 12192000"/>
                <a:gd name="connsiteY292" fmla="*/ 644210 h 1608850"/>
                <a:gd name="connsiteX293" fmla="*/ 2368547 w 12192000"/>
                <a:gd name="connsiteY293" fmla="*/ 644210 h 1608850"/>
                <a:gd name="connsiteX294" fmla="*/ 2384507 w 12192000"/>
                <a:gd name="connsiteY294" fmla="*/ 644210 h 1608850"/>
                <a:gd name="connsiteX295" fmla="*/ 2384507 w 12192000"/>
                <a:gd name="connsiteY295" fmla="*/ 643399 h 1608850"/>
                <a:gd name="connsiteX296" fmla="*/ 2384507 w 12192000"/>
                <a:gd name="connsiteY296" fmla="*/ 637725 h 1608850"/>
                <a:gd name="connsiteX297" fmla="*/ 2385267 w 12192000"/>
                <a:gd name="connsiteY297" fmla="*/ 637725 h 1608850"/>
                <a:gd name="connsiteX298" fmla="*/ 2390587 w 12192000"/>
                <a:gd name="connsiteY298" fmla="*/ 637725 h 1608850"/>
                <a:gd name="connsiteX299" fmla="*/ 2390587 w 12192000"/>
                <a:gd name="connsiteY299" fmla="*/ 639076 h 1608850"/>
                <a:gd name="connsiteX300" fmla="*/ 2390587 w 12192000"/>
                <a:gd name="connsiteY300" fmla="*/ 648534 h 1608850"/>
                <a:gd name="connsiteX301" fmla="*/ 2429093 w 12192000"/>
                <a:gd name="connsiteY301" fmla="*/ 648534 h 1608850"/>
                <a:gd name="connsiteX302" fmla="*/ 2429093 w 12192000"/>
                <a:gd name="connsiteY302" fmla="*/ 786887 h 1608850"/>
                <a:gd name="connsiteX303" fmla="*/ 2430613 w 12192000"/>
                <a:gd name="connsiteY303" fmla="*/ 786887 h 1608850"/>
                <a:gd name="connsiteX304" fmla="*/ 2441254 w 12192000"/>
                <a:gd name="connsiteY304" fmla="*/ 786887 h 1608850"/>
                <a:gd name="connsiteX305" fmla="*/ 2441254 w 12192000"/>
                <a:gd name="connsiteY305" fmla="*/ 773917 h 1608850"/>
                <a:gd name="connsiteX306" fmla="*/ 2445307 w 12192000"/>
                <a:gd name="connsiteY306" fmla="*/ 773917 h 1608850"/>
                <a:gd name="connsiteX307" fmla="*/ 2445307 w 12192000"/>
                <a:gd name="connsiteY307" fmla="*/ 786887 h 1608850"/>
                <a:gd name="connsiteX308" fmla="*/ 2475707 w 12192000"/>
                <a:gd name="connsiteY308" fmla="*/ 786887 h 1608850"/>
                <a:gd name="connsiteX309" fmla="*/ 2475707 w 12192000"/>
                <a:gd name="connsiteY309" fmla="*/ 756622 h 1608850"/>
                <a:gd name="connsiteX310" fmla="*/ 2487867 w 12192000"/>
                <a:gd name="connsiteY310" fmla="*/ 756622 h 1608850"/>
                <a:gd name="connsiteX311" fmla="*/ 2500027 w 12192000"/>
                <a:gd name="connsiteY311" fmla="*/ 754461 h 1608850"/>
                <a:gd name="connsiteX312" fmla="*/ 2504082 w 12192000"/>
                <a:gd name="connsiteY312" fmla="*/ 756622 h 1608850"/>
                <a:gd name="connsiteX313" fmla="*/ 2514215 w 12192000"/>
                <a:gd name="connsiteY313" fmla="*/ 756622 h 1608850"/>
                <a:gd name="connsiteX314" fmla="*/ 2514215 w 12192000"/>
                <a:gd name="connsiteY314" fmla="*/ 786887 h 1608850"/>
                <a:gd name="connsiteX315" fmla="*/ 2522321 w 12192000"/>
                <a:gd name="connsiteY315" fmla="*/ 786887 h 1608850"/>
                <a:gd name="connsiteX316" fmla="*/ 2522321 w 12192000"/>
                <a:gd name="connsiteY316" fmla="*/ 804182 h 1608850"/>
                <a:gd name="connsiteX317" fmla="*/ 2531658 w 12192000"/>
                <a:gd name="connsiteY317" fmla="*/ 805087 h 1608850"/>
                <a:gd name="connsiteX318" fmla="*/ 2544615 w 12192000"/>
                <a:gd name="connsiteY318" fmla="*/ 805087 h 1608850"/>
                <a:gd name="connsiteX319" fmla="*/ 2544615 w 12192000"/>
                <a:gd name="connsiteY319" fmla="*/ 789049 h 1608850"/>
                <a:gd name="connsiteX320" fmla="*/ 2612571 w 12192000"/>
                <a:gd name="connsiteY320" fmla="*/ 789049 h 1608850"/>
                <a:gd name="connsiteX321" fmla="*/ 2612571 w 12192000"/>
                <a:gd name="connsiteY321" fmla="*/ 703796 h 1608850"/>
                <a:gd name="connsiteX322" fmla="*/ 2684579 w 12192000"/>
                <a:gd name="connsiteY322" fmla="*/ 703796 h 1608850"/>
                <a:gd name="connsiteX323" fmla="*/ 2684579 w 12192000"/>
                <a:gd name="connsiteY323" fmla="*/ 782564 h 1608850"/>
                <a:gd name="connsiteX324" fmla="*/ 2686483 w 12192000"/>
                <a:gd name="connsiteY324" fmla="*/ 782564 h 1608850"/>
                <a:gd name="connsiteX325" fmla="*/ 2687725 w 12192000"/>
                <a:gd name="connsiteY325" fmla="*/ 805087 h 1608850"/>
                <a:gd name="connsiteX326" fmla="*/ 2697401 w 12192000"/>
                <a:gd name="connsiteY326" fmla="*/ 805087 h 1608850"/>
                <a:gd name="connsiteX327" fmla="*/ 2698643 w 12192000"/>
                <a:gd name="connsiteY327" fmla="*/ 782564 h 1608850"/>
                <a:gd name="connsiteX328" fmla="*/ 2704723 w 12192000"/>
                <a:gd name="connsiteY328" fmla="*/ 782564 h 1608850"/>
                <a:gd name="connsiteX329" fmla="*/ 2705965 w 12192000"/>
                <a:gd name="connsiteY329" fmla="*/ 805087 h 1608850"/>
                <a:gd name="connsiteX330" fmla="*/ 2756588 w 12192000"/>
                <a:gd name="connsiteY330" fmla="*/ 805087 h 1608850"/>
                <a:gd name="connsiteX331" fmla="*/ 2756588 w 12192000"/>
                <a:gd name="connsiteY331" fmla="*/ 642059 h 1608850"/>
                <a:gd name="connsiteX332" fmla="*/ 2953915 w 12192000"/>
                <a:gd name="connsiteY332" fmla="*/ 642059 h 1608850"/>
                <a:gd name="connsiteX333" fmla="*/ 2953915 w 12192000"/>
                <a:gd name="connsiteY333" fmla="*/ 805087 h 1608850"/>
                <a:gd name="connsiteX334" fmla="*/ 2972611 w 12192000"/>
                <a:gd name="connsiteY334" fmla="*/ 805087 h 1608850"/>
                <a:gd name="connsiteX335" fmla="*/ 2972611 w 12192000"/>
                <a:gd name="connsiteY335" fmla="*/ 722394 h 1608850"/>
                <a:gd name="connsiteX336" fmla="*/ 3067731 w 12192000"/>
                <a:gd name="connsiteY336" fmla="*/ 722394 h 1608850"/>
                <a:gd name="connsiteX337" fmla="*/ 3079662 w 12192000"/>
                <a:gd name="connsiteY337" fmla="*/ 404253 h 1608850"/>
                <a:gd name="connsiteX338" fmla="*/ 3067502 w 12192000"/>
                <a:gd name="connsiteY338" fmla="*/ 382635 h 1608850"/>
                <a:gd name="connsiteX339" fmla="*/ 3061422 w 12192000"/>
                <a:gd name="connsiteY339" fmla="*/ 378311 h 1608850"/>
                <a:gd name="connsiteX340" fmla="*/ 3069529 w 12192000"/>
                <a:gd name="connsiteY340" fmla="*/ 354532 h 1608850"/>
                <a:gd name="connsiteX341" fmla="*/ 3069529 w 12192000"/>
                <a:gd name="connsiteY341" fmla="*/ 337238 h 1608850"/>
                <a:gd name="connsiteX342" fmla="*/ 3083715 w 12192000"/>
                <a:gd name="connsiteY342" fmla="*/ 337238 h 1608850"/>
                <a:gd name="connsiteX343" fmla="*/ 3083715 w 12192000"/>
                <a:gd name="connsiteY343" fmla="*/ 315620 h 1608850"/>
                <a:gd name="connsiteX344" fmla="*/ 3085742 w 12192000"/>
                <a:gd name="connsiteY344" fmla="*/ 311296 h 1608850"/>
                <a:gd name="connsiteX345" fmla="*/ 3085742 w 12192000"/>
                <a:gd name="connsiteY345" fmla="*/ 233472 h 1608850"/>
                <a:gd name="connsiteX346" fmla="*/ 3083715 w 12192000"/>
                <a:gd name="connsiteY346" fmla="*/ 226987 h 1608850"/>
                <a:gd name="connsiteX347" fmla="*/ 3089795 w 12192000"/>
                <a:gd name="connsiteY347" fmla="*/ 220501 h 1608850"/>
                <a:gd name="connsiteX348" fmla="*/ 3089795 w 12192000"/>
                <a:gd name="connsiteY348" fmla="*/ 162133 h 1608850"/>
                <a:gd name="connsiteX349" fmla="*/ 3091822 w 12192000"/>
                <a:gd name="connsiteY349" fmla="*/ 157810 h 1608850"/>
                <a:gd name="connsiteX350" fmla="*/ 3091822 w 12192000"/>
                <a:gd name="connsiteY350" fmla="*/ 101604 h 1608850"/>
                <a:gd name="connsiteX351" fmla="*/ 3093849 w 12192000"/>
                <a:gd name="connsiteY351" fmla="*/ 82148 h 1608850"/>
                <a:gd name="connsiteX352" fmla="*/ 3097902 w 12192000"/>
                <a:gd name="connsiteY352" fmla="*/ 99442 h 1608850"/>
                <a:gd name="connsiteX353" fmla="*/ 3099929 w 12192000"/>
                <a:gd name="connsiteY353" fmla="*/ 157810 h 1608850"/>
                <a:gd name="connsiteX354" fmla="*/ 3101955 w 12192000"/>
                <a:gd name="connsiteY354" fmla="*/ 220501 h 1608850"/>
                <a:gd name="connsiteX355" fmla="*/ 3108035 w 12192000"/>
                <a:gd name="connsiteY355" fmla="*/ 226987 h 1608850"/>
                <a:gd name="connsiteX356" fmla="*/ 3106009 w 12192000"/>
                <a:gd name="connsiteY356" fmla="*/ 233472 h 1608850"/>
                <a:gd name="connsiteX357" fmla="*/ 3106009 w 12192000"/>
                <a:gd name="connsiteY357" fmla="*/ 311296 h 1608850"/>
                <a:gd name="connsiteX358" fmla="*/ 3108035 w 12192000"/>
                <a:gd name="connsiteY358" fmla="*/ 315620 h 1608850"/>
                <a:gd name="connsiteX359" fmla="*/ 3108035 w 12192000"/>
                <a:gd name="connsiteY359" fmla="*/ 337238 h 1608850"/>
                <a:gd name="connsiteX360" fmla="*/ 3122222 w 12192000"/>
                <a:gd name="connsiteY360" fmla="*/ 337238 h 1608850"/>
                <a:gd name="connsiteX361" fmla="*/ 3122222 w 12192000"/>
                <a:gd name="connsiteY361" fmla="*/ 354532 h 1608850"/>
                <a:gd name="connsiteX362" fmla="*/ 3130330 w 12192000"/>
                <a:gd name="connsiteY362" fmla="*/ 378311 h 1608850"/>
                <a:gd name="connsiteX363" fmla="*/ 3124250 w 12192000"/>
                <a:gd name="connsiteY363" fmla="*/ 382635 h 1608850"/>
                <a:gd name="connsiteX364" fmla="*/ 3112089 w 12192000"/>
                <a:gd name="connsiteY364" fmla="*/ 404253 h 1608850"/>
                <a:gd name="connsiteX365" fmla="*/ 3120195 w 12192000"/>
                <a:gd name="connsiteY365" fmla="*/ 657181 h 1608850"/>
                <a:gd name="connsiteX366" fmla="*/ 3185050 w 12192000"/>
                <a:gd name="connsiteY366" fmla="*/ 657181 h 1608850"/>
                <a:gd name="connsiteX367" fmla="*/ 3185050 w 12192000"/>
                <a:gd name="connsiteY367" fmla="*/ 732843 h 1608850"/>
                <a:gd name="connsiteX368" fmla="*/ 3193157 w 12192000"/>
                <a:gd name="connsiteY368" fmla="*/ 732843 h 1608850"/>
                <a:gd name="connsiteX369" fmla="*/ 3195183 w 12192000"/>
                <a:gd name="connsiteY369" fmla="*/ 726358 h 1608850"/>
                <a:gd name="connsiteX370" fmla="*/ 3201263 w 12192000"/>
                <a:gd name="connsiteY370" fmla="*/ 726358 h 1608850"/>
                <a:gd name="connsiteX371" fmla="*/ 3203291 w 12192000"/>
                <a:gd name="connsiteY371" fmla="*/ 735005 h 1608850"/>
                <a:gd name="connsiteX372" fmla="*/ 3215451 w 12192000"/>
                <a:gd name="connsiteY372" fmla="*/ 735005 h 1608850"/>
                <a:gd name="connsiteX373" fmla="*/ 3215451 w 12192000"/>
                <a:gd name="connsiteY373" fmla="*/ 728519 h 1608850"/>
                <a:gd name="connsiteX374" fmla="*/ 3237744 w 12192000"/>
                <a:gd name="connsiteY374" fmla="*/ 728519 h 1608850"/>
                <a:gd name="connsiteX375" fmla="*/ 3237744 w 12192000"/>
                <a:gd name="connsiteY375" fmla="*/ 735005 h 1608850"/>
                <a:gd name="connsiteX376" fmla="*/ 3258011 w 12192000"/>
                <a:gd name="connsiteY376" fmla="*/ 735005 h 1608850"/>
                <a:gd name="connsiteX377" fmla="*/ 3258011 w 12192000"/>
                <a:gd name="connsiteY377" fmla="*/ 780402 h 1608850"/>
                <a:gd name="connsiteX378" fmla="*/ 3272198 w 12192000"/>
                <a:gd name="connsiteY378" fmla="*/ 780402 h 1608850"/>
                <a:gd name="connsiteX379" fmla="*/ 3272198 w 12192000"/>
                <a:gd name="connsiteY379" fmla="*/ 767431 h 1608850"/>
                <a:gd name="connsiteX380" fmla="*/ 3288412 w 12192000"/>
                <a:gd name="connsiteY380" fmla="*/ 767431 h 1608850"/>
                <a:gd name="connsiteX381" fmla="*/ 3288412 w 12192000"/>
                <a:gd name="connsiteY381" fmla="*/ 588004 h 1608850"/>
                <a:gd name="connsiteX382" fmla="*/ 3294492 w 12192000"/>
                <a:gd name="connsiteY382" fmla="*/ 581518 h 1608850"/>
                <a:gd name="connsiteX383" fmla="*/ 3367453 w 12192000"/>
                <a:gd name="connsiteY383" fmla="*/ 581518 h 1608850"/>
                <a:gd name="connsiteX384" fmla="*/ 3367453 w 12192000"/>
                <a:gd name="connsiteY384" fmla="*/ 590166 h 1608850"/>
                <a:gd name="connsiteX385" fmla="*/ 3377586 w 12192000"/>
                <a:gd name="connsiteY385" fmla="*/ 590166 h 1608850"/>
                <a:gd name="connsiteX386" fmla="*/ 3377586 w 12192000"/>
                <a:gd name="connsiteY386" fmla="*/ 704740 h 1608850"/>
                <a:gd name="connsiteX387" fmla="*/ 3399879 w 12192000"/>
                <a:gd name="connsiteY387" fmla="*/ 704740 h 1608850"/>
                <a:gd name="connsiteX388" fmla="*/ 3399879 w 12192000"/>
                <a:gd name="connsiteY388" fmla="*/ 637725 h 1608850"/>
                <a:gd name="connsiteX389" fmla="*/ 3426227 w 12192000"/>
                <a:gd name="connsiteY389" fmla="*/ 637725 h 1608850"/>
                <a:gd name="connsiteX390" fmla="*/ 3430279 w 12192000"/>
                <a:gd name="connsiteY390" fmla="*/ 633401 h 1608850"/>
                <a:gd name="connsiteX391" fmla="*/ 3438387 w 12192000"/>
                <a:gd name="connsiteY391" fmla="*/ 633401 h 1608850"/>
                <a:gd name="connsiteX392" fmla="*/ 3442439 w 12192000"/>
                <a:gd name="connsiteY392" fmla="*/ 637725 h 1608850"/>
                <a:gd name="connsiteX393" fmla="*/ 3464734 w 12192000"/>
                <a:gd name="connsiteY393" fmla="*/ 637725 h 1608850"/>
                <a:gd name="connsiteX394" fmla="*/ 3464734 w 12192000"/>
                <a:gd name="connsiteY394" fmla="*/ 520989 h 1608850"/>
                <a:gd name="connsiteX395" fmla="*/ 3521481 w 12192000"/>
                <a:gd name="connsiteY395" fmla="*/ 510180 h 1608850"/>
                <a:gd name="connsiteX396" fmla="*/ 3521481 w 12192000"/>
                <a:gd name="connsiteY396" fmla="*/ 511261 h 1608850"/>
                <a:gd name="connsiteX397" fmla="*/ 3521481 w 12192000"/>
                <a:gd name="connsiteY397" fmla="*/ 518827 h 1608850"/>
                <a:gd name="connsiteX398" fmla="*/ 3547828 w 12192000"/>
                <a:gd name="connsiteY398" fmla="*/ 518827 h 1608850"/>
                <a:gd name="connsiteX399" fmla="*/ 3547828 w 12192000"/>
                <a:gd name="connsiteY399" fmla="*/ 773917 h 1608850"/>
                <a:gd name="connsiteX400" fmla="*/ 3570122 w 12192000"/>
                <a:gd name="connsiteY400" fmla="*/ 773917 h 1608850"/>
                <a:gd name="connsiteX401" fmla="*/ 3570122 w 12192000"/>
                <a:gd name="connsiteY401" fmla="*/ 769593 h 1608850"/>
                <a:gd name="connsiteX402" fmla="*/ 3582282 w 12192000"/>
                <a:gd name="connsiteY402" fmla="*/ 769593 h 1608850"/>
                <a:gd name="connsiteX403" fmla="*/ 3582282 w 12192000"/>
                <a:gd name="connsiteY403" fmla="*/ 773917 h 1608850"/>
                <a:gd name="connsiteX404" fmla="*/ 3606602 w 12192000"/>
                <a:gd name="connsiteY404" fmla="*/ 773917 h 1608850"/>
                <a:gd name="connsiteX405" fmla="*/ 3606602 w 12192000"/>
                <a:gd name="connsiteY405" fmla="*/ 760946 h 1608850"/>
                <a:gd name="connsiteX406" fmla="*/ 3634975 w 12192000"/>
                <a:gd name="connsiteY406" fmla="*/ 760946 h 1608850"/>
                <a:gd name="connsiteX407" fmla="*/ 3647135 w 12192000"/>
                <a:gd name="connsiteY407" fmla="*/ 756622 h 1608850"/>
                <a:gd name="connsiteX408" fmla="*/ 3667403 w 12192000"/>
                <a:gd name="connsiteY408" fmla="*/ 760946 h 1608850"/>
                <a:gd name="connsiteX409" fmla="*/ 3667403 w 12192000"/>
                <a:gd name="connsiteY409" fmla="*/ 743652 h 1608850"/>
                <a:gd name="connsiteX410" fmla="*/ 3675510 w 12192000"/>
                <a:gd name="connsiteY410" fmla="*/ 743652 h 1608850"/>
                <a:gd name="connsiteX411" fmla="*/ 3675510 w 12192000"/>
                <a:gd name="connsiteY411" fmla="*/ 730681 h 1608850"/>
                <a:gd name="connsiteX412" fmla="*/ 3732257 w 12192000"/>
                <a:gd name="connsiteY412" fmla="*/ 730681 h 1608850"/>
                <a:gd name="connsiteX413" fmla="*/ 3732257 w 12192000"/>
                <a:gd name="connsiteY413" fmla="*/ 700416 h 1608850"/>
                <a:gd name="connsiteX414" fmla="*/ 3750497 w 12192000"/>
                <a:gd name="connsiteY414" fmla="*/ 700416 h 1608850"/>
                <a:gd name="connsiteX415" fmla="*/ 3750497 w 12192000"/>
                <a:gd name="connsiteY415" fmla="*/ 693931 h 1608850"/>
                <a:gd name="connsiteX416" fmla="*/ 3762657 w 12192000"/>
                <a:gd name="connsiteY416" fmla="*/ 693931 h 1608850"/>
                <a:gd name="connsiteX417" fmla="*/ 3762657 w 12192000"/>
                <a:gd name="connsiteY417" fmla="*/ 700416 h 1608850"/>
                <a:gd name="connsiteX418" fmla="*/ 3778870 w 12192000"/>
                <a:gd name="connsiteY418" fmla="*/ 700416 h 1608850"/>
                <a:gd name="connsiteX419" fmla="*/ 3778870 w 12192000"/>
                <a:gd name="connsiteY419" fmla="*/ 750137 h 1608850"/>
                <a:gd name="connsiteX420" fmla="*/ 3789470 w 12192000"/>
                <a:gd name="connsiteY420" fmla="*/ 750137 h 1608850"/>
                <a:gd name="connsiteX421" fmla="*/ 3789470 w 12192000"/>
                <a:gd name="connsiteY421" fmla="*/ 586174 h 1608850"/>
                <a:gd name="connsiteX422" fmla="*/ 3791390 w 12192000"/>
                <a:gd name="connsiteY422" fmla="*/ 586174 h 1608850"/>
                <a:gd name="connsiteX423" fmla="*/ 3791390 w 12192000"/>
                <a:gd name="connsiteY423" fmla="*/ 723865 h 1608850"/>
                <a:gd name="connsiteX424" fmla="*/ 3791390 w 12192000"/>
                <a:gd name="connsiteY424" fmla="*/ 750137 h 1608850"/>
                <a:gd name="connsiteX425" fmla="*/ 3806350 w 12192000"/>
                <a:gd name="connsiteY425" fmla="*/ 750137 h 1608850"/>
                <a:gd name="connsiteX426" fmla="*/ 3806350 w 12192000"/>
                <a:gd name="connsiteY426" fmla="*/ 742023 h 1608850"/>
                <a:gd name="connsiteX427" fmla="*/ 3811298 w 12192000"/>
                <a:gd name="connsiteY427" fmla="*/ 742023 h 1608850"/>
                <a:gd name="connsiteX428" fmla="*/ 3811298 w 12192000"/>
                <a:gd name="connsiteY428" fmla="*/ 724196 h 1608850"/>
                <a:gd name="connsiteX429" fmla="*/ 3849805 w 12192000"/>
                <a:gd name="connsiteY429" fmla="*/ 724196 h 1608850"/>
                <a:gd name="connsiteX430" fmla="*/ 3849805 w 12192000"/>
                <a:gd name="connsiteY430" fmla="*/ 693931 h 1608850"/>
                <a:gd name="connsiteX431" fmla="*/ 3888823 w 12192000"/>
                <a:gd name="connsiteY431" fmla="*/ 693931 h 1608850"/>
                <a:gd name="connsiteX432" fmla="*/ 3888823 w 12192000"/>
                <a:gd name="connsiteY432" fmla="*/ 690579 h 1608850"/>
                <a:gd name="connsiteX433" fmla="*/ 3887708 w 12192000"/>
                <a:gd name="connsiteY433" fmla="*/ 690579 h 1608850"/>
                <a:gd name="connsiteX434" fmla="*/ 3879906 w 12192000"/>
                <a:gd name="connsiteY434" fmla="*/ 690579 h 1608850"/>
                <a:gd name="connsiteX435" fmla="*/ 3879906 w 12192000"/>
                <a:gd name="connsiteY435" fmla="*/ 689443 h 1608850"/>
                <a:gd name="connsiteX436" fmla="*/ 3879906 w 12192000"/>
                <a:gd name="connsiteY436" fmla="*/ 681500 h 1608850"/>
                <a:gd name="connsiteX437" fmla="*/ 3881022 w 12192000"/>
                <a:gd name="connsiteY437" fmla="*/ 681500 h 1608850"/>
                <a:gd name="connsiteX438" fmla="*/ 3888823 w 12192000"/>
                <a:gd name="connsiteY438" fmla="*/ 681500 h 1608850"/>
                <a:gd name="connsiteX439" fmla="*/ 3888823 w 12192000"/>
                <a:gd name="connsiteY439" fmla="*/ 679986 h 1608850"/>
                <a:gd name="connsiteX440" fmla="*/ 3888823 w 12192000"/>
                <a:gd name="connsiteY440" fmla="*/ 669395 h 1608850"/>
                <a:gd name="connsiteX441" fmla="*/ 3887708 w 12192000"/>
                <a:gd name="connsiteY441" fmla="*/ 669395 h 1608850"/>
                <a:gd name="connsiteX442" fmla="*/ 3879906 w 12192000"/>
                <a:gd name="connsiteY442" fmla="*/ 669395 h 1608850"/>
                <a:gd name="connsiteX443" fmla="*/ 3879906 w 12192000"/>
                <a:gd name="connsiteY443" fmla="*/ 667882 h 1608850"/>
                <a:gd name="connsiteX444" fmla="*/ 3879906 w 12192000"/>
                <a:gd name="connsiteY444" fmla="*/ 657290 h 1608850"/>
                <a:gd name="connsiteX445" fmla="*/ 3881022 w 12192000"/>
                <a:gd name="connsiteY445" fmla="*/ 657290 h 1608850"/>
                <a:gd name="connsiteX446" fmla="*/ 3888823 w 12192000"/>
                <a:gd name="connsiteY446" fmla="*/ 657290 h 1608850"/>
                <a:gd name="connsiteX447" fmla="*/ 3888823 w 12192000"/>
                <a:gd name="connsiteY447" fmla="*/ 656156 h 1608850"/>
                <a:gd name="connsiteX448" fmla="*/ 3888823 w 12192000"/>
                <a:gd name="connsiteY448" fmla="*/ 648212 h 1608850"/>
                <a:gd name="connsiteX449" fmla="*/ 3887708 w 12192000"/>
                <a:gd name="connsiteY449" fmla="*/ 648212 h 1608850"/>
                <a:gd name="connsiteX450" fmla="*/ 3879906 w 12192000"/>
                <a:gd name="connsiteY450" fmla="*/ 648212 h 1608850"/>
                <a:gd name="connsiteX451" fmla="*/ 3879906 w 12192000"/>
                <a:gd name="connsiteY451" fmla="*/ 646698 h 1608850"/>
                <a:gd name="connsiteX452" fmla="*/ 3879906 w 12192000"/>
                <a:gd name="connsiteY452" fmla="*/ 636107 h 1608850"/>
                <a:gd name="connsiteX453" fmla="*/ 3881022 w 12192000"/>
                <a:gd name="connsiteY453" fmla="*/ 636107 h 1608850"/>
                <a:gd name="connsiteX454" fmla="*/ 3888823 w 12192000"/>
                <a:gd name="connsiteY454" fmla="*/ 636107 h 1608850"/>
                <a:gd name="connsiteX455" fmla="*/ 3888823 w 12192000"/>
                <a:gd name="connsiteY455" fmla="*/ 634594 h 1608850"/>
                <a:gd name="connsiteX456" fmla="*/ 3888823 w 12192000"/>
                <a:gd name="connsiteY456" fmla="*/ 624002 h 1608850"/>
                <a:gd name="connsiteX457" fmla="*/ 3887708 w 12192000"/>
                <a:gd name="connsiteY457" fmla="*/ 624002 h 1608850"/>
                <a:gd name="connsiteX458" fmla="*/ 3879906 w 12192000"/>
                <a:gd name="connsiteY458" fmla="*/ 624002 h 1608850"/>
                <a:gd name="connsiteX459" fmla="*/ 3879906 w 12192000"/>
                <a:gd name="connsiteY459" fmla="*/ 622489 h 1608850"/>
                <a:gd name="connsiteX460" fmla="*/ 3879906 w 12192000"/>
                <a:gd name="connsiteY460" fmla="*/ 611898 h 1608850"/>
                <a:gd name="connsiteX461" fmla="*/ 3881022 w 12192000"/>
                <a:gd name="connsiteY461" fmla="*/ 611898 h 1608850"/>
                <a:gd name="connsiteX462" fmla="*/ 3888823 w 12192000"/>
                <a:gd name="connsiteY462" fmla="*/ 611898 h 1608850"/>
                <a:gd name="connsiteX463" fmla="*/ 3888823 w 12192000"/>
                <a:gd name="connsiteY463" fmla="*/ 610763 h 1608850"/>
                <a:gd name="connsiteX464" fmla="*/ 3888823 w 12192000"/>
                <a:gd name="connsiteY464" fmla="*/ 602819 h 1608850"/>
                <a:gd name="connsiteX465" fmla="*/ 3887708 w 12192000"/>
                <a:gd name="connsiteY465" fmla="*/ 602819 h 1608850"/>
                <a:gd name="connsiteX466" fmla="*/ 3879906 w 12192000"/>
                <a:gd name="connsiteY466" fmla="*/ 602819 h 1608850"/>
                <a:gd name="connsiteX467" fmla="*/ 3879906 w 12192000"/>
                <a:gd name="connsiteY467" fmla="*/ 601307 h 1608850"/>
                <a:gd name="connsiteX468" fmla="*/ 3879906 w 12192000"/>
                <a:gd name="connsiteY468" fmla="*/ 590714 h 1608850"/>
                <a:gd name="connsiteX469" fmla="*/ 3881022 w 12192000"/>
                <a:gd name="connsiteY469" fmla="*/ 590714 h 1608850"/>
                <a:gd name="connsiteX470" fmla="*/ 3888823 w 12192000"/>
                <a:gd name="connsiteY470" fmla="*/ 590714 h 1608850"/>
                <a:gd name="connsiteX471" fmla="*/ 3888823 w 12192000"/>
                <a:gd name="connsiteY471" fmla="*/ 589202 h 1608850"/>
                <a:gd name="connsiteX472" fmla="*/ 3888823 w 12192000"/>
                <a:gd name="connsiteY472" fmla="*/ 578610 h 1608850"/>
                <a:gd name="connsiteX473" fmla="*/ 3887708 w 12192000"/>
                <a:gd name="connsiteY473" fmla="*/ 578610 h 1608850"/>
                <a:gd name="connsiteX474" fmla="*/ 3879906 w 12192000"/>
                <a:gd name="connsiteY474" fmla="*/ 578610 h 1608850"/>
                <a:gd name="connsiteX475" fmla="*/ 3879906 w 12192000"/>
                <a:gd name="connsiteY475" fmla="*/ 577096 h 1608850"/>
                <a:gd name="connsiteX476" fmla="*/ 3879906 w 12192000"/>
                <a:gd name="connsiteY476" fmla="*/ 566505 h 1608850"/>
                <a:gd name="connsiteX477" fmla="*/ 3881022 w 12192000"/>
                <a:gd name="connsiteY477" fmla="*/ 566505 h 1608850"/>
                <a:gd name="connsiteX478" fmla="*/ 3888823 w 12192000"/>
                <a:gd name="connsiteY478" fmla="*/ 566505 h 1608850"/>
                <a:gd name="connsiteX479" fmla="*/ 3888823 w 12192000"/>
                <a:gd name="connsiteY479" fmla="*/ 565370 h 1608850"/>
                <a:gd name="connsiteX480" fmla="*/ 3888823 w 12192000"/>
                <a:gd name="connsiteY480" fmla="*/ 557427 h 1608850"/>
                <a:gd name="connsiteX481" fmla="*/ 3887708 w 12192000"/>
                <a:gd name="connsiteY481" fmla="*/ 557427 h 1608850"/>
                <a:gd name="connsiteX482" fmla="*/ 3879906 w 12192000"/>
                <a:gd name="connsiteY482" fmla="*/ 557427 h 1608850"/>
                <a:gd name="connsiteX483" fmla="*/ 3879906 w 12192000"/>
                <a:gd name="connsiteY483" fmla="*/ 555914 h 1608850"/>
                <a:gd name="connsiteX484" fmla="*/ 3879906 w 12192000"/>
                <a:gd name="connsiteY484" fmla="*/ 545322 h 1608850"/>
                <a:gd name="connsiteX485" fmla="*/ 3881022 w 12192000"/>
                <a:gd name="connsiteY485" fmla="*/ 545322 h 1608850"/>
                <a:gd name="connsiteX486" fmla="*/ 3888823 w 12192000"/>
                <a:gd name="connsiteY486" fmla="*/ 545322 h 1608850"/>
                <a:gd name="connsiteX487" fmla="*/ 3887708 w 12192000"/>
                <a:gd name="connsiteY487" fmla="*/ 543053 h 1608850"/>
                <a:gd name="connsiteX488" fmla="*/ 3879906 w 12192000"/>
                <a:gd name="connsiteY488" fmla="*/ 527166 h 1608850"/>
                <a:gd name="connsiteX489" fmla="*/ 3879906 w 12192000"/>
                <a:gd name="connsiteY489" fmla="*/ 478746 h 1608850"/>
                <a:gd name="connsiteX490" fmla="*/ 4029251 w 12192000"/>
                <a:gd name="connsiteY490" fmla="*/ 478746 h 1608850"/>
                <a:gd name="connsiteX491" fmla="*/ 4042623 w 12192000"/>
                <a:gd name="connsiteY491" fmla="*/ 505982 h 1608850"/>
                <a:gd name="connsiteX492" fmla="*/ 4042623 w 12192000"/>
                <a:gd name="connsiteY492" fmla="*/ 566505 h 1608850"/>
                <a:gd name="connsiteX493" fmla="*/ 4041510 w 12192000"/>
                <a:gd name="connsiteY493" fmla="*/ 566505 h 1608850"/>
                <a:gd name="connsiteX494" fmla="*/ 4033708 w 12192000"/>
                <a:gd name="connsiteY494" fmla="*/ 566505 h 1608850"/>
                <a:gd name="connsiteX495" fmla="*/ 4033708 w 12192000"/>
                <a:gd name="connsiteY495" fmla="*/ 568018 h 1608850"/>
                <a:gd name="connsiteX496" fmla="*/ 4033708 w 12192000"/>
                <a:gd name="connsiteY496" fmla="*/ 578610 h 1608850"/>
                <a:gd name="connsiteX497" fmla="*/ 4034823 w 12192000"/>
                <a:gd name="connsiteY497" fmla="*/ 578610 h 1608850"/>
                <a:gd name="connsiteX498" fmla="*/ 4042623 w 12192000"/>
                <a:gd name="connsiteY498" fmla="*/ 578610 h 1608850"/>
                <a:gd name="connsiteX499" fmla="*/ 4042623 w 12192000"/>
                <a:gd name="connsiteY499" fmla="*/ 580123 h 1608850"/>
                <a:gd name="connsiteX500" fmla="*/ 4042623 w 12192000"/>
                <a:gd name="connsiteY500" fmla="*/ 590714 h 1608850"/>
                <a:gd name="connsiteX501" fmla="*/ 4041510 w 12192000"/>
                <a:gd name="connsiteY501" fmla="*/ 590714 h 1608850"/>
                <a:gd name="connsiteX502" fmla="*/ 4033708 w 12192000"/>
                <a:gd name="connsiteY502" fmla="*/ 590714 h 1608850"/>
                <a:gd name="connsiteX503" fmla="*/ 4033708 w 12192000"/>
                <a:gd name="connsiteY503" fmla="*/ 592227 h 1608850"/>
                <a:gd name="connsiteX504" fmla="*/ 4033708 w 12192000"/>
                <a:gd name="connsiteY504" fmla="*/ 602819 h 1608850"/>
                <a:gd name="connsiteX505" fmla="*/ 4034823 w 12192000"/>
                <a:gd name="connsiteY505" fmla="*/ 602819 h 1608850"/>
                <a:gd name="connsiteX506" fmla="*/ 4042623 w 12192000"/>
                <a:gd name="connsiteY506" fmla="*/ 602819 h 1608850"/>
                <a:gd name="connsiteX507" fmla="*/ 4042623 w 12192000"/>
                <a:gd name="connsiteY507" fmla="*/ 603955 h 1608850"/>
                <a:gd name="connsiteX508" fmla="*/ 4042623 w 12192000"/>
                <a:gd name="connsiteY508" fmla="*/ 611898 h 1608850"/>
                <a:gd name="connsiteX509" fmla="*/ 4041510 w 12192000"/>
                <a:gd name="connsiteY509" fmla="*/ 611898 h 1608850"/>
                <a:gd name="connsiteX510" fmla="*/ 4033708 w 12192000"/>
                <a:gd name="connsiteY510" fmla="*/ 611898 h 1608850"/>
                <a:gd name="connsiteX511" fmla="*/ 4033708 w 12192000"/>
                <a:gd name="connsiteY511" fmla="*/ 613411 h 1608850"/>
                <a:gd name="connsiteX512" fmla="*/ 4033708 w 12192000"/>
                <a:gd name="connsiteY512" fmla="*/ 624002 h 1608850"/>
                <a:gd name="connsiteX513" fmla="*/ 4034823 w 12192000"/>
                <a:gd name="connsiteY513" fmla="*/ 624002 h 1608850"/>
                <a:gd name="connsiteX514" fmla="*/ 4042623 w 12192000"/>
                <a:gd name="connsiteY514" fmla="*/ 624002 h 1608850"/>
                <a:gd name="connsiteX515" fmla="*/ 4042623 w 12192000"/>
                <a:gd name="connsiteY515" fmla="*/ 625516 h 1608850"/>
                <a:gd name="connsiteX516" fmla="*/ 4042623 w 12192000"/>
                <a:gd name="connsiteY516" fmla="*/ 636107 h 1608850"/>
                <a:gd name="connsiteX517" fmla="*/ 4041510 w 12192000"/>
                <a:gd name="connsiteY517" fmla="*/ 636107 h 1608850"/>
                <a:gd name="connsiteX518" fmla="*/ 4033708 w 12192000"/>
                <a:gd name="connsiteY518" fmla="*/ 636107 h 1608850"/>
                <a:gd name="connsiteX519" fmla="*/ 4033708 w 12192000"/>
                <a:gd name="connsiteY519" fmla="*/ 637620 h 1608850"/>
                <a:gd name="connsiteX520" fmla="*/ 4033708 w 12192000"/>
                <a:gd name="connsiteY520" fmla="*/ 648212 h 1608850"/>
                <a:gd name="connsiteX521" fmla="*/ 4034823 w 12192000"/>
                <a:gd name="connsiteY521" fmla="*/ 648212 h 1608850"/>
                <a:gd name="connsiteX522" fmla="*/ 4042623 w 12192000"/>
                <a:gd name="connsiteY522" fmla="*/ 648212 h 1608850"/>
                <a:gd name="connsiteX523" fmla="*/ 4042623 w 12192000"/>
                <a:gd name="connsiteY523" fmla="*/ 649346 h 1608850"/>
                <a:gd name="connsiteX524" fmla="*/ 4042623 w 12192000"/>
                <a:gd name="connsiteY524" fmla="*/ 657290 h 1608850"/>
                <a:gd name="connsiteX525" fmla="*/ 4041510 w 12192000"/>
                <a:gd name="connsiteY525" fmla="*/ 657290 h 1608850"/>
                <a:gd name="connsiteX526" fmla="*/ 4033708 w 12192000"/>
                <a:gd name="connsiteY526" fmla="*/ 657290 h 1608850"/>
                <a:gd name="connsiteX527" fmla="*/ 4033708 w 12192000"/>
                <a:gd name="connsiteY527" fmla="*/ 658804 h 1608850"/>
                <a:gd name="connsiteX528" fmla="*/ 4033708 w 12192000"/>
                <a:gd name="connsiteY528" fmla="*/ 669395 h 1608850"/>
                <a:gd name="connsiteX529" fmla="*/ 4034823 w 12192000"/>
                <a:gd name="connsiteY529" fmla="*/ 669395 h 1608850"/>
                <a:gd name="connsiteX530" fmla="*/ 4042623 w 12192000"/>
                <a:gd name="connsiteY530" fmla="*/ 669395 h 1608850"/>
                <a:gd name="connsiteX531" fmla="*/ 4042623 w 12192000"/>
                <a:gd name="connsiteY531" fmla="*/ 670908 h 1608850"/>
                <a:gd name="connsiteX532" fmla="*/ 4042623 w 12192000"/>
                <a:gd name="connsiteY532" fmla="*/ 681500 h 1608850"/>
                <a:gd name="connsiteX533" fmla="*/ 4041510 w 12192000"/>
                <a:gd name="connsiteY533" fmla="*/ 681500 h 1608850"/>
                <a:gd name="connsiteX534" fmla="*/ 4033708 w 12192000"/>
                <a:gd name="connsiteY534" fmla="*/ 681500 h 1608850"/>
                <a:gd name="connsiteX535" fmla="*/ 4033708 w 12192000"/>
                <a:gd name="connsiteY535" fmla="*/ 682634 h 1608850"/>
                <a:gd name="connsiteX536" fmla="*/ 4033708 w 12192000"/>
                <a:gd name="connsiteY536" fmla="*/ 690579 h 1608850"/>
                <a:gd name="connsiteX537" fmla="*/ 4034823 w 12192000"/>
                <a:gd name="connsiteY537" fmla="*/ 690579 h 1608850"/>
                <a:gd name="connsiteX538" fmla="*/ 4042623 w 12192000"/>
                <a:gd name="connsiteY538" fmla="*/ 690579 h 1608850"/>
                <a:gd name="connsiteX539" fmla="*/ 4042623 w 12192000"/>
                <a:gd name="connsiteY539" fmla="*/ 692091 h 1608850"/>
                <a:gd name="connsiteX540" fmla="*/ 4042623 w 12192000"/>
                <a:gd name="connsiteY540" fmla="*/ 702682 h 1608850"/>
                <a:gd name="connsiteX541" fmla="*/ 4041510 w 12192000"/>
                <a:gd name="connsiteY541" fmla="*/ 702682 h 1608850"/>
                <a:gd name="connsiteX542" fmla="*/ 4033708 w 12192000"/>
                <a:gd name="connsiteY542" fmla="*/ 702682 h 1608850"/>
                <a:gd name="connsiteX543" fmla="*/ 4033708 w 12192000"/>
                <a:gd name="connsiteY543" fmla="*/ 704195 h 1608850"/>
                <a:gd name="connsiteX544" fmla="*/ 4033708 w 12192000"/>
                <a:gd name="connsiteY544" fmla="*/ 714788 h 1608850"/>
                <a:gd name="connsiteX545" fmla="*/ 4034823 w 12192000"/>
                <a:gd name="connsiteY545" fmla="*/ 714788 h 1608850"/>
                <a:gd name="connsiteX546" fmla="*/ 4042623 w 12192000"/>
                <a:gd name="connsiteY546" fmla="*/ 714788 h 1608850"/>
                <a:gd name="connsiteX547" fmla="*/ 4042623 w 12192000"/>
                <a:gd name="connsiteY547" fmla="*/ 716300 h 1608850"/>
                <a:gd name="connsiteX548" fmla="*/ 4042623 w 12192000"/>
                <a:gd name="connsiteY548" fmla="*/ 726892 h 1608850"/>
                <a:gd name="connsiteX549" fmla="*/ 4041510 w 12192000"/>
                <a:gd name="connsiteY549" fmla="*/ 726892 h 1608850"/>
                <a:gd name="connsiteX550" fmla="*/ 4033708 w 12192000"/>
                <a:gd name="connsiteY550" fmla="*/ 726892 h 1608850"/>
                <a:gd name="connsiteX551" fmla="*/ 4033708 w 12192000"/>
                <a:gd name="connsiteY551" fmla="*/ 728027 h 1608850"/>
                <a:gd name="connsiteX552" fmla="*/ 4033708 w 12192000"/>
                <a:gd name="connsiteY552" fmla="*/ 735970 h 1608850"/>
                <a:gd name="connsiteX553" fmla="*/ 4034823 w 12192000"/>
                <a:gd name="connsiteY553" fmla="*/ 735970 h 1608850"/>
                <a:gd name="connsiteX554" fmla="*/ 4042623 w 12192000"/>
                <a:gd name="connsiteY554" fmla="*/ 735970 h 1608850"/>
                <a:gd name="connsiteX555" fmla="*/ 4042623 w 12192000"/>
                <a:gd name="connsiteY555" fmla="*/ 737484 h 1608850"/>
                <a:gd name="connsiteX556" fmla="*/ 4042623 w 12192000"/>
                <a:gd name="connsiteY556" fmla="*/ 748075 h 1608850"/>
                <a:gd name="connsiteX557" fmla="*/ 4041510 w 12192000"/>
                <a:gd name="connsiteY557" fmla="*/ 748075 h 1608850"/>
                <a:gd name="connsiteX558" fmla="*/ 4033708 w 12192000"/>
                <a:gd name="connsiteY558" fmla="*/ 748075 h 1608850"/>
                <a:gd name="connsiteX559" fmla="*/ 4033708 w 12192000"/>
                <a:gd name="connsiteY559" fmla="*/ 749588 h 1608850"/>
                <a:gd name="connsiteX560" fmla="*/ 4033708 w 12192000"/>
                <a:gd name="connsiteY560" fmla="*/ 760181 h 1608850"/>
                <a:gd name="connsiteX561" fmla="*/ 4034823 w 12192000"/>
                <a:gd name="connsiteY561" fmla="*/ 760181 h 1608850"/>
                <a:gd name="connsiteX562" fmla="*/ 4042623 w 12192000"/>
                <a:gd name="connsiteY562" fmla="*/ 760181 h 1608850"/>
                <a:gd name="connsiteX563" fmla="*/ 4042623 w 12192000"/>
                <a:gd name="connsiteY563" fmla="*/ 761314 h 1608850"/>
                <a:gd name="connsiteX564" fmla="*/ 4042623 w 12192000"/>
                <a:gd name="connsiteY564" fmla="*/ 769258 h 1608850"/>
                <a:gd name="connsiteX565" fmla="*/ 4041510 w 12192000"/>
                <a:gd name="connsiteY565" fmla="*/ 769258 h 1608850"/>
                <a:gd name="connsiteX566" fmla="*/ 4033708 w 12192000"/>
                <a:gd name="connsiteY566" fmla="*/ 769258 h 1608850"/>
                <a:gd name="connsiteX567" fmla="*/ 4033708 w 12192000"/>
                <a:gd name="connsiteY567" fmla="*/ 770772 h 1608850"/>
                <a:gd name="connsiteX568" fmla="*/ 4033708 w 12192000"/>
                <a:gd name="connsiteY568" fmla="*/ 781363 h 1608850"/>
                <a:gd name="connsiteX569" fmla="*/ 4034823 w 12192000"/>
                <a:gd name="connsiteY569" fmla="*/ 781363 h 1608850"/>
                <a:gd name="connsiteX570" fmla="*/ 4042623 w 12192000"/>
                <a:gd name="connsiteY570" fmla="*/ 781363 h 1608850"/>
                <a:gd name="connsiteX571" fmla="*/ 4042623 w 12192000"/>
                <a:gd name="connsiteY571" fmla="*/ 782876 h 1608850"/>
                <a:gd name="connsiteX572" fmla="*/ 4042623 w 12192000"/>
                <a:gd name="connsiteY572" fmla="*/ 793468 h 1608850"/>
                <a:gd name="connsiteX573" fmla="*/ 4041510 w 12192000"/>
                <a:gd name="connsiteY573" fmla="*/ 793468 h 1608850"/>
                <a:gd name="connsiteX574" fmla="*/ 4033708 w 12192000"/>
                <a:gd name="connsiteY574" fmla="*/ 793468 h 1608850"/>
                <a:gd name="connsiteX575" fmla="*/ 4033708 w 12192000"/>
                <a:gd name="connsiteY575" fmla="*/ 794981 h 1608850"/>
                <a:gd name="connsiteX576" fmla="*/ 4033708 w 12192000"/>
                <a:gd name="connsiteY576" fmla="*/ 805572 h 1608850"/>
                <a:gd name="connsiteX577" fmla="*/ 4034823 w 12192000"/>
                <a:gd name="connsiteY577" fmla="*/ 805572 h 1608850"/>
                <a:gd name="connsiteX578" fmla="*/ 4042623 w 12192000"/>
                <a:gd name="connsiteY578" fmla="*/ 805572 h 1608850"/>
                <a:gd name="connsiteX579" fmla="*/ 4042623 w 12192000"/>
                <a:gd name="connsiteY579" fmla="*/ 806707 h 1608850"/>
                <a:gd name="connsiteX580" fmla="*/ 4042623 w 12192000"/>
                <a:gd name="connsiteY580" fmla="*/ 814651 h 1608850"/>
                <a:gd name="connsiteX581" fmla="*/ 4041510 w 12192000"/>
                <a:gd name="connsiteY581" fmla="*/ 814651 h 1608850"/>
                <a:gd name="connsiteX582" fmla="*/ 4033708 w 12192000"/>
                <a:gd name="connsiteY582" fmla="*/ 814651 h 1608850"/>
                <a:gd name="connsiteX583" fmla="*/ 4033708 w 12192000"/>
                <a:gd name="connsiteY583" fmla="*/ 816163 h 1608850"/>
                <a:gd name="connsiteX584" fmla="*/ 4033708 w 12192000"/>
                <a:gd name="connsiteY584" fmla="*/ 826756 h 1608850"/>
                <a:gd name="connsiteX585" fmla="*/ 4058227 w 12192000"/>
                <a:gd name="connsiteY585" fmla="*/ 853992 h 1608850"/>
                <a:gd name="connsiteX586" fmla="*/ 4057113 w 12192000"/>
                <a:gd name="connsiteY586" fmla="*/ 860044 h 1608850"/>
                <a:gd name="connsiteX587" fmla="*/ 4049311 w 12192000"/>
                <a:gd name="connsiteY587" fmla="*/ 860044 h 1608850"/>
                <a:gd name="connsiteX588" fmla="*/ 4049311 w 12192000"/>
                <a:gd name="connsiteY588" fmla="*/ 893331 h 1608850"/>
                <a:gd name="connsiteX589" fmla="*/ 4050427 w 12192000"/>
                <a:gd name="connsiteY589" fmla="*/ 893331 h 1608850"/>
                <a:gd name="connsiteX590" fmla="*/ 4058227 w 12192000"/>
                <a:gd name="connsiteY590" fmla="*/ 893331 h 1608850"/>
                <a:gd name="connsiteX591" fmla="*/ 4058227 w 12192000"/>
                <a:gd name="connsiteY591" fmla="*/ 891440 h 1608850"/>
                <a:gd name="connsiteX592" fmla="*/ 4058227 w 12192000"/>
                <a:gd name="connsiteY592" fmla="*/ 878201 h 1608850"/>
                <a:gd name="connsiteX593" fmla="*/ 4059342 w 12192000"/>
                <a:gd name="connsiteY593" fmla="*/ 877444 h 1608850"/>
                <a:gd name="connsiteX594" fmla="*/ 4067142 w 12192000"/>
                <a:gd name="connsiteY594" fmla="*/ 872149 h 1608850"/>
                <a:gd name="connsiteX595" fmla="*/ 4069094 w 12192000"/>
                <a:gd name="connsiteY595" fmla="*/ 872149 h 1608850"/>
                <a:gd name="connsiteX596" fmla="*/ 4082747 w 12192000"/>
                <a:gd name="connsiteY596" fmla="*/ 872149 h 1608850"/>
                <a:gd name="connsiteX597" fmla="*/ 4082747 w 12192000"/>
                <a:gd name="connsiteY597" fmla="*/ 873661 h 1608850"/>
                <a:gd name="connsiteX598" fmla="*/ 4082747 w 12192000"/>
                <a:gd name="connsiteY598" fmla="*/ 884253 h 1608850"/>
                <a:gd name="connsiteX599" fmla="*/ 4084419 w 12192000"/>
                <a:gd name="connsiteY599" fmla="*/ 884253 h 1608850"/>
                <a:gd name="connsiteX600" fmla="*/ 4096121 w 12192000"/>
                <a:gd name="connsiteY600" fmla="*/ 884253 h 1608850"/>
                <a:gd name="connsiteX601" fmla="*/ 4097235 w 12192000"/>
                <a:gd name="connsiteY601" fmla="*/ 890305 h 1608850"/>
                <a:gd name="connsiteX602" fmla="*/ 4105038 w 12192000"/>
                <a:gd name="connsiteY602" fmla="*/ 890305 h 1608850"/>
                <a:gd name="connsiteX603" fmla="*/ 4129555 w 12192000"/>
                <a:gd name="connsiteY603" fmla="*/ 932671 h 1608850"/>
                <a:gd name="connsiteX604" fmla="*/ 4129555 w 12192000"/>
                <a:gd name="connsiteY604" fmla="*/ 951821 h 1608850"/>
                <a:gd name="connsiteX605" fmla="*/ 4129555 w 12192000"/>
                <a:gd name="connsiteY605" fmla="*/ 970823 h 1608850"/>
                <a:gd name="connsiteX606" fmla="*/ 4138472 w 12192000"/>
                <a:gd name="connsiteY606" fmla="*/ 970823 h 1608850"/>
                <a:gd name="connsiteX607" fmla="*/ 4138472 w 12192000"/>
                <a:gd name="connsiteY607" fmla="*/ 956881 h 1608850"/>
                <a:gd name="connsiteX608" fmla="*/ 4139308 w 12192000"/>
                <a:gd name="connsiteY608" fmla="*/ 956881 h 1608850"/>
                <a:gd name="connsiteX609" fmla="*/ 4145159 w 12192000"/>
                <a:gd name="connsiteY609" fmla="*/ 956881 h 1608850"/>
                <a:gd name="connsiteX610" fmla="*/ 4145159 w 12192000"/>
                <a:gd name="connsiteY610" fmla="*/ 958394 h 1608850"/>
                <a:gd name="connsiteX611" fmla="*/ 4145159 w 12192000"/>
                <a:gd name="connsiteY611" fmla="*/ 968985 h 1608850"/>
                <a:gd name="connsiteX612" fmla="*/ 4154075 w 12192000"/>
                <a:gd name="connsiteY612" fmla="*/ 905436 h 1608850"/>
                <a:gd name="connsiteX613" fmla="*/ 4191968 w 12192000"/>
                <a:gd name="connsiteY613" fmla="*/ 905436 h 1608850"/>
                <a:gd name="connsiteX614" fmla="*/ 4191968 w 12192000"/>
                <a:gd name="connsiteY614" fmla="*/ 808599 h 1608850"/>
                <a:gd name="connsiteX615" fmla="*/ 4227631 w 12192000"/>
                <a:gd name="connsiteY615" fmla="*/ 808599 h 1608850"/>
                <a:gd name="connsiteX616" fmla="*/ 4227631 w 12192000"/>
                <a:gd name="connsiteY616" fmla="*/ 807464 h 1608850"/>
                <a:gd name="connsiteX617" fmla="*/ 4227631 w 12192000"/>
                <a:gd name="connsiteY617" fmla="*/ 799520 h 1608850"/>
                <a:gd name="connsiteX618" fmla="*/ 4249922 w 12192000"/>
                <a:gd name="connsiteY618" fmla="*/ 799520 h 1608850"/>
                <a:gd name="connsiteX619" fmla="*/ 4249922 w 12192000"/>
                <a:gd name="connsiteY619" fmla="*/ 748075 h 1608850"/>
                <a:gd name="connsiteX620" fmla="*/ 4245463 w 12192000"/>
                <a:gd name="connsiteY620" fmla="*/ 745805 h 1608850"/>
                <a:gd name="connsiteX621" fmla="*/ 4245463 w 12192000"/>
                <a:gd name="connsiteY621" fmla="*/ 729918 h 1608850"/>
                <a:gd name="connsiteX622" fmla="*/ 4249922 w 12192000"/>
                <a:gd name="connsiteY622" fmla="*/ 732945 h 1608850"/>
                <a:gd name="connsiteX623" fmla="*/ 4254381 w 12192000"/>
                <a:gd name="connsiteY623" fmla="*/ 702682 h 1608850"/>
                <a:gd name="connsiteX624" fmla="*/ 4258839 w 12192000"/>
                <a:gd name="connsiteY624" fmla="*/ 732945 h 1608850"/>
                <a:gd name="connsiteX625" fmla="*/ 4261346 w 12192000"/>
                <a:gd name="connsiteY625" fmla="*/ 728783 h 1608850"/>
                <a:gd name="connsiteX626" fmla="*/ 4263297 w 12192000"/>
                <a:gd name="connsiteY626" fmla="*/ 720840 h 1608850"/>
                <a:gd name="connsiteX627" fmla="*/ 4263853 w 12192000"/>
                <a:gd name="connsiteY627" fmla="*/ 719327 h 1608850"/>
                <a:gd name="connsiteX628" fmla="*/ 4267754 w 12192000"/>
                <a:gd name="connsiteY628" fmla="*/ 708734 h 1608850"/>
                <a:gd name="connsiteX629" fmla="*/ 4268311 w 12192000"/>
                <a:gd name="connsiteY629" fmla="*/ 707222 h 1608850"/>
                <a:gd name="connsiteX630" fmla="*/ 4272213 w 12192000"/>
                <a:gd name="connsiteY630" fmla="*/ 696631 h 1608850"/>
                <a:gd name="connsiteX631" fmla="*/ 4273605 w 12192000"/>
                <a:gd name="connsiteY631" fmla="*/ 695495 h 1608850"/>
                <a:gd name="connsiteX632" fmla="*/ 4283357 w 12192000"/>
                <a:gd name="connsiteY632" fmla="*/ 687552 h 1608850"/>
                <a:gd name="connsiteX633" fmla="*/ 4285030 w 12192000"/>
                <a:gd name="connsiteY633" fmla="*/ 686039 h 1608850"/>
                <a:gd name="connsiteX634" fmla="*/ 4296732 w 12192000"/>
                <a:gd name="connsiteY634" fmla="*/ 675447 h 1608850"/>
                <a:gd name="connsiteX635" fmla="*/ 4297568 w 12192000"/>
                <a:gd name="connsiteY635" fmla="*/ 673934 h 1608850"/>
                <a:gd name="connsiteX636" fmla="*/ 4303418 w 12192000"/>
                <a:gd name="connsiteY636" fmla="*/ 663343 h 1608850"/>
                <a:gd name="connsiteX637" fmla="*/ 4303976 w 12192000"/>
                <a:gd name="connsiteY637" fmla="*/ 660695 h 1608850"/>
                <a:gd name="connsiteX638" fmla="*/ 4307877 w 12192000"/>
                <a:gd name="connsiteY638" fmla="*/ 642159 h 1608850"/>
                <a:gd name="connsiteX639" fmla="*/ 4308435 w 12192000"/>
                <a:gd name="connsiteY639" fmla="*/ 644807 h 1608850"/>
                <a:gd name="connsiteX640" fmla="*/ 4312335 w 12192000"/>
                <a:gd name="connsiteY640" fmla="*/ 663343 h 1608850"/>
                <a:gd name="connsiteX641" fmla="*/ 4312893 w 12192000"/>
                <a:gd name="connsiteY641" fmla="*/ 664477 h 1608850"/>
                <a:gd name="connsiteX642" fmla="*/ 4316793 w 12192000"/>
                <a:gd name="connsiteY642" fmla="*/ 672421 h 1608850"/>
                <a:gd name="connsiteX643" fmla="*/ 4318186 w 12192000"/>
                <a:gd name="connsiteY643" fmla="*/ 673934 h 1608850"/>
                <a:gd name="connsiteX644" fmla="*/ 4327938 w 12192000"/>
                <a:gd name="connsiteY644" fmla="*/ 684525 h 1608850"/>
                <a:gd name="connsiteX645" fmla="*/ 4329054 w 12192000"/>
                <a:gd name="connsiteY645" fmla="*/ 686039 h 1608850"/>
                <a:gd name="connsiteX646" fmla="*/ 4336853 w 12192000"/>
                <a:gd name="connsiteY646" fmla="*/ 696631 h 1608850"/>
                <a:gd name="connsiteX647" fmla="*/ 4337969 w 12192000"/>
                <a:gd name="connsiteY647" fmla="*/ 698143 h 1608850"/>
                <a:gd name="connsiteX648" fmla="*/ 4345771 w 12192000"/>
                <a:gd name="connsiteY648" fmla="*/ 708734 h 1608850"/>
                <a:gd name="connsiteX649" fmla="*/ 4346049 w 12192000"/>
                <a:gd name="connsiteY649" fmla="*/ 710248 h 1608850"/>
                <a:gd name="connsiteX650" fmla="*/ 4347998 w 12192000"/>
                <a:gd name="connsiteY650" fmla="*/ 720840 h 1608850"/>
                <a:gd name="connsiteX651" fmla="*/ 4348277 w 12192000"/>
                <a:gd name="connsiteY651" fmla="*/ 722352 h 1608850"/>
                <a:gd name="connsiteX652" fmla="*/ 4350228 w 12192000"/>
                <a:gd name="connsiteY652" fmla="*/ 732945 h 1608850"/>
                <a:gd name="connsiteX653" fmla="*/ 4356914 w 12192000"/>
                <a:gd name="connsiteY653" fmla="*/ 702682 h 1608850"/>
                <a:gd name="connsiteX654" fmla="*/ 4361373 w 12192000"/>
                <a:gd name="connsiteY654" fmla="*/ 732945 h 1608850"/>
                <a:gd name="connsiteX655" fmla="*/ 4365830 w 12192000"/>
                <a:gd name="connsiteY655" fmla="*/ 735214 h 1608850"/>
                <a:gd name="connsiteX656" fmla="*/ 4365830 w 12192000"/>
                <a:gd name="connsiteY656" fmla="*/ 751102 h 1608850"/>
                <a:gd name="connsiteX657" fmla="*/ 4361373 w 12192000"/>
                <a:gd name="connsiteY657" fmla="*/ 793468 h 1608850"/>
                <a:gd name="connsiteX658" fmla="*/ 4362489 w 12192000"/>
                <a:gd name="connsiteY658" fmla="*/ 793468 h 1608850"/>
                <a:gd name="connsiteX659" fmla="*/ 4370289 w 12192000"/>
                <a:gd name="connsiteY659" fmla="*/ 793468 h 1608850"/>
                <a:gd name="connsiteX660" fmla="*/ 4371126 w 12192000"/>
                <a:gd name="connsiteY660" fmla="*/ 799520 h 1608850"/>
                <a:gd name="connsiteX661" fmla="*/ 4376976 w 12192000"/>
                <a:gd name="connsiteY661" fmla="*/ 799520 h 1608850"/>
                <a:gd name="connsiteX662" fmla="*/ 4376976 w 12192000"/>
                <a:gd name="connsiteY662" fmla="*/ 798007 h 1608850"/>
                <a:gd name="connsiteX663" fmla="*/ 4376976 w 12192000"/>
                <a:gd name="connsiteY663" fmla="*/ 787415 h 1608850"/>
                <a:gd name="connsiteX664" fmla="*/ 4379206 w 12192000"/>
                <a:gd name="connsiteY664" fmla="*/ 787415 h 1608850"/>
                <a:gd name="connsiteX665" fmla="*/ 4394808 w 12192000"/>
                <a:gd name="connsiteY665" fmla="*/ 787415 h 1608850"/>
                <a:gd name="connsiteX666" fmla="*/ 4394808 w 12192000"/>
                <a:gd name="connsiteY666" fmla="*/ 784767 h 1608850"/>
                <a:gd name="connsiteX667" fmla="*/ 4394808 w 12192000"/>
                <a:gd name="connsiteY667" fmla="*/ 766232 h 1608850"/>
                <a:gd name="connsiteX668" fmla="*/ 4432702 w 12192000"/>
                <a:gd name="connsiteY668" fmla="*/ 766232 h 1608850"/>
                <a:gd name="connsiteX669" fmla="*/ 4432702 w 12192000"/>
                <a:gd name="connsiteY669" fmla="*/ 768124 h 1608850"/>
                <a:gd name="connsiteX670" fmla="*/ 4432702 w 12192000"/>
                <a:gd name="connsiteY670" fmla="*/ 781363 h 1608850"/>
                <a:gd name="connsiteX671" fmla="*/ 4452762 w 12192000"/>
                <a:gd name="connsiteY671" fmla="*/ 781363 h 1608850"/>
                <a:gd name="connsiteX672" fmla="*/ 4452762 w 12192000"/>
                <a:gd name="connsiteY672" fmla="*/ 784390 h 1608850"/>
                <a:gd name="connsiteX673" fmla="*/ 4452762 w 12192000"/>
                <a:gd name="connsiteY673" fmla="*/ 805572 h 1608850"/>
                <a:gd name="connsiteX674" fmla="*/ 4448306 w 12192000"/>
                <a:gd name="connsiteY674" fmla="*/ 806707 h 1608850"/>
                <a:gd name="connsiteX675" fmla="*/ 4448306 w 12192000"/>
                <a:gd name="connsiteY675" fmla="*/ 814651 h 1608850"/>
                <a:gd name="connsiteX676" fmla="*/ 4452762 w 12192000"/>
                <a:gd name="connsiteY676" fmla="*/ 816921 h 1608850"/>
                <a:gd name="connsiteX677" fmla="*/ 4452762 w 12192000"/>
                <a:gd name="connsiteY677" fmla="*/ 832808 h 1608850"/>
                <a:gd name="connsiteX678" fmla="*/ 4448306 w 12192000"/>
                <a:gd name="connsiteY678" fmla="*/ 838860 h 1608850"/>
                <a:gd name="connsiteX679" fmla="*/ 4448306 w 12192000"/>
                <a:gd name="connsiteY679" fmla="*/ 911488 h 1608850"/>
                <a:gd name="connsiteX680" fmla="*/ 4450255 w 12192000"/>
                <a:gd name="connsiteY680" fmla="*/ 911488 h 1608850"/>
                <a:gd name="connsiteX681" fmla="*/ 4463908 w 12192000"/>
                <a:gd name="connsiteY681" fmla="*/ 911488 h 1608850"/>
                <a:gd name="connsiteX682" fmla="*/ 4465579 w 12192000"/>
                <a:gd name="connsiteY682" fmla="*/ 917540 h 1608850"/>
                <a:gd name="connsiteX683" fmla="*/ 4477282 w 12192000"/>
                <a:gd name="connsiteY683" fmla="*/ 917540 h 1608850"/>
                <a:gd name="connsiteX684" fmla="*/ 4477282 w 12192000"/>
                <a:gd name="connsiteY684" fmla="*/ 920188 h 1608850"/>
                <a:gd name="connsiteX685" fmla="*/ 4477282 w 12192000"/>
                <a:gd name="connsiteY685" fmla="*/ 938724 h 1608850"/>
                <a:gd name="connsiteX686" fmla="*/ 4478955 w 12192000"/>
                <a:gd name="connsiteY686" fmla="*/ 938724 h 1608850"/>
                <a:gd name="connsiteX687" fmla="*/ 4490656 w 12192000"/>
                <a:gd name="connsiteY687" fmla="*/ 938724 h 1608850"/>
                <a:gd name="connsiteX688" fmla="*/ 4490656 w 12192000"/>
                <a:gd name="connsiteY688" fmla="*/ 936076 h 1608850"/>
                <a:gd name="connsiteX689" fmla="*/ 4490656 w 12192000"/>
                <a:gd name="connsiteY689" fmla="*/ 917540 h 1608850"/>
                <a:gd name="connsiteX690" fmla="*/ 4492605 w 12192000"/>
                <a:gd name="connsiteY690" fmla="*/ 916028 h 1608850"/>
                <a:gd name="connsiteX691" fmla="*/ 4506258 w 12192000"/>
                <a:gd name="connsiteY691" fmla="*/ 905436 h 1608850"/>
                <a:gd name="connsiteX692" fmla="*/ 4506258 w 12192000"/>
                <a:gd name="connsiteY692" fmla="*/ 878201 h 1608850"/>
                <a:gd name="connsiteX693" fmla="*/ 4501802 w 12192000"/>
                <a:gd name="connsiteY693" fmla="*/ 847938 h 1608850"/>
                <a:gd name="connsiteX694" fmla="*/ 4502914 w 12192000"/>
                <a:gd name="connsiteY694" fmla="*/ 847938 h 1608850"/>
                <a:gd name="connsiteX695" fmla="*/ 4510717 w 12192000"/>
                <a:gd name="connsiteY695" fmla="*/ 847938 h 1608850"/>
                <a:gd name="connsiteX696" fmla="*/ 4530778 w 12192000"/>
                <a:gd name="connsiteY696" fmla="*/ 844913 h 1608850"/>
                <a:gd name="connsiteX697" fmla="*/ 4530778 w 12192000"/>
                <a:gd name="connsiteY697" fmla="*/ 843399 h 1608850"/>
                <a:gd name="connsiteX698" fmla="*/ 4530778 w 12192000"/>
                <a:gd name="connsiteY698" fmla="*/ 832808 h 1608850"/>
                <a:gd name="connsiteX699" fmla="*/ 4532451 w 12192000"/>
                <a:gd name="connsiteY699" fmla="*/ 832808 h 1608850"/>
                <a:gd name="connsiteX700" fmla="*/ 4544152 w 12192000"/>
                <a:gd name="connsiteY700" fmla="*/ 832808 h 1608850"/>
                <a:gd name="connsiteX701" fmla="*/ 4544152 w 12192000"/>
                <a:gd name="connsiteY701" fmla="*/ 681500 h 1608850"/>
                <a:gd name="connsiteX702" fmla="*/ 4545267 w 12192000"/>
                <a:gd name="connsiteY702" fmla="*/ 681500 h 1608850"/>
                <a:gd name="connsiteX703" fmla="*/ 4553068 w 12192000"/>
                <a:gd name="connsiteY703" fmla="*/ 681500 h 1608850"/>
                <a:gd name="connsiteX704" fmla="*/ 4553068 w 12192000"/>
                <a:gd name="connsiteY704" fmla="*/ 678473 h 1608850"/>
                <a:gd name="connsiteX705" fmla="*/ 4553068 w 12192000"/>
                <a:gd name="connsiteY705" fmla="*/ 657290 h 1608850"/>
                <a:gd name="connsiteX706" fmla="*/ 4555298 w 12192000"/>
                <a:gd name="connsiteY706" fmla="*/ 596766 h 1608850"/>
                <a:gd name="connsiteX707" fmla="*/ 4556412 w 12192000"/>
                <a:gd name="connsiteY707" fmla="*/ 596766 h 1608850"/>
                <a:gd name="connsiteX708" fmla="*/ 4564213 w 12192000"/>
                <a:gd name="connsiteY708" fmla="*/ 596766 h 1608850"/>
                <a:gd name="connsiteX709" fmla="*/ 4564213 w 12192000"/>
                <a:gd name="connsiteY709" fmla="*/ 598280 h 1608850"/>
                <a:gd name="connsiteX710" fmla="*/ 4564213 w 12192000"/>
                <a:gd name="connsiteY710" fmla="*/ 608871 h 1608850"/>
                <a:gd name="connsiteX711" fmla="*/ 4568671 w 12192000"/>
                <a:gd name="connsiteY711" fmla="*/ 605845 h 1608850"/>
                <a:gd name="connsiteX712" fmla="*/ 4568671 w 12192000"/>
                <a:gd name="connsiteY712" fmla="*/ 584662 h 1608850"/>
                <a:gd name="connsiteX713" fmla="*/ 4570065 w 12192000"/>
                <a:gd name="connsiteY713" fmla="*/ 583906 h 1608850"/>
                <a:gd name="connsiteX714" fmla="*/ 4579816 w 12192000"/>
                <a:gd name="connsiteY714" fmla="*/ 578610 h 1608850"/>
                <a:gd name="connsiteX715" fmla="*/ 4580930 w 12192000"/>
                <a:gd name="connsiteY715" fmla="*/ 579367 h 1608850"/>
                <a:gd name="connsiteX716" fmla="*/ 4588733 w 12192000"/>
                <a:gd name="connsiteY716" fmla="*/ 584662 h 1608850"/>
                <a:gd name="connsiteX717" fmla="*/ 4590404 w 12192000"/>
                <a:gd name="connsiteY717" fmla="*/ 584662 h 1608850"/>
                <a:gd name="connsiteX718" fmla="*/ 4602107 w 12192000"/>
                <a:gd name="connsiteY718" fmla="*/ 584662 h 1608850"/>
                <a:gd name="connsiteX719" fmla="*/ 4602107 w 12192000"/>
                <a:gd name="connsiteY719" fmla="*/ 545322 h 1608850"/>
                <a:gd name="connsiteX720" fmla="*/ 4603221 w 12192000"/>
                <a:gd name="connsiteY720" fmla="*/ 545322 h 1608850"/>
                <a:gd name="connsiteX721" fmla="*/ 4611021 w 12192000"/>
                <a:gd name="connsiteY721" fmla="*/ 545322 h 1608850"/>
                <a:gd name="connsiteX722" fmla="*/ 4612414 w 12192000"/>
                <a:gd name="connsiteY722" fmla="*/ 551375 h 1608850"/>
                <a:gd name="connsiteX723" fmla="*/ 4622169 w 12192000"/>
                <a:gd name="connsiteY723" fmla="*/ 551375 h 1608850"/>
                <a:gd name="connsiteX724" fmla="*/ 4623282 w 12192000"/>
                <a:gd name="connsiteY724" fmla="*/ 545322 h 1608850"/>
                <a:gd name="connsiteX725" fmla="*/ 4631084 w 12192000"/>
                <a:gd name="connsiteY725" fmla="*/ 545322 h 1608850"/>
                <a:gd name="connsiteX726" fmla="*/ 4631084 w 12192000"/>
                <a:gd name="connsiteY726" fmla="*/ 590714 h 1608850"/>
                <a:gd name="connsiteX727" fmla="*/ 4632477 w 12192000"/>
                <a:gd name="connsiteY727" fmla="*/ 592227 h 1608850"/>
                <a:gd name="connsiteX728" fmla="*/ 4642230 w 12192000"/>
                <a:gd name="connsiteY728" fmla="*/ 602819 h 1608850"/>
                <a:gd name="connsiteX729" fmla="*/ 4664518 w 12192000"/>
                <a:gd name="connsiteY729" fmla="*/ 611898 h 1608850"/>
                <a:gd name="connsiteX730" fmla="*/ 4664518 w 12192000"/>
                <a:gd name="connsiteY730" fmla="*/ 610007 h 1608850"/>
                <a:gd name="connsiteX731" fmla="*/ 4664518 w 12192000"/>
                <a:gd name="connsiteY731" fmla="*/ 596766 h 1608850"/>
                <a:gd name="connsiteX732" fmla="*/ 4693496 w 12192000"/>
                <a:gd name="connsiteY732" fmla="*/ 584662 h 1608850"/>
                <a:gd name="connsiteX733" fmla="*/ 4693496 w 12192000"/>
                <a:gd name="connsiteY733" fmla="*/ 583150 h 1608850"/>
                <a:gd name="connsiteX734" fmla="*/ 4693496 w 12192000"/>
                <a:gd name="connsiteY734" fmla="*/ 572557 h 1608850"/>
                <a:gd name="connsiteX735" fmla="*/ 4694332 w 12192000"/>
                <a:gd name="connsiteY735" fmla="*/ 572557 h 1608850"/>
                <a:gd name="connsiteX736" fmla="*/ 4700182 w 12192000"/>
                <a:gd name="connsiteY736" fmla="*/ 572557 h 1608850"/>
                <a:gd name="connsiteX737" fmla="*/ 4700182 w 12192000"/>
                <a:gd name="connsiteY737" fmla="*/ 571423 h 1608850"/>
                <a:gd name="connsiteX738" fmla="*/ 4700182 w 12192000"/>
                <a:gd name="connsiteY738" fmla="*/ 563479 h 1608850"/>
                <a:gd name="connsiteX739" fmla="*/ 4702412 w 12192000"/>
                <a:gd name="connsiteY739" fmla="*/ 563479 h 1608850"/>
                <a:gd name="connsiteX740" fmla="*/ 4718014 w 12192000"/>
                <a:gd name="connsiteY740" fmla="*/ 563479 h 1608850"/>
                <a:gd name="connsiteX741" fmla="*/ 4718014 w 12192000"/>
                <a:gd name="connsiteY741" fmla="*/ 564614 h 1608850"/>
                <a:gd name="connsiteX742" fmla="*/ 4718014 w 12192000"/>
                <a:gd name="connsiteY742" fmla="*/ 572557 h 1608850"/>
                <a:gd name="connsiteX743" fmla="*/ 4719686 w 12192000"/>
                <a:gd name="connsiteY743" fmla="*/ 572557 h 1608850"/>
                <a:gd name="connsiteX744" fmla="*/ 4731390 w 12192000"/>
                <a:gd name="connsiteY744" fmla="*/ 572557 h 1608850"/>
                <a:gd name="connsiteX745" fmla="*/ 4731390 w 12192000"/>
                <a:gd name="connsiteY745" fmla="*/ 574828 h 1608850"/>
                <a:gd name="connsiteX746" fmla="*/ 4731390 w 12192000"/>
                <a:gd name="connsiteY746" fmla="*/ 590714 h 1608850"/>
                <a:gd name="connsiteX747" fmla="*/ 4755908 w 12192000"/>
                <a:gd name="connsiteY747" fmla="*/ 590714 h 1608850"/>
                <a:gd name="connsiteX748" fmla="*/ 4755908 w 12192000"/>
                <a:gd name="connsiteY748" fmla="*/ 589202 h 1608850"/>
                <a:gd name="connsiteX749" fmla="*/ 4755908 w 12192000"/>
                <a:gd name="connsiteY749" fmla="*/ 578610 h 1608850"/>
                <a:gd name="connsiteX750" fmla="*/ 4757302 w 12192000"/>
                <a:gd name="connsiteY750" fmla="*/ 578610 h 1608850"/>
                <a:gd name="connsiteX751" fmla="*/ 4767053 w 12192000"/>
                <a:gd name="connsiteY751" fmla="*/ 578610 h 1608850"/>
                <a:gd name="connsiteX752" fmla="*/ 4767053 w 12192000"/>
                <a:gd name="connsiteY752" fmla="*/ 577096 h 1608850"/>
                <a:gd name="connsiteX753" fmla="*/ 4767053 w 12192000"/>
                <a:gd name="connsiteY753" fmla="*/ 566505 h 1608850"/>
                <a:gd name="connsiteX754" fmla="*/ 4768725 w 12192000"/>
                <a:gd name="connsiteY754" fmla="*/ 566505 h 1608850"/>
                <a:gd name="connsiteX755" fmla="*/ 4780426 w 12192000"/>
                <a:gd name="connsiteY755" fmla="*/ 566505 h 1608850"/>
                <a:gd name="connsiteX756" fmla="*/ 4780426 w 12192000"/>
                <a:gd name="connsiteY756" fmla="*/ 568018 h 1608850"/>
                <a:gd name="connsiteX757" fmla="*/ 4780426 w 12192000"/>
                <a:gd name="connsiteY757" fmla="*/ 578610 h 1608850"/>
                <a:gd name="connsiteX758" fmla="*/ 4784886 w 12192000"/>
                <a:gd name="connsiteY758" fmla="*/ 505982 h 1608850"/>
                <a:gd name="connsiteX759" fmla="*/ 4885191 w 12192000"/>
                <a:gd name="connsiteY759" fmla="*/ 505982 h 1608850"/>
                <a:gd name="connsiteX760" fmla="*/ 4885191 w 12192000"/>
                <a:gd name="connsiteY760" fmla="*/ 602819 h 1608850"/>
                <a:gd name="connsiteX761" fmla="*/ 4887420 w 12192000"/>
                <a:gd name="connsiteY761" fmla="*/ 602819 h 1608850"/>
                <a:gd name="connsiteX762" fmla="*/ 4903022 w 12192000"/>
                <a:gd name="connsiteY762" fmla="*/ 602819 h 1608850"/>
                <a:gd name="connsiteX763" fmla="*/ 4903022 w 12192000"/>
                <a:gd name="connsiteY763" fmla="*/ 493877 h 1608850"/>
                <a:gd name="connsiteX764" fmla="*/ 4925313 w 12192000"/>
                <a:gd name="connsiteY764" fmla="*/ 478746 h 1608850"/>
                <a:gd name="connsiteX765" fmla="*/ 4954291 w 12192000"/>
                <a:gd name="connsiteY765" fmla="*/ 478746 h 1608850"/>
                <a:gd name="connsiteX766" fmla="*/ 4956242 w 12192000"/>
                <a:gd name="connsiteY766" fmla="*/ 476477 h 1608850"/>
                <a:gd name="connsiteX767" fmla="*/ 4969893 w 12192000"/>
                <a:gd name="connsiteY767" fmla="*/ 460589 h 1608850"/>
                <a:gd name="connsiteX768" fmla="*/ 5007787 w 12192000"/>
                <a:gd name="connsiteY768" fmla="*/ 460589 h 1608850"/>
                <a:gd name="connsiteX769" fmla="*/ 5007787 w 12192000"/>
                <a:gd name="connsiteY769" fmla="*/ 462859 h 1608850"/>
                <a:gd name="connsiteX770" fmla="*/ 5007787 w 12192000"/>
                <a:gd name="connsiteY770" fmla="*/ 478746 h 1608850"/>
                <a:gd name="connsiteX771" fmla="*/ 5045681 w 12192000"/>
                <a:gd name="connsiteY771" fmla="*/ 478746 h 1608850"/>
                <a:gd name="connsiteX772" fmla="*/ 5045681 w 12192000"/>
                <a:gd name="connsiteY772" fmla="*/ 596766 h 1608850"/>
                <a:gd name="connsiteX773" fmla="*/ 5047073 w 12192000"/>
                <a:gd name="connsiteY773" fmla="*/ 596766 h 1608850"/>
                <a:gd name="connsiteX774" fmla="*/ 5056825 w 12192000"/>
                <a:gd name="connsiteY774" fmla="*/ 596766 h 1608850"/>
                <a:gd name="connsiteX775" fmla="*/ 5056825 w 12192000"/>
                <a:gd name="connsiteY775" fmla="*/ 769258 h 1608850"/>
                <a:gd name="connsiteX776" fmla="*/ 5059053 w 12192000"/>
                <a:gd name="connsiteY776" fmla="*/ 769258 h 1608850"/>
                <a:gd name="connsiteX777" fmla="*/ 5074657 w 12192000"/>
                <a:gd name="connsiteY777" fmla="*/ 769258 h 1608850"/>
                <a:gd name="connsiteX778" fmla="*/ 5074657 w 12192000"/>
                <a:gd name="connsiteY778" fmla="*/ 657290 h 1608850"/>
                <a:gd name="connsiteX779" fmla="*/ 5075493 w 12192000"/>
                <a:gd name="connsiteY779" fmla="*/ 656533 h 1608850"/>
                <a:gd name="connsiteX780" fmla="*/ 5081344 w 12192000"/>
                <a:gd name="connsiteY780" fmla="*/ 651238 h 1608850"/>
                <a:gd name="connsiteX781" fmla="*/ 5085802 w 12192000"/>
                <a:gd name="connsiteY781" fmla="*/ 652750 h 1608850"/>
                <a:gd name="connsiteX782" fmla="*/ 5085802 w 12192000"/>
                <a:gd name="connsiteY782" fmla="*/ 663343 h 1608850"/>
                <a:gd name="connsiteX783" fmla="*/ 5088030 w 12192000"/>
                <a:gd name="connsiteY783" fmla="*/ 661829 h 1608850"/>
                <a:gd name="connsiteX784" fmla="*/ 5103634 w 12192000"/>
                <a:gd name="connsiteY784" fmla="*/ 651238 h 1608850"/>
                <a:gd name="connsiteX785" fmla="*/ 5105585 w 12192000"/>
                <a:gd name="connsiteY785" fmla="*/ 651238 h 1608850"/>
                <a:gd name="connsiteX786" fmla="*/ 5119237 w 12192000"/>
                <a:gd name="connsiteY786" fmla="*/ 651238 h 1608850"/>
                <a:gd name="connsiteX787" fmla="*/ 5119237 w 12192000"/>
                <a:gd name="connsiteY787" fmla="*/ 857017 h 1608850"/>
                <a:gd name="connsiteX788" fmla="*/ 5150444 w 12192000"/>
                <a:gd name="connsiteY788" fmla="*/ 863070 h 1608850"/>
                <a:gd name="connsiteX789" fmla="*/ 5150444 w 12192000"/>
                <a:gd name="connsiteY789" fmla="*/ 853992 h 1608850"/>
                <a:gd name="connsiteX790" fmla="*/ 5183878 w 12192000"/>
                <a:gd name="connsiteY790" fmla="*/ 853992 h 1608850"/>
                <a:gd name="connsiteX791" fmla="*/ 5183878 w 12192000"/>
                <a:gd name="connsiteY791" fmla="*/ 814651 h 1608850"/>
                <a:gd name="connsiteX792" fmla="*/ 5192794 w 12192000"/>
                <a:gd name="connsiteY792" fmla="*/ 814651 h 1608850"/>
                <a:gd name="connsiteX793" fmla="*/ 5192794 w 12192000"/>
                <a:gd name="connsiteY793" fmla="*/ 763206 h 1608850"/>
                <a:gd name="connsiteX794" fmla="*/ 5199482 w 12192000"/>
                <a:gd name="connsiteY794" fmla="*/ 763206 h 1608850"/>
                <a:gd name="connsiteX795" fmla="*/ 5199482 w 12192000"/>
                <a:gd name="connsiteY795" fmla="*/ 711761 h 1608850"/>
                <a:gd name="connsiteX796" fmla="*/ 5215086 w 12192000"/>
                <a:gd name="connsiteY796" fmla="*/ 711761 h 1608850"/>
                <a:gd name="connsiteX797" fmla="*/ 5264122 w 12192000"/>
                <a:gd name="connsiteY797" fmla="*/ 684525 h 1608850"/>
                <a:gd name="connsiteX798" fmla="*/ 5266352 w 12192000"/>
                <a:gd name="connsiteY798" fmla="*/ 657290 h 1608850"/>
                <a:gd name="connsiteX799" fmla="*/ 5270810 w 12192000"/>
                <a:gd name="connsiteY799" fmla="*/ 684525 h 1608850"/>
                <a:gd name="connsiteX800" fmla="*/ 5322078 w 12192000"/>
                <a:gd name="connsiteY800" fmla="*/ 720840 h 1608850"/>
                <a:gd name="connsiteX801" fmla="*/ 5322078 w 12192000"/>
                <a:gd name="connsiteY801" fmla="*/ 714788 h 1608850"/>
                <a:gd name="connsiteX802" fmla="*/ 5335452 w 12192000"/>
                <a:gd name="connsiteY802" fmla="*/ 714788 h 1608850"/>
                <a:gd name="connsiteX803" fmla="*/ 5335452 w 12192000"/>
                <a:gd name="connsiteY803" fmla="*/ 763206 h 1608850"/>
                <a:gd name="connsiteX804" fmla="*/ 5342138 w 12192000"/>
                <a:gd name="connsiteY804" fmla="*/ 763206 h 1608850"/>
                <a:gd name="connsiteX805" fmla="*/ 5342138 w 12192000"/>
                <a:gd name="connsiteY805" fmla="*/ 801467 h 1608850"/>
                <a:gd name="connsiteX806" fmla="*/ 5377917 w 12192000"/>
                <a:gd name="connsiteY806" fmla="*/ 790806 h 1608850"/>
                <a:gd name="connsiteX807" fmla="*/ 5478973 w 12192000"/>
                <a:gd name="connsiteY807" fmla="*/ 790806 h 1608850"/>
                <a:gd name="connsiteX808" fmla="*/ 5478973 w 12192000"/>
                <a:gd name="connsiteY808" fmla="*/ 596233 h 1608850"/>
                <a:gd name="connsiteX809" fmla="*/ 5507479 w 12192000"/>
                <a:gd name="connsiteY809" fmla="*/ 582720 h 1608850"/>
                <a:gd name="connsiteX810" fmla="*/ 5631857 w 12192000"/>
                <a:gd name="connsiteY810" fmla="*/ 561101 h 1608850"/>
                <a:gd name="connsiteX811" fmla="*/ 5675909 w 12192000"/>
                <a:gd name="connsiteY811" fmla="*/ 574613 h 1608850"/>
                <a:gd name="connsiteX812" fmla="*/ 5683682 w 12192000"/>
                <a:gd name="connsiteY812" fmla="*/ 582720 h 1608850"/>
                <a:gd name="connsiteX813" fmla="*/ 5683682 w 12192000"/>
                <a:gd name="connsiteY813" fmla="*/ 833084 h 1608850"/>
                <a:gd name="connsiteX814" fmla="*/ 5701821 w 12192000"/>
                <a:gd name="connsiteY814" fmla="*/ 873985 h 1608850"/>
                <a:gd name="connsiteX815" fmla="*/ 5701821 w 12192000"/>
                <a:gd name="connsiteY815" fmla="*/ 798914 h 1608850"/>
                <a:gd name="connsiteX816" fmla="*/ 5717369 w 12192000"/>
                <a:gd name="connsiteY816" fmla="*/ 798914 h 1608850"/>
                <a:gd name="connsiteX817" fmla="*/ 5717369 w 12192000"/>
                <a:gd name="connsiteY817" fmla="*/ 785402 h 1608850"/>
                <a:gd name="connsiteX818" fmla="*/ 5732917 w 12192000"/>
                <a:gd name="connsiteY818" fmla="*/ 777295 h 1608850"/>
                <a:gd name="connsiteX819" fmla="*/ 5745871 w 12192000"/>
                <a:gd name="connsiteY819" fmla="*/ 777295 h 1608850"/>
                <a:gd name="connsiteX820" fmla="*/ 5745871 w 12192000"/>
                <a:gd name="connsiteY820" fmla="*/ 763783 h 1608850"/>
                <a:gd name="connsiteX821" fmla="*/ 5756236 w 12192000"/>
                <a:gd name="connsiteY821" fmla="*/ 755675 h 1608850"/>
                <a:gd name="connsiteX822" fmla="*/ 5782151 w 12192000"/>
                <a:gd name="connsiteY822" fmla="*/ 755675 h 1608850"/>
                <a:gd name="connsiteX823" fmla="*/ 5782151 w 12192000"/>
                <a:gd name="connsiteY823" fmla="*/ 798914 h 1608850"/>
                <a:gd name="connsiteX824" fmla="*/ 5836566 w 12192000"/>
                <a:gd name="connsiteY824" fmla="*/ 798914 h 1608850"/>
                <a:gd name="connsiteX825" fmla="*/ 5836566 w 12192000"/>
                <a:gd name="connsiteY825" fmla="*/ 950250 h 1608850"/>
                <a:gd name="connsiteX826" fmla="*/ 5857295 w 12192000"/>
                <a:gd name="connsiteY826" fmla="*/ 950250 h 1608850"/>
                <a:gd name="connsiteX827" fmla="*/ 5878025 w 12192000"/>
                <a:gd name="connsiteY827" fmla="*/ 942143 h 1608850"/>
                <a:gd name="connsiteX828" fmla="*/ 5878025 w 12192000"/>
                <a:gd name="connsiteY828" fmla="*/ 931332 h 1608850"/>
                <a:gd name="connsiteX829" fmla="*/ 5870253 w 12192000"/>
                <a:gd name="connsiteY829" fmla="*/ 928630 h 1608850"/>
                <a:gd name="connsiteX830" fmla="*/ 5870253 w 12192000"/>
                <a:gd name="connsiteY830" fmla="*/ 920522 h 1608850"/>
                <a:gd name="connsiteX831" fmla="*/ 5878025 w 12192000"/>
                <a:gd name="connsiteY831" fmla="*/ 915118 h 1608850"/>
                <a:gd name="connsiteX832" fmla="*/ 5878025 w 12192000"/>
                <a:gd name="connsiteY832" fmla="*/ 855665 h 1608850"/>
                <a:gd name="connsiteX833" fmla="*/ 5870253 w 12192000"/>
                <a:gd name="connsiteY833" fmla="*/ 852962 h 1608850"/>
                <a:gd name="connsiteX834" fmla="*/ 5870253 w 12192000"/>
                <a:gd name="connsiteY834" fmla="*/ 844855 h 1608850"/>
                <a:gd name="connsiteX835" fmla="*/ 5878025 w 12192000"/>
                <a:gd name="connsiteY835" fmla="*/ 839450 h 1608850"/>
                <a:gd name="connsiteX836" fmla="*/ 5883208 w 12192000"/>
                <a:gd name="connsiteY836" fmla="*/ 834046 h 1608850"/>
                <a:gd name="connsiteX837" fmla="*/ 5883208 w 12192000"/>
                <a:gd name="connsiteY837" fmla="*/ 823236 h 1608850"/>
                <a:gd name="connsiteX838" fmla="*/ 5878025 w 12192000"/>
                <a:gd name="connsiteY838" fmla="*/ 823236 h 1608850"/>
                <a:gd name="connsiteX839" fmla="*/ 5878025 w 12192000"/>
                <a:gd name="connsiteY839" fmla="*/ 815128 h 1608850"/>
                <a:gd name="connsiteX840" fmla="*/ 5885800 w 12192000"/>
                <a:gd name="connsiteY840" fmla="*/ 809724 h 1608850"/>
                <a:gd name="connsiteX841" fmla="*/ 5927259 w 12192000"/>
                <a:gd name="connsiteY841" fmla="*/ 734056 h 1608850"/>
                <a:gd name="connsiteX842" fmla="*/ 5922077 w 12192000"/>
                <a:gd name="connsiteY842" fmla="*/ 731353 h 1608850"/>
                <a:gd name="connsiteX843" fmla="*/ 5922077 w 12192000"/>
                <a:gd name="connsiteY843" fmla="*/ 723246 h 1608850"/>
                <a:gd name="connsiteX844" fmla="*/ 5929850 w 12192000"/>
                <a:gd name="connsiteY844" fmla="*/ 720543 h 1608850"/>
                <a:gd name="connsiteX845" fmla="*/ 5929850 w 12192000"/>
                <a:gd name="connsiteY845" fmla="*/ 709734 h 1608850"/>
                <a:gd name="connsiteX846" fmla="*/ 5935033 w 12192000"/>
                <a:gd name="connsiteY846" fmla="*/ 709734 h 1608850"/>
                <a:gd name="connsiteX847" fmla="*/ 5935033 w 12192000"/>
                <a:gd name="connsiteY847" fmla="*/ 685412 h 1608850"/>
                <a:gd name="connsiteX848" fmla="*/ 5929850 w 12192000"/>
                <a:gd name="connsiteY848" fmla="*/ 685412 h 1608850"/>
                <a:gd name="connsiteX849" fmla="*/ 5929850 w 12192000"/>
                <a:gd name="connsiteY849" fmla="*/ 680008 h 1608850"/>
                <a:gd name="connsiteX850" fmla="*/ 5935033 w 12192000"/>
                <a:gd name="connsiteY850" fmla="*/ 677305 h 1608850"/>
                <a:gd name="connsiteX851" fmla="*/ 5947989 w 12192000"/>
                <a:gd name="connsiteY851" fmla="*/ 658388 h 1608850"/>
                <a:gd name="connsiteX852" fmla="*/ 5950579 w 12192000"/>
                <a:gd name="connsiteY852" fmla="*/ 647579 h 1608850"/>
                <a:gd name="connsiteX853" fmla="*/ 5950579 w 12192000"/>
                <a:gd name="connsiteY853" fmla="*/ 617852 h 1608850"/>
                <a:gd name="connsiteX854" fmla="*/ 5950904 w 12192000"/>
                <a:gd name="connsiteY854" fmla="*/ 616838 h 1608850"/>
                <a:gd name="connsiteX855" fmla="*/ 5953171 w 12192000"/>
                <a:gd name="connsiteY855" fmla="*/ 609745 h 1608850"/>
                <a:gd name="connsiteX856" fmla="*/ 5953495 w 12192000"/>
                <a:gd name="connsiteY856" fmla="*/ 610759 h 1608850"/>
                <a:gd name="connsiteX857" fmla="*/ 5955763 w 12192000"/>
                <a:gd name="connsiteY857" fmla="*/ 617852 h 1608850"/>
                <a:gd name="connsiteX858" fmla="*/ 5958354 w 12192000"/>
                <a:gd name="connsiteY858" fmla="*/ 647579 h 1608850"/>
                <a:gd name="connsiteX859" fmla="*/ 5958354 w 12192000"/>
                <a:gd name="connsiteY859" fmla="*/ 655686 h 1608850"/>
                <a:gd name="connsiteX860" fmla="*/ 5971311 w 12192000"/>
                <a:gd name="connsiteY860" fmla="*/ 677305 h 1608850"/>
                <a:gd name="connsiteX861" fmla="*/ 5976494 w 12192000"/>
                <a:gd name="connsiteY861" fmla="*/ 680008 h 1608850"/>
                <a:gd name="connsiteX862" fmla="*/ 5976494 w 12192000"/>
                <a:gd name="connsiteY862" fmla="*/ 685412 h 1608850"/>
                <a:gd name="connsiteX863" fmla="*/ 5973903 w 12192000"/>
                <a:gd name="connsiteY863" fmla="*/ 709734 h 1608850"/>
                <a:gd name="connsiteX864" fmla="*/ 5979084 w 12192000"/>
                <a:gd name="connsiteY864" fmla="*/ 720543 h 1608850"/>
                <a:gd name="connsiteX865" fmla="*/ 5984268 w 12192000"/>
                <a:gd name="connsiteY865" fmla="*/ 723246 h 1608850"/>
                <a:gd name="connsiteX866" fmla="*/ 5984268 w 12192000"/>
                <a:gd name="connsiteY866" fmla="*/ 731353 h 1608850"/>
                <a:gd name="connsiteX867" fmla="*/ 5979084 w 12192000"/>
                <a:gd name="connsiteY867" fmla="*/ 734056 h 1608850"/>
                <a:gd name="connsiteX868" fmla="*/ 5999269 w 12192000"/>
                <a:gd name="connsiteY868" fmla="*/ 755105 h 1608850"/>
                <a:gd name="connsiteX869" fmla="*/ 5999269 w 12192000"/>
                <a:gd name="connsiteY869" fmla="*/ 627662 h 1608850"/>
                <a:gd name="connsiteX870" fmla="*/ 5999299 w 12192000"/>
                <a:gd name="connsiteY870" fmla="*/ 627662 h 1608850"/>
                <a:gd name="connsiteX871" fmla="*/ 6037948 w 12192000"/>
                <a:gd name="connsiteY871" fmla="*/ 627662 h 1608850"/>
                <a:gd name="connsiteX872" fmla="*/ 6037948 w 12192000"/>
                <a:gd name="connsiteY872" fmla="*/ 626311 h 1608850"/>
                <a:gd name="connsiteX873" fmla="*/ 6037948 w 12192000"/>
                <a:gd name="connsiteY873" fmla="*/ 616853 h 1608850"/>
                <a:gd name="connsiteX874" fmla="*/ 6038962 w 12192000"/>
                <a:gd name="connsiteY874" fmla="*/ 616853 h 1608850"/>
                <a:gd name="connsiteX875" fmla="*/ 6046055 w 12192000"/>
                <a:gd name="connsiteY875" fmla="*/ 616853 h 1608850"/>
                <a:gd name="connsiteX876" fmla="*/ 6046055 w 12192000"/>
                <a:gd name="connsiteY876" fmla="*/ 614962 h 1608850"/>
                <a:gd name="connsiteX877" fmla="*/ 6046055 w 12192000"/>
                <a:gd name="connsiteY877" fmla="*/ 601721 h 1608850"/>
                <a:gd name="connsiteX878" fmla="*/ 6046815 w 12192000"/>
                <a:gd name="connsiteY878" fmla="*/ 601721 h 1608850"/>
                <a:gd name="connsiteX879" fmla="*/ 6052135 w 12192000"/>
                <a:gd name="connsiteY879" fmla="*/ 601721 h 1608850"/>
                <a:gd name="connsiteX880" fmla="*/ 6052135 w 12192000"/>
                <a:gd name="connsiteY880" fmla="*/ 600640 h 1608850"/>
                <a:gd name="connsiteX881" fmla="*/ 6052135 w 12192000"/>
                <a:gd name="connsiteY881" fmla="*/ 593073 h 1608850"/>
                <a:gd name="connsiteX882" fmla="*/ 6054163 w 12192000"/>
                <a:gd name="connsiteY882" fmla="*/ 593073 h 1608850"/>
                <a:gd name="connsiteX883" fmla="*/ 6068350 w 12192000"/>
                <a:gd name="connsiteY883" fmla="*/ 593073 h 1608850"/>
                <a:gd name="connsiteX884" fmla="*/ 6068350 w 12192000"/>
                <a:gd name="connsiteY884" fmla="*/ 594154 h 1608850"/>
                <a:gd name="connsiteX885" fmla="*/ 6068350 w 12192000"/>
                <a:gd name="connsiteY885" fmla="*/ 601721 h 1608850"/>
                <a:gd name="connsiteX886" fmla="*/ 6090642 w 12192000"/>
                <a:gd name="connsiteY886" fmla="*/ 601721 h 1608850"/>
                <a:gd name="connsiteX887" fmla="*/ 6090642 w 12192000"/>
                <a:gd name="connsiteY887" fmla="*/ 599829 h 1608850"/>
                <a:gd name="connsiteX888" fmla="*/ 6090642 w 12192000"/>
                <a:gd name="connsiteY888" fmla="*/ 586588 h 1608850"/>
                <a:gd name="connsiteX889" fmla="*/ 6092416 w 12192000"/>
                <a:gd name="connsiteY889" fmla="*/ 586588 h 1608850"/>
                <a:gd name="connsiteX890" fmla="*/ 6104829 w 12192000"/>
                <a:gd name="connsiteY890" fmla="*/ 586588 h 1608850"/>
                <a:gd name="connsiteX891" fmla="*/ 6104829 w 12192000"/>
                <a:gd name="connsiteY891" fmla="*/ 610368 h 1608850"/>
                <a:gd name="connsiteX892" fmla="*/ 6105843 w 12192000"/>
                <a:gd name="connsiteY892" fmla="*/ 610368 h 1608850"/>
                <a:gd name="connsiteX893" fmla="*/ 6112936 w 12192000"/>
                <a:gd name="connsiteY893" fmla="*/ 610368 h 1608850"/>
                <a:gd name="connsiteX894" fmla="*/ 6112936 w 12192000"/>
                <a:gd name="connsiteY894" fmla="*/ 609287 h 1608850"/>
                <a:gd name="connsiteX895" fmla="*/ 6112936 w 12192000"/>
                <a:gd name="connsiteY895" fmla="*/ 601721 h 1608850"/>
                <a:gd name="connsiteX896" fmla="*/ 6114709 w 12192000"/>
                <a:gd name="connsiteY896" fmla="*/ 601721 h 1608850"/>
                <a:gd name="connsiteX897" fmla="*/ 6127123 w 12192000"/>
                <a:gd name="connsiteY897" fmla="*/ 601721 h 1608850"/>
                <a:gd name="connsiteX898" fmla="*/ 6127123 w 12192000"/>
                <a:gd name="connsiteY898" fmla="*/ 627662 h 1608850"/>
                <a:gd name="connsiteX899" fmla="*/ 6129150 w 12192000"/>
                <a:gd name="connsiteY899" fmla="*/ 627662 h 1608850"/>
                <a:gd name="connsiteX900" fmla="*/ 6143336 w 12192000"/>
                <a:gd name="connsiteY900" fmla="*/ 627662 h 1608850"/>
                <a:gd name="connsiteX901" fmla="*/ 6143336 w 12192000"/>
                <a:gd name="connsiteY901" fmla="*/ 629283 h 1608850"/>
                <a:gd name="connsiteX902" fmla="*/ 6143336 w 12192000"/>
                <a:gd name="connsiteY902" fmla="*/ 640633 h 1608850"/>
                <a:gd name="connsiteX903" fmla="*/ 6144096 w 12192000"/>
                <a:gd name="connsiteY903" fmla="*/ 640633 h 1608850"/>
                <a:gd name="connsiteX904" fmla="*/ 6149417 w 12192000"/>
                <a:gd name="connsiteY904" fmla="*/ 640633 h 1608850"/>
                <a:gd name="connsiteX905" fmla="*/ 6149417 w 12192000"/>
                <a:gd name="connsiteY905" fmla="*/ 639822 h 1608850"/>
                <a:gd name="connsiteX906" fmla="*/ 6149417 w 12192000"/>
                <a:gd name="connsiteY906" fmla="*/ 634147 h 1608850"/>
                <a:gd name="connsiteX907" fmla="*/ 6179817 w 12192000"/>
                <a:gd name="connsiteY907" fmla="*/ 634147 h 1608850"/>
                <a:gd name="connsiteX908" fmla="*/ 6179817 w 12192000"/>
                <a:gd name="connsiteY908" fmla="*/ 657927 h 1608850"/>
                <a:gd name="connsiteX909" fmla="*/ 6180830 w 12192000"/>
                <a:gd name="connsiteY909" fmla="*/ 657927 h 1608850"/>
                <a:gd name="connsiteX910" fmla="*/ 6187924 w 12192000"/>
                <a:gd name="connsiteY910" fmla="*/ 657927 h 1608850"/>
                <a:gd name="connsiteX911" fmla="*/ 6187924 w 12192000"/>
                <a:gd name="connsiteY911" fmla="*/ 659008 h 1608850"/>
                <a:gd name="connsiteX912" fmla="*/ 6187924 w 12192000"/>
                <a:gd name="connsiteY912" fmla="*/ 666574 h 1608850"/>
                <a:gd name="connsiteX913" fmla="*/ 6188684 w 12192000"/>
                <a:gd name="connsiteY913" fmla="*/ 666574 h 1608850"/>
                <a:gd name="connsiteX914" fmla="*/ 6194004 w 12192000"/>
                <a:gd name="connsiteY914" fmla="*/ 666574 h 1608850"/>
                <a:gd name="connsiteX915" fmla="*/ 6194004 w 12192000"/>
                <a:gd name="connsiteY915" fmla="*/ 664412 h 1608850"/>
                <a:gd name="connsiteX916" fmla="*/ 6194004 w 12192000"/>
                <a:gd name="connsiteY916" fmla="*/ 649280 h 1608850"/>
                <a:gd name="connsiteX917" fmla="*/ 6195017 w 12192000"/>
                <a:gd name="connsiteY917" fmla="*/ 649280 h 1608850"/>
                <a:gd name="connsiteX918" fmla="*/ 6202111 w 12192000"/>
                <a:gd name="connsiteY918" fmla="*/ 649280 h 1608850"/>
                <a:gd name="connsiteX919" fmla="*/ 6202111 w 12192000"/>
                <a:gd name="connsiteY919" fmla="*/ 650361 h 1608850"/>
                <a:gd name="connsiteX920" fmla="*/ 6202111 w 12192000"/>
                <a:gd name="connsiteY920" fmla="*/ 657927 h 1608850"/>
                <a:gd name="connsiteX921" fmla="*/ 6207431 w 12192000"/>
                <a:gd name="connsiteY921" fmla="*/ 655934 h 1608850"/>
                <a:gd name="connsiteX922" fmla="*/ 6208191 w 12192000"/>
                <a:gd name="connsiteY922" fmla="*/ 654954 h 1608850"/>
                <a:gd name="connsiteX923" fmla="*/ 6208191 w 12192000"/>
                <a:gd name="connsiteY923" fmla="*/ 649280 h 1608850"/>
                <a:gd name="connsiteX924" fmla="*/ 6246698 w 12192000"/>
                <a:gd name="connsiteY924" fmla="*/ 649280 h 1608850"/>
                <a:gd name="connsiteX925" fmla="*/ 6246698 w 12192000"/>
                <a:gd name="connsiteY925" fmla="*/ 673059 h 1608850"/>
                <a:gd name="connsiteX926" fmla="*/ 6248724 w 12192000"/>
                <a:gd name="connsiteY926" fmla="*/ 673059 h 1608850"/>
                <a:gd name="connsiteX927" fmla="*/ 6262911 w 12192000"/>
                <a:gd name="connsiteY927" fmla="*/ 673059 h 1608850"/>
                <a:gd name="connsiteX928" fmla="*/ 6262911 w 12192000"/>
                <a:gd name="connsiteY928" fmla="*/ 674140 h 1608850"/>
                <a:gd name="connsiteX929" fmla="*/ 6262911 w 12192000"/>
                <a:gd name="connsiteY929" fmla="*/ 681706 h 1608850"/>
                <a:gd name="connsiteX930" fmla="*/ 6264685 w 12192000"/>
                <a:gd name="connsiteY930" fmla="*/ 681706 h 1608850"/>
                <a:gd name="connsiteX931" fmla="*/ 6277098 w 12192000"/>
                <a:gd name="connsiteY931" fmla="*/ 681706 h 1608850"/>
                <a:gd name="connsiteX932" fmla="*/ 6277098 w 12192000"/>
                <a:gd name="connsiteY932" fmla="*/ 657927 h 1608850"/>
                <a:gd name="connsiteX933" fmla="*/ 6278111 w 12192000"/>
                <a:gd name="connsiteY933" fmla="*/ 657927 h 1608850"/>
                <a:gd name="connsiteX934" fmla="*/ 6285205 w 12192000"/>
                <a:gd name="connsiteY934" fmla="*/ 657927 h 1608850"/>
                <a:gd name="connsiteX935" fmla="*/ 6285205 w 12192000"/>
                <a:gd name="connsiteY935" fmla="*/ 625500 h 1608850"/>
                <a:gd name="connsiteX936" fmla="*/ 6286218 w 12192000"/>
                <a:gd name="connsiteY936" fmla="*/ 625500 h 1608850"/>
                <a:gd name="connsiteX937" fmla="*/ 6293312 w 12192000"/>
                <a:gd name="connsiteY937" fmla="*/ 625500 h 1608850"/>
                <a:gd name="connsiteX938" fmla="*/ 6293312 w 12192000"/>
                <a:gd name="connsiteY938" fmla="*/ 623609 h 1608850"/>
                <a:gd name="connsiteX939" fmla="*/ 6293312 w 12192000"/>
                <a:gd name="connsiteY939" fmla="*/ 610368 h 1608850"/>
                <a:gd name="connsiteX940" fmla="*/ 6292045 w 12192000"/>
                <a:gd name="connsiteY940" fmla="*/ 608746 h 1608850"/>
                <a:gd name="connsiteX941" fmla="*/ 6297365 w 12192000"/>
                <a:gd name="connsiteY941" fmla="*/ 597397 h 1608850"/>
                <a:gd name="connsiteX942" fmla="*/ 6305472 w 12192000"/>
                <a:gd name="connsiteY942" fmla="*/ 625500 h 1608850"/>
                <a:gd name="connsiteX943" fmla="*/ 6306232 w 12192000"/>
                <a:gd name="connsiteY943" fmla="*/ 625500 h 1608850"/>
                <a:gd name="connsiteX944" fmla="*/ 6311552 w 12192000"/>
                <a:gd name="connsiteY944" fmla="*/ 625500 h 1608850"/>
                <a:gd name="connsiteX945" fmla="*/ 6311552 w 12192000"/>
                <a:gd name="connsiteY945" fmla="*/ 519573 h 1608850"/>
                <a:gd name="connsiteX946" fmla="*/ 6313072 w 12192000"/>
                <a:gd name="connsiteY946" fmla="*/ 519573 h 1608850"/>
                <a:gd name="connsiteX947" fmla="*/ 6323712 w 12192000"/>
                <a:gd name="connsiteY947" fmla="*/ 519573 h 1608850"/>
                <a:gd name="connsiteX948" fmla="*/ 6323712 w 12192000"/>
                <a:gd name="connsiteY948" fmla="*/ 472014 h 1608850"/>
                <a:gd name="connsiteX949" fmla="*/ 6350059 w 12192000"/>
                <a:gd name="connsiteY949" fmla="*/ 472014 h 1608850"/>
                <a:gd name="connsiteX950" fmla="*/ 6350059 w 12192000"/>
                <a:gd name="connsiteY950" fmla="*/ 450396 h 1608850"/>
                <a:gd name="connsiteX951" fmla="*/ 6384513 w 12192000"/>
                <a:gd name="connsiteY951" fmla="*/ 450396 h 1608850"/>
                <a:gd name="connsiteX952" fmla="*/ 6384513 w 12192000"/>
                <a:gd name="connsiteY952" fmla="*/ 452828 h 1608850"/>
                <a:gd name="connsiteX953" fmla="*/ 6384513 w 12192000"/>
                <a:gd name="connsiteY953" fmla="*/ 469852 h 1608850"/>
                <a:gd name="connsiteX954" fmla="*/ 6386793 w 12192000"/>
                <a:gd name="connsiteY954" fmla="*/ 469852 h 1608850"/>
                <a:gd name="connsiteX955" fmla="*/ 6402753 w 12192000"/>
                <a:gd name="connsiteY955" fmla="*/ 469852 h 1608850"/>
                <a:gd name="connsiteX956" fmla="*/ 6402753 w 12192000"/>
                <a:gd name="connsiteY956" fmla="*/ 517411 h 1608850"/>
                <a:gd name="connsiteX957" fmla="*/ 6403766 w 12192000"/>
                <a:gd name="connsiteY957" fmla="*/ 517411 h 1608850"/>
                <a:gd name="connsiteX958" fmla="*/ 6410860 w 12192000"/>
                <a:gd name="connsiteY958" fmla="*/ 517411 h 1608850"/>
                <a:gd name="connsiteX959" fmla="*/ 6425047 w 12192000"/>
                <a:gd name="connsiteY959" fmla="*/ 521735 h 1608850"/>
                <a:gd name="connsiteX960" fmla="*/ 6425047 w 12192000"/>
                <a:gd name="connsiteY960" fmla="*/ 560647 h 1608850"/>
                <a:gd name="connsiteX961" fmla="*/ 6426060 w 12192000"/>
                <a:gd name="connsiteY961" fmla="*/ 560647 h 1608850"/>
                <a:gd name="connsiteX962" fmla="*/ 6433153 w 12192000"/>
                <a:gd name="connsiteY962" fmla="*/ 560647 h 1608850"/>
                <a:gd name="connsiteX963" fmla="*/ 6433153 w 12192000"/>
                <a:gd name="connsiteY963" fmla="*/ 562268 h 1608850"/>
                <a:gd name="connsiteX964" fmla="*/ 6433153 w 12192000"/>
                <a:gd name="connsiteY964" fmla="*/ 573617 h 1608850"/>
                <a:gd name="connsiteX965" fmla="*/ 6435180 w 12192000"/>
                <a:gd name="connsiteY965" fmla="*/ 573617 h 1608850"/>
                <a:gd name="connsiteX966" fmla="*/ 6449367 w 12192000"/>
                <a:gd name="connsiteY966" fmla="*/ 573617 h 1608850"/>
                <a:gd name="connsiteX967" fmla="*/ 6455447 w 12192000"/>
                <a:gd name="connsiteY967" fmla="*/ 580103 h 1608850"/>
                <a:gd name="connsiteX968" fmla="*/ 6455447 w 12192000"/>
                <a:gd name="connsiteY968" fmla="*/ 601721 h 1608850"/>
                <a:gd name="connsiteX969" fmla="*/ 6457727 w 12192000"/>
                <a:gd name="connsiteY969" fmla="*/ 601721 h 1608850"/>
                <a:gd name="connsiteX970" fmla="*/ 6473687 w 12192000"/>
                <a:gd name="connsiteY970" fmla="*/ 601721 h 1608850"/>
                <a:gd name="connsiteX971" fmla="*/ 6473687 w 12192000"/>
                <a:gd name="connsiteY971" fmla="*/ 602801 h 1608850"/>
                <a:gd name="connsiteX972" fmla="*/ 6473687 w 12192000"/>
                <a:gd name="connsiteY972" fmla="*/ 610368 h 1608850"/>
                <a:gd name="connsiteX973" fmla="*/ 6474954 w 12192000"/>
                <a:gd name="connsiteY973" fmla="*/ 610368 h 1608850"/>
                <a:gd name="connsiteX974" fmla="*/ 6483821 w 12192000"/>
                <a:gd name="connsiteY974" fmla="*/ 610368 h 1608850"/>
                <a:gd name="connsiteX975" fmla="*/ 6483821 w 12192000"/>
                <a:gd name="connsiteY975" fmla="*/ 612529 h 1608850"/>
                <a:gd name="connsiteX976" fmla="*/ 6483821 w 12192000"/>
                <a:gd name="connsiteY976" fmla="*/ 627662 h 1608850"/>
                <a:gd name="connsiteX977" fmla="*/ 6487874 w 12192000"/>
                <a:gd name="connsiteY977" fmla="*/ 625770 h 1608850"/>
                <a:gd name="connsiteX978" fmla="*/ 6487874 w 12192000"/>
                <a:gd name="connsiteY978" fmla="*/ 612529 h 1608850"/>
                <a:gd name="connsiteX979" fmla="*/ 6488887 w 12192000"/>
                <a:gd name="connsiteY979" fmla="*/ 612529 h 1608850"/>
                <a:gd name="connsiteX980" fmla="*/ 6495981 w 12192000"/>
                <a:gd name="connsiteY980" fmla="*/ 612529 h 1608850"/>
                <a:gd name="connsiteX981" fmla="*/ 6495981 w 12192000"/>
                <a:gd name="connsiteY981" fmla="*/ 614151 h 1608850"/>
                <a:gd name="connsiteX982" fmla="*/ 6495981 w 12192000"/>
                <a:gd name="connsiteY982" fmla="*/ 625500 h 1608850"/>
                <a:gd name="connsiteX983" fmla="*/ 6496741 w 12192000"/>
                <a:gd name="connsiteY983" fmla="*/ 625500 h 1608850"/>
                <a:gd name="connsiteX984" fmla="*/ 6502061 w 12192000"/>
                <a:gd name="connsiteY984" fmla="*/ 625500 h 1608850"/>
                <a:gd name="connsiteX985" fmla="*/ 6550701 w 12192000"/>
                <a:gd name="connsiteY985" fmla="*/ 621177 h 1608850"/>
                <a:gd name="connsiteX986" fmla="*/ 6550701 w 12192000"/>
                <a:gd name="connsiteY986" fmla="*/ 622528 h 1608850"/>
                <a:gd name="connsiteX987" fmla="*/ 6550701 w 12192000"/>
                <a:gd name="connsiteY987" fmla="*/ 631985 h 1608850"/>
                <a:gd name="connsiteX988" fmla="*/ 6551461 w 12192000"/>
                <a:gd name="connsiteY988" fmla="*/ 631985 h 1608850"/>
                <a:gd name="connsiteX989" fmla="*/ 6556782 w 12192000"/>
                <a:gd name="connsiteY989" fmla="*/ 631985 h 1608850"/>
                <a:gd name="connsiteX990" fmla="*/ 6556782 w 12192000"/>
                <a:gd name="connsiteY990" fmla="*/ 634147 h 1608850"/>
                <a:gd name="connsiteX991" fmla="*/ 6556782 w 12192000"/>
                <a:gd name="connsiteY991" fmla="*/ 649280 h 1608850"/>
                <a:gd name="connsiteX992" fmla="*/ 6558808 w 12192000"/>
                <a:gd name="connsiteY992" fmla="*/ 647929 h 1608850"/>
                <a:gd name="connsiteX993" fmla="*/ 6572995 w 12192000"/>
                <a:gd name="connsiteY993" fmla="*/ 638471 h 1608850"/>
                <a:gd name="connsiteX994" fmla="*/ 6579075 w 12192000"/>
                <a:gd name="connsiteY994" fmla="*/ 597397 h 1608850"/>
                <a:gd name="connsiteX995" fmla="*/ 6579835 w 12192000"/>
                <a:gd name="connsiteY995" fmla="*/ 597127 h 1608850"/>
                <a:gd name="connsiteX996" fmla="*/ 6585155 w 12192000"/>
                <a:gd name="connsiteY996" fmla="*/ 595235 h 1608850"/>
                <a:gd name="connsiteX997" fmla="*/ 6587182 w 12192000"/>
                <a:gd name="connsiteY997" fmla="*/ 526058 h 1608850"/>
                <a:gd name="connsiteX998" fmla="*/ 6589209 w 12192000"/>
                <a:gd name="connsiteY998" fmla="*/ 595235 h 1608850"/>
                <a:gd name="connsiteX999" fmla="*/ 6589969 w 12192000"/>
                <a:gd name="connsiteY999" fmla="*/ 595505 h 1608850"/>
                <a:gd name="connsiteX1000" fmla="*/ 6595289 w 12192000"/>
                <a:gd name="connsiteY1000" fmla="*/ 597397 h 1608850"/>
                <a:gd name="connsiteX1001" fmla="*/ 6595289 w 12192000"/>
                <a:gd name="connsiteY1001" fmla="*/ 510926 h 1608850"/>
                <a:gd name="connsiteX1002" fmla="*/ 6599342 w 12192000"/>
                <a:gd name="connsiteY1002" fmla="*/ 478499 h 1608850"/>
                <a:gd name="connsiteX1003" fmla="*/ 6637849 w 12192000"/>
                <a:gd name="connsiteY1003" fmla="*/ 478499 h 1608850"/>
                <a:gd name="connsiteX1004" fmla="*/ 6637849 w 12192000"/>
                <a:gd name="connsiteY1004" fmla="*/ 510926 h 1608850"/>
                <a:gd name="connsiteX1005" fmla="*/ 6638609 w 12192000"/>
                <a:gd name="connsiteY1005" fmla="*/ 510926 h 1608850"/>
                <a:gd name="connsiteX1006" fmla="*/ 6643929 w 12192000"/>
                <a:gd name="connsiteY1006" fmla="*/ 510926 h 1608850"/>
                <a:gd name="connsiteX1007" fmla="*/ 6643929 w 12192000"/>
                <a:gd name="connsiteY1007" fmla="*/ 428778 h 1608850"/>
                <a:gd name="connsiteX1008" fmla="*/ 6645703 w 12192000"/>
                <a:gd name="connsiteY1008" fmla="*/ 428778 h 1608850"/>
                <a:gd name="connsiteX1009" fmla="*/ 6658116 w 12192000"/>
                <a:gd name="connsiteY1009" fmla="*/ 428778 h 1608850"/>
                <a:gd name="connsiteX1010" fmla="*/ 6658116 w 12192000"/>
                <a:gd name="connsiteY1010" fmla="*/ 426887 h 1608850"/>
                <a:gd name="connsiteX1011" fmla="*/ 6658116 w 12192000"/>
                <a:gd name="connsiteY1011" fmla="*/ 413646 h 1608850"/>
                <a:gd name="connsiteX1012" fmla="*/ 6680410 w 12192000"/>
                <a:gd name="connsiteY1012" fmla="*/ 413646 h 1608850"/>
                <a:gd name="connsiteX1013" fmla="*/ 6680410 w 12192000"/>
                <a:gd name="connsiteY1013" fmla="*/ 412565 h 1608850"/>
                <a:gd name="connsiteX1014" fmla="*/ 6680410 w 12192000"/>
                <a:gd name="connsiteY1014" fmla="*/ 404999 h 1608850"/>
                <a:gd name="connsiteX1015" fmla="*/ 6682183 w 12192000"/>
                <a:gd name="connsiteY1015" fmla="*/ 404999 h 1608850"/>
                <a:gd name="connsiteX1016" fmla="*/ 6694597 w 12192000"/>
                <a:gd name="connsiteY1016" fmla="*/ 404999 h 1608850"/>
                <a:gd name="connsiteX1017" fmla="*/ 6694597 w 12192000"/>
                <a:gd name="connsiteY1017" fmla="*/ 406080 h 1608850"/>
                <a:gd name="connsiteX1018" fmla="*/ 6694597 w 12192000"/>
                <a:gd name="connsiteY1018" fmla="*/ 413646 h 1608850"/>
                <a:gd name="connsiteX1019" fmla="*/ 6695357 w 12192000"/>
                <a:gd name="connsiteY1019" fmla="*/ 413646 h 1608850"/>
                <a:gd name="connsiteX1020" fmla="*/ 6700677 w 12192000"/>
                <a:gd name="connsiteY1020" fmla="*/ 413646 h 1608850"/>
                <a:gd name="connsiteX1021" fmla="*/ 6710810 w 12192000"/>
                <a:gd name="connsiteY1021" fmla="*/ 409322 h 1608850"/>
                <a:gd name="connsiteX1022" fmla="*/ 6714863 w 12192000"/>
                <a:gd name="connsiteY1022" fmla="*/ 412565 h 1608850"/>
                <a:gd name="connsiteX1023" fmla="*/ 6714863 w 12192000"/>
                <a:gd name="connsiteY1023" fmla="*/ 404999 h 1608850"/>
                <a:gd name="connsiteX1024" fmla="*/ 6717143 w 12192000"/>
                <a:gd name="connsiteY1024" fmla="*/ 404999 h 1608850"/>
                <a:gd name="connsiteX1025" fmla="*/ 6733104 w 12192000"/>
                <a:gd name="connsiteY1025" fmla="*/ 404999 h 1608850"/>
                <a:gd name="connsiteX1026" fmla="*/ 6733104 w 12192000"/>
                <a:gd name="connsiteY1026" fmla="*/ 406080 h 1608850"/>
                <a:gd name="connsiteX1027" fmla="*/ 6733104 w 12192000"/>
                <a:gd name="connsiteY1027" fmla="*/ 413646 h 1608850"/>
                <a:gd name="connsiteX1028" fmla="*/ 6763504 w 12192000"/>
                <a:gd name="connsiteY1028" fmla="*/ 413646 h 1608850"/>
                <a:gd name="connsiteX1029" fmla="*/ 6763504 w 12192000"/>
                <a:gd name="connsiteY1029" fmla="*/ 415267 h 1608850"/>
                <a:gd name="connsiteX1030" fmla="*/ 6763504 w 12192000"/>
                <a:gd name="connsiteY1030" fmla="*/ 426617 h 1608850"/>
                <a:gd name="connsiteX1031" fmla="*/ 6789851 w 12192000"/>
                <a:gd name="connsiteY1031" fmla="*/ 426617 h 1608850"/>
                <a:gd name="connsiteX1032" fmla="*/ 6789851 w 12192000"/>
                <a:gd name="connsiteY1032" fmla="*/ 456881 h 1608850"/>
                <a:gd name="connsiteX1033" fmla="*/ 6790611 w 12192000"/>
                <a:gd name="connsiteY1033" fmla="*/ 456881 h 1608850"/>
                <a:gd name="connsiteX1034" fmla="*/ 6795931 w 12192000"/>
                <a:gd name="connsiteY1034" fmla="*/ 456881 h 1608850"/>
                <a:gd name="connsiteX1035" fmla="*/ 6795931 w 12192000"/>
                <a:gd name="connsiteY1035" fmla="*/ 457962 h 1608850"/>
                <a:gd name="connsiteX1036" fmla="*/ 6795931 w 12192000"/>
                <a:gd name="connsiteY1036" fmla="*/ 465529 h 1608850"/>
                <a:gd name="connsiteX1037" fmla="*/ 6799985 w 12192000"/>
                <a:gd name="connsiteY1037" fmla="*/ 495793 h 1608850"/>
                <a:gd name="connsiteX1038" fmla="*/ 6800745 w 12192000"/>
                <a:gd name="connsiteY1038" fmla="*/ 495793 h 1608850"/>
                <a:gd name="connsiteX1039" fmla="*/ 6806065 w 12192000"/>
                <a:gd name="connsiteY1039" fmla="*/ 495793 h 1608850"/>
                <a:gd name="connsiteX1040" fmla="*/ 6806065 w 12192000"/>
                <a:gd name="connsiteY1040" fmla="*/ 496604 h 1608850"/>
                <a:gd name="connsiteX1041" fmla="*/ 6806065 w 12192000"/>
                <a:gd name="connsiteY1041" fmla="*/ 502279 h 1608850"/>
                <a:gd name="connsiteX1042" fmla="*/ 6807078 w 12192000"/>
                <a:gd name="connsiteY1042" fmla="*/ 502279 h 1608850"/>
                <a:gd name="connsiteX1043" fmla="*/ 6814171 w 12192000"/>
                <a:gd name="connsiteY1043" fmla="*/ 502279 h 1608850"/>
                <a:gd name="connsiteX1044" fmla="*/ 6814171 w 12192000"/>
                <a:gd name="connsiteY1044" fmla="*/ 532544 h 1608850"/>
                <a:gd name="connsiteX1045" fmla="*/ 6816198 w 12192000"/>
                <a:gd name="connsiteY1045" fmla="*/ 532544 h 1608850"/>
                <a:gd name="connsiteX1046" fmla="*/ 6830385 w 12192000"/>
                <a:gd name="connsiteY1046" fmla="*/ 532544 h 1608850"/>
                <a:gd name="connsiteX1047" fmla="*/ 6830385 w 12192000"/>
                <a:gd name="connsiteY1047" fmla="*/ 556323 h 1608850"/>
                <a:gd name="connsiteX1048" fmla="*/ 6832412 w 12192000"/>
                <a:gd name="connsiteY1048" fmla="*/ 557944 h 1608850"/>
                <a:gd name="connsiteX1049" fmla="*/ 6832412 w 12192000"/>
                <a:gd name="connsiteY1049" fmla="*/ 569294 h 1608850"/>
                <a:gd name="connsiteX1050" fmla="*/ 6833172 w 12192000"/>
                <a:gd name="connsiteY1050" fmla="*/ 569294 h 1608850"/>
                <a:gd name="connsiteX1051" fmla="*/ 6838492 w 12192000"/>
                <a:gd name="connsiteY1051" fmla="*/ 569294 h 1608850"/>
                <a:gd name="connsiteX1052" fmla="*/ 6838492 w 12192000"/>
                <a:gd name="connsiteY1052" fmla="*/ 593073 h 1608850"/>
                <a:gd name="connsiteX1053" fmla="*/ 6839758 w 12192000"/>
                <a:gd name="connsiteY1053" fmla="*/ 593073 h 1608850"/>
                <a:gd name="connsiteX1054" fmla="*/ 6848625 w 12192000"/>
                <a:gd name="connsiteY1054" fmla="*/ 593073 h 1608850"/>
                <a:gd name="connsiteX1055" fmla="*/ 6850652 w 12192000"/>
                <a:gd name="connsiteY1055" fmla="*/ 597127 h 1608850"/>
                <a:gd name="connsiteX1056" fmla="*/ 6850652 w 12192000"/>
                <a:gd name="connsiteY1056" fmla="*/ 610368 h 1608850"/>
                <a:gd name="connsiteX1057" fmla="*/ 6852172 w 12192000"/>
                <a:gd name="connsiteY1057" fmla="*/ 608476 h 1608850"/>
                <a:gd name="connsiteX1058" fmla="*/ 6862812 w 12192000"/>
                <a:gd name="connsiteY1058" fmla="*/ 595235 h 1608850"/>
                <a:gd name="connsiteX1059" fmla="*/ 6891186 w 12192000"/>
                <a:gd name="connsiteY1059" fmla="*/ 595235 h 1608850"/>
                <a:gd name="connsiteX1060" fmla="*/ 6891186 w 12192000"/>
                <a:gd name="connsiteY1060" fmla="*/ 681706 h 1608850"/>
                <a:gd name="connsiteX1061" fmla="*/ 6891946 w 12192000"/>
                <a:gd name="connsiteY1061" fmla="*/ 681706 h 1608850"/>
                <a:gd name="connsiteX1062" fmla="*/ 6897266 w 12192000"/>
                <a:gd name="connsiteY1062" fmla="*/ 681706 h 1608850"/>
                <a:gd name="connsiteX1063" fmla="*/ 6898026 w 12192000"/>
                <a:gd name="connsiteY1063" fmla="*/ 680355 h 1608850"/>
                <a:gd name="connsiteX1064" fmla="*/ 6903346 w 12192000"/>
                <a:gd name="connsiteY1064" fmla="*/ 670897 h 1608850"/>
                <a:gd name="connsiteX1065" fmla="*/ 6903346 w 12192000"/>
                <a:gd name="connsiteY1065" fmla="*/ 672789 h 1608850"/>
                <a:gd name="connsiteX1066" fmla="*/ 6903346 w 12192000"/>
                <a:gd name="connsiteY1066" fmla="*/ 686030 h 1608850"/>
                <a:gd name="connsiteX1067" fmla="*/ 6907399 w 12192000"/>
                <a:gd name="connsiteY1067" fmla="*/ 640633 h 1608850"/>
                <a:gd name="connsiteX1068" fmla="*/ 6908159 w 12192000"/>
                <a:gd name="connsiteY1068" fmla="*/ 640633 h 1608850"/>
                <a:gd name="connsiteX1069" fmla="*/ 6913479 w 12192000"/>
                <a:gd name="connsiteY1069" fmla="*/ 640633 h 1608850"/>
                <a:gd name="connsiteX1070" fmla="*/ 6913479 w 12192000"/>
                <a:gd name="connsiteY1070" fmla="*/ 575779 h 1608850"/>
                <a:gd name="connsiteX1071" fmla="*/ 6914493 w 12192000"/>
                <a:gd name="connsiteY1071" fmla="*/ 575779 h 1608850"/>
                <a:gd name="connsiteX1072" fmla="*/ 6921586 w 12192000"/>
                <a:gd name="connsiteY1072" fmla="*/ 575779 h 1608850"/>
                <a:gd name="connsiteX1073" fmla="*/ 6933746 w 12192000"/>
                <a:gd name="connsiteY1073" fmla="*/ 532544 h 1608850"/>
                <a:gd name="connsiteX1074" fmla="*/ 6935013 w 12192000"/>
                <a:gd name="connsiteY1074" fmla="*/ 532544 h 1608850"/>
                <a:gd name="connsiteX1075" fmla="*/ 6943880 w 12192000"/>
                <a:gd name="connsiteY1075" fmla="*/ 532544 h 1608850"/>
                <a:gd name="connsiteX1076" fmla="*/ 6954013 w 12192000"/>
                <a:gd name="connsiteY1076" fmla="*/ 575779 h 1608850"/>
                <a:gd name="connsiteX1077" fmla="*/ 6955026 w 12192000"/>
                <a:gd name="connsiteY1077" fmla="*/ 575779 h 1608850"/>
                <a:gd name="connsiteX1078" fmla="*/ 6962120 w 12192000"/>
                <a:gd name="connsiteY1078" fmla="*/ 575779 h 1608850"/>
                <a:gd name="connsiteX1079" fmla="*/ 6962120 w 12192000"/>
                <a:gd name="connsiteY1079" fmla="*/ 614691 h 1608850"/>
                <a:gd name="connsiteX1080" fmla="*/ 6963893 w 12192000"/>
                <a:gd name="connsiteY1080" fmla="*/ 614691 h 1608850"/>
                <a:gd name="connsiteX1081" fmla="*/ 6976307 w 12192000"/>
                <a:gd name="connsiteY1081" fmla="*/ 614691 h 1608850"/>
                <a:gd name="connsiteX1082" fmla="*/ 6976307 w 12192000"/>
                <a:gd name="connsiteY1082" fmla="*/ 616853 h 1608850"/>
                <a:gd name="connsiteX1083" fmla="*/ 6976307 w 12192000"/>
                <a:gd name="connsiteY1083" fmla="*/ 631985 h 1608850"/>
                <a:gd name="connsiteX1084" fmla="*/ 6980360 w 12192000"/>
                <a:gd name="connsiteY1084" fmla="*/ 629824 h 1608850"/>
                <a:gd name="connsiteX1085" fmla="*/ 6980360 w 12192000"/>
                <a:gd name="connsiteY1085" fmla="*/ 614691 h 1608850"/>
                <a:gd name="connsiteX1086" fmla="*/ 6981880 w 12192000"/>
                <a:gd name="connsiteY1086" fmla="*/ 614691 h 1608850"/>
                <a:gd name="connsiteX1087" fmla="*/ 6992520 w 12192000"/>
                <a:gd name="connsiteY1087" fmla="*/ 614691 h 1608850"/>
                <a:gd name="connsiteX1088" fmla="*/ 6992520 w 12192000"/>
                <a:gd name="connsiteY1088" fmla="*/ 616312 h 1608850"/>
                <a:gd name="connsiteX1089" fmla="*/ 6992520 w 12192000"/>
                <a:gd name="connsiteY1089" fmla="*/ 627662 h 1608850"/>
                <a:gd name="connsiteX1090" fmla="*/ 7022921 w 12192000"/>
                <a:gd name="connsiteY1090" fmla="*/ 627662 h 1608850"/>
                <a:gd name="connsiteX1091" fmla="*/ 7022921 w 12192000"/>
                <a:gd name="connsiteY1091" fmla="*/ 590912 h 1608850"/>
                <a:gd name="connsiteX1092" fmla="*/ 7024187 w 12192000"/>
                <a:gd name="connsiteY1092" fmla="*/ 590912 h 1608850"/>
                <a:gd name="connsiteX1093" fmla="*/ 7033054 w 12192000"/>
                <a:gd name="connsiteY1093" fmla="*/ 590912 h 1608850"/>
                <a:gd name="connsiteX1094" fmla="*/ 7033054 w 12192000"/>
                <a:gd name="connsiteY1094" fmla="*/ 612529 h 1608850"/>
                <a:gd name="connsiteX1095" fmla="*/ 7035081 w 12192000"/>
                <a:gd name="connsiteY1095" fmla="*/ 580103 h 1608850"/>
                <a:gd name="connsiteX1096" fmla="*/ 7057374 w 12192000"/>
                <a:gd name="connsiteY1096" fmla="*/ 580103 h 1608850"/>
                <a:gd name="connsiteX1097" fmla="*/ 7057374 w 12192000"/>
                <a:gd name="connsiteY1097" fmla="*/ 578481 h 1608850"/>
                <a:gd name="connsiteX1098" fmla="*/ 7057374 w 12192000"/>
                <a:gd name="connsiteY1098" fmla="*/ 567132 h 1608850"/>
                <a:gd name="connsiteX1099" fmla="*/ 7058134 w 12192000"/>
                <a:gd name="connsiteY1099" fmla="*/ 567132 h 1608850"/>
                <a:gd name="connsiteX1100" fmla="*/ 7063454 w 12192000"/>
                <a:gd name="connsiteY1100" fmla="*/ 567132 h 1608850"/>
                <a:gd name="connsiteX1101" fmla="*/ 7063454 w 12192000"/>
                <a:gd name="connsiteY1101" fmla="*/ 565241 h 1608850"/>
                <a:gd name="connsiteX1102" fmla="*/ 7063454 w 12192000"/>
                <a:gd name="connsiteY1102" fmla="*/ 552000 h 1608850"/>
                <a:gd name="connsiteX1103" fmla="*/ 7067508 w 12192000"/>
                <a:gd name="connsiteY1103" fmla="*/ 558485 h 1608850"/>
                <a:gd name="connsiteX1104" fmla="*/ 7069788 w 12192000"/>
                <a:gd name="connsiteY1104" fmla="*/ 558485 h 1608850"/>
                <a:gd name="connsiteX1105" fmla="*/ 7085748 w 12192000"/>
                <a:gd name="connsiteY1105" fmla="*/ 558485 h 1608850"/>
                <a:gd name="connsiteX1106" fmla="*/ 7085748 w 12192000"/>
                <a:gd name="connsiteY1106" fmla="*/ 557674 h 1608850"/>
                <a:gd name="connsiteX1107" fmla="*/ 7085748 w 12192000"/>
                <a:gd name="connsiteY1107" fmla="*/ 552000 h 1608850"/>
                <a:gd name="connsiteX1108" fmla="*/ 7086508 w 12192000"/>
                <a:gd name="connsiteY1108" fmla="*/ 552000 h 1608850"/>
                <a:gd name="connsiteX1109" fmla="*/ 7091828 w 12192000"/>
                <a:gd name="connsiteY1109" fmla="*/ 552000 h 1608850"/>
                <a:gd name="connsiteX1110" fmla="*/ 7091828 w 12192000"/>
                <a:gd name="connsiteY1110" fmla="*/ 553351 h 1608850"/>
                <a:gd name="connsiteX1111" fmla="*/ 7091828 w 12192000"/>
                <a:gd name="connsiteY1111" fmla="*/ 562809 h 1608850"/>
                <a:gd name="connsiteX1112" fmla="*/ 7130335 w 12192000"/>
                <a:gd name="connsiteY1112" fmla="*/ 562809 h 1608850"/>
                <a:gd name="connsiteX1113" fmla="*/ 7130335 w 12192000"/>
                <a:gd name="connsiteY1113" fmla="*/ 701162 h 1608850"/>
                <a:gd name="connsiteX1114" fmla="*/ 7131855 w 12192000"/>
                <a:gd name="connsiteY1114" fmla="*/ 701162 h 1608850"/>
                <a:gd name="connsiteX1115" fmla="*/ 7142495 w 12192000"/>
                <a:gd name="connsiteY1115" fmla="*/ 701162 h 1608850"/>
                <a:gd name="connsiteX1116" fmla="*/ 7142495 w 12192000"/>
                <a:gd name="connsiteY1116" fmla="*/ 688192 h 1608850"/>
                <a:gd name="connsiteX1117" fmla="*/ 7146549 w 12192000"/>
                <a:gd name="connsiteY1117" fmla="*/ 688192 h 1608850"/>
                <a:gd name="connsiteX1118" fmla="*/ 7146549 w 12192000"/>
                <a:gd name="connsiteY1118" fmla="*/ 701162 h 1608850"/>
                <a:gd name="connsiteX1119" fmla="*/ 7176949 w 12192000"/>
                <a:gd name="connsiteY1119" fmla="*/ 701162 h 1608850"/>
                <a:gd name="connsiteX1120" fmla="*/ 7176949 w 12192000"/>
                <a:gd name="connsiteY1120" fmla="*/ 670897 h 1608850"/>
                <a:gd name="connsiteX1121" fmla="*/ 7189109 w 12192000"/>
                <a:gd name="connsiteY1121" fmla="*/ 670897 h 1608850"/>
                <a:gd name="connsiteX1122" fmla="*/ 7201269 w 12192000"/>
                <a:gd name="connsiteY1122" fmla="*/ 668736 h 1608850"/>
                <a:gd name="connsiteX1123" fmla="*/ 7205323 w 12192000"/>
                <a:gd name="connsiteY1123" fmla="*/ 670897 h 1608850"/>
                <a:gd name="connsiteX1124" fmla="*/ 7215456 w 12192000"/>
                <a:gd name="connsiteY1124" fmla="*/ 670897 h 1608850"/>
                <a:gd name="connsiteX1125" fmla="*/ 7215456 w 12192000"/>
                <a:gd name="connsiteY1125" fmla="*/ 701162 h 1608850"/>
                <a:gd name="connsiteX1126" fmla="*/ 7223563 w 12192000"/>
                <a:gd name="connsiteY1126" fmla="*/ 701162 h 1608850"/>
                <a:gd name="connsiteX1127" fmla="*/ 7223563 w 12192000"/>
                <a:gd name="connsiteY1127" fmla="*/ 718457 h 1608850"/>
                <a:gd name="connsiteX1128" fmla="*/ 7232899 w 12192000"/>
                <a:gd name="connsiteY1128" fmla="*/ 719362 h 1608850"/>
                <a:gd name="connsiteX1129" fmla="*/ 7245857 w 12192000"/>
                <a:gd name="connsiteY1129" fmla="*/ 719362 h 1608850"/>
                <a:gd name="connsiteX1130" fmla="*/ 7245857 w 12192000"/>
                <a:gd name="connsiteY1130" fmla="*/ 703324 h 1608850"/>
                <a:gd name="connsiteX1131" fmla="*/ 7313813 w 12192000"/>
                <a:gd name="connsiteY1131" fmla="*/ 703324 h 1608850"/>
                <a:gd name="connsiteX1132" fmla="*/ 7313813 w 12192000"/>
                <a:gd name="connsiteY1132" fmla="*/ 618071 h 1608850"/>
                <a:gd name="connsiteX1133" fmla="*/ 7385821 w 12192000"/>
                <a:gd name="connsiteY1133" fmla="*/ 618071 h 1608850"/>
                <a:gd name="connsiteX1134" fmla="*/ 7385821 w 12192000"/>
                <a:gd name="connsiteY1134" fmla="*/ 696839 h 1608850"/>
                <a:gd name="connsiteX1135" fmla="*/ 7387725 w 12192000"/>
                <a:gd name="connsiteY1135" fmla="*/ 696839 h 1608850"/>
                <a:gd name="connsiteX1136" fmla="*/ 7388967 w 12192000"/>
                <a:gd name="connsiteY1136" fmla="*/ 719362 h 1608850"/>
                <a:gd name="connsiteX1137" fmla="*/ 7398643 w 12192000"/>
                <a:gd name="connsiteY1137" fmla="*/ 719362 h 1608850"/>
                <a:gd name="connsiteX1138" fmla="*/ 7399885 w 12192000"/>
                <a:gd name="connsiteY1138" fmla="*/ 696839 h 1608850"/>
                <a:gd name="connsiteX1139" fmla="*/ 7405965 w 12192000"/>
                <a:gd name="connsiteY1139" fmla="*/ 696839 h 1608850"/>
                <a:gd name="connsiteX1140" fmla="*/ 7407207 w 12192000"/>
                <a:gd name="connsiteY1140" fmla="*/ 719362 h 1608850"/>
                <a:gd name="connsiteX1141" fmla="*/ 7457829 w 12192000"/>
                <a:gd name="connsiteY1141" fmla="*/ 719362 h 1608850"/>
                <a:gd name="connsiteX1142" fmla="*/ 7457829 w 12192000"/>
                <a:gd name="connsiteY1142" fmla="*/ 556334 h 1608850"/>
                <a:gd name="connsiteX1143" fmla="*/ 7655156 w 12192000"/>
                <a:gd name="connsiteY1143" fmla="*/ 556334 h 1608850"/>
                <a:gd name="connsiteX1144" fmla="*/ 7655156 w 12192000"/>
                <a:gd name="connsiteY1144" fmla="*/ 719362 h 1608850"/>
                <a:gd name="connsiteX1145" fmla="*/ 7673853 w 12192000"/>
                <a:gd name="connsiteY1145" fmla="*/ 719362 h 1608850"/>
                <a:gd name="connsiteX1146" fmla="*/ 7673853 w 12192000"/>
                <a:gd name="connsiteY1146" fmla="*/ 636669 h 1608850"/>
                <a:gd name="connsiteX1147" fmla="*/ 7768973 w 12192000"/>
                <a:gd name="connsiteY1147" fmla="*/ 636669 h 1608850"/>
                <a:gd name="connsiteX1148" fmla="*/ 7773382 w 12192000"/>
                <a:gd name="connsiteY1148" fmla="*/ 519115 h 1608850"/>
                <a:gd name="connsiteX1149" fmla="*/ 7819759 w 12192000"/>
                <a:gd name="connsiteY1149" fmla="*/ 519115 h 1608850"/>
                <a:gd name="connsiteX1150" fmla="*/ 7821437 w 12192000"/>
                <a:gd name="connsiteY1150" fmla="*/ 571456 h 1608850"/>
                <a:gd name="connsiteX1151" fmla="*/ 7886292 w 12192000"/>
                <a:gd name="connsiteY1151" fmla="*/ 571456 h 1608850"/>
                <a:gd name="connsiteX1152" fmla="*/ 7886292 w 12192000"/>
                <a:gd name="connsiteY1152" fmla="*/ 647118 h 1608850"/>
                <a:gd name="connsiteX1153" fmla="*/ 7894398 w 12192000"/>
                <a:gd name="connsiteY1153" fmla="*/ 647118 h 1608850"/>
                <a:gd name="connsiteX1154" fmla="*/ 7896425 w 12192000"/>
                <a:gd name="connsiteY1154" fmla="*/ 640633 h 1608850"/>
                <a:gd name="connsiteX1155" fmla="*/ 7902505 w 12192000"/>
                <a:gd name="connsiteY1155" fmla="*/ 640633 h 1608850"/>
                <a:gd name="connsiteX1156" fmla="*/ 7904533 w 12192000"/>
                <a:gd name="connsiteY1156" fmla="*/ 649280 h 1608850"/>
                <a:gd name="connsiteX1157" fmla="*/ 7916693 w 12192000"/>
                <a:gd name="connsiteY1157" fmla="*/ 649280 h 1608850"/>
                <a:gd name="connsiteX1158" fmla="*/ 7916693 w 12192000"/>
                <a:gd name="connsiteY1158" fmla="*/ 642794 h 1608850"/>
                <a:gd name="connsiteX1159" fmla="*/ 7938985 w 12192000"/>
                <a:gd name="connsiteY1159" fmla="*/ 642794 h 1608850"/>
                <a:gd name="connsiteX1160" fmla="*/ 7938985 w 12192000"/>
                <a:gd name="connsiteY1160" fmla="*/ 649280 h 1608850"/>
                <a:gd name="connsiteX1161" fmla="*/ 7959253 w 12192000"/>
                <a:gd name="connsiteY1161" fmla="*/ 649280 h 1608850"/>
                <a:gd name="connsiteX1162" fmla="*/ 7959253 w 12192000"/>
                <a:gd name="connsiteY1162" fmla="*/ 694677 h 1608850"/>
                <a:gd name="connsiteX1163" fmla="*/ 7973440 w 12192000"/>
                <a:gd name="connsiteY1163" fmla="*/ 694677 h 1608850"/>
                <a:gd name="connsiteX1164" fmla="*/ 7973440 w 12192000"/>
                <a:gd name="connsiteY1164" fmla="*/ 681706 h 1608850"/>
                <a:gd name="connsiteX1165" fmla="*/ 7989653 w 12192000"/>
                <a:gd name="connsiteY1165" fmla="*/ 681706 h 1608850"/>
                <a:gd name="connsiteX1166" fmla="*/ 7989653 w 12192000"/>
                <a:gd name="connsiteY1166" fmla="*/ 502279 h 1608850"/>
                <a:gd name="connsiteX1167" fmla="*/ 7995733 w 12192000"/>
                <a:gd name="connsiteY1167" fmla="*/ 495793 h 1608850"/>
                <a:gd name="connsiteX1168" fmla="*/ 8068694 w 12192000"/>
                <a:gd name="connsiteY1168" fmla="*/ 495793 h 1608850"/>
                <a:gd name="connsiteX1169" fmla="*/ 8068694 w 12192000"/>
                <a:gd name="connsiteY1169" fmla="*/ 504441 h 1608850"/>
                <a:gd name="connsiteX1170" fmla="*/ 8078828 w 12192000"/>
                <a:gd name="connsiteY1170" fmla="*/ 504441 h 1608850"/>
                <a:gd name="connsiteX1171" fmla="*/ 8078828 w 12192000"/>
                <a:gd name="connsiteY1171" fmla="*/ 619015 h 1608850"/>
                <a:gd name="connsiteX1172" fmla="*/ 8101121 w 12192000"/>
                <a:gd name="connsiteY1172" fmla="*/ 619015 h 1608850"/>
                <a:gd name="connsiteX1173" fmla="*/ 8101121 w 12192000"/>
                <a:gd name="connsiteY1173" fmla="*/ 552000 h 1608850"/>
                <a:gd name="connsiteX1174" fmla="*/ 8127469 w 12192000"/>
                <a:gd name="connsiteY1174" fmla="*/ 552000 h 1608850"/>
                <a:gd name="connsiteX1175" fmla="*/ 8131521 w 12192000"/>
                <a:gd name="connsiteY1175" fmla="*/ 547676 h 1608850"/>
                <a:gd name="connsiteX1176" fmla="*/ 8139629 w 12192000"/>
                <a:gd name="connsiteY1176" fmla="*/ 547676 h 1608850"/>
                <a:gd name="connsiteX1177" fmla="*/ 8143681 w 12192000"/>
                <a:gd name="connsiteY1177" fmla="*/ 552000 h 1608850"/>
                <a:gd name="connsiteX1178" fmla="*/ 8165976 w 12192000"/>
                <a:gd name="connsiteY1178" fmla="*/ 552000 h 1608850"/>
                <a:gd name="connsiteX1179" fmla="*/ 8165976 w 12192000"/>
                <a:gd name="connsiteY1179" fmla="*/ 435264 h 1608850"/>
                <a:gd name="connsiteX1180" fmla="*/ 8222722 w 12192000"/>
                <a:gd name="connsiteY1180" fmla="*/ 424455 h 1608850"/>
                <a:gd name="connsiteX1181" fmla="*/ 8222722 w 12192000"/>
                <a:gd name="connsiteY1181" fmla="*/ 425536 h 1608850"/>
                <a:gd name="connsiteX1182" fmla="*/ 8222722 w 12192000"/>
                <a:gd name="connsiteY1182" fmla="*/ 433102 h 1608850"/>
                <a:gd name="connsiteX1183" fmla="*/ 8249069 w 12192000"/>
                <a:gd name="connsiteY1183" fmla="*/ 433102 h 1608850"/>
                <a:gd name="connsiteX1184" fmla="*/ 8249069 w 12192000"/>
                <a:gd name="connsiteY1184" fmla="*/ 688192 h 1608850"/>
                <a:gd name="connsiteX1185" fmla="*/ 8271364 w 12192000"/>
                <a:gd name="connsiteY1185" fmla="*/ 688192 h 1608850"/>
                <a:gd name="connsiteX1186" fmla="*/ 8271364 w 12192000"/>
                <a:gd name="connsiteY1186" fmla="*/ 683868 h 1608850"/>
                <a:gd name="connsiteX1187" fmla="*/ 8283524 w 12192000"/>
                <a:gd name="connsiteY1187" fmla="*/ 683868 h 1608850"/>
                <a:gd name="connsiteX1188" fmla="*/ 8283524 w 12192000"/>
                <a:gd name="connsiteY1188" fmla="*/ 688192 h 1608850"/>
                <a:gd name="connsiteX1189" fmla="*/ 8307844 w 12192000"/>
                <a:gd name="connsiteY1189" fmla="*/ 688192 h 1608850"/>
                <a:gd name="connsiteX1190" fmla="*/ 8307844 w 12192000"/>
                <a:gd name="connsiteY1190" fmla="*/ 675221 h 1608850"/>
                <a:gd name="connsiteX1191" fmla="*/ 8336217 w 12192000"/>
                <a:gd name="connsiteY1191" fmla="*/ 675221 h 1608850"/>
                <a:gd name="connsiteX1192" fmla="*/ 8348377 w 12192000"/>
                <a:gd name="connsiteY1192" fmla="*/ 670897 h 1608850"/>
                <a:gd name="connsiteX1193" fmla="*/ 8368645 w 12192000"/>
                <a:gd name="connsiteY1193" fmla="*/ 675221 h 1608850"/>
                <a:gd name="connsiteX1194" fmla="*/ 8368645 w 12192000"/>
                <a:gd name="connsiteY1194" fmla="*/ 657927 h 1608850"/>
                <a:gd name="connsiteX1195" fmla="*/ 8376752 w 12192000"/>
                <a:gd name="connsiteY1195" fmla="*/ 657927 h 1608850"/>
                <a:gd name="connsiteX1196" fmla="*/ 8376752 w 12192000"/>
                <a:gd name="connsiteY1196" fmla="*/ 644956 h 1608850"/>
                <a:gd name="connsiteX1197" fmla="*/ 8433498 w 12192000"/>
                <a:gd name="connsiteY1197" fmla="*/ 644956 h 1608850"/>
                <a:gd name="connsiteX1198" fmla="*/ 8433498 w 12192000"/>
                <a:gd name="connsiteY1198" fmla="*/ 614691 h 1608850"/>
                <a:gd name="connsiteX1199" fmla="*/ 8451738 w 12192000"/>
                <a:gd name="connsiteY1199" fmla="*/ 614691 h 1608850"/>
                <a:gd name="connsiteX1200" fmla="*/ 8451738 w 12192000"/>
                <a:gd name="connsiteY1200" fmla="*/ 608206 h 1608850"/>
                <a:gd name="connsiteX1201" fmla="*/ 8463898 w 12192000"/>
                <a:gd name="connsiteY1201" fmla="*/ 608206 h 1608850"/>
                <a:gd name="connsiteX1202" fmla="*/ 8463898 w 12192000"/>
                <a:gd name="connsiteY1202" fmla="*/ 614691 h 1608850"/>
                <a:gd name="connsiteX1203" fmla="*/ 8480112 w 12192000"/>
                <a:gd name="connsiteY1203" fmla="*/ 614691 h 1608850"/>
                <a:gd name="connsiteX1204" fmla="*/ 8480112 w 12192000"/>
                <a:gd name="connsiteY1204" fmla="*/ 664412 h 1608850"/>
                <a:gd name="connsiteX1205" fmla="*/ 8512540 w 12192000"/>
                <a:gd name="connsiteY1205" fmla="*/ 664412 h 1608850"/>
                <a:gd name="connsiteX1206" fmla="*/ 8512540 w 12192000"/>
                <a:gd name="connsiteY1206" fmla="*/ 638471 h 1608850"/>
                <a:gd name="connsiteX1207" fmla="*/ 8551046 w 12192000"/>
                <a:gd name="connsiteY1207" fmla="*/ 638471 h 1608850"/>
                <a:gd name="connsiteX1208" fmla="*/ 8551046 w 12192000"/>
                <a:gd name="connsiteY1208" fmla="*/ 608206 h 1608850"/>
                <a:gd name="connsiteX1209" fmla="*/ 8599688 w 12192000"/>
                <a:gd name="connsiteY1209" fmla="*/ 608206 h 1608850"/>
                <a:gd name="connsiteX1210" fmla="*/ 8599688 w 12192000"/>
                <a:gd name="connsiteY1210" fmla="*/ 719362 h 1608850"/>
                <a:gd name="connsiteX1211" fmla="*/ 8599688 w 12192000"/>
                <a:gd name="connsiteY1211" fmla="*/ 733141 h 1608850"/>
                <a:gd name="connsiteX1212" fmla="*/ 8665562 w 12192000"/>
                <a:gd name="connsiteY1212" fmla="*/ 733141 h 1608850"/>
                <a:gd name="connsiteX1213" fmla="*/ 8665562 w 12192000"/>
                <a:gd name="connsiteY1213" fmla="*/ 838913 h 1608850"/>
                <a:gd name="connsiteX1214" fmla="*/ 8665562 w 12192000"/>
                <a:gd name="connsiteY1214" fmla="*/ 862160 h 1608850"/>
                <a:gd name="connsiteX1215" fmla="*/ 8680522 w 12192000"/>
                <a:gd name="connsiteY1215" fmla="*/ 862160 h 1608850"/>
                <a:gd name="connsiteX1216" fmla="*/ 8680522 w 12192000"/>
                <a:gd name="connsiteY1216" fmla="*/ 860998 h 1608850"/>
                <a:gd name="connsiteX1217" fmla="*/ 8680522 w 12192000"/>
                <a:gd name="connsiteY1217" fmla="*/ 852862 h 1608850"/>
                <a:gd name="connsiteX1218" fmla="*/ 8725102 w 12192000"/>
                <a:gd name="connsiteY1218" fmla="*/ 852862 h 1608850"/>
                <a:gd name="connsiteX1219" fmla="*/ 8725102 w 12192000"/>
                <a:gd name="connsiteY1219" fmla="*/ 855477 h 1608850"/>
                <a:gd name="connsiteX1220" fmla="*/ 8725102 w 12192000"/>
                <a:gd name="connsiteY1220" fmla="*/ 861131 h 1608850"/>
                <a:gd name="connsiteX1221" fmla="*/ 8733569 w 12192000"/>
                <a:gd name="connsiteY1221" fmla="*/ 852574 h 1608850"/>
                <a:gd name="connsiteX1222" fmla="*/ 8729111 w 12192000"/>
                <a:gd name="connsiteY1222" fmla="*/ 850249 h 1608850"/>
                <a:gd name="connsiteX1223" fmla="*/ 8729111 w 12192000"/>
                <a:gd name="connsiteY1223" fmla="*/ 843275 h 1608850"/>
                <a:gd name="connsiteX1224" fmla="*/ 8735797 w 12192000"/>
                <a:gd name="connsiteY1224" fmla="*/ 840950 h 1608850"/>
                <a:gd name="connsiteX1225" fmla="*/ 8735797 w 12192000"/>
                <a:gd name="connsiteY1225" fmla="*/ 831652 h 1608850"/>
                <a:gd name="connsiteX1226" fmla="*/ 8740256 w 12192000"/>
                <a:gd name="connsiteY1226" fmla="*/ 831652 h 1608850"/>
                <a:gd name="connsiteX1227" fmla="*/ 8740256 w 12192000"/>
                <a:gd name="connsiteY1227" fmla="*/ 810730 h 1608850"/>
                <a:gd name="connsiteX1228" fmla="*/ 8735797 w 12192000"/>
                <a:gd name="connsiteY1228" fmla="*/ 810730 h 1608850"/>
                <a:gd name="connsiteX1229" fmla="*/ 8735797 w 12192000"/>
                <a:gd name="connsiteY1229" fmla="*/ 806081 h 1608850"/>
                <a:gd name="connsiteX1230" fmla="*/ 8740256 w 12192000"/>
                <a:gd name="connsiteY1230" fmla="*/ 803756 h 1608850"/>
                <a:gd name="connsiteX1231" fmla="*/ 8751401 w 12192000"/>
                <a:gd name="connsiteY1231" fmla="*/ 787483 h 1608850"/>
                <a:gd name="connsiteX1232" fmla="*/ 8753629 w 12192000"/>
                <a:gd name="connsiteY1232" fmla="*/ 778185 h 1608850"/>
                <a:gd name="connsiteX1233" fmla="*/ 8753629 w 12192000"/>
                <a:gd name="connsiteY1233" fmla="*/ 752614 h 1608850"/>
                <a:gd name="connsiteX1234" fmla="*/ 8753909 w 12192000"/>
                <a:gd name="connsiteY1234" fmla="*/ 751742 h 1608850"/>
                <a:gd name="connsiteX1235" fmla="*/ 8755767 w 12192000"/>
                <a:gd name="connsiteY1235" fmla="*/ 745928 h 1608850"/>
                <a:gd name="connsiteX1236" fmla="*/ 8754080 w 12192000"/>
                <a:gd name="connsiteY1236" fmla="*/ 745928 h 1608850"/>
                <a:gd name="connsiteX1237" fmla="*/ 8754080 w 12192000"/>
                <a:gd name="connsiteY1237" fmla="*/ 744766 h 1608850"/>
                <a:gd name="connsiteX1238" fmla="*/ 8754080 w 12192000"/>
                <a:gd name="connsiteY1238" fmla="*/ 736629 h 1608850"/>
                <a:gd name="connsiteX1239" fmla="*/ 8755194 w 12192000"/>
                <a:gd name="connsiteY1239" fmla="*/ 736629 h 1608850"/>
                <a:gd name="connsiteX1240" fmla="*/ 8762996 w 12192000"/>
                <a:gd name="connsiteY1240" fmla="*/ 736629 h 1608850"/>
                <a:gd name="connsiteX1241" fmla="*/ 8762996 w 12192000"/>
                <a:gd name="connsiteY1241" fmla="*/ 735467 h 1608850"/>
                <a:gd name="connsiteX1242" fmla="*/ 8762996 w 12192000"/>
                <a:gd name="connsiteY1242" fmla="*/ 727331 h 1608850"/>
                <a:gd name="connsiteX1243" fmla="*/ 8761881 w 12192000"/>
                <a:gd name="connsiteY1243" fmla="*/ 727331 h 1608850"/>
                <a:gd name="connsiteX1244" fmla="*/ 8754080 w 12192000"/>
                <a:gd name="connsiteY1244" fmla="*/ 727331 h 1608850"/>
                <a:gd name="connsiteX1245" fmla="*/ 8754080 w 12192000"/>
                <a:gd name="connsiteY1245" fmla="*/ 726168 h 1608850"/>
                <a:gd name="connsiteX1246" fmla="*/ 8754080 w 12192000"/>
                <a:gd name="connsiteY1246" fmla="*/ 718032 h 1608850"/>
                <a:gd name="connsiteX1247" fmla="*/ 8755194 w 12192000"/>
                <a:gd name="connsiteY1247" fmla="*/ 718032 h 1608850"/>
                <a:gd name="connsiteX1248" fmla="*/ 8762996 w 12192000"/>
                <a:gd name="connsiteY1248" fmla="*/ 718032 h 1608850"/>
                <a:gd name="connsiteX1249" fmla="*/ 8762996 w 12192000"/>
                <a:gd name="connsiteY1249" fmla="*/ 717160 h 1608850"/>
                <a:gd name="connsiteX1250" fmla="*/ 8762996 w 12192000"/>
                <a:gd name="connsiteY1250" fmla="*/ 711058 h 1608850"/>
                <a:gd name="connsiteX1251" fmla="*/ 8761881 w 12192000"/>
                <a:gd name="connsiteY1251" fmla="*/ 711058 h 1608850"/>
                <a:gd name="connsiteX1252" fmla="*/ 8754080 w 12192000"/>
                <a:gd name="connsiteY1252" fmla="*/ 711058 h 1608850"/>
                <a:gd name="connsiteX1253" fmla="*/ 8754080 w 12192000"/>
                <a:gd name="connsiteY1253" fmla="*/ 709896 h 1608850"/>
                <a:gd name="connsiteX1254" fmla="*/ 8754080 w 12192000"/>
                <a:gd name="connsiteY1254" fmla="*/ 701759 h 1608850"/>
                <a:gd name="connsiteX1255" fmla="*/ 8755194 w 12192000"/>
                <a:gd name="connsiteY1255" fmla="*/ 701759 h 1608850"/>
                <a:gd name="connsiteX1256" fmla="*/ 8762996 w 12192000"/>
                <a:gd name="connsiteY1256" fmla="*/ 701759 h 1608850"/>
                <a:gd name="connsiteX1257" fmla="*/ 8761881 w 12192000"/>
                <a:gd name="connsiteY1257" fmla="*/ 700016 h 1608850"/>
                <a:gd name="connsiteX1258" fmla="*/ 8754080 w 12192000"/>
                <a:gd name="connsiteY1258" fmla="*/ 687812 h 1608850"/>
                <a:gd name="connsiteX1259" fmla="*/ 8754080 w 12192000"/>
                <a:gd name="connsiteY1259" fmla="*/ 650617 h 1608850"/>
                <a:gd name="connsiteX1260" fmla="*/ 8903424 w 12192000"/>
                <a:gd name="connsiteY1260" fmla="*/ 650617 h 1608850"/>
                <a:gd name="connsiteX1261" fmla="*/ 8905096 w 12192000"/>
                <a:gd name="connsiteY1261" fmla="*/ 653232 h 1608850"/>
                <a:gd name="connsiteX1262" fmla="*/ 8908543 w 12192000"/>
                <a:gd name="connsiteY1262" fmla="*/ 658626 h 1608850"/>
                <a:gd name="connsiteX1263" fmla="*/ 8908543 w 12192000"/>
                <a:gd name="connsiteY1263" fmla="*/ 647687 h 1608850"/>
                <a:gd name="connsiteX1264" fmla="*/ 8908543 w 12192000"/>
                <a:gd name="connsiteY1264" fmla="*/ 607460 h 1608850"/>
                <a:gd name="connsiteX1265" fmla="*/ 8910570 w 12192000"/>
                <a:gd name="connsiteY1265" fmla="*/ 607460 h 1608850"/>
                <a:gd name="connsiteX1266" fmla="*/ 8924757 w 12192000"/>
                <a:gd name="connsiteY1266" fmla="*/ 607460 h 1608850"/>
                <a:gd name="connsiteX1267" fmla="*/ 8924757 w 12192000"/>
                <a:gd name="connsiteY1267" fmla="*/ 515723 h 1608850"/>
                <a:gd name="connsiteX1268" fmla="*/ 8924757 w 12192000"/>
                <a:gd name="connsiteY1268" fmla="*/ 490724 h 1608850"/>
                <a:gd name="connsiteX1269" fmla="*/ 9078786 w 12192000"/>
                <a:gd name="connsiteY1269" fmla="*/ 490724 h 1608850"/>
                <a:gd name="connsiteX1270" fmla="*/ 9078786 w 12192000"/>
                <a:gd name="connsiteY1270" fmla="*/ 506306 h 1608850"/>
                <a:gd name="connsiteX1271" fmla="*/ 9078786 w 12192000"/>
                <a:gd name="connsiteY1271" fmla="*/ 611783 h 1608850"/>
                <a:gd name="connsiteX1272" fmla="*/ 9080306 w 12192000"/>
                <a:gd name="connsiteY1272" fmla="*/ 611513 h 1608850"/>
                <a:gd name="connsiteX1273" fmla="*/ 9090946 w 12192000"/>
                <a:gd name="connsiteY1273" fmla="*/ 609622 h 1608850"/>
                <a:gd name="connsiteX1274" fmla="*/ 9088919 w 12192000"/>
                <a:gd name="connsiteY1274" fmla="*/ 698254 h 1608850"/>
                <a:gd name="connsiteX1275" fmla="*/ 9090439 w 12192000"/>
                <a:gd name="connsiteY1275" fmla="*/ 698525 h 1608850"/>
                <a:gd name="connsiteX1276" fmla="*/ 9101079 w 12192000"/>
                <a:gd name="connsiteY1276" fmla="*/ 700416 h 1608850"/>
                <a:gd name="connsiteX1277" fmla="*/ 9101332 w 12192000"/>
                <a:gd name="connsiteY1277" fmla="*/ 701227 h 1608850"/>
                <a:gd name="connsiteX1278" fmla="*/ 9103106 w 12192000"/>
                <a:gd name="connsiteY1278" fmla="*/ 706902 h 1608850"/>
                <a:gd name="connsiteX1279" fmla="*/ 9103866 w 12192000"/>
                <a:gd name="connsiteY1279" fmla="*/ 704470 h 1608850"/>
                <a:gd name="connsiteX1280" fmla="*/ 9109186 w 12192000"/>
                <a:gd name="connsiteY1280" fmla="*/ 687446 h 1608850"/>
                <a:gd name="connsiteX1281" fmla="*/ 9110959 w 12192000"/>
                <a:gd name="connsiteY1281" fmla="*/ 687446 h 1608850"/>
                <a:gd name="connsiteX1282" fmla="*/ 9123373 w 12192000"/>
                <a:gd name="connsiteY1282" fmla="*/ 687446 h 1608850"/>
                <a:gd name="connsiteX1283" fmla="*/ 9123373 w 12192000"/>
                <a:gd name="connsiteY1283" fmla="*/ 719872 h 1608850"/>
                <a:gd name="connsiteX1284" fmla="*/ 9124386 w 12192000"/>
                <a:gd name="connsiteY1284" fmla="*/ 720413 h 1608850"/>
                <a:gd name="connsiteX1285" fmla="*/ 9131480 w 12192000"/>
                <a:gd name="connsiteY1285" fmla="*/ 724196 h 1608850"/>
                <a:gd name="connsiteX1286" fmla="*/ 9131480 w 12192000"/>
                <a:gd name="connsiteY1286" fmla="*/ 725547 h 1608850"/>
                <a:gd name="connsiteX1287" fmla="*/ 9131480 w 12192000"/>
                <a:gd name="connsiteY1287" fmla="*/ 735005 h 1608850"/>
                <a:gd name="connsiteX1288" fmla="*/ 9176067 w 12192000"/>
                <a:gd name="connsiteY1288" fmla="*/ 735005 h 1608850"/>
                <a:gd name="connsiteX1289" fmla="*/ 9176067 w 12192000"/>
                <a:gd name="connsiteY1289" fmla="*/ 736086 h 1608850"/>
                <a:gd name="connsiteX1290" fmla="*/ 9176067 w 12192000"/>
                <a:gd name="connsiteY1290" fmla="*/ 743652 h 1608850"/>
                <a:gd name="connsiteX1291" fmla="*/ 9178093 w 12192000"/>
                <a:gd name="connsiteY1291" fmla="*/ 743652 h 1608850"/>
                <a:gd name="connsiteX1292" fmla="*/ 9192280 w 12192000"/>
                <a:gd name="connsiteY1292" fmla="*/ 743652 h 1608850"/>
                <a:gd name="connsiteX1293" fmla="*/ 9192280 w 12192000"/>
                <a:gd name="connsiteY1293" fmla="*/ 713387 h 1608850"/>
                <a:gd name="connsiteX1294" fmla="*/ 9236867 w 12192000"/>
                <a:gd name="connsiteY1294" fmla="*/ 713387 h 1608850"/>
                <a:gd name="connsiteX1295" fmla="*/ 9236867 w 12192000"/>
                <a:gd name="connsiteY1295" fmla="*/ 712036 h 1608850"/>
                <a:gd name="connsiteX1296" fmla="*/ 9236867 w 12192000"/>
                <a:gd name="connsiteY1296" fmla="*/ 702578 h 1608850"/>
                <a:gd name="connsiteX1297" fmla="*/ 9237881 w 12192000"/>
                <a:gd name="connsiteY1297" fmla="*/ 702578 h 1608850"/>
                <a:gd name="connsiteX1298" fmla="*/ 9244974 w 12192000"/>
                <a:gd name="connsiteY1298" fmla="*/ 702578 h 1608850"/>
                <a:gd name="connsiteX1299" fmla="*/ 9244974 w 12192000"/>
                <a:gd name="connsiteY1299" fmla="*/ 700687 h 1608850"/>
                <a:gd name="connsiteX1300" fmla="*/ 9244974 w 12192000"/>
                <a:gd name="connsiteY1300" fmla="*/ 687446 h 1608850"/>
                <a:gd name="connsiteX1301" fmla="*/ 9245734 w 12192000"/>
                <a:gd name="connsiteY1301" fmla="*/ 687446 h 1608850"/>
                <a:gd name="connsiteX1302" fmla="*/ 9251054 w 12192000"/>
                <a:gd name="connsiteY1302" fmla="*/ 687446 h 1608850"/>
                <a:gd name="connsiteX1303" fmla="*/ 9251054 w 12192000"/>
                <a:gd name="connsiteY1303" fmla="*/ 686365 h 1608850"/>
                <a:gd name="connsiteX1304" fmla="*/ 9251054 w 12192000"/>
                <a:gd name="connsiteY1304" fmla="*/ 678798 h 1608850"/>
                <a:gd name="connsiteX1305" fmla="*/ 9253081 w 12192000"/>
                <a:gd name="connsiteY1305" fmla="*/ 678798 h 1608850"/>
                <a:gd name="connsiteX1306" fmla="*/ 9267268 w 12192000"/>
                <a:gd name="connsiteY1306" fmla="*/ 678798 h 1608850"/>
                <a:gd name="connsiteX1307" fmla="*/ 9267268 w 12192000"/>
                <a:gd name="connsiteY1307" fmla="*/ 679879 h 1608850"/>
                <a:gd name="connsiteX1308" fmla="*/ 9267268 w 12192000"/>
                <a:gd name="connsiteY1308" fmla="*/ 687446 h 1608850"/>
                <a:gd name="connsiteX1309" fmla="*/ 9289561 w 12192000"/>
                <a:gd name="connsiteY1309" fmla="*/ 687446 h 1608850"/>
                <a:gd name="connsiteX1310" fmla="*/ 9289561 w 12192000"/>
                <a:gd name="connsiteY1310" fmla="*/ 685554 h 1608850"/>
                <a:gd name="connsiteX1311" fmla="*/ 9289561 w 12192000"/>
                <a:gd name="connsiteY1311" fmla="*/ 672313 h 1608850"/>
                <a:gd name="connsiteX1312" fmla="*/ 9291335 w 12192000"/>
                <a:gd name="connsiteY1312" fmla="*/ 672313 h 1608850"/>
                <a:gd name="connsiteX1313" fmla="*/ 9303748 w 12192000"/>
                <a:gd name="connsiteY1313" fmla="*/ 672313 h 1608850"/>
                <a:gd name="connsiteX1314" fmla="*/ 9303748 w 12192000"/>
                <a:gd name="connsiteY1314" fmla="*/ 696093 h 1608850"/>
                <a:gd name="connsiteX1315" fmla="*/ 9304762 w 12192000"/>
                <a:gd name="connsiteY1315" fmla="*/ 696093 h 1608850"/>
                <a:gd name="connsiteX1316" fmla="*/ 9311855 w 12192000"/>
                <a:gd name="connsiteY1316" fmla="*/ 696093 h 1608850"/>
                <a:gd name="connsiteX1317" fmla="*/ 9311855 w 12192000"/>
                <a:gd name="connsiteY1317" fmla="*/ 695012 h 1608850"/>
                <a:gd name="connsiteX1318" fmla="*/ 9311855 w 12192000"/>
                <a:gd name="connsiteY1318" fmla="*/ 687446 h 1608850"/>
                <a:gd name="connsiteX1319" fmla="*/ 9313628 w 12192000"/>
                <a:gd name="connsiteY1319" fmla="*/ 687446 h 1608850"/>
                <a:gd name="connsiteX1320" fmla="*/ 9326042 w 12192000"/>
                <a:gd name="connsiteY1320" fmla="*/ 687446 h 1608850"/>
                <a:gd name="connsiteX1321" fmla="*/ 9326042 w 12192000"/>
                <a:gd name="connsiteY1321" fmla="*/ 713387 h 1608850"/>
                <a:gd name="connsiteX1322" fmla="*/ 9328069 w 12192000"/>
                <a:gd name="connsiteY1322" fmla="*/ 713387 h 1608850"/>
                <a:gd name="connsiteX1323" fmla="*/ 9342255 w 12192000"/>
                <a:gd name="connsiteY1323" fmla="*/ 713387 h 1608850"/>
                <a:gd name="connsiteX1324" fmla="*/ 9342255 w 12192000"/>
                <a:gd name="connsiteY1324" fmla="*/ 715008 h 1608850"/>
                <a:gd name="connsiteX1325" fmla="*/ 9342255 w 12192000"/>
                <a:gd name="connsiteY1325" fmla="*/ 726358 h 1608850"/>
                <a:gd name="connsiteX1326" fmla="*/ 9343015 w 12192000"/>
                <a:gd name="connsiteY1326" fmla="*/ 726358 h 1608850"/>
                <a:gd name="connsiteX1327" fmla="*/ 9348336 w 12192000"/>
                <a:gd name="connsiteY1327" fmla="*/ 726358 h 1608850"/>
                <a:gd name="connsiteX1328" fmla="*/ 9348336 w 12192000"/>
                <a:gd name="connsiteY1328" fmla="*/ 725547 h 1608850"/>
                <a:gd name="connsiteX1329" fmla="*/ 9348336 w 12192000"/>
                <a:gd name="connsiteY1329" fmla="*/ 719872 h 1608850"/>
                <a:gd name="connsiteX1330" fmla="*/ 9378736 w 12192000"/>
                <a:gd name="connsiteY1330" fmla="*/ 719872 h 1608850"/>
                <a:gd name="connsiteX1331" fmla="*/ 9378736 w 12192000"/>
                <a:gd name="connsiteY1331" fmla="*/ 743652 h 1608850"/>
                <a:gd name="connsiteX1332" fmla="*/ 9379749 w 12192000"/>
                <a:gd name="connsiteY1332" fmla="*/ 743652 h 1608850"/>
                <a:gd name="connsiteX1333" fmla="*/ 9386843 w 12192000"/>
                <a:gd name="connsiteY1333" fmla="*/ 743652 h 1608850"/>
                <a:gd name="connsiteX1334" fmla="*/ 9386843 w 12192000"/>
                <a:gd name="connsiteY1334" fmla="*/ 744733 h 1608850"/>
                <a:gd name="connsiteX1335" fmla="*/ 9386843 w 12192000"/>
                <a:gd name="connsiteY1335" fmla="*/ 752299 h 1608850"/>
                <a:gd name="connsiteX1336" fmla="*/ 9387603 w 12192000"/>
                <a:gd name="connsiteY1336" fmla="*/ 752299 h 1608850"/>
                <a:gd name="connsiteX1337" fmla="*/ 9392923 w 12192000"/>
                <a:gd name="connsiteY1337" fmla="*/ 752299 h 1608850"/>
                <a:gd name="connsiteX1338" fmla="*/ 9392923 w 12192000"/>
                <a:gd name="connsiteY1338" fmla="*/ 750137 h 1608850"/>
                <a:gd name="connsiteX1339" fmla="*/ 9392923 w 12192000"/>
                <a:gd name="connsiteY1339" fmla="*/ 735005 h 1608850"/>
                <a:gd name="connsiteX1340" fmla="*/ 9393936 w 12192000"/>
                <a:gd name="connsiteY1340" fmla="*/ 735005 h 1608850"/>
                <a:gd name="connsiteX1341" fmla="*/ 9401030 w 12192000"/>
                <a:gd name="connsiteY1341" fmla="*/ 735005 h 1608850"/>
                <a:gd name="connsiteX1342" fmla="*/ 9401030 w 12192000"/>
                <a:gd name="connsiteY1342" fmla="*/ 736086 h 1608850"/>
                <a:gd name="connsiteX1343" fmla="*/ 9401030 w 12192000"/>
                <a:gd name="connsiteY1343" fmla="*/ 743652 h 1608850"/>
                <a:gd name="connsiteX1344" fmla="*/ 9406350 w 12192000"/>
                <a:gd name="connsiteY1344" fmla="*/ 741659 h 1608850"/>
                <a:gd name="connsiteX1345" fmla="*/ 9407110 w 12192000"/>
                <a:gd name="connsiteY1345" fmla="*/ 740679 h 1608850"/>
                <a:gd name="connsiteX1346" fmla="*/ 9407110 w 12192000"/>
                <a:gd name="connsiteY1346" fmla="*/ 735005 h 1608850"/>
                <a:gd name="connsiteX1347" fmla="*/ 9445617 w 12192000"/>
                <a:gd name="connsiteY1347" fmla="*/ 735005 h 1608850"/>
                <a:gd name="connsiteX1348" fmla="*/ 9445617 w 12192000"/>
                <a:gd name="connsiteY1348" fmla="*/ 758784 h 1608850"/>
                <a:gd name="connsiteX1349" fmla="*/ 9447643 w 12192000"/>
                <a:gd name="connsiteY1349" fmla="*/ 758784 h 1608850"/>
                <a:gd name="connsiteX1350" fmla="*/ 9461830 w 12192000"/>
                <a:gd name="connsiteY1350" fmla="*/ 758784 h 1608850"/>
                <a:gd name="connsiteX1351" fmla="*/ 9461830 w 12192000"/>
                <a:gd name="connsiteY1351" fmla="*/ 759865 h 1608850"/>
                <a:gd name="connsiteX1352" fmla="*/ 9461830 w 12192000"/>
                <a:gd name="connsiteY1352" fmla="*/ 767431 h 1608850"/>
                <a:gd name="connsiteX1353" fmla="*/ 9463604 w 12192000"/>
                <a:gd name="connsiteY1353" fmla="*/ 767431 h 1608850"/>
                <a:gd name="connsiteX1354" fmla="*/ 9476017 w 12192000"/>
                <a:gd name="connsiteY1354" fmla="*/ 767431 h 1608850"/>
                <a:gd name="connsiteX1355" fmla="*/ 9476017 w 12192000"/>
                <a:gd name="connsiteY1355" fmla="*/ 743652 h 1608850"/>
                <a:gd name="connsiteX1356" fmla="*/ 9477030 w 12192000"/>
                <a:gd name="connsiteY1356" fmla="*/ 743652 h 1608850"/>
                <a:gd name="connsiteX1357" fmla="*/ 9484124 w 12192000"/>
                <a:gd name="connsiteY1357" fmla="*/ 743652 h 1608850"/>
                <a:gd name="connsiteX1358" fmla="*/ 9484124 w 12192000"/>
                <a:gd name="connsiteY1358" fmla="*/ 711225 h 1608850"/>
                <a:gd name="connsiteX1359" fmla="*/ 9485137 w 12192000"/>
                <a:gd name="connsiteY1359" fmla="*/ 711225 h 1608850"/>
                <a:gd name="connsiteX1360" fmla="*/ 9492231 w 12192000"/>
                <a:gd name="connsiteY1360" fmla="*/ 711225 h 1608850"/>
                <a:gd name="connsiteX1361" fmla="*/ 9492231 w 12192000"/>
                <a:gd name="connsiteY1361" fmla="*/ 709334 h 1608850"/>
                <a:gd name="connsiteX1362" fmla="*/ 9492231 w 12192000"/>
                <a:gd name="connsiteY1362" fmla="*/ 696093 h 1608850"/>
                <a:gd name="connsiteX1363" fmla="*/ 9490964 w 12192000"/>
                <a:gd name="connsiteY1363" fmla="*/ 694471 h 1608850"/>
                <a:gd name="connsiteX1364" fmla="*/ 9496284 w 12192000"/>
                <a:gd name="connsiteY1364" fmla="*/ 683122 h 1608850"/>
                <a:gd name="connsiteX1365" fmla="*/ 9504391 w 12192000"/>
                <a:gd name="connsiteY1365" fmla="*/ 711225 h 1608850"/>
                <a:gd name="connsiteX1366" fmla="*/ 9505151 w 12192000"/>
                <a:gd name="connsiteY1366" fmla="*/ 711225 h 1608850"/>
                <a:gd name="connsiteX1367" fmla="*/ 9510471 w 12192000"/>
                <a:gd name="connsiteY1367" fmla="*/ 711225 h 1608850"/>
                <a:gd name="connsiteX1368" fmla="*/ 9510471 w 12192000"/>
                <a:gd name="connsiteY1368" fmla="*/ 605298 h 1608850"/>
                <a:gd name="connsiteX1369" fmla="*/ 9511991 w 12192000"/>
                <a:gd name="connsiteY1369" fmla="*/ 605298 h 1608850"/>
                <a:gd name="connsiteX1370" fmla="*/ 9522631 w 12192000"/>
                <a:gd name="connsiteY1370" fmla="*/ 605298 h 1608850"/>
                <a:gd name="connsiteX1371" fmla="*/ 9522631 w 12192000"/>
                <a:gd name="connsiteY1371" fmla="*/ 557739 h 1608850"/>
                <a:gd name="connsiteX1372" fmla="*/ 9548978 w 12192000"/>
                <a:gd name="connsiteY1372" fmla="*/ 557739 h 1608850"/>
                <a:gd name="connsiteX1373" fmla="*/ 9548978 w 12192000"/>
                <a:gd name="connsiteY1373" fmla="*/ 536121 h 1608850"/>
                <a:gd name="connsiteX1374" fmla="*/ 9583432 w 12192000"/>
                <a:gd name="connsiteY1374" fmla="*/ 536121 h 1608850"/>
                <a:gd name="connsiteX1375" fmla="*/ 9583432 w 12192000"/>
                <a:gd name="connsiteY1375" fmla="*/ 538553 h 1608850"/>
                <a:gd name="connsiteX1376" fmla="*/ 9583432 w 12192000"/>
                <a:gd name="connsiteY1376" fmla="*/ 555577 h 1608850"/>
                <a:gd name="connsiteX1377" fmla="*/ 9585712 w 12192000"/>
                <a:gd name="connsiteY1377" fmla="*/ 555577 h 1608850"/>
                <a:gd name="connsiteX1378" fmla="*/ 9601672 w 12192000"/>
                <a:gd name="connsiteY1378" fmla="*/ 555577 h 1608850"/>
                <a:gd name="connsiteX1379" fmla="*/ 9601672 w 12192000"/>
                <a:gd name="connsiteY1379" fmla="*/ 603136 h 1608850"/>
                <a:gd name="connsiteX1380" fmla="*/ 9602685 w 12192000"/>
                <a:gd name="connsiteY1380" fmla="*/ 603136 h 1608850"/>
                <a:gd name="connsiteX1381" fmla="*/ 9609779 w 12192000"/>
                <a:gd name="connsiteY1381" fmla="*/ 603136 h 1608850"/>
                <a:gd name="connsiteX1382" fmla="*/ 9623966 w 12192000"/>
                <a:gd name="connsiteY1382" fmla="*/ 607460 h 1608850"/>
                <a:gd name="connsiteX1383" fmla="*/ 9623966 w 12192000"/>
                <a:gd name="connsiteY1383" fmla="*/ 646372 h 1608850"/>
                <a:gd name="connsiteX1384" fmla="*/ 9624979 w 12192000"/>
                <a:gd name="connsiteY1384" fmla="*/ 646372 h 1608850"/>
                <a:gd name="connsiteX1385" fmla="*/ 9632072 w 12192000"/>
                <a:gd name="connsiteY1385" fmla="*/ 646372 h 1608850"/>
                <a:gd name="connsiteX1386" fmla="*/ 9632072 w 12192000"/>
                <a:gd name="connsiteY1386" fmla="*/ 647993 h 1608850"/>
                <a:gd name="connsiteX1387" fmla="*/ 9632072 w 12192000"/>
                <a:gd name="connsiteY1387" fmla="*/ 659342 h 1608850"/>
                <a:gd name="connsiteX1388" fmla="*/ 9634099 w 12192000"/>
                <a:gd name="connsiteY1388" fmla="*/ 659342 h 1608850"/>
                <a:gd name="connsiteX1389" fmla="*/ 9648286 w 12192000"/>
                <a:gd name="connsiteY1389" fmla="*/ 659342 h 1608850"/>
                <a:gd name="connsiteX1390" fmla="*/ 9654366 w 12192000"/>
                <a:gd name="connsiteY1390" fmla="*/ 665828 h 1608850"/>
                <a:gd name="connsiteX1391" fmla="*/ 9654366 w 12192000"/>
                <a:gd name="connsiteY1391" fmla="*/ 687446 h 1608850"/>
                <a:gd name="connsiteX1392" fmla="*/ 9656646 w 12192000"/>
                <a:gd name="connsiteY1392" fmla="*/ 687446 h 1608850"/>
                <a:gd name="connsiteX1393" fmla="*/ 9672606 w 12192000"/>
                <a:gd name="connsiteY1393" fmla="*/ 687446 h 1608850"/>
                <a:gd name="connsiteX1394" fmla="*/ 9672606 w 12192000"/>
                <a:gd name="connsiteY1394" fmla="*/ 688526 h 1608850"/>
                <a:gd name="connsiteX1395" fmla="*/ 9672606 w 12192000"/>
                <a:gd name="connsiteY1395" fmla="*/ 696093 h 1608850"/>
                <a:gd name="connsiteX1396" fmla="*/ 9673873 w 12192000"/>
                <a:gd name="connsiteY1396" fmla="*/ 696093 h 1608850"/>
                <a:gd name="connsiteX1397" fmla="*/ 9682740 w 12192000"/>
                <a:gd name="connsiteY1397" fmla="*/ 696093 h 1608850"/>
                <a:gd name="connsiteX1398" fmla="*/ 9682740 w 12192000"/>
                <a:gd name="connsiteY1398" fmla="*/ 698254 h 1608850"/>
                <a:gd name="connsiteX1399" fmla="*/ 9682740 w 12192000"/>
                <a:gd name="connsiteY1399" fmla="*/ 713387 h 1608850"/>
                <a:gd name="connsiteX1400" fmla="*/ 9686793 w 12192000"/>
                <a:gd name="connsiteY1400" fmla="*/ 711495 h 1608850"/>
                <a:gd name="connsiteX1401" fmla="*/ 9686793 w 12192000"/>
                <a:gd name="connsiteY1401" fmla="*/ 698254 h 1608850"/>
                <a:gd name="connsiteX1402" fmla="*/ 9687806 w 12192000"/>
                <a:gd name="connsiteY1402" fmla="*/ 698254 h 1608850"/>
                <a:gd name="connsiteX1403" fmla="*/ 9694900 w 12192000"/>
                <a:gd name="connsiteY1403" fmla="*/ 698254 h 1608850"/>
                <a:gd name="connsiteX1404" fmla="*/ 9694900 w 12192000"/>
                <a:gd name="connsiteY1404" fmla="*/ 699876 h 1608850"/>
                <a:gd name="connsiteX1405" fmla="*/ 9694900 w 12192000"/>
                <a:gd name="connsiteY1405" fmla="*/ 711225 h 1608850"/>
                <a:gd name="connsiteX1406" fmla="*/ 9695660 w 12192000"/>
                <a:gd name="connsiteY1406" fmla="*/ 711225 h 1608850"/>
                <a:gd name="connsiteX1407" fmla="*/ 9700980 w 12192000"/>
                <a:gd name="connsiteY1407" fmla="*/ 711225 h 1608850"/>
                <a:gd name="connsiteX1408" fmla="*/ 9749620 w 12192000"/>
                <a:gd name="connsiteY1408" fmla="*/ 706902 h 1608850"/>
                <a:gd name="connsiteX1409" fmla="*/ 9749620 w 12192000"/>
                <a:gd name="connsiteY1409" fmla="*/ 708253 h 1608850"/>
                <a:gd name="connsiteX1410" fmla="*/ 9749620 w 12192000"/>
                <a:gd name="connsiteY1410" fmla="*/ 717710 h 1608850"/>
                <a:gd name="connsiteX1411" fmla="*/ 9750380 w 12192000"/>
                <a:gd name="connsiteY1411" fmla="*/ 717710 h 1608850"/>
                <a:gd name="connsiteX1412" fmla="*/ 9755702 w 12192000"/>
                <a:gd name="connsiteY1412" fmla="*/ 717710 h 1608850"/>
                <a:gd name="connsiteX1413" fmla="*/ 9755702 w 12192000"/>
                <a:gd name="connsiteY1413" fmla="*/ 719872 h 1608850"/>
                <a:gd name="connsiteX1414" fmla="*/ 9755702 w 12192000"/>
                <a:gd name="connsiteY1414" fmla="*/ 735005 h 1608850"/>
                <a:gd name="connsiteX1415" fmla="*/ 9757728 w 12192000"/>
                <a:gd name="connsiteY1415" fmla="*/ 733654 h 1608850"/>
                <a:gd name="connsiteX1416" fmla="*/ 9771914 w 12192000"/>
                <a:gd name="connsiteY1416" fmla="*/ 724196 h 1608850"/>
                <a:gd name="connsiteX1417" fmla="*/ 9777994 w 12192000"/>
                <a:gd name="connsiteY1417" fmla="*/ 683122 h 1608850"/>
                <a:gd name="connsiteX1418" fmla="*/ 9778754 w 12192000"/>
                <a:gd name="connsiteY1418" fmla="*/ 682852 h 1608850"/>
                <a:gd name="connsiteX1419" fmla="*/ 9784074 w 12192000"/>
                <a:gd name="connsiteY1419" fmla="*/ 680960 h 1608850"/>
                <a:gd name="connsiteX1420" fmla="*/ 9786102 w 12192000"/>
                <a:gd name="connsiteY1420" fmla="*/ 611783 h 1608850"/>
                <a:gd name="connsiteX1421" fmla="*/ 9788128 w 12192000"/>
                <a:gd name="connsiteY1421" fmla="*/ 680960 h 1608850"/>
                <a:gd name="connsiteX1422" fmla="*/ 9788888 w 12192000"/>
                <a:gd name="connsiteY1422" fmla="*/ 681230 h 1608850"/>
                <a:gd name="connsiteX1423" fmla="*/ 9794208 w 12192000"/>
                <a:gd name="connsiteY1423" fmla="*/ 683122 h 1608850"/>
                <a:gd name="connsiteX1424" fmla="*/ 9794208 w 12192000"/>
                <a:gd name="connsiteY1424" fmla="*/ 596651 h 1608850"/>
                <a:gd name="connsiteX1425" fmla="*/ 9798262 w 12192000"/>
                <a:gd name="connsiteY1425" fmla="*/ 564224 h 1608850"/>
                <a:gd name="connsiteX1426" fmla="*/ 9836768 w 12192000"/>
                <a:gd name="connsiteY1426" fmla="*/ 564224 h 1608850"/>
                <a:gd name="connsiteX1427" fmla="*/ 9836768 w 12192000"/>
                <a:gd name="connsiteY1427" fmla="*/ 596651 h 1608850"/>
                <a:gd name="connsiteX1428" fmla="*/ 9837528 w 12192000"/>
                <a:gd name="connsiteY1428" fmla="*/ 596651 h 1608850"/>
                <a:gd name="connsiteX1429" fmla="*/ 9842848 w 12192000"/>
                <a:gd name="connsiteY1429" fmla="*/ 596651 h 1608850"/>
                <a:gd name="connsiteX1430" fmla="*/ 9842848 w 12192000"/>
                <a:gd name="connsiteY1430" fmla="*/ 514503 h 1608850"/>
                <a:gd name="connsiteX1431" fmla="*/ 9844622 w 12192000"/>
                <a:gd name="connsiteY1431" fmla="*/ 514503 h 1608850"/>
                <a:gd name="connsiteX1432" fmla="*/ 9857036 w 12192000"/>
                <a:gd name="connsiteY1432" fmla="*/ 514503 h 1608850"/>
                <a:gd name="connsiteX1433" fmla="*/ 9857036 w 12192000"/>
                <a:gd name="connsiteY1433" fmla="*/ 512612 h 1608850"/>
                <a:gd name="connsiteX1434" fmla="*/ 9857036 w 12192000"/>
                <a:gd name="connsiteY1434" fmla="*/ 499371 h 1608850"/>
                <a:gd name="connsiteX1435" fmla="*/ 9879330 w 12192000"/>
                <a:gd name="connsiteY1435" fmla="*/ 499371 h 1608850"/>
                <a:gd name="connsiteX1436" fmla="*/ 9879330 w 12192000"/>
                <a:gd name="connsiteY1436" fmla="*/ 498290 h 1608850"/>
                <a:gd name="connsiteX1437" fmla="*/ 9879330 w 12192000"/>
                <a:gd name="connsiteY1437" fmla="*/ 490724 h 1608850"/>
                <a:gd name="connsiteX1438" fmla="*/ 9881102 w 12192000"/>
                <a:gd name="connsiteY1438" fmla="*/ 490724 h 1608850"/>
                <a:gd name="connsiteX1439" fmla="*/ 9893516 w 12192000"/>
                <a:gd name="connsiteY1439" fmla="*/ 490724 h 1608850"/>
                <a:gd name="connsiteX1440" fmla="*/ 9893516 w 12192000"/>
                <a:gd name="connsiteY1440" fmla="*/ 491805 h 1608850"/>
                <a:gd name="connsiteX1441" fmla="*/ 9893516 w 12192000"/>
                <a:gd name="connsiteY1441" fmla="*/ 499371 h 1608850"/>
                <a:gd name="connsiteX1442" fmla="*/ 9894276 w 12192000"/>
                <a:gd name="connsiteY1442" fmla="*/ 499371 h 1608850"/>
                <a:gd name="connsiteX1443" fmla="*/ 9899596 w 12192000"/>
                <a:gd name="connsiteY1443" fmla="*/ 499371 h 1608850"/>
                <a:gd name="connsiteX1444" fmla="*/ 9909730 w 12192000"/>
                <a:gd name="connsiteY1444" fmla="*/ 495047 h 1608850"/>
                <a:gd name="connsiteX1445" fmla="*/ 9913782 w 12192000"/>
                <a:gd name="connsiteY1445" fmla="*/ 498290 h 1608850"/>
                <a:gd name="connsiteX1446" fmla="*/ 9913782 w 12192000"/>
                <a:gd name="connsiteY1446" fmla="*/ 490724 h 1608850"/>
                <a:gd name="connsiteX1447" fmla="*/ 9916062 w 12192000"/>
                <a:gd name="connsiteY1447" fmla="*/ 490724 h 1608850"/>
                <a:gd name="connsiteX1448" fmla="*/ 9932024 w 12192000"/>
                <a:gd name="connsiteY1448" fmla="*/ 490724 h 1608850"/>
                <a:gd name="connsiteX1449" fmla="*/ 9932024 w 12192000"/>
                <a:gd name="connsiteY1449" fmla="*/ 491805 h 1608850"/>
                <a:gd name="connsiteX1450" fmla="*/ 9932024 w 12192000"/>
                <a:gd name="connsiteY1450" fmla="*/ 499371 h 1608850"/>
                <a:gd name="connsiteX1451" fmla="*/ 9962424 w 12192000"/>
                <a:gd name="connsiteY1451" fmla="*/ 499371 h 1608850"/>
                <a:gd name="connsiteX1452" fmla="*/ 9962424 w 12192000"/>
                <a:gd name="connsiteY1452" fmla="*/ 500992 h 1608850"/>
                <a:gd name="connsiteX1453" fmla="*/ 9962424 w 12192000"/>
                <a:gd name="connsiteY1453" fmla="*/ 512342 h 1608850"/>
                <a:gd name="connsiteX1454" fmla="*/ 9988770 w 12192000"/>
                <a:gd name="connsiteY1454" fmla="*/ 512342 h 1608850"/>
                <a:gd name="connsiteX1455" fmla="*/ 9988770 w 12192000"/>
                <a:gd name="connsiteY1455" fmla="*/ 542606 h 1608850"/>
                <a:gd name="connsiteX1456" fmla="*/ 9989530 w 12192000"/>
                <a:gd name="connsiteY1456" fmla="*/ 542606 h 1608850"/>
                <a:gd name="connsiteX1457" fmla="*/ 9994850 w 12192000"/>
                <a:gd name="connsiteY1457" fmla="*/ 542606 h 1608850"/>
                <a:gd name="connsiteX1458" fmla="*/ 9994850 w 12192000"/>
                <a:gd name="connsiteY1458" fmla="*/ 543687 h 1608850"/>
                <a:gd name="connsiteX1459" fmla="*/ 9994850 w 12192000"/>
                <a:gd name="connsiteY1459" fmla="*/ 551254 h 1608850"/>
                <a:gd name="connsiteX1460" fmla="*/ 9998904 w 12192000"/>
                <a:gd name="connsiteY1460" fmla="*/ 581518 h 1608850"/>
                <a:gd name="connsiteX1461" fmla="*/ 9999664 w 12192000"/>
                <a:gd name="connsiteY1461" fmla="*/ 581518 h 1608850"/>
                <a:gd name="connsiteX1462" fmla="*/ 10004984 w 12192000"/>
                <a:gd name="connsiteY1462" fmla="*/ 581518 h 1608850"/>
                <a:gd name="connsiteX1463" fmla="*/ 10004984 w 12192000"/>
                <a:gd name="connsiteY1463" fmla="*/ 582329 h 1608850"/>
                <a:gd name="connsiteX1464" fmla="*/ 10004984 w 12192000"/>
                <a:gd name="connsiteY1464" fmla="*/ 588004 h 1608850"/>
                <a:gd name="connsiteX1465" fmla="*/ 10005998 w 12192000"/>
                <a:gd name="connsiteY1465" fmla="*/ 588004 h 1608850"/>
                <a:gd name="connsiteX1466" fmla="*/ 10013090 w 12192000"/>
                <a:gd name="connsiteY1466" fmla="*/ 588004 h 1608850"/>
                <a:gd name="connsiteX1467" fmla="*/ 10013090 w 12192000"/>
                <a:gd name="connsiteY1467" fmla="*/ 618269 h 1608850"/>
                <a:gd name="connsiteX1468" fmla="*/ 10015118 w 12192000"/>
                <a:gd name="connsiteY1468" fmla="*/ 618269 h 1608850"/>
                <a:gd name="connsiteX1469" fmla="*/ 10029304 w 12192000"/>
                <a:gd name="connsiteY1469" fmla="*/ 618269 h 1608850"/>
                <a:gd name="connsiteX1470" fmla="*/ 10029304 w 12192000"/>
                <a:gd name="connsiteY1470" fmla="*/ 642048 h 1608850"/>
                <a:gd name="connsiteX1471" fmla="*/ 10031332 w 12192000"/>
                <a:gd name="connsiteY1471" fmla="*/ 643669 h 1608850"/>
                <a:gd name="connsiteX1472" fmla="*/ 10031332 w 12192000"/>
                <a:gd name="connsiteY1472" fmla="*/ 655019 h 1608850"/>
                <a:gd name="connsiteX1473" fmla="*/ 10032092 w 12192000"/>
                <a:gd name="connsiteY1473" fmla="*/ 655019 h 1608850"/>
                <a:gd name="connsiteX1474" fmla="*/ 10037412 w 12192000"/>
                <a:gd name="connsiteY1474" fmla="*/ 655019 h 1608850"/>
                <a:gd name="connsiteX1475" fmla="*/ 10037412 w 12192000"/>
                <a:gd name="connsiteY1475" fmla="*/ 678798 h 1608850"/>
                <a:gd name="connsiteX1476" fmla="*/ 10038678 w 12192000"/>
                <a:gd name="connsiteY1476" fmla="*/ 678798 h 1608850"/>
                <a:gd name="connsiteX1477" fmla="*/ 10047544 w 12192000"/>
                <a:gd name="connsiteY1477" fmla="*/ 678798 h 1608850"/>
                <a:gd name="connsiteX1478" fmla="*/ 10049572 w 12192000"/>
                <a:gd name="connsiteY1478" fmla="*/ 682852 h 1608850"/>
                <a:gd name="connsiteX1479" fmla="*/ 10049572 w 12192000"/>
                <a:gd name="connsiteY1479" fmla="*/ 696093 h 1608850"/>
                <a:gd name="connsiteX1480" fmla="*/ 10051092 w 12192000"/>
                <a:gd name="connsiteY1480" fmla="*/ 694201 h 1608850"/>
                <a:gd name="connsiteX1481" fmla="*/ 10061732 w 12192000"/>
                <a:gd name="connsiteY1481" fmla="*/ 680960 h 1608850"/>
                <a:gd name="connsiteX1482" fmla="*/ 10090106 w 12192000"/>
                <a:gd name="connsiteY1482" fmla="*/ 680960 h 1608850"/>
                <a:gd name="connsiteX1483" fmla="*/ 10090106 w 12192000"/>
                <a:gd name="connsiteY1483" fmla="*/ 767431 h 1608850"/>
                <a:gd name="connsiteX1484" fmla="*/ 10090866 w 12192000"/>
                <a:gd name="connsiteY1484" fmla="*/ 767431 h 1608850"/>
                <a:gd name="connsiteX1485" fmla="*/ 10096186 w 12192000"/>
                <a:gd name="connsiteY1485" fmla="*/ 767431 h 1608850"/>
                <a:gd name="connsiteX1486" fmla="*/ 10096946 w 12192000"/>
                <a:gd name="connsiteY1486" fmla="*/ 766080 h 1608850"/>
                <a:gd name="connsiteX1487" fmla="*/ 10102266 w 12192000"/>
                <a:gd name="connsiteY1487" fmla="*/ 756622 h 1608850"/>
                <a:gd name="connsiteX1488" fmla="*/ 10102266 w 12192000"/>
                <a:gd name="connsiteY1488" fmla="*/ 758514 h 1608850"/>
                <a:gd name="connsiteX1489" fmla="*/ 10102266 w 12192000"/>
                <a:gd name="connsiteY1489" fmla="*/ 771755 h 1608850"/>
                <a:gd name="connsiteX1490" fmla="*/ 10106318 w 12192000"/>
                <a:gd name="connsiteY1490" fmla="*/ 726358 h 1608850"/>
                <a:gd name="connsiteX1491" fmla="*/ 10107078 w 12192000"/>
                <a:gd name="connsiteY1491" fmla="*/ 726358 h 1608850"/>
                <a:gd name="connsiteX1492" fmla="*/ 10112398 w 12192000"/>
                <a:gd name="connsiteY1492" fmla="*/ 726358 h 1608850"/>
                <a:gd name="connsiteX1493" fmla="*/ 10112398 w 12192000"/>
                <a:gd name="connsiteY1493" fmla="*/ 661504 h 1608850"/>
                <a:gd name="connsiteX1494" fmla="*/ 10113412 w 12192000"/>
                <a:gd name="connsiteY1494" fmla="*/ 661504 h 1608850"/>
                <a:gd name="connsiteX1495" fmla="*/ 10120506 w 12192000"/>
                <a:gd name="connsiteY1495" fmla="*/ 661504 h 1608850"/>
                <a:gd name="connsiteX1496" fmla="*/ 10132666 w 12192000"/>
                <a:gd name="connsiteY1496" fmla="*/ 618269 h 1608850"/>
                <a:gd name="connsiteX1497" fmla="*/ 10133932 w 12192000"/>
                <a:gd name="connsiteY1497" fmla="*/ 618269 h 1608850"/>
                <a:gd name="connsiteX1498" fmla="*/ 10142800 w 12192000"/>
                <a:gd name="connsiteY1498" fmla="*/ 618269 h 1608850"/>
                <a:gd name="connsiteX1499" fmla="*/ 10152932 w 12192000"/>
                <a:gd name="connsiteY1499" fmla="*/ 661504 h 1608850"/>
                <a:gd name="connsiteX1500" fmla="*/ 10153946 w 12192000"/>
                <a:gd name="connsiteY1500" fmla="*/ 661504 h 1608850"/>
                <a:gd name="connsiteX1501" fmla="*/ 10161040 w 12192000"/>
                <a:gd name="connsiteY1501" fmla="*/ 661504 h 1608850"/>
                <a:gd name="connsiteX1502" fmla="*/ 10161040 w 12192000"/>
                <a:gd name="connsiteY1502" fmla="*/ 700416 h 1608850"/>
                <a:gd name="connsiteX1503" fmla="*/ 10162812 w 12192000"/>
                <a:gd name="connsiteY1503" fmla="*/ 700416 h 1608850"/>
                <a:gd name="connsiteX1504" fmla="*/ 10175226 w 12192000"/>
                <a:gd name="connsiteY1504" fmla="*/ 700416 h 1608850"/>
                <a:gd name="connsiteX1505" fmla="*/ 10175226 w 12192000"/>
                <a:gd name="connsiteY1505" fmla="*/ 702578 h 1608850"/>
                <a:gd name="connsiteX1506" fmla="*/ 10175226 w 12192000"/>
                <a:gd name="connsiteY1506" fmla="*/ 717710 h 1608850"/>
                <a:gd name="connsiteX1507" fmla="*/ 10179280 w 12192000"/>
                <a:gd name="connsiteY1507" fmla="*/ 715549 h 1608850"/>
                <a:gd name="connsiteX1508" fmla="*/ 10179280 w 12192000"/>
                <a:gd name="connsiteY1508" fmla="*/ 700416 h 1608850"/>
                <a:gd name="connsiteX1509" fmla="*/ 10180800 w 12192000"/>
                <a:gd name="connsiteY1509" fmla="*/ 700416 h 1608850"/>
                <a:gd name="connsiteX1510" fmla="*/ 10191440 w 12192000"/>
                <a:gd name="connsiteY1510" fmla="*/ 700416 h 1608850"/>
                <a:gd name="connsiteX1511" fmla="*/ 10191440 w 12192000"/>
                <a:gd name="connsiteY1511" fmla="*/ 702037 h 1608850"/>
                <a:gd name="connsiteX1512" fmla="*/ 10191440 w 12192000"/>
                <a:gd name="connsiteY1512" fmla="*/ 713387 h 1608850"/>
                <a:gd name="connsiteX1513" fmla="*/ 10221840 w 12192000"/>
                <a:gd name="connsiteY1513" fmla="*/ 713387 h 1608850"/>
                <a:gd name="connsiteX1514" fmla="*/ 10221840 w 12192000"/>
                <a:gd name="connsiteY1514" fmla="*/ 676637 h 1608850"/>
                <a:gd name="connsiteX1515" fmla="*/ 10223106 w 12192000"/>
                <a:gd name="connsiteY1515" fmla="*/ 676637 h 1608850"/>
                <a:gd name="connsiteX1516" fmla="*/ 10231974 w 12192000"/>
                <a:gd name="connsiteY1516" fmla="*/ 676637 h 1608850"/>
                <a:gd name="connsiteX1517" fmla="*/ 10231974 w 12192000"/>
                <a:gd name="connsiteY1517" fmla="*/ 698254 h 1608850"/>
                <a:gd name="connsiteX1518" fmla="*/ 10234000 w 12192000"/>
                <a:gd name="connsiteY1518" fmla="*/ 665828 h 1608850"/>
                <a:gd name="connsiteX1519" fmla="*/ 10256294 w 12192000"/>
                <a:gd name="connsiteY1519" fmla="*/ 665828 h 1608850"/>
                <a:gd name="connsiteX1520" fmla="*/ 10256294 w 12192000"/>
                <a:gd name="connsiteY1520" fmla="*/ 664206 h 1608850"/>
                <a:gd name="connsiteX1521" fmla="*/ 10256294 w 12192000"/>
                <a:gd name="connsiteY1521" fmla="*/ 652857 h 1608850"/>
                <a:gd name="connsiteX1522" fmla="*/ 10257054 w 12192000"/>
                <a:gd name="connsiteY1522" fmla="*/ 652857 h 1608850"/>
                <a:gd name="connsiteX1523" fmla="*/ 10262374 w 12192000"/>
                <a:gd name="connsiteY1523" fmla="*/ 652857 h 1608850"/>
                <a:gd name="connsiteX1524" fmla="*/ 10262374 w 12192000"/>
                <a:gd name="connsiteY1524" fmla="*/ 650966 h 1608850"/>
                <a:gd name="connsiteX1525" fmla="*/ 10262374 w 12192000"/>
                <a:gd name="connsiteY1525" fmla="*/ 637725 h 1608850"/>
                <a:gd name="connsiteX1526" fmla="*/ 10266428 w 12192000"/>
                <a:gd name="connsiteY1526" fmla="*/ 644210 h 1608850"/>
                <a:gd name="connsiteX1527" fmla="*/ 10268708 w 12192000"/>
                <a:gd name="connsiteY1527" fmla="*/ 644210 h 1608850"/>
                <a:gd name="connsiteX1528" fmla="*/ 10284668 w 12192000"/>
                <a:gd name="connsiteY1528" fmla="*/ 644210 h 1608850"/>
                <a:gd name="connsiteX1529" fmla="*/ 10284668 w 12192000"/>
                <a:gd name="connsiteY1529" fmla="*/ 643399 h 1608850"/>
                <a:gd name="connsiteX1530" fmla="*/ 10284668 w 12192000"/>
                <a:gd name="connsiteY1530" fmla="*/ 637725 h 1608850"/>
                <a:gd name="connsiteX1531" fmla="*/ 10285428 w 12192000"/>
                <a:gd name="connsiteY1531" fmla="*/ 637725 h 1608850"/>
                <a:gd name="connsiteX1532" fmla="*/ 10290748 w 12192000"/>
                <a:gd name="connsiteY1532" fmla="*/ 637725 h 1608850"/>
                <a:gd name="connsiteX1533" fmla="*/ 10290748 w 12192000"/>
                <a:gd name="connsiteY1533" fmla="*/ 639076 h 1608850"/>
                <a:gd name="connsiteX1534" fmla="*/ 10290748 w 12192000"/>
                <a:gd name="connsiteY1534" fmla="*/ 648534 h 1608850"/>
                <a:gd name="connsiteX1535" fmla="*/ 10329254 w 12192000"/>
                <a:gd name="connsiteY1535" fmla="*/ 648534 h 1608850"/>
                <a:gd name="connsiteX1536" fmla="*/ 10329254 w 12192000"/>
                <a:gd name="connsiteY1536" fmla="*/ 786887 h 1608850"/>
                <a:gd name="connsiteX1537" fmla="*/ 10330774 w 12192000"/>
                <a:gd name="connsiteY1537" fmla="*/ 786887 h 1608850"/>
                <a:gd name="connsiteX1538" fmla="*/ 10341414 w 12192000"/>
                <a:gd name="connsiteY1538" fmla="*/ 786887 h 1608850"/>
                <a:gd name="connsiteX1539" fmla="*/ 10341414 w 12192000"/>
                <a:gd name="connsiteY1539" fmla="*/ 773917 h 1608850"/>
                <a:gd name="connsiteX1540" fmla="*/ 10345468 w 12192000"/>
                <a:gd name="connsiteY1540" fmla="*/ 773917 h 1608850"/>
                <a:gd name="connsiteX1541" fmla="*/ 10345468 w 12192000"/>
                <a:gd name="connsiteY1541" fmla="*/ 786887 h 1608850"/>
                <a:gd name="connsiteX1542" fmla="*/ 10375868 w 12192000"/>
                <a:gd name="connsiteY1542" fmla="*/ 786887 h 1608850"/>
                <a:gd name="connsiteX1543" fmla="*/ 10375868 w 12192000"/>
                <a:gd name="connsiteY1543" fmla="*/ 756622 h 1608850"/>
                <a:gd name="connsiteX1544" fmla="*/ 10388028 w 12192000"/>
                <a:gd name="connsiteY1544" fmla="*/ 756622 h 1608850"/>
                <a:gd name="connsiteX1545" fmla="*/ 10400188 w 12192000"/>
                <a:gd name="connsiteY1545" fmla="*/ 754461 h 1608850"/>
                <a:gd name="connsiteX1546" fmla="*/ 10404242 w 12192000"/>
                <a:gd name="connsiteY1546" fmla="*/ 756622 h 1608850"/>
                <a:gd name="connsiteX1547" fmla="*/ 10414376 w 12192000"/>
                <a:gd name="connsiteY1547" fmla="*/ 756622 h 1608850"/>
                <a:gd name="connsiteX1548" fmla="*/ 10414376 w 12192000"/>
                <a:gd name="connsiteY1548" fmla="*/ 786887 h 1608850"/>
                <a:gd name="connsiteX1549" fmla="*/ 10422482 w 12192000"/>
                <a:gd name="connsiteY1549" fmla="*/ 786887 h 1608850"/>
                <a:gd name="connsiteX1550" fmla="*/ 10422482 w 12192000"/>
                <a:gd name="connsiteY1550" fmla="*/ 804182 h 1608850"/>
                <a:gd name="connsiteX1551" fmla="*/ 10431818 w 12192000"/>
                <a:gd name="connsiteY1551" fmla="*/ 805087 h 1608850"/>
                <a:gd name="connsiteX1552" fmla="*/ 10444776 w 12192000"/>
                <a:gd name="connsiteY1552" fmla="*/ 805087 h 1608850"/>
                <a:gd name="connsiteX1553" fmla="*/ 10444776 w 12192000"/>
                <a:gd name="connsiteY1553" fmla="*/ 789049 h 1608850"/>
                <a:gd name="connsiteX1554" fmla="*/ 10512732 w 12192000"/>
                <a:gd name="connsiteY1554" fmla="*/ 789049 h 1608850"/>
                <a:gd name="connsiteX1555" fmla="*/ 10512732 w 12192000"/>
                <a:gd name="connsiteY1555" fmla="*/ 703796 h 1608850"/>
                <a:gd name="connsiteX1556" fmla="*/ 10584740 w 12192000"/>
                <a:gd name="connsiteY1556" fmla="*/ 703796 h 1608850"/>
                <a:gd name="connsiteX1557" fmla="*/ 10584740 w 12192000"/>
                <a:gd name="connsiteY1557" fmla="*/ 782564 h 1608850"/>
                <a:gd name="connsiteX1558" fmla="*/ 10586644 w 12192000"/>
                <a:gd name="connsiteY1558" fmla="*/ 782564 h 1608850"/>
                <a:gd name="connsiteX1559" fmla="*/ 10587886 w 12192000"/>
                <a:gd name="connsiteY1559" fmla="*/ 805087 h 1608850"/>
                <a:gd name="connsiteX1560" fmla="*/ 10597562 w 12192000"/>
                <a:gd name="connsiteY1560" fmla="*/ 805087 h 1608850"/>
                <a:gd name="connsiteX1561" fmla="*/ 10598804 w 12192000"/>
                <a:gd name="connsiteY1561" fmla="*/ 782564 h 1608850"/>
                <a:gd name="connsiteX1562" fmla="*/ 10604884 w 12192000"/>
                <a:gd name="connsiteY1562" fmla="*/ 782564 h 1608850"/>
                <a:gd name="connsiteX1563" fmla="*/ 10606126 w 12192000"/>
                <a:gd name="connsiteY1563" fmla="*/ 805087 h 1608850"/>
                <a:gd name="connsiteX1564" fmla="*/ 10656748 w 12192000"/>
                <a:gd name="connsiteY1564" fmla="*/ 805087 h 1608850"/>
                <a:gd name="connsiteX1565" fmla="*/ 10656748 w 12192000"/>
                <a:gd name="connsiteY1565" fmla="*/ 642059 h 1608850"/>
                <a:gd name="connsiteX1566" fmla="*/ 10854076 w 12192000"/>
                <a:gd name="connsiteY1566" fmla="*/ 642059 h 1608850"/>
                <a:gd name="connsiteX1567" fmla="*/ 10854076 w 12192000"/>
                <a:gd name="connsiteY1567" fmla="*/ 805087 h 1608850"/>
                <a:gd name="connsiteX1568" fmla="*/ 10872772 w 12192000"/>
                <a:gd name="connsiteY1568" fmla="*/ 805087 h 1608850"/>
                <a:gd name="connsiteX1569" fmla="*/ 10872772 w 12192000"/>
                <a:gd name="connsiteY1569" fmla="*/ 722394 h 1608850"/>
                <a:gd name="connsiteX1570" fmla="*/ 10967892 w 12192000"/>
                <a:gd name="connsiteY1570" fmla="*/ 722394 h 1608850"/>
                <a:gd name="connsiteX1571" fmla="*/ 10979823 w 12192000"/>
                <a:gd name="connsiteY1571" fmla="*/ 404253 h 1608850"/>
                <a:gd name="connsiteX1572" fmla="*/ 10967663 w 12192000"/>
                <a:gd name="connsiteY1572" fmla="*/ 382635 h 1608850"/>
                <a:gd name="connsiteX1573" fmla="*/ 10961583 w 12192000"/>
                <a:gd name="connsiteY1573" fmla="*/ 378311 h 1608850"/>
                <a:gd name="connsiteX1574" fmla="*/ 10969690 w 12192000"/>
                <a:gd name="connsiteY1574" fmla="*/ 354532 h 1608850"/>
                <a:gd name="connsiteX1575" fmla="*/ 10969690 w 12192000"/>
                <a:gd name="connsiteY1575" fmla="*/ 337238 h 1608850"/>
                <a:gd name="connsiteX1576" fmla="*/ 10983876 w 12192000"/>
                <a:gd name="connsiteY1576" fmla="*/ 337238 h 1608850"/>
                <a:gd name="connsiteX1577" fmla="*/ 10983876 w 12192000"/>
                <a:gd name="connsiteY1577" fmla="*/ 315620 h 1608850"/>
                <a:gd name="connsiteX1578" fmla="*/ 10985903 w 12192000"/>
                <a:gd name="connsiteY1578" fmla="*/ 311296 h 1608850"/>
                <a:gd name="connsiteX1579" fmla="*/ 10985903 w 12192000"/>
                <a:gd name="connsiteY1579" fmla="*/ 233472 h 1608850"/>
                <a:gd name="connsiteX1580" fmla="*/ 10983876 w 12192000"/>
                <a:gd name="connsiteY1580" fmla="*/ 226987 h 1608850"/>
                <a:gd name="connsiteX1581" fmla="*/ 10989956 w 12192000"/>
                <a:gd name="connsiteY1581" fmla="*/ 220501 h 1608850"/>
                <a:gd name="connsiteX1582" fmla="*/ 10989956 w 12192000"/>
                <a:gd name="connsiteY1582" fmla="*/ 162133 h 1608850"/>
                <a:gd name="connsiteX1583" fmla="*/ 10991983 w 12192000"/>
                <a:gd name="connsiteY1583" fmla="*/ 157810 h 1608850"/>
                <a:gd name="connsiteX1584" fmla="*/ 10991983 w 12192000"/>
                <a:gd name="connsiteY1584" fmla="*/ 101604 h 1608850"/>
                <a:gd name="connsiteX1585" fmla="*/ 10994010 w 12192000"/>
                <a:gd name="connsiteY1585" fmla="*/ 82148 h 1608850"/>
                <a:gd name="connsiteX1586" fmla="*/ 10998063 w 12192000"/>
                <a:gd name="connsiteY1586" fmla="*/ 99442 h 1608850"/>
                <a:gd name="connsiteX1587" fmla="*/ 11000090 w 12192000"/>
                <a:gd name="connsiteY1587" fmla="*/ 157810 h 1608850"/>
                <a:gd name="connsiteX1588" fmla="*/ 11002116 w 12192000"/>
                <a:gd name="connsiteY1588" fmla="*/ 220501 h 1608850"/>
                <a:gd name="connsiteX1589" fmla="*/ 11008196 w 12192000"/>
                <a:gd name="connsiteY1589" fmla="*/ 226987 h 1608850"/>
                <a:gd name="connsiteX1590" fmla="*/ 11006170 w 12192000"/>
                <a:gd name="connsiteY1590" fmla="*/ 233472 h 1608850"/>
                <a:gd name="connsiteX1591" fmla="*/ 11006170 w 12192000"/>
                <a:gd name="connsiteY1591" fmla="*/ 311296 h 1608850"/>
                <a:gd name="connsiteX1592" fmla="*/ 11008196 w 12192000"/>
                <a:gd name="connsiteY1592" fmla="*/ 315620 h 1608850"/>
                <a:gd name="connsiteX1593" fmla="*/ 11008196 w 12192000"/>
                <a:gd name="connsiteY1593" fmla="*/ 337238 h 1608850"/>
                <a:gd name="connsiteX1594" fmla="*/ 11022383 w 12192000"/>
                <a:gd name="connsiteY1594" fmla="*/ 337238 h 1608850"/>
                <a:gd name="connsiteX1595" fmla="*/ 11022383 w 12192000"/>
                <a:gd name="connsiteY1595" fmla="*/ 354532 h 1608850"/>
                <a:gd name="connsiteX1596" fmla="*/ 11030491 w 12192000"/>
                <a:gd name="connsiteY1596" fmla="*/ 378311 h 1608850"/>
                <a:gd name="connsiteX1597" fmla="*/ 11024411 w 12192000"/>
                <a:gd name="connsiteY1597" fmla="*/ 382635 h 1608850"/>
                <a:gd name="connsiteX1598" fmla="*/ 11012250 w 12192000"/>
                <a:gd name="connsiteY1598" fmla="*/ 404253 h 1608850"/>
                <a:gd name="connsiteX1599" fmla="*/ 11020356 w 12192000"/>
                <a:gd name="connsiteY1599" fmla="*/ 657181 h 1608850"/>
                <a:gd name="connsiteX1600" fmla="*/ 11085211 w 12192000"/>
                <a:gd name="connsiteY1600" fmla="*/ 657181 h 1608850"/>
                <a:gd name="connsiteX1601" fmla="*/ 11085211 w 12192000"/>
                <a:gd name="connsiteY1601" fmla="*/ 732843 h 1608850"/>
                <a:gd name="connsiteX1602" fmla="*/ 11093318 w 12192000"/>
                <a:gd name="connsiteY1602" fmla="*/ 732843 h 1608850"/>
                <a:gd name="connsiteX1603" fmla="*/ 11095344 w 12192000"/>
                <a:gd name="connsiteY1603" fmla="*/ 726358 h 1608850"/>
                <a:gd name="connsiteX1604" fmla="*/ 11101424 w 12192000"/>
                <a:gd name="connsiteY1604" fmla="*/ 726358 h 1608850"/>
                <a:gd name="connsiteX1605" fmla="*/ 11103452 w 12192000"/>
                <a:gd name="connsiteY1605" fmla="*/ 735005 h 1608850"/>
                <a:gd name="connsiteX1606" fmla="*/ 11115612 w 12192000"/>
                <a:gd name="connsiteY1606" fmla="*/ 735005 h 1608850"/>
                <a:gd name="connsiteX1607" fmla="*/ 11115612 w 12192000"/>
                <a:gd name="connsiteY1607" fmla="*/ 728519 h 1608850"/>
                <a:gd name="connsiteX1608" fmla="*/ 11137904 w 12192000"/>
                <a:gd name="connsiteY1608" fmla="*/ 728519 h 1608850"/>
                <a:gd name="connsiteX1609" fmla="*/ 11137904 w 12192000"/>
                <a:gd name="connsiteY1609" fmla="*/ 735005 h 1608850"/>
                <a:gd name="connsiteX1610" fmla="*/ 11158172 w 12192000"/>
                <a:gd name="connsiteY1610" fmla="*/ 735005 h 1608850"/>
                <a:gd name="connsiteX1611" fmla="*/ 11158172 w 12192000"/>
                <a:gd name="connsiteY1611" fmla="*/ 780402 h 1608850"/>
                <a:gd name="connsiteX1612" fmla="*/ 11172359 w 12192000"/>
                <a:gd name="connsiteY1612" fmla="*/ 780402 h 1608850"/>
                <a:gd name="connsiteX1613" fmla="*/ 11172359 w 12192000"/>
                <a:gd name="connsiteY1613" fmla="*/ 767431 h 1608850"/>
                <a:gd name="connsiteX1614" fmla="*/ 11188572 w 12192000"/>
                <a:gd name="connsiteY1614" fmla="*/ 767431 h 1608850"/>
                <a:gd name="connsiteX1615" fmla="*/ 11188572 w 12192000"/>
                <a:gd name="connsiteY1615" fmla="*/ 588004 h 1608850"/>
                <a:gd name="connsiteX1616" fmla="*/ 11194652 w 12192000"/>
                <a:gd name="connsiteY1616" fmla="*/ 581518 h 1608850"/>
                <a:gd name="connsiteX1617" fmla="*/ 11267614 w 12192000"/>
                <a:gd name="connsiteY1617" fmla="*/ 581518 h 1608850"/>
                <a:gd name="connsiteX1618" fmla="*/ 11267614 w 12192000"/>
                <a:gd name="connsiteY1618" fmla="*/ 590166 h 1608850"/>
                <a:gd name="connsiteX1619" fmla="*/ 11277747 w 12192000"/>
                <a:gd name="connsiteY1619" fmla="*/ 590166 h 1608850"/>
                <a:gd name="connsiteX1620" fmla="*/ 11277747 w 12192000"/>
                <a:gd name="connsiteY1620" fmla="*/ 704740 h 1608850"/>
                <a:gd name="connsiteX1621" fmla="*/ 11300040 w 12192000"/>
                <a:gd name="connsiteY1621" fmla="*/ 704740 h 1608850"/>
                <a:gd name="connsiteX1622" fmla="*/ 11300040 w 12192000"/>
                <a:gd name="connsiteY1622" fmla="*/ 637725 h 1608850"/>
                <a:gd name="connsiteX1623" fmla="*/ 11326388 w 12192000"/>
                <a:gd name="connsiteY1623" fmla="*/ 637725 h 1608850"/>
                <a:gd name="connsiteX1624" fmla="*/ 11330440 w 12192000"/>
                <a:gd name="connsiteY1624" fmla="*/ 633401 h 1608850"/>
                <a:gd name="connsiteX1625" fmla="*/ 11338548 w 12192000"/>
                <a:gd name="connsiteY1625" fmla="*/ 633401 h 1608850"/>
                <a:gd name="connsiteX1626" fmla="*/ 11342600 w 12192000"/>
                <a:gd name="connsiteY1626" fmla="*/ 637725 h 1608850"/>
                <a:gd name="connsiteX1627" fmla="*/ 11364895 w 12192000"/>
                <a:gd name="connsiteY1627" fmla="*/ 637725 h 1608850"/>
                <a:gd name="connsiteX1628" fmla="*/ 11364895 w 12192000"/>
                <a:gd name="connsiteY1628" fmla="*/ 520989 h 1608850"/>
                <a:gd name="connsiteX1629" fmla="*/ 11421642 w 12192000"/>
                <a:gd name="connsiteY1629" fmla="*/ 510180 h 1608850"/>
                <a:gd name="connsiteX1630" fmla="*/ 11421642 w 12192000"/>
                <a:gd name="connsiteY1630" fmla="*/ 511261 h 1608850"/>
                <a:gd name="connsiteX1631" fmla="*/ 11421642 w 12192000"/>
                <a:gd name="connsiteY1631" fmla="*/ 518827 h 1608850"/>
                <a:gd name="connsiteX1632" fmla="*/ 11447988 w 12192000"/>
                <a:gd name="connsiteY1632" fmla="*/ 518827 h 1608850"/>
                <a:gd name="connsiteX1633" fmla="*/ 11447988 w 12192000"/>
                <a:gd name="connsiteY1633" fmla="*/ 773917 h 1608850"/>
                <a:gd name="connsiteX1634" fmla="*/ 11470283 w 12192000"/>
                <a:gd name="connsiteY1634" fmla="*/ 773917 h 1608850"/>
                <a:gd name="connsiteX1635" fmla="*/ 11470283 w 12192000"/>
                <a:gd name="connsiteY1635" fmla="*/ 769593 h 1608850"/>
                <a:gd name="connsiteX1636" fmla="*/ 11482443 w 12192000"/>
                <a:gd name="connsiteY1636" fmla="*/ 769593 h 1608850"/>
                <a:gd name="connsiteX1637" fmla="*/ 11482443 w 12192000"/>
                <a:gd name="connsiteY1637" fmla="*/ 773917 h 1608850"/>
                <a:gd name="connsiteX1638" fmla="*/ 11506763 w 12192000"/>
                <a:gd name="connsiteY1638" fmla="*/ 773917 h 1608850"/>
                <a:gd name="connsiteX1639" fmla="*/ 11506763 w 12192000"/>
                <a:gd name="connsiteY1639" fmla="*/ 760946 h 1608850"/>
                <a:gd name="connsiteX1640" fmla="*/ 11535136 w 12192000"/>
                <a:gd name="connsiteY1640" fmla="*/ 760946 h 1608850"/>
                <a:gd name="connsiteX1641" fmla="*/ 11547296 w 12192000"/>
                <a:gd name="connsiteY1641" fmla="*/ 756622 h 1608850"/>
                <a:gd name="connsiteX1642" fmla="*/ 11567564 w 12192000"/>
                <a:gd name="connsiteY1642" fmla="*/ 760946 h 1608850"/>
                <a:gd name="connsiteX1643" fmla="*/ 11567564 w 12192000"/>
                <a:gd name="connsiteY1643" fmla="*/ 743652 h 1608850"/>
                <a:gd name="connsiteX1644" fmla="*/ 11575671 w 12192000"/>
                <a:gd name="connsiteY1644" fmla="*/ 743652 h 1608850"/>
                <a:gd name="connsiteX1645" fmla="*/ 11575671 w 12192000"/>
                <a:gd name="connsiteY1645" fmla="*/ 730681 h 1608850"/>
                <a:gd name="connsiteX1646" fmla="*/ 11632418 w 12192000"/>
                <a:gd name="connsiteY1646" fmla="*/ 730681 h 1608850"/>
                <a:gd name="connsiteX1647" fmla="*/ 11632418 w 12192000"/>
                <a:gd name="connsiteY1647" fmla="*/ 700416 h 1608850"/>
                <a:gd name="connsiteX1648" fmla="*/ 11650658 w 12192000"/>
                <a:gd name="connsiteY1648" fmla="*/ 700416 h 1608850"/>
                <a:gd name="connsiteX1649" fmla="*/ 11650658 w 12192000"/>
                <a:gd name="connsiteY1649" fmla="*/ 693931 h 1608850"/>
                <a:gd name="connsiteX1650" fmla="*/ 11662818 w 12192000"/>
                <a:gd name="connsiteY1650" fmla="*/ 693931 h 1608850"/>
                <a:gd name="connsiteX1651" fmla="*/ 11662818 w 12192000"/>
                <a:gd name="connsiteY1651" fmla="*/ 700416 h 1608850"/>
                <a:gd name="connsiteX1652" fmla="*/ 11679031 w 12192000"/>
                <a:gd name="connsiteY1652" fmla="*/ 700416 h 1608850"/>
                <a:gd name="connsiteX1653" fmla="*/ 11679031 w 12192000"/>
                <a:gd name="connsiteY1653" fmla="*/ 750137 h 1608850"/>
                <a:gd name="connsiteX1654" fmla="*/ 11711459 w 12192000"/>
                <a:gd name="connsiteY1654" fmla="*/ 750137 h 1608850"/>
                <a:gd name="connsiteX1655" fmla="*/ 11711459 w 12192000"/>
                <a:gd name="connsiteY1655" fmla="*/ 724196 h 1608850"/>
                <a:gd name="connsiteX1656" fmla="*/ 11749966 w 12192000"/>
                <a:gd name="connsiteY1656" fmla="*/ 724196 h 1608850"/>
                <a:gd name="connsiteX1657" fmla="*/ 11749966 w 12192000"/>
                <a:gd name="connsiteY1657" fmla="*/ 693931 h 1608850"/>
                <a:gd name="connsiteX1658" fmla="*/ 11798607 w 12192000"/>
                <a:gd name="connsiteY1658" fmla="*/ 693931 h 1608850"/>
                <a:gd name="connsiteX1659" fmla="*/ 11798607 w 12192000"/>
                <a:gd name="connsiteY1659" fmla="*/ 805087 h 1608850"/>
                <a:gd name="connsiteX1660" fmla="*/ 11798607 w 12192000"/>
                <a:gd name="connsiteY1660" fmla="*/ 818866 h 1608850"/>
                <a:gd name="connsiteX1661" fmla="*/ 11864482 w 12192000"/>
                <a:gd name="connsiteY1661" fmla="*/ 818866 h 1608850"/>
                <a:gd name="connsiteX1662" fmla="*/ 11864482 w 12192000"/>
                <a:gd name="connsiteY1662" fmla="*/ 924638 h 1608850"/>
                <a:gd name="connsiteX1663" fmla="*/ 11864482 w 12192000"/>
                <a:gd name="connsiteY1663" fmla="*/ 947885 h 1608850"/>
                <a:gd name="connsiteX1664" fmla="*/ 11879442 w 12192000"/>
                <a:gd name="connsiteY1664" fmla="*/ 947885 h 1608850"/>
                <a:gd name="connsiteX1665" fmla="*/ 11879442 w 12192000"/>
                <a:gd name="connsiteY1665" fmla="*/ 946723 h 1608850"/>
                <a:gd name="connsiteX1666" fmla="*/ 11879442 w 12192000"/>
                <a:gd name="connsiteY1666" fmla="*/ 938587 h 1608850"/>
                <a:gd name="connsiteX1667" fmla="*/ 11924022 w 12192000"/>
                <a:gd name="connsiteY1667" fmla="*/ 938587 h 1608850"/>
                <a:gd name="connsiteX1668" fmla="*/ 11924022 w 12192000"/>
                <a:gd name="connsiteY1668" fmla="*/ 959508 h 1608850"/>
                <a:gd name="connsiteX1669" fmla="*/ 11926250 w 12192000"/>
                <a:gd name="connsiteY1669" fmla="*/ 960671 h 1608850"/>
                <a:gd name="connsiteX1670" fmla="*/ 11941854 w 12192000"/>
                <a:gd name="connsiteY1670" fmla="*/ 968807 h 1608850"/>
                <a:gd name="connsiteX1671" fmla="*/ 11941854 w 12192000"/>
                <a:gd name="connsiteY1671" fmla="*/ 999027 h 1608850"/>
                <a:gd name="connsiteX1672" fmla="*/ 11943247 w 12192000"/>
                <a:gd name="connsiteY1672" fmla="*/ 999609 h 1608850"/>
                <a:gd name="connsiteX1673" fmla="*/ 11952999 w 12192000"/>
                <a:gd name="connsiteY1673" fmla="*/ 1003677 h 1608850"/>
                <a:gd name="connsiteX1674" fmla="*/ 11952999 w 12192000"/>
                <a:gd name="connsiteY1674" fmla="*/ 1002515 h 1608850"/>
                <a:gd name="connsiteX1675" fmla="*/ 11952999 w 12192000"/>
                <a:gd name="connsiteY1675" fmla="*/ 994378 h 1608850"/>
                <a:gd name="connsiteX1676" fmla="*/ 11954114 w 12192000"/>
                <a:gd name="connsiteY1676" fmla="*/ 994378 h 1608850"/>
                <a:gd name="connsiteX1677" fmla="*/ 11961915 w 12192000"/>
                <a:gd name="connsiteY1677" fmla="*/ 994378 h 1608850"/>
                <a:gd name="connsiteX1678" fmla="*/ 11961915 w 12192000"/>
                <a:gd name="connsiteY1678" fmla="*/ 993506 h 1608850"/>
                <a:gd name="connsiteX1679" fmla="*/ 11961915 w 12192000"/>
                <a:gd name="connsiteY1679" fmla="*/ 987404 h 1608850"/>
                <a:gd name="connsiteX1680" fmla="*/ 11960800 w 12192000"/>
                <a:gd name="connsiteY1680" fmla="*/ 987404 h 1608850"/>
                <a:gd name="connsiteX1681" fmla="*/ 11952999 w 12192000"/>
                <a:gd name="connsiteY1681" fmla="*/ 987404 h 1608850"/>
                <a:gd name="connsiteX1682" fmla="*/ 11952999 w 12192000"/>
                <a:gd name="connsiteY1682" fmla="*/ 986242 h 1608850"/>
                <a:gd name="connsiteX1683" fmla="*/ 11952999 w 12192000"/>
                <a:gd name="connsiteY1683" fmla="*/ 978106 h 1608850"/>
                <a:gd name="connsiteX1684" fmla="*/ 11954114 w 12192000"/>
                <a:gd name="connsiteY1684" fmla="*/ 978106 h 1608850"/>
                <a:gd name="connsiteX1685" fmla="*/ 11961915 w 12192000"/>
                <a:gd name="connsiteY1685" fmla="*/ 978106 h 1608850"/>
                <a:gd name="connsiteX1686" fmla="*/ 11961915 w 12192000"/>
                <a:gd name="connsiteY1686" fmla="*/ 976943 h 1608850"/>
                <a:gd name="connsiteX1687" fmla="*/ 11961915 w 12192000"/>
                <a:gd name="connsiteY1687" fmla="*/ 968807 h 1608850"/>
                <a:gd name="connsiteX1688" fmla="*/ 11960800 w 12192000"/>
                <a:gd name="connsiteY1688" fmla="*/ 968807 h 1608850"/>
                <a:gd name="connsiteX1689" fmla="*/ 11952999 w 12192000"/>
                <a:gd name="connsiteY1689" fmla="*/ 968807 h 1608850"/>
                <a:gd name="connsiteX1690" fmla="*/ 11952999 w 12192000"/>
                <a:gd name="connsiteY1690" fmla="*/ 967645 h 1608850"/>
                <a:gd name="connsiteX1691" fmla="*/ 11952999 w 12192000"/>
                <a:gd name="connsiteY1691" fmla="*/ 959508 h 1608850"/>
                <a:gd name="connsiteX1692" fmla="*/ 11954114 w 12192000"/>
                <a:gd name="connsiteY1692" fmla="*/ 959508 h 1608850"/>
                <a:gd name="connsiteX1693" fmla="*/ 11961915 w 12192000"/>
                <a:gd name="connsiteY1693" fmla="*/ 959508 h 1608850"/>
                <a:gd name="connsiteX1694" fmla="*/ 11961915 w 12192000"/>
                <a:gd name="connsiteY1694" fmla="*/ 958637 h 1608850"/>
                <a:gd name="connsiteX1695" fmla="*/ 11961915 w 12192000"/>
                <a:gd name="connsiteY1695" fmla="*/ 952535 h 1608850"/>
                <a:gd name="connsiteX1696" fmla="*/ 11960800 w 12192000"/>
                <a:gd name="connsiteY1696" fmla="*/ 952535 h 1608850"/>
                <a:gd name="connsiteX1697" fmla="*/ 11952999 w 12192000"/>
                <a:gd name="connsiteY1697" fmla="*/ 952535 h 1608850"/>
                <a:gd name="connsiteX1698" fmla="*/ 11952999 w 12192000"/>
                <a:gd name="connsiteY1698" fmla="*/ 951372 h 1608850"/>
                <a:gd name="connsiteX1699" fmla="*/ 11952999 w 12192000"/>
                <a:gd name="connsiteY1699" fmla="*/ 943236 h 1608850"/>
                <a:gd name="connsiteX1700" fmla="*/ 11954114 w 12192000"/>
                <a:gd name="connsiteY1700" fmla="*/ 943236 h 1608850"/>
                <a:gd name="connsiteX1701" fmla="*/ 11961915 w 12192000"/>
                <a:gd name="connsiteY1701" fmla="*/ 943236 h 1608850"/>
                <a:gd name="connsiteX1702" fmla="*/ 11961915 w 12192000"/>
                <a:gd name="connsiteY1702" fmla="*/ 942074 h 1608850"/>
                <a:gd name="connsiteX1703" fmla="*/ 11961915 w 12192000"/>
                <a:gd name="connsiteY1703" fmla="*/ 933937 h 1608850"/>
                <a:gd name="connsiteX1704" fmla="*/ 11960800 w 12192000"/>
                <a:gd name="connsiteY1704" fmla="*/ 933937 h 1608850"/>
                <a:gd name="connsiteX1705" fmla="*/ 11952999 w 12192000"/>
                <a:gd name="connsiteY1705" fmla="*/ 933937 h 1608850"/>
                <a:gd name="connsiteX1706" fmla="*/ 11952999 w 12192000"/>
                <a:gd name="connsiteY1706" fmla="*/ 933066 h 1608850"/>
                <a:gd name="connsiteX1707" fmla="*/ 11952999 w 12192000"/>
                <a:gd name="connsiteY1707" fmla="*/ 926963 h 1608850"/>
                <a:gd name="connsiteX1708" fmla="*/ 11954114 w 12192000"/>
                <a:gd name="connsiteY1708" fmla="*/ 926963 h 1608850"/>
                <a:gd name="connsiteX1709" fmla="*/ 11961915 w 12192000"/>
                <a:gd name="connsiteY1709" fmla="*/ 926963 h 1608850"/>
                <a:gd name="connsiteX1710" fmla="*/ 11961915 w 12192000"/>
                <a:gd name="connsiteY1710" fmla="*/ 925801 h 1608850"/>
                <a:gd name="connsiteX1711" fmla="*/ 11961915 w 12192000"/>
                <a:gd name="connsiteY1711" fmla="*/ 917665 h 1608850"/>
                <a:gd name="connsiteX1712" fmla="*/ 11960800 w 12192000"/>
                <a:gd name="connsiteY1712" fmla="*/ 917665 h 1608850"/>
                <a:gd name="connsiteX1713" fmla="*/ 11952999 w 12192000"/>
                <a:gd name="connsiteY1713" fmla="*/ 917665 h 1608850"/>
                <a:gd name="connsiteX1714" fmla="*/ 11952999 w 12192000"/>
                <a:gd name="connsiteY1714" fmla="*/ 916503 h 1608850"/>
                <a:gd name="connsiteX1715" fmla="*/ 11952999 w 12192000"/>
                <a:gd name="connsiteY1715" fmla="*/ 908366 h 1608850"/>
                <a:gd name="connsiteX1716" fmla="*/ 11954114 w 12192000"/>
                <a:gd name="connsiteY1716" fmla="*/ 908366 h 1608850"/>
                <a:gd name="connsiteX1717" fmla="*/ 11961915 w 12192000"/>
                <a:gd name="connsiteY1717" fmla="*/ 908366 h 1608850"/>
                <a:gd name="connsiteX1718" fmla="*/ 11961915 w 12192000"/>
                <a:gd name="connsiteY1718" fmla="*/ 907204 h 1608850"/>
                <a:gd name="connsiteX1719" fmla="*/ 11961915 w 12192000"/>
                <a:gd name="connsiteY1719" fmla="*/ 899068 h 1608850"/>
                <a:gd name="connsiteX1720" fmla="*/ 11960800 w 12192000"/>
                <a:gd name="connsiteY1720" fmla="*/ 899068 h 1608850"/>
                <a:gd name="connsiteX1721" fmla="*/ 11952999 w 12192000"/>
                <a:gd name="connsiteY1721" fmla="*/ 899068 h 1608850"/>
                <a:gd name="connsiteX1722" fmla="*/ 11952999 w 12192000"/>
                <a:gd name="connsiteY1722" fmla="*/ 898196 h 1608850"/>
                <a:gd name="connsiteX1723" fmla="*/ 11952999 w 12192000"/>
                <a:gd name="connsiteY1723" fmla="*/ 892094 h 1608850"/>
                <a:gd name="connsiteX1724" fmla="*/ 11954114 w 12192000"/>
                <a:gd name="connsiteY1724" fmla="*/ 892094 h 1608850"/>
                <a:gd name="connsiteX1725" fmla="*/ 11961915 w 12192000"/>
                <a:gd name="connsiteY1725" fmla="*/ 892094 h 1608850"/>
                <a:gd name="connsiteX1726" fmla="*/ 11961915 w 12192000"/>
                <a:gd name="connsiteY1726" fmla="*/ 890931 h 1608850"/>
                <a:gd name="connsiteX1727" fmla="*/ 11961915 w 12192000"/>
                <a:gd name="connsiteY1727" fmla="*/ 882795 h 1608850"/>
                <a:gd name="connsiteX1728" fmla="*/ 11960800 w 12192000"/>
                <a:gd name="connsiteY1728" fmla="*/ 882795 h 1608850"/>
                <a:gd name="connsiteX1729" fmla="*/ 11952999 w 12192000"/>
                <a:gd name="connsiteY1729" fmla="*/ 882795 h 1608850"/>
                <a:gd name="connsiteX1730" fmla="*/ 11952999 w 12192000"/>
                <a:gd name="connsiteY1730" fmla="*/ 881633 h 1608850"/>
                <a:gd name="connsiteX1731" fmla="*/ 11952999 w 12192000"/>
                <a:gd name="connsiteY1731" fmla="*/ 873496 h 1608850"/>
                <a:gd name="connsiteX1732" fmla="*/ 11954114 w 12192000"/>
                <a:gd name="connsiteY1732" fmla="*/ 873496 h 1608850"/>
                <a:gd name="connsiteX1733" fmla="*/ 11961915 w 12192000"/>
                <a:gd name="connsiteY1733" fmla="*/ 873496 h 1608850"/>
                <a:gd name="connsiteX1734" fmla="*/ 11961915 w 12192000"/>
                <a:gd name="connsiteY1734" fmla="*/ 872625 h 1608850"/>
                <a:gd name="connsiteX1735" fmla="*/ 11961915 w 12192000"/>
                <a:gd name="connsiteY1735" fmla="*/ 866523 h 1608850"/>
                <a:gd name="connsiteX1736" fmla="*/ 11960800 w 12192000"/>
                <a:gd name="connsiteY1736" fmla="*/ 866523 h 1608850"/>
                <a:gd name="connsiteX1737" fmla="*/ 11952999 w 12192000"/>
                <a:gd name="connsiteY1737" fmla="*/ 866523 h 1608850"/>
                <a:gd name="connsiteX1738" fmla="*/ 11952999 w 12192000"/>
                <a:gd name="connsiteY1738" fmla="*/ 865360 h 1608850"/>
                <a:gd name="connsiteX1739" fmla="*/ 11952999 w 12192000"/>
                <a:gd name="connsiteY1739" fmla="*/ 857224 h 1608850"/>
                <a:gd name="connsiteX1740" fmla="*/ 11954114 w 12192000"/>
                <a:gd name="connsiteY1740" fmla="*/ 857224 h 1608850"/>
                <a:gd name="connsiteX1741" fmla="*/ 11961915 w 12192000"/>
                <a:gd name="connsiteY1741" fmla="*/ 857224 h 1608850"/>
                <a:gd name="connsiteX1742" fmla="*/ 11961915 w 12192000"/>
                <a:gd name="connsiteY1742" fmla="*/ 856062 h 1608850"/>
                <a:gd name="connsiteX1743" fmla="*/ 11961915 w 12192000"/>
                <a:gd name="connsiteY1743" fmla="*/ 847925 h 1608850"/>
                <a:gd name="connsiteX1744" fmla="*/ 11960800 w 12192000"/>
                <a:gd name="connsiteY1744" fmla="*/ 847925 h 1608850"/>
                <a:gd name="connsiteX1745" fmla="*/ 11952999 w 12192000"/>
                <a:gd name="connsiteY1745" fmla="*/ 847925 h 1608850"/>
                <a:gd name="connsiteX1746" fmla="*/ 11952999 w 12192000"/>
                <a:gd name="connsiteY1746" fmla="*/ 846763 h 1608850"/>
                <a:gd name="connsiteX1747" fmla="*/ 11952999 w 12192000"/>
                <a:gd name="connsiteY1747" fmla="*/ 838627 h 1608850"/>
                <a:gd name="connsiteX1748" fmla="*/ 11954114 w 12192000"/>
                <a:gd name="connsiteY1748" fmla="*/ 838627 h 1608850"/>
                <a:gd name="connsiteX1749" fmla="*/ 11961915 w 12192000"/>
                <a:gd name="connsiteY1749" fmla="*/ 838627 h 1608850"/>
                <a:gd name="connsiteX1750" fmla="*/ 11961915 w 12192000"/>
                <a:gd name="connsiteY1750" fmla="*/ 837755 h 1608850"/>
                <a:gd name="connsiteX1751" fmla="*/ 11961915 w 12192000"/>
                <a:gd name="connsiteY1751" fmla="*/ 831653 h 1608850"/>
                <a:gd name="connsiteX1752" fmla="*/ 11960800 w 12192000"/>
                <a:gd name="connsiteY1752" fmla="*/ 831653 h 1608850"/>
                <a:gd name="connsiteX1753" fmla="*/ 11952999 w 12192000"/>
                <a:gd name="connsiteY1753" fmla="*/ 831653 h 1608850"/>
                <a:gd name="connsiteX1754" fmla="*/ 11952999 w 12192000"/>
                <a:gd name="connsiteY1754" fmla="*/ 830491 h 1608850"/>
                <a:gd name="connsiteX1755" fmla="*/ 11952999 w 12192000"/>
                <a:gd name="connsiteY1755" fmla="*/ 822354 h 1608850"/>
                <a:gd name="connsiteX1756" fmla="*/ 11954114 w 12192000"/>
                <a:gd name="connsiteY1756" fmla="*/ 822354 h 1608850"/>
                <a:gd name="connsiteX1757" fmla="*/ 11961915 w 12192000"/>
                <a:gd name="connsiteY1757" fmla="*/ 822354 h 1608850"/>
                <a:gd name="connsiteX1758" fmla="*/ 11961915 w 12192000"/>
                <a:gd name="connsiteY1758" fmla="*/ 821192 h 1608850"/>
                <a:gd name="connsiteX1759" fmla="*/ 11961915 w 12192000"/>
                <a:gd name="connsiteY1759" fmla="*/ 813056 h 1608850"/>
                <a:gd name="connsiteX1760" fmla="*/ 11960800 w 12192000"/>
                <a:gd name="connsiteY1760" fmla="*/ 813056 h 1608850"/>
                <a:gd name="connsiteX1761" fmla="*/ 11952999 w 12192000"/>
                <a:gd name="connsiteY1761" fmla="*/ 813056 h 1608850"/>
                <a:gd name="connsiteX1762" fmla="*/ 11952999 w 12192000"/>
                <a:gd name="connsiteY1762" fmla="*/ 811893 h 1608850"/>
                <a:gd name="connsiteX1763" fmla="*/ 11952999 w 12192000"/>
                <a:gd name="connsiteY1763" fmla="*/ 803757 h 1608850"/>
                <a:gd name="connsiteX1764" fmla="*/ 11954114 w 12192000"/>
                <a:gd name="connsiteY1764" fmla="*/ 803757 h 1608850"/>
                <a:gd name="connsiteX1765" fmla="*/ 11961915 w 12192000"/>
                <a:gd name="connsiteY1765" fmla="*/ 803757 h 1608850"/>
                <a:gd name="connsiteX1766" fmla="*/ 11961915 w 12192000"/>
                <a:gd name="connsiteY1766" fmla="*/ 802885 h 1608850"/>
                <a:gd name="connsiteX1767" fmla="*/ 11961915 w 12192000"/>
                <a:gd name="connsiteY1767" fmla="*/ 796783 h 1608850"/>
                <a:gd name="connsiteX1768" fmla="*/ 11960800 w 12192000"/>
                <a:gd name="connsiteY1768" fmla="*/ 796783 h 1608850"/>
                <a:gd name="connsiteX1769" fmla="*/ 11952999 w 12192000"/>
                <a:gd name="connsiteY1769" fmla="*/ 796783 h 1608850"/>
                <a:gd name="connsiteX1770" fmla="*/ 11952999 w 12192000"/>
                <a:gd name="connsiteY1770" fmla="*/ 795621 h 1608850"/>
                <a:gd name="connsiteX1771" fmla="*/ 11952999 w 12192000"/>
                <a:gd name="connsiteY1771" fmla="*/ 787484 h 1608850"/>
                <a:gd name="connsiteX1772" fmla="*/ 11954114 w 12192000"/>
                <a:gd name="connsiteY1772" fmla="*/ 787484 h 1608850"/>
                <a:gd name="connsiteX1773" fmla="*/ 11961915 w 12192000"/>
                <a:gd name="connsiteY1773" fmla="*/ 787484 h 1608850"/>
                <a:gd name="connsiteX1774" fmla="*/ 11960800 w 12192000"/>
                <a:gd name="connsiteY1774" fmla="*/ 785741 h 1608850"/>
                <a:gd name="connsiteX1775" fmla="*/ 11952999 w 12192000"/>
                <a:gd name="connsiteY1775" fmla="*/ 773537 h 1608850"/>
                <a:gd name="connsiteX1776" fmla="*/ 11952999 w 12192000"/>
                <a:gd name="connsiteY1776" fmla="*/ 736342 h 1608850"/>
                <a:gd name="connsiteX1777" fmla="*/ 12102343 w 12192000"/>
                <a:gd name="connsiteY1777" fmla="*/ 736342 h 1608850"/>
                <a:gd name="connsiteX1778" fmla="*/ 12115716 w 12192000"/>
                <a:gd name="connsiteY1778" fmla="*/ 757264 h 1608850"/>
                <a:gd name="connsiteX1779" fmla="*/ 12115716 w 12192000"/>
                <a:gd name="connsiteY1779" fmla="*/ 803757 h 1608850"/>
                <a:gd name="connsiteX1780" fmla="*/ 12114602 w 12192000"/>
                <a:gd name="connsiteY1780" fmla="*/ 803757 h 1608850"/>
                <a:gd name="connsiteX1781" fmla="*/ 12106800 w 12192000"/>
                <a:gd name="connsiteY1781" fmla="*/ 803757 h 1608850"/>
                <a:gd name="connsiteX1782" fmla="*/ 12106800 w 12192000"/>
                <a:gd name="connsiteY1782" fmla="*/ 804919 h 1608850"/>
                <a:gd name="connsiteX1783" fmla="*/ 12106800 w 12192000"/>
                <a:gd name="connsiteY1783" fmla="*/ 813056 h 1608850"/>
                <a:gd name="connsiteX1784" fmla="*/ 12107915 w 12192000"/>
                <a:gd name="connsiteY1784" fmla="*/ 813056 h 1608850"/>
                <a:gd name="connsiteX1785" fmla="*/ 12115716 w 12192000"/>
                <a:gd name="connsiteY1785" fmla="*/ 813056 h 1608850"/>
                <a:gd name="connsiteX1786" fmla="*/ 12115716 w 12192000"/>
                <a:gd name="connsiteY1786" fmla="*/ 814218 h 1608850"/>
                <a:gd name="connsiteX1787" fmla="*/ 12115716 w 12192000"/>
                <a:gd name="connsiteY1787" fmla="*/ 822354 h 1608850"/>
                <a:gd name="connsiteX1788" fmla="*/ 12114602 w 12192000"/>
                <a:gd name="connsiteY1788" fmla="*/ 822354 h 1608850"/>
                <a:gd name="connsiteX1789" fmla="*/ 12106800 w 12192000"/>
                <a:gd name="connsiteY1789" fmla="*/ 822354 h 1608850"/>
                <a:gd name="connsiteX1790" fmla="*/ 12106800 w 12192000"/>
                <a:gd name="connsiteY1790" fmla="*/ 823516 h 1608850"/>
                <a:gd name="connsiteX1791" fmla="*/ 12106800 w 12192000"/>
                <a:gd name="connsiteY1791" fmla="*/ 831653 h 1608850"/>
                <a:gd name="connsiteX1792" fmla="*/ 12107915 w 12192000"/>
                <a:gd name="connsiteY1792" fmla="*/ 831653 h 1608850"/>
                <a:gd name="connsiteX1793" fmla="*/ 12115716 w 12192000"/>
                <a:gd name="connsiteY1793" fmla="*/ 831653 h 1608850"/>
                <a:gd name="connsiteX1794" fmla="*/ 12115716 w 12192000"/>
                <a:gd name="connsiteY1794" fmla="*/ 832525 h 1608850"/>
                <a:gd name="connsiteX1795" fmla="*/ 12115716 w 12192000"/>
                <a:gd name="connsiteY1795" fmla="*/ 838627 h 1608850"/>
                <a:gd name="connsiteX1796" fmla="*/ 12114602 w 12192000"/>
                <a:gd name="connsiteY1796" fmla="*/ 838627 h 1608850"/>
                <a:gd name="connsiteX1797" fmla="*/ 12106800 w 12192000"/>
                <a:gd name="connsiteY1797" fmla="*/ 838627 h 1608850"/>
                <a:gd name="connsiteX1798" fmla="*/ 12106800 w 12192000"/>
                <a:gd name="connsiteY1798" fmla="*/ 839789 h 1608850"/>
                <a:gd name="connsiteX1799" fmla="*/ 12106800 w 12192000"/>
                <a:gd name="connsiteY1799" fmla="*/ 847925 h 1608850"/>
                <a:gd name="connsiteX1800" fmla="*/ 12107915 w 12192000"/>
                <a:gd name="connsiteY1800" fmla="*/ 847925 h 1608850"/>
                <a:gd name="connsiteX1801" fmla="*/ 12115716 w 12192000"/>
                <a:gd name="connsiteY1801" fmla="*/ 847925 h 1608850"/>
                <a:gd name="connsiteX1802" fmla="*/ 12115716 w 12192000"/>
                <a:gd name="connsiteY1802" fmla="*/ 849088 h 1608850"/>
                <a:gd name="connsiteX1803" fmla="*/ 12115716 w 12192000"/>
                <a:gd name="connsiteY1803" fmla="*/ 857224 h 1608850"/>
                <a:gd name="connsiteX1804" fmla="*/ 12114602 w 12192000"/>
                <a:gd name="connsiteY1804" fmla="*/ 857224 h 1608850"/>
                <a:gd name="connsiteX1805" fmla="*/ 12106800 w 12192000"/>
                <a:gd name="connsiteY1805" fmla="*/ 857224 h 1608850"/>
                <a:gd name="connsiteX1806" fmla="*/ 12106800 w 12192000"/>
                <a:gd name="connsiteY1806" fmla="*/ 858386 h 1608850"/>
                <a:gd name="connsiteX1807" fmla="*/ 12106800 w 12192000"/>
                <a:gd name="connsiteY1807" fmla="*/ 866523 h 1608850"/>
                <a:gd name="connsiteX1808" fmla="*/ 12107915 w 12192000"/>
                <a:gd name="connsiteY1808" fmla="*/ 866523 h 1608850"/>
                <a:gd name="connsiteX1809" fmla="*/ 12115716 w 12192000"/>
                <a:gd name="connsiteY1809" fmla="*/ 866523 h 1608850"/>
                <a:gd name="connsiteX1810" fmla="*/ 12115716 w 12192000"/>
                <a:gd name="connsiteY1810" fmla="*/ 867394 h 1608850"/>
                <a:gd name="connsiteX1811" fmla="*/ 12115716 w 12192000"/>
                <a:gd name="connsiteY1811" fmla="*/ 873496 h 1608850"/>
                <a:gd name="connsiteX1812" fmla="*/ 12114602 w 12192000"/>
                <a:gd name="connsiteY1812" fmla="*/ 873496 h 1608850"/>
                <a:gd name="connsiteX1813" fmla="*/ 12106800 w 12192000"/>
                <a:gd name="connsiteY1813" fmla="*/ 873496 h 1608850"/>
                <a:gd name="connsiteX1814" fmla="*/ 12106800 w 12192000"/>
                <a:gd name="connsiteY1814" fmla="*/ 874659 h 1608850"/>
                <a:gd name="connsiteX1815" fmla="*/ 12106800 w 12192000"/>
                <a:gd name="connsiteY1815" fmla="*/ 882795 h 1608850"/>
                <a:gd name="connsiteX1816" fmla="*/ 12107915 w 12192000"/>
                <a:gd name="connsiteY1816" fmla="*/ 882795 h 1608850"/>
                <a:gd name="connsiteX1817" fmla="*/ 12115716 w 12192000"/>
                <a:gd name="connsiteY1817" fmla="*/ 882795 h 1608850"/>
                <a:gd name="connsiteX1818" fmla="*/ 12115716 w 12192000"/>
                <a:gd name="connsiteY1818" fmla="*/ 883957 h 1608850"/>
                <a:gd name="connsiteX1819" fmla="*/ 12115716 w 12192000"/>
                <a:gd name="connsiteY1819" fmla="*/ 892094 h 1608850"/>
                <a:gd name="connsiteX1820" fmla="*/ 12114602 w 12192000"/>
                <a:gd name="connsiteY1820" fmla="*/ 892094 h 1608850"/>
                <a:gd name="connsiteX1821" fmla="*/ 12106800 w 12192000"/>
                <a:gd name="connsiteY1821" fmla="*/ 892094 h 1608850"/>
                <a:gd name="connsiteX1822" fmla="*/ 12106800 w 12192000"/>
                <a:gd name="connsiteY1822" fmla="*/ 892965 h 1608850"/>
                <a:gd name="connsiteX1823" fmla="*/ 12106800 w 12192000"/>
                <a:gd name="connsiteY1823" fmla="*/ 899068 h 1608850"/>
                <a:gd name="connsiteX1824" fmla="*/ 12107915 w 12192000"/>
                <a:gd name="connsiteY1824" fmla="*/ 899068 h 1608850"/>
                <a:gd name="connsiteX1825" fmla="*/ 12115716 w 12192000"/>
                <a:gd name="connsiteY1825" fmla="*/ 899068 h 1608850"/>
                <a:gd name="connsiteX1826" fmla="*/ 12115716 w 12192000"/>
                <a:gd name="connsiteY1826" fmla="*/ 900230 h 1608850"/>
                <a:gd name="connsiteX1827" fmla="*/ 12115716 w 12192000"/>
                <a:gd name="connsiteY1827" fmla="*/ 908366 h 1608850"/>
                <a:gd name="connsiteX1828" fmla="*/ 12114602 w 12192000"/>
                <a:gd name="connsiteY1828" fmla="*/ 908366 h 1608850"/>
                <a:gd name="connsiteX1829" fmla="*/ 12106800 w 12192000"/>
                <a:gd name="connsiteY1829" fmla="*/ 908366 h 1608850"/>
                <a:gd name="connsiteX1830" fmla="*/ 12106800 w 12192000"/>
                <a:gd name="connsiteY1830" fmla="*/ 909528 h 1608850"/>
                <a:gd name="connsiteX1831" fmla="*/ 12106800 w 12192000"/>
                <a:gd name="connsiteY1831" fmla="*/ 917665 h 1608850"/>
                <a:gd name="connsiteX1832" fmla="*/ 12107915 w 12192000"/>
                <a:gd name="connsiteY1832" fmla="*/ 917665 h 1608850"/>
                <a:gd name="connsiteX1833" fmla="*/ 12115716 w 12192000"/>
                <a:gd name="connsiteY1833" fmla="*/ 917665 h 1608850"/>
                <a:gd name="connsiteX1834" fmla="*/ 12115716 w 12192000"/>
                <a:gd name="connsiteY1834" fmla="*/ 918827 h 1608850"/>
                <a:gd name="connsiteX1835" fmla="*/ 12115716 w 12192000"/>
                <a:gd name="connsiteY1835" fmla="*/ 926963 h 1608850"/>
                <a:gd name="connsiteX1836" fmla="*/ 12114602 w 12192000"/>
                <a:gd name="connsiteY1836" fmla="*/ 926963 h 1608850"/>
                <a:gd name="connsiteX1837" fmla="*/ 12106800 w 12192000"/>
                <a:gd name="connsiteY1837" fmla="*/ 926963 h 1608850"/>
                <a:gd name="connsiteX1838" fmla="*/ 12106800 w 12192000"/>
                <a:gd name="connsiteY1838" fmla="*/ 927835 h 1608850"/>
                <a:gd name="connsiteX1839" fmla="*/ 12106800 w 12192000"/>
                <a:gd name="connsiteY1839" fmla="*/ 933937 h 1608850"/>
                <a:gd name="connsiteX1840" fmla="*/ 12107915 w 12192000"/>
                <a:gd name="connsiteY1840" fmla="*/ 933937 h 1608850"/>
                <a:gd name="connsiteX1841" fmla="*/ 12115716 w 12192000"/>
                <a:gd name="connsiteY1841" fmla="*/ 933937 h 1608850"/>
                <a:gd name="connsiteX1842" fmla="*/ 12115716 w 12192000"/>
                <a:gd name="connsiteY1842" fmla="*/ 935100 h 1608850"/>
                <a:gd name="connsiteX1843" fmla="*/ 12115716 w 12192000"/>
                <a:gd name="connsiteY1843" fmla="*/ 943236 h 1608850"/>
                <a:gd name="connsiteX1844" fmla="*/ 12114602 w 12192000"/>
                <a:gd name="connsiteY1844" fmla="*/ 943236 h 1608850"/>
                <a:gd name="connsiteX1845" fmla="*/ 12106800 w 12192000"/>
                <a:gd name="connsiteY1845" fmla="*/ 943236 h 1608850"/>
                <a:gd name="connsiteX1846" fmla="*/ 12106800 w 12192000"/>
                <a:gd name="connsiteY1846" fmla="*/ 944398 h 1608850"/>
                <a:gd name="connsiteX1847" fmla="*/ 12106800 w 12192000"/>
                <a:gd name="connsiteY1847" fmla="*/ 952535 h 1608850"/>
                <a:gd name="connsiteX1848" fmla="*/ 12107915 w 12192000"/>
                <a:gd name="connsiteY1848" fmla="*/ 952535 h 1608850"/>
                <a:gd name="connsiteX1849" fmla="*/ 12115716 w 12192000"/>
                <a:gd name="connsiteY1849" fmla="*/ 952535 h 1608850"/>
                <a:gd name="connsiteX1850" fmla="*/ 12115716 w 12192000"/>
                <a:gd name="connsiteY1850" fmla="*/ 953406 h 1608850"/>
                <a:gd name="connsiteX1851" fmla="*/ 12115716 w 12192000"/>
                <a:gd name="connsiteY1851" fmla="*/ 959508 h 1608850"/>
                <a:gd name="connsiteX1852" fmla="*/ 12114602 w 12192000"/>
                <a:gd name="connsiteY1852" fmla="*/ 959508 h 1608850"/>
                <a:gd name="connsiteX1853" fmla="*/ 12106800 w 12192000"/>
                <a:gd name="connsiteY1853" fmla="*/ 959508 h 1608850"/>
                <a:gd name="connsiteX1854" fmla="*/ 12106800 w 12192000"/>
                <a:gd name="connsiteY1854" fmla="*/ 960671 h 1608850"/>
                <a:gd name="connsiteX1855" fmla="*/ 12106800 w 12192000"/>
                <a:gd name="connsiteY1855" fmla="*/ 968807 h 1608850"/>
                <a:gd name="connsiteX1856" fmla="*/ 12107915 w 12192000"/>
                <a:gd name="connsiteY1856" fmla="*/ 968807 h 1608850"/>
                <a:gd name="connsiteX1857" fmla="*/ 12115716 w 12192000"/>
                <a:gd name="connsiteY1857" fmla="*/ 968807 h 1608850"/>
                <a:gd name="connsiteX1858" fmla="*/ 12115716 w 12192000"/>
                <a:gd name="connsiteY1858" fmla="*/ 969969 h 1608850"/>
                <a:gd name="connsiteX1859" fmla="*/ 12115716 w 12192000"/>
                <a:gd name="connsiteY1859" fmla="*/ 978106 h 1608850"/>
                <a:gd name="connsiteX1860" fmla="*/ 12114602 w 12192000"/>
                <a:gd name="connsiteY1860" fmla="*/ 978106 h 1608850"/>
                <a:gd name="connsiteX1861" fmla="*/ 12106800 w 12192000"/>
                <a:gd name="connsiteY1861" fmla="*/ 978106 h 1608850"/>
                <a:gd name="connsiteX1862" fmla="*/ 12106800 w 12192000"/>
                <a:gd name="connsiteY1862" fmla="*/ 979268 h 1608850"/>
                <a:gd name="connsiteX1863" fmla="*/ 12106800 w 12192000"/>
                <a:gd name="connsiteY1863" fmla="*/ 987404 h 1608850"/>
                <a:gd name="connsiteX1864" fmla="*/ 12107915 w 12192000"/>
                <a:gd name="connsiteY1864" fmla="*/ 987404 h 1608850"/>
                <a:gd name="connsiteX1865" fmla="*/ 12115716 w 12192000"/>
                <a:gd name="connsiteY1865" fmla="*/ 987404 h 1608850"/>
                <a:gd name="connsiteX1866" fmla="*/ 12115716 w 12192000"/>
                <a:gd name="connsiteY1866" fmla="*/ 988276 h 1608850"/>
                <a:gd name="connsiteX1867" fmla="*/ 12115716 w 12192000"/>
                <a:gd name="connsiteY1867" fmla="*/ 994378 h 1608850"/>
                <a:gd name="connsiteX1868" fmla="*/ 12114602 w 12192000"/>
                <a:gd name="connsiteY1868" fmla="*/ 994378 h 1608850"/>
                <a:gd name="connsiteX1869" fmla="*/ 12106800 w 12192000"/>
                <a:gd name="connsiteY1869" fmla="*/ 994378 h 1608850"/>
                <a:gd name="connsiteX1870" fmla="*/ 12106800 w 12192000"/>
                <a:gd name="connsiteY1870" fmla="*/ 995540 h 1608850"/>
                <a:gd name="connsiteX1871" fmla="*/ 12106800 w 12192000"/>
                <a:gd name="connsiteY1871" fmla="*/ 1003677 h 1608850"/>
                <a:gd name="connsiteX1872" fmla="*/ 12131319 w 12192000"/>
                <a:gd name="connsiteY1872" fmla="*/ 1024599 h 1608850"/>
                <a:gd name="connsiteX1873" fmla="*/ 12130206 w 12192000"/>
                <a:gd name="connsiteY1873" fmla="*/ 1029248 h 1608850"/>
                <a:gd name="connsiteX1874" fmla="*/ 12122403 w 12192000"/>
                <a:gd name="connsiteY1874" fmla="*/ 1029248 h 1608850"/>
                <a:gd name="connsiteX1875" fmla="*/ 12122403 w 12192000"/>
                <a:gd name="connsiteY1875" fmla="*/ 1040036 h 1608850"/>
                <a:gd name="connsiteX1876" fmla="*/ 12122403 w 12192000"/>
                <a:gd name="connsiteY1876" fmla="*/ 1046874 h 1608850"/>
                <a:gd name="connsiteX1877" fmla="*/ 12131319 w 12192000"/>
                <a:gd name="connsiteY1877" fmla="*/ 1046874 h 1608850"/>
                <a:gd name="connsiteX1878" fmla="*/ 12131319 w 12192000"/>
                <a:gd name="connsiteY1878" fmla="*/ 1043196 h 1608850"/>
                <a:gd name="connsiteX1879" fmla="*/ 12132434 w 12192000"/>
                <a:gd name="connsiteY1879" fmla="*/ 1042615 h 1608850"/>
                <a:gd name="connsiteX1880" fmla="*/ 12140235 w 12192000"/>
                <a:gd name="connsiteY1880" fmla="*/ 1038547 h 1608850"/>
                <a:gd name="connsiteX1881" fmla="*/ 12142186 w 12192000"/>
                <a:gd name="connsiteY1881" fmla="*/ 1038547 h 1608850"/>
                <a:gd name="connsiteX1882" fmla="*/ 12155839 w 12192000"/>
                <a:gd name="connsiteY1882" fmla="*/ 1038547 h 1608850"/>
                <a:gd name="connsiteX1883" fmla="*/ 12155839 w 12192000"/>
                <a:gd name="connsiteY1883" fmla="*/ 1039709 h 1608850"/>
                <a:gd name="connsiteX1884" fmla="*/ 12155839 w 12192000"/>
                <a:gd name="connsiteY1884" fmla="*/ 1046874 h 1608850"/>
                <a:gd name="connsiteX1885" fmla="*/ 12192000 w 12192000"/>
                <a:gd name="connsiteY1885" fmla="*/ 1046874 h 1608850"/>
                <a:gd name="connsiteX1886" fmla="*/ 12192000 w 12192000"/>
                <a:gd name="connsiteY1886" fmla="*/ 1070905 h 1608850"/>
                <a:gd name="connsiteX1887" fmla="*/ 12192000 w 12192000"/>
                <a:gd name="connsiteY1887" fmla="*/ 1121663 h 1608850"/>
                <a:gd name="connsiteX1888" fmla="*/ 12192000 w 12192000"/>
                <a:gd name="connsiteY1888" fmla="*/ 1608850 h 1608850"/>
                <a:gd name="connsiteX1889" fmla="*/ 0 w 12192000"/>
                <a:gd name="connsiteY1889" fmla="*/ 1608850 h 1608850"/>
                <a:gd name="connsiteX1890" fmla="*/ 0 w 12192000"/>
                <a:gd name="connsiteY1890" fmla="*/ 1046874 h 1608850"/>
                <a:gd name="connsiteX1891" fmla="*/ 65773 w 12192000"/>
                <a:gd name="connsiteY1891" fmla="*/ 1046874 h 1608850"/>
                <a:gd name="connsiteX1892" fmla="*/ 82231 w 12192000"/>
                <a:gd name="connsiteY1892" fmla="*/ 1045519 h 1608850"/>
                <a:gd name="connsiteX1893" fmla="*/ 82231 w 12192000"/>
                <a:gd name="connsiteY1893" fmla="*/ 1012974 h 1608850"/>
                <a:gd name="connsiteX1894" fmla="*/ 126811 w 12192000"/>
                <a:gd name="connsiteY1894" fmla="*/ 1012974 h 1608850"/>
                <a:gd name="connsiteX1895" fmla="*/ 126811 w 12192000"/>
                <a:gd name="connsiteY1895" fmla="*/ 994377 h 1608850"/>
                <a:gd name="connsiteX1896" fmla="*/ 220430 w 12192000"/>
                <a:gd name="connsiteY1896" fmla="*/ 994377 h 1608850"/>
                <a:gd name="connsiteX1897" fmla="*/ 220430 w 12192000"/>
                <a:gd name="connsiteY1897" fmla="*/ 1006000 h 1608850"/>
                <a:gd name="connsiteX1898" fmla="*/ 280612 w 12192000"/>
                <a:gd name="connsiteY1898" fmla="*/ 1006000 h 1608850"/>
                <a:gd name="connsiteX1899" fmla="*/ 280612 w 12192000"/>
                <a:gd name="connsiteY1899" fmla="*/ 1012974 h 1608850"/>
                <a:gd name="connsiteX1900" fmla="*/ 298444 w 12192000"/>
                <a:gd name="connsiteY1900" fmla="*/ 1012974 h 1608850"/>
                <a:gd name="connsiteX1901" fmla="*/ 298444 w 12192000"/>
                <a:gd name="connsiteY1901" fmla="*/ 1019948 h 1608850"/>
                <a:gd name="connsiteX1902" fmla="*/ 314048 w 12192000"/>
                <a:gd name="connsiteY1902" fmla="*/ 1019948 h 1608850"/>
                <a:gd name="connsiteX1903" fmla="*/ 314048 w 12192000"/>
                <a:gd name="connsiteY1903" fmla="*/ 915339 h 1608850"/>
                <a:gd name="connsiteX1904" fmla="*/ 360858 w 12192000"/>
                <a:gd name="connsiteY1904" fmla="*/ 901391 h 1608850"/>
                <a:gd name="connsiteX1905" fmla="*/ 447789 w 12192000"/>
                <a:gd name="connsiteY1905" fmla="*/ 901391 h 1608850"/>
                <a:gd name="connsiteX1906" fmla="*/ 447789 w 12192000"/>
                <a:gd name="connsiteY1906" fmla="*/ 734017 h 1608850"/>
                <a:gd name="connsiteX1907" fmla="*/ 472308 w 12192000"/>
                <a:gd name="connsiteY1907" fmla="*/ 722393 h 1608850"/>
                <a:gd name="connsiteX1908" fmla="*/ 579301 w 12192000"/>
                <a:gd name="connsiteY1908" fmla="*/ 703796 h 1608850"/>
                <a:gd name="connsiteX1909" fmla="*/ 617194 w 12192000"/>
                <a:gd name="connsiteY1909" fmla="*/ 715419 h 1608850"/>
                <a:gd name="connsiteX1910" fmla="*/ 623881 w 12192000"/>
                <a:gd name="connsiteY1910" fmla="*/ 722393 h 1608850"/>
                <a:gd name="connsiteX1911" fmla="*/ 623881 w 12192000"/>
                <a:gd name="connsiteY1911" fmla="*/ 1033896 h 1608850"/>
                <a:gd name="connsiteX1912" fmla="*/ 639484 w 12192000"/>
                <a:gd name="connsiteY1912" fmla="*/ 1033896 h 1608850"/>
                <a:gd name="connsiteX1913" fmla="*/ 639484 w 12192000"/>
                <a:gd name="connsiteY1913" fmla="*/ 908365 h 1608850"/>
                <a:gd name="connsiteX1914" fmla="*/ 652858 w 12192000"/>
                <a:gd name="connsiteY1914" fmla="*/ 908365 h 1608850"/>
                <a:gd name="connsiteX1915" fmla="*/ 652858 w 12192000"/>
                <a:gd name="connsiteY1915" fmla="*/ 896742 h 1608850"/>
                <a:gd name="connsiteX1916" fmla="*/ 666232 w 12192000"/>
                <a:gd name="connsiteY1916" fmla="*/ 889768 h 1608850"/>
                <a:gd name="connsiteX1917" fmla="*/ 677377 w 12192000"/>
                <a:gd name="connsiteY1917" fmla="*/ 889768 h 1608850"/>
                <a:gd name="connsiteX1918" fmla="*/ 677377 w 12192000"/>
                <a:gd name="connsiteY1918" fmla="*/ 878145 h 1608850"/>
                <a:gd name="connsiteX1919" fmla="*/ 686293 w 12192000"/>
                <a:gd name="connsiteY1919" fmla="*/ 871171 h 1608850"/>
                <a:gd name="connsiteX1920" fmla="*/ 708584 w 12192000"/>
                <a:gd name="connsiteY1920" fmla="*/ 871171 h 1608850"/>
                <a:gd name="connsiteX1921" fmla="*/ 708584 w 12192000"/>
                <a:gd name="connsiteY1921" fmla="*/ 908365 h 1608850"/>
                <a:gd name="connsiteX1922" fmla="*/ 755393 w 12192000"/>
                <a:gd name="connsiteY1922" fmla="*/ 908365 h 1608850"/>
                <a:gd name="connsiteX1923" fmla="*/ 755393 w 12192000"/>
                <a:gd name="connsiteY1923" fmla="*/ 1038546 h 1608850"/>
                <a:gd name="connsiteX1924" fmla="*/ 773225 w 12192000"/>
                <a:gd name="connsiteY1924" fmla="*/ 1038546 h 1608850"/>
                <a:gd name="connsiteX1925" fmla="*/ 791057 w 12192000"/>
                <a:gd name="connsiteY1925" fmla="*/ 1031572 h 1608850"/>
                <a:gd name="connsiteX1926" fmla="*/ 791057 w 12192000"/>
                <a:gd name="connsiteY1926" fmla="*/ 1022273 h 1608850"/>
                <a:gd name="connsiteX1927" fmla="*/ 784370 w 12192000"/>
                <a:gd name="connsiteY1927" fmla="*/ 1019948 h 1608850"/>
                <a:gd name="connsiteX1928" fmla="*/ 784370 w 12192000"/>
                <a:gd name="connsiteY1928" fmla="*/ 1012974 h 1608850"/>
                <a:gd name="connsiteX1929" fmla="*/ 791057 w 12192000"/>
                <a:gd name="connsiteY1929" fmla="*/ 1008325 h 1608850"/>
                <a:gd name="connsiteX1930" fmla="*/ 791057 w 12192000"/>
                <a:gd name="connsiteY1930" fmla="*/ 957183 h 1608850"/>
                <a:gd name="connsiteX1931" fmla="*/ 784370 w 12192000"/>
                <a:gd name="connsiteY1931" fmla="*/ 954858 h 1608850"/>
                <a:gd name="connsiteX1932" fmla="*/ 784370 w 12192000"/>
                <a:gd name="connsiteY1932" fmla="*/ 947884 h 1608850"/>
                <a:gd name="connsiteX1933" fmla="*/ 791057 w 12192000"/>
                <a:gd name="connsiteY1933" fmla="*/ 943235 h 1608850"/>
                <a:gd name="connsiteX1934" fmla="*/ 795515 w 12192000"/>
                <a:gd name="connsiteY1934" fmla="*/ 938586 h 1608850"/>
                <a:gd name="connsiteX1935" fmla="*/ 795515 w 12192000"/>
                <a:gd name="connsiteY1935" fmla="*/ 929287 h 1608850"/>
                <a:gd name="connsiteX1936" fmla="*/ 791057 w 12192000"/>
                <a:gd name="connsiteY1936" fmla="*/ 929287 h 1608850"/>
                <a:gd name="connsiteX1937" fmla="*/ 791057 w 12192000"/>
                <a:gd name="connsiteY1937" fmla="*/ 922313 h 1608850"/>
                <a:gd name="connsiteX1938" fmla="*/ 797744 w 12192000"/>
                <a:gd name="connsiteY1938" fmla="*/ 917664 h 1608850"/>
                <a:gd name="connsiteX1939" fmla="*/ 833408 w 12192000"/>
                <a:gd name="connsiteY1939" fmla="*/ 852574 h 1608850"/>
                <a:gd name="connsiteX1940" fmla="*/ 828950 w 12192000"/>
                <a:gd name="connsiteY1940" fmla="*/ 850249 h 1608850"/>
                <a:gd name="connsiteX1941" fmla="*/ 828950 w 12192000"/>
                <a:gd name="connsiteY1941" fmla="*/ 843275 h 1608850"/>
                <a:gd name="connsiteX1942" fmla="*/ 835637 w 12192000"/>
                <a:gd name="connsiteY1942" fmla="*/ 840950 h 1608850"/>
                <a:gd name="connsiteX1943" fmla="*/ 835637 w 12192000"/>
                <a:gd name="connsiteY1943" fmla="*/ 831652 h 1608850"/>
                <a:gd name="connsiteX1944" fmla="*/ 840095 w 12192000"/>
                <a:gd name="connsiteY1944" fmla="*/ 831652 h 1608850"/>
                <a:gd name="connsiteX1945" fmla="*/ 840095 w 12192000"/>
                <a:gd name="connsiteY1945" fmla="*/ 810730 h 1608850"/>
                <a:gd name="connsiteX1946" fmla="*/ 835637 w 12192000"/>
                <a:gd name="connsiteY1946" fmla="*/ 810730 h 1608850"/>
                <a:gd name="connsiteX1947" fmla="*/ 835637 w 12192000"/>
                <a:gd name="connsiteY1947" fmla="*/ 806081 h 1608850"/>
                <a:gd name="connsiteX1948" fmla="*/ 840095 w 12192000"/>
                <a:gd name="connsiteY1948" fmla="*/ 803756 h 1608850"/>
                <a:gd name="connsiteX1949" fmla="*/ 851240 w 12192000"/>
                <a:gd name="connsiteY1949" fmla="*/ 787483 h 1608850"/>
                <a:gd name="connsiteX1950" fmla="*/ 853469 w 12192000"/>
                <a:gd name="connsiteY1950" fmla="*/ 778185 h 1608850"/>
                <a:gd name="connsiteX1951" fmla="*/ 853469 w 12192000"/>
                <a:gd name="connsiteY1951" fmla="*/ 752614 h 1608850"/>
                <a:gd name="connsiteX1952" fmla="*/ 853748 w 12192000"/>
                <a:gd name="connsiteY1952" fmla="*/ 751742 h 1608850"/>
                <a:gd name="connsiteX1953" fmla="*/ 855698 w 12192000"/>
                <a:gd name="connsiteY1953" fmla="*/ 745640 h 1608850"/>
                <a:gd name="connsiteX1954" fmla="*/ 855977 w 12192000"/>
                <a:gd name="connsiteY1954" fmla="*/ 746512 h 1608850"/>
                <a:gd name="connsiteX1955" fmla="*/ 857927 w 12192000"/>
                <a:gd name="connsiteY1955" fmla="*/ 752614 h 1608850"/>
                <a:gd name="connsiteX1956" fmla="*/ 860156 w 12192000"/>
                <a:gd name="connsiteY1956" fmla="*/ 778185 h 1608850"/>
                <a:gd name="connsiteX1957" fmla="*/ 860156 w 12192000"/>
                <a:gd name="connsiteY1957" fmla="*/ 785159 h 1608850"/>
                <a:gd name="connsiteX1958" fmla="*/ 871302 w 12192000"/>
                <a:gd name="connsiteY1958" fmla="*/ 803756 h 1608850"/>
                <a:gd name="connsiteX1959" fmla="*/ 875760 w 12192000"/>
                <a:gd name="connsiteY1959" fmla="*/ 806081 h 1608850"/>
                <a:gd name="connsiteX1960" fmla="*/ 875760 w 12192000"/>
                <a:gd name="connsiteY1960" fmla="*/ 810730 h 1608850"/>
                <a:gd name="connsiteX1961" fmla="*/ 873531 w 12192000"/>
                <a:gd name="connsiteY1961" fmla="*/ 831652 h 1608850"/>
                <a:gd name="connsiteX1962" fmla="*/ 877989 w 12192000"/>
                <a:gd name="connsiteY1962" fmla="*/ 840950 h 1608850"/>
                <a:gd name="connsiteX1963" fmla="*/ 882447 w 12192000"/>
                <a:gd name="connsiteY1963" fmla="*/ 843275 h 1608850"/>
                <a:gd name="connsiteX1964" fmla="*/ 882447 w 12192000"/>
                <a:gd name="connsiteY1964" fmla="*/ 850249 h 1608850"/>
                <a:gd name="connsiteX1965" fmla="*/ 877989 w 12192000"/>
                <a:gd name="connsiteY1965" fmla="*/ 852574 h 1608850"/>
                <a:gd name="connsiteX1966" fmla="*/ 904180 w 12192000"/>
                <a:gd name="connsiteY1966" fmla="*/ 879888 h 1608850"/>
                <a:gd name="connsiteX1967" fmla="*/ 913070 w 12192000"/>
                <a:gd name="connsiteY1967" fmla="*/ 915339 h 1608850"/>
                <a:gd name="connsiteX1968" fmla="*/ 944859 w 12192000"/>
                <a:gd name="connsiteY1968" fmla="*/ 915339 h 1608850"/>
                <a:gd name="connsiteX1969" fmla="*/ 944859 w 12192000"/>
                <a:gd name="connsiteY1969" fmla="*/ 886329 h 1608850"/>
                <a:gd name="connsiteX1970" fmla="*/ 939475 w 12192000"/>
                <a:gd name="connsiteY1970" fmla="*/ 886329 h 1608850"/>
                <a:gd name="connsiteX1971" fmla="*/ 939475 w 12192000"/>
                <a:gd name="connsiteY1971" fmla="*/ 724196 h 1608850"/>
                <a:gd name="connsiteX1972" fmla="*/ 959742 w 12192000"/>
                <a:gd name="connsiteY1972" fmla="*/ 724196 h 1608850"/>
                <a:gd name="connsiteX1973" fmla="*/ 960249 w 12192000"/>
                <a:gd name="connsiteY1973" fmla="*/ 723115 h 1608850"/>
                <a:gd name="connsiteX1974" fmla="*/ 963795 w 12192000"/>
                <a:gd name="connsiteY1974" fmla="*/ 715549 h 1608850"/>
                <a:gd name="connsiteX1975" fmla="*/ 965569 w 12192000"/>
                <a:gd name="connsiteY1975" fmla="*/ 715819 h 1608850"/>
                <a:gd name="connsiteX1976" fmla="*/ 977982 w 12192000"/>
                <a:gd name="connsiteY1976" fmla="*/ 717710 h 1608850"/>
                <a:gd name="connsiteX1977" fmla="*/ 978489 w 12192000"/>
                <a:gd name="connsiteY1977" fmla="*/ 719062 h 1608850"/>
                <a:gd name="connsiteX1978" fmla="*/ 982035 w 12192000"/>
                <a:gd name="connsiteY1978" fmla="*/ 728519 h 1608850"/>
                <a:gd name="connsiteX1979" fmla="*/ 1008382 w 12192000"/>
                <a:gd name="connsiteY1979" fmla="*/ 730681 h 1608850"/>
                <a:gd name="connsiteX1980" fmla="*/ 1008382 w 12192000"/>
                <a:gd name="connsiteY1980" fmla="*/ 607460 h 1608850"/>
                <a:gd name="connsiteX1981" fmla="*/ 1010409 w 12192000"/>
                <a:gd name="connsiteY1981" fmla="*/ 607460 h 1608850"/>
                <a:gd name="connsiteX1982" fmla="*/ 1024597 w 12192000"/>
                <a:gd name="connsiteY1982" fmla="*/ 607460 h 1608850"/>
                <a:gd name="connsiteX1983" fmla="*/ 1024597 w 12192000"/>
                <a:gd name="connsiteY1983" fmla="*/ 471268 h 1608850"/>
                <a:gd name="connsiteX1984" fmla="*/ 1026369 w 12192000"/>
                <a:gd name="connsiteY1984" fmla="*/ 471268 h 1608850"/>
                <a:gd name="connsiteX1985" fmla="*/ 1038783 w 12192000"/>
                <a:gd name="connsiteY1985" fmla="*/ 471268 h 1608850"/>
                <a:gd name="connsiteX1986" fmla="*/ 1038783 w 12192000"/>
                <a:gd name="connsiteY1986" fmla="*/ 356694 h 1608850"/>
                <a:gd name="connsiteX1987" fmla="*/ 1042837 w 12192000"/>
                <a:gd name="connsiteY1987" fmla="*/ 328590 h 1608850"/>
                <a:gd name="connsiteX1988" fmla="*/ 1044863 w 12192000"/>
                <a:gd name="connsiteY1988" fmla="*/ 328590 h 1608850"/>
                <a:gd name="connsiteX1989" fmla="*/ 1059050 w 12192000"/>
                <a:gd name="connsiteY1989" fmla="*/ 328590 h 1608850"/>
                <a:gd name="connsiteX1990" fmla="*/ 1095531 w 12192000"/>
                <a:gd name="connsiteY1990" fmla="*/ 246443 h 1608850"/>
                <a:gd name="connsiteX1991" fmla="*/ 1099585 w 12192000"/>
                <a:gd name="connsiteY1991" fmla="*/ 0 h 160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</a:cxnLst>
              <a:rect l="l" t="t" r="r" b="b"/>
              <a:pathLst>
                <a:path w="12192000" h="1608850">
                  <a:moveTo>
                    <a:pt x="8760317" y="780798"/>
                  </a:moveTo>
                  <a:lnTo>
                    <a:pt x="8760317" y="785159"/>
                  </a:lnTo>
                  <a:lnTo>
                    <a:pt x="8761882" y="787771"/>
                  </a:lnTo>
                  <a:lnTo>
                    <a:pt x="8762996" y="787771"/>
                  </a:lnTo>
                  <a:cubicBezTo>
                    <a:pt x="8762996" y="787771"/>
                    <a:pt x="8762996" y="787771"/>
                    <a:pt x="8762996" y="786900"/>
                  </a:cubicBezTo>
                  <a:lnTo>
                    <a:pt x="8762996" y="780798"/>
                  </a:lnTo>
                  <a:cubicBezTo>
                    <a:pt x="8762996" y="780798"/>
                    <a:pt x="8762996" y="780798"/>
                    <a:pt x="8761881" y="780798"/>
                  </a:cubicBezTo>
                  <a:close/>
                  <a:moveTo>
                    <a:pt x="8758924" y="762200"/>
                  </a:moveTo>
                  <a:lnTo>
                    <a:pt x="8759734" y="771499"/>
                  </a:lnTo>
                  <a:lnTo>
                    <a:pt x="8762996" y="771499"/>
                  </a:lnTo>
                  <a:cubicBezTo>
                    <a:pt x="8762996" y="771499"/>
                    <a:pt x="8762996" y="771499"/>
                    <a:pt x="8762996" y="770337"/>
                  </a:cubicBezTo>
                  <a:lnTo>
                    <a:pt x="8762996" y="762200"/>
                  </a:lnTo>
                  <a:cubicBezTo>
                    <a:pt x="8762996" y="762200"/>
                    <a:pt x="8762996" y="762200"/>
                    <a:pt x="8761881" y="762200"/>
                  </a:cubicBezTo>
                  <a:close/>
                  <a:moveTo>
                    <a:pt x="8755951" y="745928"/>
                  </a:moveTo>
                  <a:lnTo>
                    <a:pt x="8756137" y="746512"/>
                  </a:lnTo>
                  <a:lnTo>
                    <a:pt x="8758088" y="752614"/>
                  </a:lnTo>
                  <a:lnTo>
                    <a:pt x="8758113" y="752902"/>
                  </a:lnTo>
                  <a:lnTo>
                    <a:pt x="8762996" y="752902"/>
                  </a:lnTo>
                  <a:cubicBezTo>
                    <a:pt x="8762996" y="752902"/>
                    <a:pt x="8762996" y="752902"/>
                    <a:pt x="8762996" y="752030"/>
                  </a:cubicBezTo>
                  <a:lnTo>
                    <a:pt x="8762996" y="745928"/>
                  </a:lnTo>
                  <a:cubicBezTo>
                    <a:pt x="8762996" y="745928"/>
                    <a:pt x="8762996" y="745928"/>
                    <a:pt x="8761881" y="745928"/>
                  </a:cubicBezTo>
                  <a:close/>
                  <a:moveTo>
                    <a:pt x="8907881" y="718032"/>
                  </a:moveTo>
                  <a:cubicBezTo>
                    <a:pt x="8907881" y="718032"/>
                    <a:pt x="8907881" y="718032"/>
                    <a:pt x="8907881" y="719194"/>
                  </a:cubicBezTo>
                  <a:lnTo>
                    <a:pt x="8907881" y="727331"/>
                  </a:lnTo>
                  <a:lnTo>
                    <a:pt x="8908543" y="727331"/>
                  </a:lnTo>
                  <a:lnTo>
                    <a:pt x="8908543" y="718032"/>
                  </a:lnTo>
                  <a:close/>
                  <a:moveTo>
                    <a:pt x="1099585" y="0"/>
                  </a:moveTo>
                  <a:cubicBezTo>
                    <a:pt x="1099585" y="18"/>
                    <a:pt x="1099601" y="2040"/>
                    <a:pt x="1101611" y="246443"/>
                  </a:cubicBezTo>
                  <a:cubicBezTo>
                    <a:pt x="1101623" y="246467"/>
                    <a:pt x="1102267" y="247808"/>
                    <a:pt x="1140117" y="326429"/>
                  </a:cubicBezTo>
                  <a:cubicBezTo>
                    <a:pt x="1140125" y="326429"/>
                    <a:pt x="1140236" y="326429"/>
                    <a:pt x="1142145" y="326429"/>
                  </a:cubicBezTo>
                  <a:lnTo>
                    <a:pt x="1156331" y="326429"/>
                  </a:lnTo>
                  <a:cubicBezTo>
                    <a:pt x="1156331" y="326443"/>
                    <a:pt x="1156331" y="327005"/>
                    <a:pt x="1156331" y="350208"/>
                  </a:cubicBezTo>
                  <a:cubicBezTo>
                    <a:pt x="1156333" y="350214"/>
                    <a:pt x="1156371" y="350272"/>
                    <a:pt x="1156839" y="351019"/>
                  </a:cubicBezTo>
                  <a:lnTo>
                    <a:pt x="1160385" y="356694"/>
                  </a:lnTo>
                  <a:cubicBezTo>
                    <a:pt x="1160385" y="356714"/>
                    <a:pt x="1160385" y="358229"/>
                    <a:pt x="1160385" y="471268"/>
                  </a:cubicBezTo>
                  <a:cubicBezTo>
                    <a:pt x="1160393" y="471268"/>
                    <a:pt x="1160533" y="471268"/>
                    <a:pt x="1162664" y="471268"/>
                  </a:cubicBezTo>
                  <a:lnTo>
                    <a:pt x="1178625" y="471268"/>
                  </a:lnTo>
                  <a:cubicBezTo>
                    <a:pt x="1178625" y="471288"/>
                    <a:pt x="1178625" y="472923"/>
                    <a:pt x="1178625" y="611783"/>
                  </a:cubicBezTo>
                  <a:cubicBezTo>
                    <a:pt x="1178635" y="611782"/>
                    <a:pt x="1178747" y="611761"/>
                    <a:pt x="1180145" y="611513"/>
                  </a:cubicBezTo>
                  <a:lnTo>
                    <a:pt x="1190785" y="609622"/>
                  </a:lnTo>
                  <a:cubicBezTo>
                    <a:pt x="1190785" y="609644"/>
                    <a:pt x="1190755" y="610978"/>
                    <a:pt x="1188759" y="698254"/>
                  </a:cubicBezTo>
                  <a:cubicBezTo>
                    <a:pt x="1188769" y="698256"/>
                    <a:pt x="1188879" y="698276"/>
                    <a:pt x="1190279" y="698525"/>
                  </a:cubicBezTo>
                  <a:lnTo>
                    <a:pt x="1200919" y="700416"/>
                  </a:lnTo>
                  <a:cubicBezTo>
                    <a:pt x="1200921" y="700423"/>
                    <a:pt x="1200941" y="700487"/>
                    <a:pt x="1201171" y="701227"/>
                  </a:cubicBezTo>
                  <a:lnTo>
                    <a:pt x="1202945" y="706902"/>
                  </a:lnTo>
                  <a:cubicBezTo>
                    <a:pt x="1202947" y="706893"/>
                    <a:pt x="1202993" y="706750"/>
                    <a:pt x="1203705" y="704470"/>
                  </a:cubicBezTo>
                  <a:lnTo>
                    <a:pt x="1209025" y="687446"/>
                  </a:lnTo>
                  <a:cubicBezTo>
                    <a:pt x="1209032" y="687446"/>
                    <a:pt x="1209133" y="687446"/>
                    <a:pt x="1210799" y="687446"/>
                  </a:cubicBezTo>
                  <a:lnTo>
                    <a:pt x="1223212" y="687446"/>
                  </a:lnTo>
                  <a:cubicBezTo>
                    <a:pt x="1223212" y="687463"/>
                    <a:pt x="1223212" y="688156"/>
                    <a:pt x="1223212" y="719872"/>
                  </a:cubicBezTo>
                  <a:cubicBezTo>
                    <a:pt x="1223219" y="719877"/>
                    <a:pt x="1223295" y="719917"/>
                    <a:pt x="1224225" y="720413"/>
                  </a:cubicBezTo>
                  <a:lnTo>
                    <a:pt x="1231319" y="724196"/>
                  </a:lnTo>
                  <a:cubicBezTo>
                    <a:pt x="1231319" y="724205"/>
                    <a:pt x="1231319" y="724306"/>
                    <a:pt x="1231319" y="725547"/>
                  </a:cubicBezTo>
                  <a:lnTo>
                    <a:pt x="1231319" y="735005"/>
                  </a:lnTo>
                  <a:cubicBezTo>
                    <a:pt x="1231339" y="735005"/>
                    <a:pt x="1232247" y="735005"/>
                    <a:pt x="1275907" y="735005"/>
                  </a:cubicBezTo>
                  <a:cubicBezTo>
                    <a:pt x="1275907" y="735013"/>
                    <a:pt x="1275907" y="735096"/>
                    <a:pt x="1275907" y="736086"/>
                  </a:cubicBezTo>
                  <a:lnTo>
                    <a:pt x="1275907" y="743652"/>
                  </a:lnTo>
                  <a:cubicBezTo>
                    <a:pt x="1275915" y="743652"/>
                    <a:pt x="1276037" y="743652"/>
                    <a:pt x="1277933" y="743652"/>
                  </a:cubicBezTo>
                  <a:lnTo>
                    <a:pt x="1292119" y="743652"/>
                  </a:lnTo>
                  <a:cubicBezTo>
                    <a:pt x="1292119" y="743634"/>
                    <a:pt x="1292119" y="742905"/>
                    <a:pt x="1292119" y="713387"/>
                  </a:cubicBezTo>
                  <a:cubicBezTo>
                    <a:pt x="1292141" y="713387"/>
                    <a:pt x="1293071" y="713387"/>
                    <a:pt x="1336706" y="713387"/>
                  </a:cubicBezTo>
                  <a:cubicBezTo>
                    <a:pt x="1336706" y="713379"/>
                    <a:pt x="1336706" y="713282"/>
                    <a:pt x="1336706" y="712036"/>
                  </a:cubicBezTo>
                  <a:lnTo>
                    <a:pt x="1336706" y="702578"/>
                  </a:lnTo>
                  <a:cubicBezTo>
                    <a:pt x="1336713" y="702578"/>
                    <a:pt x="1336787" y="702578"/>
                    <a:pt x="1337721" y="702578"/>
                  </a:cubicBezTo>
                  <a:lnTo>
                    <a:pt x="1344813" y="702578"/>
                  </a:lnTo>
                  <a:cubicBezTo>
                    <a:pt x="1344813" y="702571"/>
                    <a:pt x="1344813" y="702458"/>
                    <a:pt x="1344813" y="700687"/>
                  </a:cubicBezTo>
                  <a:lnTo>
                    <a:pt x="1344813" y="687446"/>
                  </a:lnTo>
                  <a:cubicBezTo>
                    <a:pt x="1344823" y="687446"/>
                    <a:pt x="1344895" y="687446"/>
                    <a:pt x="1345573" y="687446"/>
                  </a:cubicBezTo>
                  <a:lnTo>
                    <a:pt x="1350893" y="687446"/>
                  </a:lnTo>
                  <a:cubicBezTo>
                    <a:pt x="1350893" y="687439"/>
                    <a:pt x="1350893" y="687354"/>
                    <a:pt x="1350893" y="686365"/>
                  </a:cubicBezTo>
                  <a:lnTo>
                    <a:pt x="1350893" y="678798"/>
                  </a:lnTo>
                  <a:cubicBezTo>
                    <a:pt x="1350901" y="678798"/>
                    <a:pt x="1351025" y="678798"/>
                    <a:pt x="1352921" y="678798"/>
                  </a:cubicBezTo>
                  <a:lnTo>
                    <a:pt x="1367107" y="678798"/>
                  </a:lnTo>
                  <a:cubicBezTo>
                    <a:pt x="1367107" y="678805"/>
                    <a:pt x="1367107" y="678882"/>
                    <a:pt x="1367107" y="679879"/>
                  </a:cubicBezTo>
                  <a:lnTo>
                    <a:pt x="1367107" y="687446"/>
                  </a:lnTo>
                  <a:cubicBezTo>
                    <a:pt x="1367119" y="687446"/>
                    <a:pt x="1367619" y="687446"/>
                    <a:pt x="1389401" y="687446"/>
                  </a:cubicBezTo>
                  <a:cubicBezTo>
                    <a:pt x="1389401" y="687438"/>
                    <a:pt x="1389401" y="687324"/>
                    <a:pt x="1389401" y="685554"/>
                  </a:cubicBezTo>
                  <a:lnTo>
                    <a:pt x="1389401" y="672313"/>
                  </a:lnTo>
                  <a:cubicBezTo>
                    <a:pt x="1389407" y="672313"/>
                    <a:pt x="1389503" y="672313"/>
                    <a:pt x="1391174" y="672313"/>
                  </a:cubicBezTo>
                  <a:lnTo>
                    <a:pt x="1403587" y="672313"/>
                  </a:lnTo>
                  <a:cubicBezTo>
                    <a:pt x="1403587" y="672325"/>
                    <a:pt x="1403587" y="672839"/>
                    <a:pt x="1403587" y="696093"/>
                  </a:cubicBezTo>
                  <a:cubicBezTo>
                    <a:pt x="1403595" y="696093"/>
                    <a:pt x="1403675" y="696093"/>
                    <a:pt x="1404601" y="696093"/>
                  </a:cubicBezTo>
                  <a:lnTo>
                    <a:pt x="1411695" y="696093"/>
                  </a:lnTo>
                  <a:cubicBezTo>
                    <a:pt x="1411695" y="696087"/>
                    <a:pt x="1411695" y="696006"/>
                    <a:pt x="1411695" y="695012"/>
                  </a:cubicBezTo>
                  <a:lnTo>
                    <a:pt x="1411695" y="687446"/>
                  </a:lnTo>
                  <a:cubicBezTo>
                    <a:pt x="1411703" y="687446"/>
                    <a:pt x="1411821" y="687446"/>
                    <a:pt x="1413467" y="687446"/>
                  </a:cubicBezTo>
                  <a:lnTo>
                    <a:pt x="1425881" y="687446"/>
                  </a:lnTo>
                  <a:cubicBezTo>
                    <a:pt x="1425881" y="687459"/>
                    <a:pt x="1425881" y="688018"/>
                    <a:pt x="1425881" y="713387"/>
                  </a:cubicBezTo>
                  <a:cubicBezTo>
                    <a:pt x="1425889" y="713387"/>
                    <a:pt x="1426007" y="713387"/>
                    <a:pt x="1427909" y="713387"/>
                  </a:cubicBezTo>
                  <a:lnTo>
                    <a:pt x="1442095" y="713387"/>
                  </a:lnTo>
                  <a:cubicBezTo>
                    <a:pt x="1442095" y="713398"/>
                    <a:pt x="1442095" y="713513"/>
                    <a:pt x="1442095" y="715008"/>
                  </a:cubicBezTo>
                  <a:lnTo>
                    <a:pt x="1442095" y="726358"/>
                  </a:lnTo>
                  <a:cubicBezTo>
                    <a:pt x="1442103" y="726358"/>
                    <a:pt x="1442173" y="726358"/>
                    <a:pt x="1442855" y="726358"/>
                  </a:cubicBezTo>
                  <a:lnTo>
                    <a:pt x="1448175" y="726358"/>
                  </a:lnTo>
                  <a:cubicBezTo>
                    <a:pt x="1448175" y="726350"/>
                    <a:pt x="1448175" y="726274"/>
                    <a:pt x="1448175" y="725547"/>
                  </a:cubicBezTo>
                  <a:lnTo>
                    <a:pt x="1448175" y="719872"/>
                  </a:lnTo>
                  <a:cubicBezTo>
                    <a:pt x="1448193" y="719872"/>
                    <a:pt x="1448911" y="719872"/>
                    <a:pt x="1478575" y="719872"/>
                  </a:cubicBezTo>
                  <a:cubicBezTo>
                    <a:pt x="1478575" y="719886"/>
                    <a:pt x="1478575" y="720449"/>
                    <a:pt x="1478575" y="743652"/>
                  </a:cubicBezTo>
                  <a:cubicBezTo>
                    <a:pt x="1478583" y="743652"/>
                    <a:pt x="1478661" y="743652"/>
                    <a:pt x="1479589" y="743652"/>
                  </a:cubicBezTo>
                  <a:lnTo>
                    <a:pt x="1486683" y="743652"/>
                  </a:lnTo>
                  <a:cubicBezTo>
                    <a:pt x="1486683" y="743659"/>
                    <a:pt x="1486683" y="743732"/>
                    <a:pt x="1486683" y="744733"/>
                  </a:cubicBezTo>
                  <a:lnTo>
                    <a:pt x="1486683" y="752299"/>
                  </a:lnTo>
                  <a:cubicBezTo>
                    <a:pt x="1486691" y="752299"/>
                    <a:pt x="1486765" y="752299"/>
                    <a:pt x="1487443" y="752299"/>
                  </a:cubicBezTo>
                  <a:lnTo>
                    <a:pt x="1492763" y="752299"/>
                  </a:lnTo>
                  <a:cubicBezTo>
                    <a:pt x="1492763" y="752292"/>
                    <a:pt x="1492763" y="752172"/>
                    <a:pt x="1492763" y="750137"/>
                  </a:cubicBezTo>
                  <a:lnTo>
                    <a:pt x="1492763" y="735005"/>
                  </a:lnTo>
                  <a:cubicBezTo>
                    <a:pt x="1492769" y="735005"/>
                    <a:pt x="1492847" y="735005"/>
                    <a:pt x="1493775" y="735005"/>
                  </a:cubicBezTo>
                  <a:lnTo>
                    <a:pt x="1500869" y="735005"/>
                  </a:lnTo>
                  <a:cubicBezTo>
                    <a:pt x="1500869" y="735013"/>
                    <a:pt x="1500869" y="735096"/>
                    <a:pt x="1500869" y="736086"/>
                  </a:cubicBezTo>
                  <a:lnTo>
                    <a:pt x="1500869" y="743652"/>
                  </a:lnTo>
                  <a:lnTo>
                    <a:pt x="1506189" y="741659"/>
                  </a:lnTo>
                  <a:cubicBezTo>
                    <a:pt x="1506949" y="741287"/>
                    <a:pt x="1506949" y="741085"/>
                    <a:pt x="1506949" y="740679"/>
                  </a:cubicBezTo>
                  <a:lnTo>
                    <a:pt x="1506949" y="735005"/>
                  </a:lnTo>
                  <a:cubicBezTo>
                    <a:pt x="1506966" y="735005"/>
                    <a:pt x="1507767" y="735005"/>
                    <a:pt x="1545457" y="735005"/>
                  </a:cubicBezTo>
                  <a:cubicBezTo>
                    <a:pt x="1545457" y="735019"/>
                    <a:pt x="1545457" y="735566"/>
                    <a:pt x="1545457" y="758784"/>
                  </a:cubicBezTo>
                  <a:cubicBezTo>
                    <a:pt x="1545464" y="758784"/>
                    <a:pt x="1545583" y="758784"/>
                    <a:pt x="1547483" y="758784"/>
                  </a:cubicBezTo>
                  <a:lnTo>
                    <a:pt x="1561669" y="758784"/>
                  </a:lnTo>
                  <a:cubicBezTo>
                    <a:pt x="1561669" y="758792"/>
                    <a:pt x="1561669" y="758874"/>
                    <a:pt x="1561669" y="759865"/>
                  </a:cubicBezTo>
                  <a:lnTo>
                    <a:pt x="1561669" y="767431"/>
                  </a:lnTo>
                  <a:cubicBezTo>
                    <a:pt x="1561679" y="767431"/>
                    <a:pt x="1561801" y="767431"/>
                    <a:pt x="1563443" y="767431"/>
                  </a:cubicBezTo>
                  <a:lnTo>
                    <a:pt x="1575857" y="767431"/>
                  </a:lnTo>
                  <a:cubicBezTo>
                    <a:pt x="1575857" y="767419"/>
                    <a:pt x="1575857" y="766908"/>
                    <a:pt x="1575857" y="743652"/>
                  </a:cubicBezTo>
                  <a:cubicBezTo>
                    <a:pt x="1575863" y="743652"/>
                    <a:pt x="1575941" y="743652"/>
                    <a:pt x="1576869" y="743652"/>
                  </a:cubicBezTo>
                  <a:lnTo>
                    <a:pt x="1583963" y="743652"/>
                  </a:lnTo>
                  <a:cubicBezTo>
                    <a:pt x="1583963" y="743633"/>
                    <a:pt x="1583963" y="742862"/>
                    <a:pt x="1583963" y="711225"/>
                  </a:cubicBezTo>
                  <a:cubicBezTo>
                    <a:pt x="1583971" y="711225"/>
                    <a:pt x="1584047" y="711225"/>
                    <a:pt x="1584977" y="711225"/>
                  </a:cubicBezTo>
                  <a:lnTo>
                    <a:pt x="1592071" y="711225"/>
                  </a:lnTo>
                  <a:cubicBezTo>
                    <a:pt x="1592071" y="711219"/>
                    <a:pt x="1592071" y="711110"/>
                    <a:pt x="1592071" y="709334"/>
                  </a:cubicBezTo>
                  <a:lnTo>
                    <a:pt x="1592071" y="696093"/>
                  </a:lnTo>
                  <a:cubicBezTo>
                    <a:pt x="1590043" y="696093"/>
                    <a:pt x="1590043" y="696093"/>
                    <a:pt x="1590803" y="694471"/>
                  </a:cubicBezTo>
                  <a:lnTo>
                    <a:pt x="1596123" y="683122"/>
                  </a:lnTo>
                  <a:cubicBezTo>
                    <a:pt x="1596129" y="683139"/>
                    <a:pt x="1596323" y="683813"/>
                    <a:pt x="1604231" y="711225"/>
                  </a:cubicBezTo>
                  <a:cubicBezTo>
                    <a:pt x="1604239" y="711225"/>
                    <a:pt x="1604311" y="711225"/>
                    <a:pt x="1604991" y="711225"/>
                  </a:cubicBezTo>
                  <a:lnTo>
                    <a:pt x="1610311" y="711225"/>
                  </a:lnTo>
                  <a:cubicBezTo>
                    <a:pt x="1610311" y="711212"/>
                    <a:pt x="1610311" y="710033"/>
                    <a:pt x="1610311" y="605298"/>
                  </a:cubicBezTo>
                  <a:cubicBezTo>
                    <a:pt x="1610321" y="605298"/>
                    <a:pt x="1610435" y="605298"/>
                    <a:pt x="1611831" y="605298"/>
                  </a:cubicBezTo>
                  <a:lnTo>
                    <a:pt x="1622471" y="605298"/>
                  </a:lnTo>
                  <a:cubicBezTo>
                    <a:pt x="1622471" y="605276"/>
                    <a:pt x="1622471" y="604266"/>
                    <a:pt x="1622471" y="557739"/>
                  </a:cubicBezTo>
                  <a:cubicBezTo>
                    <a:pt x="1622487" y="557739"/>
                    <a:pt x="1623113" y="557739"/>
                    <a:pt x="1648817" y="557739"/>
                  </a:cubicBezTo>
                  <a:cubicBezTo>
                    <a:pt x="1648817" y="557727"/>
                    <a:pt x="1648817" y="557217"/>
                    <a:pt x="1648817" y="536121"/>
                  </a:cubicBezTo>
                  <a:cubicBezTo>
                    <a:pt x="1648837" y="536121"/>
                    <a:pt x="1649625" y="536121"/>
                    <a:pt x="1683271" y="536121"/>
                  </a:cubicBezTo>
                  <a:cubicBezTo>
                    <a:pt x="1683271" y="536129"/>
                    <a:pt x="1683271" y="536259"/>
                    <a:pt x="1683271" y="538553"/>
                  </a:cubicBezTo>
                  <a:lnTo>
                    <a:pt x="1683271" y="555577"/>
                  </a:lnTo>
                  <a:cubicBezTo>
                    <a:pt x="1683281" y="555577"/>
                    <a:pt x="1683411" y="555577"/>
                    <a:pt x="1685551" y="555577"/>
                  </a:cubicBezTo>
                  <a:lnTo>
                    <a:pt x="1701511" y="555577"/>
                  </a:lnTo>
                  <a:cubicBezTo>
                    <a:pt x="1701511" y="555595"/>
                    <a:pt x="1701511" y="556489"/>
                    <a:pt x="1701511" y="603136"/>
                  </a:cubicBezTo>
                  <a:cubicBezTo>
                    <a:pt x="1701517" y="603136"/>
                    <a:pt x="1701593" y="603136"/>
                    <a:pt x="1702525" y="603136"/>
                  </a:cubicBezTo>
                  <a:lnTo>
                    <a:pt x="1709619" y="603136"/>
                  </a:lnTo>
                  <a:lnTo>
                    <a:pt x="1723805" y="607460"/>
                  </a:lnTo>
                  <a:cubicBezTo>
                    <a:pt x="1723805" y="607470"/>
                    <a:pt x="1723805" y="608120"/>
                    <a:pt x="1723805" y="646372"/>
                  </a:cubicBezTo>
                  <a:cubicBezTo>
                    <a:pt x="1723811" y="646372"/>
                    <a:pt x="1723887" y="646372"/>
                    <a:pt x="1724819" y="646372"/>
                  </a:cubicBezTo>
                  <a:lnTo>
                    <a:pt x="1731911" y="646372"/>
                  </a:lnTo>
                  <a:cubicBezTo>
                    <a:pt x="1731911" y="646382"/>
                    <a:pt x="1731911" y="646488"/>
                    <a:pt x="1731911" y="647993"/>
                  </a:cubicBezTo>
                  <a:lnTo>
                    <a:pt x="1731911" y="659342"/>
                  </a:lnTo>
                  <a:cubicBezTo>
                    <a:pt x="1731919" y="659342"/>
                    <a:pt x="1732043" y="659342"/>
                    <a:pt x="1733939" y="659342"/>
                  </a:cubicBezTo>
                  <a:lnTo>
                    <a:pt x="1748125" y="659342"/>
                  </a:lnTo>
                  <a:lnTo>
                    <a:pt x="1754205" y="665828"/>
                  </a:lnTo>
                  <a:cubicBezTo>
                    <a:pt x="1754205" y="665840"/>
                    <a:pt x="1754205" y="666326"/>
                    <a:pt x="1754205" y="687446"/>
                  </a:cubicBezTo>
                  <a:cubicBezTo>
                    <a:pt x="1754214" y="687446"/>
                    <a:pt x="1754345" y="687446"/>
                    <a:pt x="1756485" y="687446"/>
                  </a:cubicBezTo>
                  <a:lnTo>
                    <a:pt x="1772445" y="687446"/>
                  </a:lnTo>
                  <a:cubicBezTo>
                    <a:pt x="1772445" y="687453"/>
                    <a:pt x="1772445" y="687533"/>
                    <a:pt x="1772445" y="688526"/>
                  </a:cubicBezTo>
                  <a:lnTo>
                    <a:pt x="1772445" y="696093"/>
                  </a:lnTo>
                  <a:cubicBezTo>
                    <a:pt x="1772455" y="696093"/>
                    <a:pt x="1772553" y="696093"/>
                    <a:pt x="1773713" y="696093"/>
                  </a:cubicBezTo>
                  <a:lnTo>
                    <a:pt x="1782579" y="696093"/>
                  </a:lnTo>
                  <a:cubicBezTo>
                    <a:pt x="1782579" y="696102"/>
                    <a:pt x="1782579" y="696231"/>
                    <a:pt x="1782579" y="698254"/>
                  </a:cubicBezTo>
                  <a:lnTo>
                    <a:pt x="1782579" y="713387"/>
                  </a:lnTo>
                  <a:cubicBezTo>
                    <a:pt x="1786633" y="713387"/>
                    <a:pt x="1786633" y="713387"/>
                    <a:pt x="1786633" y="711495"/>
                  </a:cubicBezTo>
                  <a:lnTo>
                    <a:pt x="1786633" y="698254"/>
                  </a:lnTo>
                  <a:cubicBezTo>
                    <a:pt x="1786639" y="698254"/>
                    <a:pt x="1786716" y="698254"/>
                    <a:pt x="1787645" y="698254"/>
                  </a:cubicBezTo>
                  <a:lnTo>
                    <a:pt x="1794739" y="698254"/>
                  </a:lnTo>
                  <a:cubicBezTo>
                    <a:pt x="1794739" y="698265"/>
                    <a:pt x="1794739" y="698384"/>
                    <a:pt x="1794739" y="699876"/>
                  </a:cubicBezTo>
                  <a:lnTo>
                    <a:pt x="1794739" y="711225"/>
                  </a:lnTo>
                  <a:cubicBezTo>
                    <a:pt x="1794749" y="711225"/>
                    <a:pt x="1794821" y="711225"/>
                    <a:pt x="1795499" y="711225"/>
                  </a:cubicBezTo>
                  <a:lnTo>
                    <a:pt x="1800819" y="711225"/>
                  </a:lnTo>
                  <a:cubicBezTo>
                    <a:pt x="1800819" y="706902"/>
                    <a:pt x="1800819" y="706902"/>
                    <a:pt x="1849459" y="706902"/>
                  </a:cubicBezTo>
                  <a:cubicBezTo>
                    <a:pt x="1849459" y="706911"/>
                    <a:pt x="1849459" y="707012"/>
                    <a:pt x="1849459" y="708253"/>
                  </a:cubicBezTo>
                  <a:lnTo>
                    <a:pt x="1849459" y="717710"/>
                  </a:lnTo>
                  <a:cubicBezTo>
                    <a:pt x="1849467" y="717710"/>
                    <a:pt x="1849543" y="717710"/>
                    <a:pt x="1850219" y="717710"/>
                  </a:cubicBezTo>
                  <a:lnTo>
                    <a:pt x="1855541" y="717710"/>
                  </a:lnTo>
                  <a:cubicBezTo>
                    <a:pt x="1855541" y="717719"/>
                    <a:pt x="1855541" y="717841"/>
                    <a:pt x="1855541" y="719872"/>
                  </a:cubicBezTo>
                  <a:lnTo>
                    <a:pt x="1855541" y="735005"/>
                  </a:lnTo>
                  <a:cubicBezTo>
                    <a:pt x="1855549" y="735001"/>
                    <a:pt x="1855665" y="734923"/>
                    <a:pt x="1857567" y="733654"/>
                  </a:cubicBezTo>
                  <a:lnTo>
                    <a:pt x="1871753" y="724196"/>
                  </a:lnTo>
                  <a:cubicBezTo>
                    <a:pt x="1871755" y="724177"/>
                    <a:pt x="1871887" y="723302"/>
                    <a:pt x="1877833" y="683122"/>
                  </a:cubicBezTo>
                  <a:cubicBezTo>
                    <a:pt x="1877843" y="683120"/>
                    <a:pt x="1877911" y="683094"/>
                    <a:pt x="1878593" y="682852"/>
                  </a:cubicBezTo>
                  <a:lnTo>
                    <a:pt x="1883913" y="680960"/>
                  </a:lnTo>
                  <a:cubicBezTo>
                    <a:pt x="1883913" y="680944"/>
                    <a:pt x="1883947" y="679883"/>
                    <a:pt x="1885941" y="611783"/>
                  </a:cubicBezTo>
                  <a:cubicBezTo>
                    <a:pt x="1885941" y="611801"/>
                    <a:pt x="1885973" y="612892"/>
                    <a:pt x="1887967" y="680960"/>
                  </a:cubicBezTo>
                  <a:cubicBezTo>
                    <a:pt x="1887977" y="680963"/>
                    <a:pt x="1888047" y="680988"/>
                    <a:pt x="1888727" y="681230"/>
                  </a:cubicBezTo>
                  <a:lnTo>
                    <a:pt x="1894047" y="683122"/>
                  </a:lnTo>
                  <a:cubicBezTo>
                    <a:pt x="1894047" y="683102"/>
                    <a:pt x="1894047" y="681769"/>
                    <a:pt x="1894047" y="596651"/>
                  </a:cubicBezTo>
                  <a:cubicBezTo>
                    <a:pt x="1898101" y="596651"/>
                    <a:pt x="1898101" y="596651"/>
                    <a:pt x="1898101" y="564224"/>
                  </a:cubicBezTo>
                  <a:cubicBezTo>
                    <a:pt x="1898113" y="564224"/>
                    <a:pt x="1898799" y="564224"/>
                    <a:pt x="1936607" y="564224"/>
                  </a:cubicBezTo>
                  <a:cubicBezTo>
                    <a:pt x="1936607" y="564241"/>
                    <a:pt x="1936607" y="564959"/>
                    <a:pt x="1936607" y="596651"/>
                  </a:cubicBezTo>
                  <a:cubicBezTo>
                    <a:pt x="1936617" y="596651"/>
                    <a:pt x="1936689" y="596651"/>
                    <a:pt x="1937367" y="596651"/>
                  </a:cubicBezTo>
                  <a:lnTo>
                    <a:pt x="1942687" y="596651"/>
                  </a:lnTo>
                  <a:cubicBezTo>
                    <a:pt x="1942687" y="596630"/>
                    <a:pt x="1942687" y="595324"/>
                    <a:pt x="1942687" y="514503"/>
                  </a:cubicBezTo>
                  <a:cubicBezTo>
                    <a:pt x="1942693" y="514503"/>
                    <a:pt x="1942793" y="514503"/>
                    <a:pt x="1944461" y="514503"/>
                  </a:cubicBezTo>
                  <a:lnTo>
                    <a:pt x="1956875" y="514503"/>
                  </a:lnTo>
                  <a:cubicBezTo>
                    <a:pt x="1956875" y="514496"/>
                    <a:pt x="1956875" y="514385"/>
                    <a:pt x="1956875" y="512612"/>
                  </a:cubicBezTo>
                  <a:lnTo>
                    <a:pt x="1956875" y="499371"/>
                  </a:lnTo>
                  <a:cubicBezTo>
                    <a:pt x="1956885" y="499371"/>
                    <a:pt x="1957383" y="499371"/>
                    <a:pt x="1979169" y="499371"/>
                  </a:cubicBezTo>
                  <a:cubicBezTo>
                    <a:pt x="1979169" y="499364"/>
                    <a:pt x="1979169" y="499283"/>
                    <a:pt x="1979169" y="498290"/>
                  </a:cubicBezTo>
                  <a:lnTo>
                    <a:pt x="1979169" y="490724"/>
                  </a:lnTo>
                  <a:cubicBezTo>
                    <a:pt x="1979175" y="490724"/>
                    <a:pt x="1979285" y="490724"/>
                    <a:pt x="1980941" y="490724"/>
                  </a:cubicBezTo>
                  <a:lnTo>
                    <a:pt x="1993355" y="490724"/>
                  </a:lnTo>
                  <a:cubicBezTo>
                    <a:pt x="1993355" y="490732"/>
                    <a:pt x="1993355" y="490811"/>
                    <a:pt x="1993355" y="491805"/>
                  </a:cubicBezTo>
                  <a:lnTo>
                    <a:pt x="1993355" y="499371"/>
                  </a:lnTo>
                  <a:cubicBezTo>
                    <a:pt x="1993365" y="499371"/>
                    <a:pt x="1993437" y="499371"/>
                    <a:pt x="1994115" y="499371"/>
                  </a:cubicBezTo>
                  <a:lnTo>
                    <a:pt x="1999435" y="499371"/>
                  </a:lnTo>
                  <a:lnTo>
                    <a:pt x="2009569" y="495047"/>
                  </a:lnTo>
                  <a:lnTo>
                    <a:pt x="2013621" y="498290"/>
                  </a:lnTo>
                  <a:lnTo>
                    <a:pt x="2013621" y="490724"/>
                  </a:lnTo>
                  <a:cubicBezTo>
                    <a:pt x="2013631" y="490724"/>
                    <a:pt x="2013767" y="490724"/>
                    <a:pt x="2015901" y="490724"/>
                  </a:cubicBezTo>
                  <a:lnTo>
                    <a:pt x="2031863" y="490724"/>
                  </a:lnTo>
                  <a:cubicBezTo>
                    <a:pt x="2031863" y="490732"/>
                    <a:pt x="2031863" y="490811"/>
                    <a:pt x="2031863" y="491805"/>
                  </a:cubicBezTo>
                  <a:lnTo>
                    <a:pt x="2031863" y="499371"/>
                  </a:lnTo>
                  <a:cubicBezTo>
                    <a:pt x="2031881" y="499371"/>
                    <a:pt x="2032617" y="499371"/>
                    <a:pt x="2062263" y="499371"/>
                  </a:cubicBezTo>
                  <a:cubicBezTo>
                    <a:pt x="2062263" y="499381"/>
                    <a:pt x="2062263" y="499490"/>
                    <a:pt x="2062263" y="500992"/>
                  </a:cubicBezTo>
                  <a:lnTo>
                    <a:pt x="2062263" y="512342"/>
                  </a:lnTo>
                  <a:cubicBezTo>
                    <a:pt x="2062279" y="512342"/>
                    <a:pt x="2062919" y="512342"/>
                    <a:pt x="2088609" y="512342"/>
                  </a:cubicBezTo>
                  <a:cubicBezTo>
                    <a:pt x="2088609" y="512358"/>
                    <a:pt x="2088609" y="513038"/>
                    <a:pt x="2088609" y="542606"/>
                  </a:cubicBezTo>
                  <a:cubicBezTo>
                    <a:pt x="2088619" y="542606"/>
                    <a:pt x="2088691" y="542606"/>
                    <a:pt x="2089369" y="542606"/>
                  </a:cubicBezTo>
                  <a:lnTo>
                    <a:pt x="2094689" y="542606"/>
                  </a:lnTo>
                  <a:cubicBezTo>
                    <a:pt x="2094689" y="542613"/>
                    <a:pt x="2094689" y="542699"/>
                    <a:pt x="2094689" y="543687"/>
                  </a:cubicBezTo>
                  <a:lnTo>
                    <a:pt x="2094689" y="551254"/>
                  </a:lnTo>
                  <a:cubicBezTo>
                    <a:pt x="2098743" y="551254"/>
                    <a:pt x="2098743" y="551254"/>
                    <a:pt x="2098743" y="581518"/>
                  </a:cubicBezTo>
                  <a:cubicBezTo>
                    <a:pt x="2098753" y="581518"/>
                    <a:pt x="2098827" y="581518"/>
                    <a:pt x="2099503" y="581518"/>
                  </a:cubicBezTo>
                  <a:lnTo>
                    <a:pt x="2104823" y="581518"/>
                  </a:lnTo>
                  <a:cubicBezTo>
                    <a:pt x="2104823" y="581527"/>
                    <a:pt x="2104823" y="581594"/>
                    <a:pt x="2104823" y="582329"/>
                  </a:cubicBezTo>
                  <a:lnTo>
                    <a:pt x="2104823" y="588004"/>
                  </a:lnTo>
                  <a:cubicBezTo>
                    <a:pt x="2104829" y="588004"/>
                    <a:pt x="2104907" y="588004"/>
                    <a:pt x="2105837" y="588004"/>
                  </a:cubicBezTo>
                  <a:lnTo>
                    <a:pt x="2112929" y="588004"/>
                  </a:lnTo>
                  <a:cubicBezTo>
                    <a:pt x="2112929" y="588021"/>
                    <a:pt x="2112929" y="588734"/>
                    <a:pt x="2112929" y="618269"/>
                  </a:cubicBezTo>
                  <a:cubicBezTo>
                    <a:pt x="2112937" y="618269"/>
                    <a:pt x="2113057" y="618269"/>
                    <a:pt x="2114957" y="618269"/>
                  </a:cubicBezTo>
                  <a:lnTo>
                    <a:pt x="2129143" y="618269"/>
                  </a:lnTo>
                  <a:cubicBezTo>
                    <a:pt x="2129143" y="618285"/>
                    <a:pt x="2129143" y="618865"/>
                    <a:pt x="2129143" y="642048"/>
                  </a:cubicBezTo>
                  <a:cubicBezTo>
                    <a:pt x="2131171" y="642048"/>
                    <a:pt x="2131171" y="642048"/>
                    <a:pt x="2131171" y="643669"/>
                  </a:cubicBezTo>
                  <a:lnTo>
                    <a:pt x="2131171" y="655019"/>
                  </a:lnTo>
                  <a:cubicBezTo>
                    <a:pt x="2131179" y="655019"/>
                    <a:pt x="2131249" y="655019"/>
                    <a:pt x="2131931" y="655019"/>
                  </a:cubicBezTo>
                  <a:lnTo>
                    <a:pt x="2137251" y="655019"/>
                  </a:lnTo>
                  <a:cubicBezTo>
                    <a:pt x="2137251" y="655033"/>
                    <a:pt x="2137251" y="655596"/>
                    <a:pt x="2137251" y="678798"/>
                  </a:cubicBezTo>
                  <a:cubicBezTo>
                    <a:pt x="2137259" y="678798"/>
                    <a:pt x="2137357" y="678798"/>
                    <a:pt x="2138517" y="678798"/>
                  </a:cubicBezTo>
                  <a:lnTo>
                    <a:pt x="2147383" y="678798"/>
                  </a:lnTo>
                  <a:cubicBezTo>
                    <a:pt x="2149411" y="680960"/>
                    <a:pt x="2149411" y="680960"/>
                    <a:pt x="2149411" y="682852"/>
                  </a:cubicBezTo>
                  <a:lnTo>
                    <a:pt x="2149411" y="696093"/>
                  </a:lnTo>
                  <a:cubicBezTo>
                    <a:pt x="2149415" y="696086"/>
                    <a:pt x="2149503" y="695979"/>
                    <a:pt x="2150931" y="694201"/>
                  </a:cubicBezTo>
                  <a:lnTo>
                    <a:pt x="2161571" y="680960"/>
                  </a:lnTo>
                  <a:cubicBezTo>
                    <a:pt x="2161585" y="680960"/>
                    <a:pt x="2162225" y="680960"/>
                    <a:pt x="2189945" y="680960"/>
                  </a:cubicBezTo>
                  <a:cubicBezTo>
                    <a:pt x="2189945" y="680985"/>
                    <a:pt x="2189945" y="682386"/>
                    <a:pt x="2189945" y="767431"/>
                  </a:cubicBezTo>
                  <a:cubicBezTo>
                    <a:pt x="2189953" y="767431"/>
                    <a:pt x="2190029" y="767431"/>
                    <a:pt x="2190705" y="767431"/>
                  </a:cubicBezTo>
                  <a:lnTo>
                    <a:pt x="2196025" y="767431"/>
                  </a:lnTo>
                  <a:cubicBezTo>
                    <a:pt x="2196029" y="767423"/>
                    <a:pt x="2196087" y="767323"/>
                    <a:pt x="2196785" y="766080"/>
                  </a:cubicBezTo>
                  <a:lnTo>
                    <a:pt x="2202105" y="756622"/>
                  </a:lnTo>
                  <a:cubicBezTo>
                    <a:pt x="2202105" y="756629"/>
                    <a:pt x="2202105" y="756728"/>
                    <a:pt x="2202105" y="758514"/>
                  </a:cubicBezTo>
                  <a:lnTo>
                    <a:pt x="2202105" y="771755"/>
                  </a:lnTo>
                  <a:cubicBezTo>
                    <a:pt x="2206157" y="771755"/>
                    <a:pt x="2206157" y="771755"/>
                    <a:pt x="2206157" y="726358"/>
                  </a:cubicBezTo>
                  <a:cubicBezTo>
                    <a:pt x="2206167" y="726358"/>
                    <a:pt x="2206237" y="726358"/>
                    <a:pt x="2206917" y="726358"/>
                  </a:cubicBezTo>
                  <a:lnTo>
                    <a:pt x="2212237" y="726358"/>
                  </a:lnTo>
                  <a:cubicBezTo>
                    <a:pt x="2212237" y="726343"/>
                    <a:pt x="2212237" y="725343"/>
                    <a:pt x="2212237" y="661504"/>
                  </a:cubicBezTo>
                  <a:cubicBezTo>
                    <a:pt x="2212245" y="661504"/>
                    <a:pt x="2212325" y="661504"/>
                    <a:pt x="2213251" y="661504"/>
                  </a:cubicBezTo>
                  <a:lnTo>
                    <a:pt x="2220345" y="661504"/>
                  </a:lnTo>
                  <a:cubicBezTo>
                    <a:pt x="2220351" y="661483"/>
                    <a:pt x="2220615" y="660543"/>
                    <a:pt x="2232505" y="618269"/>
                  </a:cubicBezTo>
                  <a:cubicBezTo>
                    <a:pt x="2232514" y="618269"/>
                    <a:pt x="2232611" y="618269"/>
                    <a:pt x="2233771" y="618269"/>
                  </a:cubicBezTo>
                  <a:lnTo>
                    <a:pt x="2242639" y="618269"/>
                  </a:lnTo>
                  <a:cubicBezTo>
                    <a:pt x="2242644" y="618292"/>
                    <a:pt x="2242869" y="619258"/>
                    <a:pt x="2252771" y="661504"/>
                  </a:cubicBezTo>
                  <a:cubicBezTo>
                    <a:pt x="2252777" y="661504"/>
                    <a:pt x="2252851" y="661504"/>
                    <a:pt x="2253785" y="661504"/>
                  </a:cubicBezTo>
                  <a:lnTo>
                    <a:pt x="2260879" y="661504"/>
                  </a:lnTo>
                  <a:cubicBezTo>
                    <a:pt x="2260879" y="661515"/>
                    <a:pt x="2260879" y="662182"/>
                    <a:pt x="2260879" y="700416"/>
                  </a:cubicBezTo>
                  <a:cubicBezTo>
                    <a:pt x="2260885" y="700416"/>
                    <a:pt x="2260985" y="700416"/>
                    <a:pt x="2262651" y="700416"/>
                  </a:cubicBezTo>
                  <a:lnTo>
                    <a:pt x="2275065" y="700416"/>
                  </a:lnTo>
                  <a:cubicBezTo>
                    <a:pt x="2275065" y="700424"/>
                    <a:pt x="2275065" y="700546"/>
                    <a:pt x="2275065" y="702578"/>
                  </a:cubicBezTo>
                  <a:lnTo>
                    <a:pt x="2275065" y="717710"/>
                  </a:lnTo>
                  <a:cubicBezTo>
                    <a:pt x="2279119" y="717710"/>
                    <a:pt x="2279119" y="717710"/>
                    <a:pt x="2279119" y="715549"/>
                  </a:cubicBezTo>
                  <a:lnTo>
                    <a:pt x="2279119" y="700416"/>
                  </a:lnTo>
                  <a:cubicBezTo>
                    <a:pt x="2279129" y="700416"/>
                    <a:pt x="2279241" y="700416"/>
                    <a:pt x="2280639" y="700416"/>
                  </a:cubicBezTo>
                  <a:lnTo>
                    <a:pt x="2291279" y="700416"/>
                  </a:lnTo>
                  <a:cubicBezTo>
                    <a:pt x="2291279" y="700426"/>
                    <a:pt x="2291279" y="700543"/>
                    <a:pt x="2291279" y="702037"/>
                  </a:cubicBezTo>
                  <a:lnTo>
                    <a:pt x="2291279" y="713387"/>
                  </a:lnTo>
                  <a:cubicBezTo>
                    <a:pt x="2291295" y="713387"/>
                    <a:pt x="2292003" y="713387"/>
                    <a:pt x="2321680" y="713387"/>
                  </a:cubicBezTo>
                  <a:cubicBezTo>
                    <a:pt x="2321680" y="713370"/>
                    <a:pt x="2321680" y="712599"/>
                    <a:pt x="2321680" y="676637"/>
                  </a:cubicBezTo>
                  <a:cubicBezTo>
                    <a:pt x="2321687" y="676637"/>
                    <a:pt x="2321781" y="676637"/>
                    <a:pt x="2322945" y="676637"/>
                  </a:cubicBezTo>
                  <a:lnTo>
                    <a:pt x="2331813" y="676637"/>
                  </a:lnTo>
                  <a:cubicBezTo>
                    <a:pt x="2331813" y="676648"/>
                    <a:pt x="2331813" y="677142"/>
                    <a:pt x="2331813" y="698254"/>
                  </a:cubicBezTo>
                  <a:cubicBezTo>
                    <a:pt x="2333840" y="698254"/>
                    <a:pt x="2333840" y="698254"/>
                    <a:pt x="2333840" y="665828"/>
                  </a:cubicBezTo>
                  <a:cubicBezTo>
                    <a:pt x="2333853" y="665828"/>
                    <a:pt x="2334395" y="665828"/>
                    <a:pt x="2356133" y="665828"/>
                  </a:cubicBezTo>
                  <a:cubicBezTo>
                    <a:pt x="2356133" y="665818"/>
                    <a:pt x="2356133" y="665698"/>
                    <a:pt x="2356133" y="664206"/>
                  </a:cubicBezTo>
                  <a:lnTo>
                    <a:pt x="2356133" y="652857"/>
                  </a:lnTo>
                  <a:cubicBezTo>
                    <a:pt x="2356141" y="652857"/>
                    <a:pt x="2356215" y="652857"/>
                    <a:pt x="2356893" y="652857"/>
                  </a:cubicBezTo>
                  <a:lnTo>
                    <a:pt x="2362213" y="652857"/>
                  </a:lnTo>
                  <a:cubicBezTo>
                    <a:pt x="2362213" y="652851"/>
                    <a:pt x="2362213" y="652738"/>
                    <a:pt x="2362213" y="650966"/>
                  </a:cubicBezTo>
                  <a:lnTo>
                    <a:pt x="2362213" y="637725"/>
                  </a:lnTo>
                  <a:lnTo>
                    <a:pt x="2366267" y="644210"/>
                  </a:lnTo>
                  <a:cubicBezTo>
                    <a:pt x="2366275" y="644210"/>
                    <a:pt x="2366403" y="644210"/>
                    <a:pt x="2368547" y="644210"/>
                  </a:cubicBezTo>
                  <a:lnTo>
                    <a:pt x="2384507" y="644210"/>
                  </a:lnTo>
                  <a:cubicBezTo>
                    <a:pt x="2384507" y="644202"/>
                    <a:pt x="2384507" y="644134"/>
                    <a:pt x="2384507" y="643399"/>
                  </a:cubicBezTo>
                  <a:lnTo>
                    <a:pt x="2384507" y="637725"/>
                  </a:lnTo>
                  <a:cubicBezTo>
                    <a:pt x="2384516" y="637725"/>
                    <a:pt x="2384590" y="637725"/>
                    <a:pt x="2385267" y="637725"/>
                  </a:cubicBezTo>
                  <a:lnTo>
                    <a:pt x="2390587" y="637725"/>
                  </a:lnTo>
                  <a:cubicBezTo>
                    <a:pt x="2390587" y="637734"/>
                    <a:pt x="2390587" y="637834"/>
                    <a:pt x="2390587" y="639076"/>
                  </a:cubicBezTo>
                  <a:lnTo>
                    <a:pt x="2390587" y="648534"/>
                  </a:lnTo>
                  <a:cubicBezTo>
                    <a:pt x="2390601" y="648534"/>
                    <a:pt x="2391335" y="648534"/>
                    <a:pt x="2429093" y="648534"/>
                  </a:cubicBezTo>
                  <a:cubicBezTo>
                    <a:pt x="2429093" y="648552"/>
                    <a:pt x="2429093" y="650062"/>
                    <a:pt x="2429093" y="786887"/>
                  </a:cubicBezTo>
                  <a:cubicBezTo>
                    <a:pt x="2429104" y="786887"/>
                    <a:pt x="2429219" y="786887"/>
                    <a:pt x="2430613" y="786887"/>
                  </a:cubicBezTo>
                  <a:lnTo>
                    <a:pt x="2441254" y="786887"/>
                  </a:lnTo>
                  <a:cubicBezTo>
                    <a:pt x="2441254" y="782564"/>
                    <a:pt x="2441254" y="778240"/>
                    <a:pt x="2441254" y="773917"/>
                  </a:cubicBezTo>
                  <a:cubicBezTo>
                    <a:pt x="2443281" y="773917"/>
                    <a:pt x="2443281" y="773917"/>
                    <a:pt x="2445307" y="773917"/>
                  </a:cubicBezTo>
                  <a:cubicBezTo>
                    <a:pt x="2445307" y="778240"/>
                    <a:pt x="2445307" y="782564"/>
                    <a:pt x="2445307" y="786887"/>
                  </a:cubicBezTo>
                  <a:cubicBezTo>
                    <a:pt x="2455441" y="786887"/>
                    <a:pt x="2465575" y="786887"/>
                    <a:pt x="2475707" y="786887"/>
                  </a:cubicBezTo>
                  <a:cubicBezTo>
                    <a:pt x="2475707" y="776078"/>
                    <a:pt x="2475707" y="767431"/>
                    <a:pt x="2475707" y="756622"/>
                  </a:cubicBezTo>
                  <a:cubicBezTo>
                    <a:pt x="2479762" y="756622"/>
                    <a:pt x="2483815" y="756622"/>
                    <a:pt x="2487867" y="756622"/>
                  </a:cubicBezTo>
                  <a:lnTo>
                    <a:pt x="2500027" y="754461"/>
                  </a:lnTo>
                  <a:cubicBezTo>
                    <a:pt x="2502055" y="754461"/>
                    <a:pt x="2502055" y="756622"/>
                    <a:pt x="2504082" y="756622"/>
                  </a:cubicBezTo>
                  <a:lnTo>
                    <a:pt x="2514215" y="756622"/>
                  </a:lnTo>
                  <a:cubicBezTo>
                    <a:pt x="2514215" y="767431"/>
                    <a:pt x="2514215" y="778240"/>
                    <a:pt x="2514215" y="786887"/>
                  </a:cubicBezTo>
                  <a:cubicBezTo>
                    <a:pt x="2516242" y="786887"/>
                    <a:pt x="2518269" y="786887"/>
                    <a:pt x="2522321" y="786887"/>
                  </a:cubicBezTo>
                  <a:cubicBezTo>
                    <a:pt x="2522321" y="793373"/>
                    <a:pt x="2522321" y="799858"/>
                    <a:pt x="2522321" y="804182"/>
                  </a:cubicBezTo>
                  <a:lnTo>
                    <a:pt x="2531658" y="805087"/>
                  </a:lnTo>
                  <a:lnTo>
                    <a:pt x="2544615" y="805087"/>
                  </a:lnTo>
                  <a:cubicBezTo>
                    <a:pt x="2544615" y="799278"/>
                    <a:pt x="2544615" y="795106"/>
                    <a:pt x="2544615" y="789049"/>
                  </a:cubicBezTo>
                  <a:lnTo>
                    <a:pt x="2612571" y="789049"/>
                  </a:lnTo>
                  <a:lnTo>
                    <a:pt x="2612571" y="703796"/>
                  </a:lnTo>
                  <a:lnTo>
                    <a:pt x="2684579" y="703796"/>
                  </a:lnTo>
                  <a:lnTo>
                    <a:pt x="2684579" y="782564"/>
                  </a:lnTo>
                  <a:cubicBezTo>
                    <a:pt x="2685215" y="782564"/>
                    <a:pt x="2685849" y="782564"/>
                    <a:pt x="2686483" y="782564"/>
                  </a:cubicBezTo>
                  <a:lnTo>
                    <a:pt x="2687725" y="805087"/>
                  </a:lnTo>
                  <a:lnTo>
                    <a:pt x="2697401" y="805087"/>
                  </a:lnTo>
                  <a:cubicBezTo>
                    <a:pt x="2697937" y="797873"/>
                    <a:pt x="2698643" y="790219"/>
                    <a:pt x="2698643" y="782564"/>
                  </a:cubicBezTo>
                  <a:cubicBezTo>
                    <a:pt x="2700671" y="782564"/>
                    <a:pt x="2702697" y="782564"/>
                    <a:pt x="2704723" y="782564"/>
                  </a:cubicBezTo>
                  <a:lnTo>
                    <a:pt x="2705965" y="805087"/>
                  </a:lnTo>
                  <a:lnTo>
                    <a:pt x="2756588" y="805087"/>
                  </a:lnTo>
                  <a:lnTo>
                    <a:pt x="2756588" y="642059"/>
                  </a:lnTo>
                  <a:lnTo>
                    <a:pt x="2953915" y="642059"/>
                  </a:lnTo>
                  <a:lnTo>
                    <a:pt x="2953915" y="805087"/>
                  </a:lnTo>
                  <a:lnTo>
                    <a:pt x="2972611" y="805087"/>
                  </a:lnTo>
                  <a:lnTo>
                    <a:pt x="2972611" y="722394"/>
                  </a:lnTo>
                  <a:lnTo>
                    <a:pt x="3067731" y="722394"/>
                  </a:lnTo>
                  <a:cubicBezTo>
                    <a:pt x="3071806" y="616373"/>
                    <a:pt x="3075185" y="510899"/>
                    <a:pt x="3079662" y="404253"/>
                  </a:cubicBezTo>
                  <a:cubicBezTo>
                    <a:pt x="3069529" y="404253"/>
                    <a:pt x="3045209" y="391282"/>
                    <a:pt x="3067502" y="382635"/>
                  </a:cubicBezTo>
                  <a:cubicBezTo>
                    <a:pt x="3065474" y="380473"/>
                    <a:pt x="3063449" y="378311"/>
                    <a:pt x="3061422" y="378311"/>
                  </a:cubicBezTo>
                  <a:cubicBezTo>
                    <a:pt x="3061422" y="365341"/>
                    <a:pt x="3059394" y="363179"/>
                    <a:pt x="3069529" y="354532"/>
                  </a:cubicBezTo>
                  <a:cubicBezTo>
                    <a:pt x="3069529" y="350208"/>
                    <a:pt x="3069529" y="343723"/>
                    <a:pt x="3069529" y="337238"/>
                  </a:cubicBezTo>
                  <a:cubicBezTo>
                    <a:pt x="3073582" y="337238"/>
                    <a:pt x="3077635" y="337238"/>
                    <a:pt x="3083715" y="337238"/>
                  </a:cubicBezTo>
                  <a:cubicBezTo>
                    <a:pt x="3083715" y="328590"/>
                    <a:pt x="3083715" y="322105"/>
                    <a:pt x="3083715" y="315620"/>
                  </a:cubicBezTo>
                  <a:cubicBezTo>
                    <a:pt x="3083715" y="313458"/>
                    <a:pt x="3085742" y="313458"/>
                    <a:pt x="3085742" y="311296"/>
                  </a:cubicBezTo>
                  <a:cubicBezTo>
                    <a:pt x="3085742" y="285355"/>
                    <a:pt x="3085742" y="259414"/>
                    <a:pt x="3085742" y="233472"/>
                  </a:cubicBezTo>
                  <a:cubicBezTo>
                    <a:pt x="3085742" y="231310"/>
                    <a:pt x="3083715" y="229149"/>
                    <a:pt x="3083715" y="226987"/>
                  </a:cubicBezTo>
                  <a:cubicBezTo>
                    <a:pt x="3085742" y="224825"/>
                    <a:pt x="3087769" y="222663"/>
                    <a:pt x="3089795" y="220501"/>
                  </a:cubicBezTo>
                  <a:cubicBezTo>
                    <a:pt x="3089795" y="201045"/>
                    <a:pt x="3089795" y="181589"/>
                    <a:pt x="3089795" y="162133"/>
                  </a:cubicBezTo>
                  <a:cubicBezTo>
                    <a:pt x="3089795" y="159972"/>
                    <a:pt x="3089795" y="159972"/>
                    <a:pt x="3091822" y="157810"/>
                  </a:cubicBezTo>
                  <a:cubicBezTo>
                    <a:pt x="3091822" y="140516"/>
                    <a:pt x="3091822" y="121060"/>
                    <a:pt x="3091822" y="101604"/>
                  </a:cubicBezTo>
                  <a:cubicBezTo>
                    <a:pt x="3093849" y="92957"/>
                    <a:pt x="3093849" y="88633"/>
                    <a:pt x="3093849" y="82148"/>
                  </a:cubicBezTo>
                  <a:cubicBezTo>
                    <a:pt x="3097902" y="88633"/>
                    <a:pt x="3097902" y="92957"/>
                    <a:pt x="3097902" y="99442"/>
                  </a:cubicBezTo>
                  <a:cubicBezTo>
                    <a:pt x="3099929" y="121060"/>
                    <a:pt x="3099929" y="140516"/>
                    <a:pt x="3099929" y="157810"/>
                  </a:cubicBezTo>
                  <a:cubicBezTo>
                    <a:pt x="3101955" y="181589"/>
                    <a:pt x="3101955" y="201045"/>
                    <a:pt x="3101955" y="220501"/>
                  </a:cubicBezTo>
                  <a:cubicBezTo>
                    <a:pt x="3103982" y="222663"/>
                    <a:pt x="3106009" y="224825"/>
                    <a:pt x="3108035" y="226987"/>
                  </a:cubicBezTo>
                  <a:cubicBezTo>
                    <a:pt x="3108035" y="229149"/>
                    <a:pt x="3106009" y="231310"/>
                    <a:pt x="3106009" y="233472"/>
                  </a:cubicBezTo>
                  <a:cubicBezTo>
                    <a:pt x="3106009" y="259414"/>
                    <a:pt x="3106009" y="285355"/>
                    <a:pt x="3106009" y="311296"/>
                  </a:cubicBezTo>
                  <a:cubicBezTo>
                    <a:pt x="3106009" y="313458"/>
                    <a:pt x="3108035" y="313458"/>
                    <a:pt x="3108035" y="315620"/>
                  </a:cubicBezTo>
                  <a:cubicBezTo>
                    <a:pt x="3108035" y="322105"/>
                    <a:pt x="3108035" y="328590"/>
                    <a:pt x="3108035" y="337238"/>
                  </a:cubicBezTo>
                  <a:cubicBezTo>
                    <a:pt x="3112089" y="337238"/>
                    <a:pt x="3118169" y="337238"/>
                    <a:pt x="3122222" y="337238"/>
                  </a:cubicBezTo>
                  <a:cubicBezTo>
                    <a:pt x="3122222" y="343723"/>
                    <a:pt x="3122222" y="350208"/>
                    <a:pt x="3122222" y="354532"/>
                  </a:cubicBezTo>
                  <a:cubicBezTo>
                    <a:pt x="3130330" y="363179"/>
                    <a:pt x="3130330" y="363179"/>
                    <a:pt x="3130330" y="378311"/>
                  </a:cubicBezTo>
                  <a:cubicBezTo>
                    <a:pt x="3128302" y="378311"/>
                    <a:pt x="3126275" y="380473"/>
                    <a:pt x="3124250" y="382635"/>
                  </a:cubicBezTo>
                  <a:cubicBezTo>
                    <a:pt x="3144515" y="393444"/>
                    <a:pt x="3120195" y="402091"/>
                    <a:pt x="3112089" y="404253"/>
                  </a:cubicBezTo>
                  <a:cubicBezTo>
                    <a:pt x="3114115" y="488562"/>
                    <a:pt x="3118169" y="572871"/>
                    <a:pt x="3120195" y="657181"/>
                  </a:cubicBezTo>
                  <a:cubicBezTo>
                    <a:pt x="3142490" y="657181"/>
                    <a:pt x="3164782" y="657181"/>
                    <a:pt x="3185050" y="657181"/>
                  </a:cubicBezTo>
                  <a:cubicBezTo>
                    <a:pt x="3185050" y="683122"/>
                    <a:pt x="3185050" y="709063"/>
                    <a:pt x="3185050" y="732843"/>
                  </a:cubicBezTo>
                  <a:cubicBezTo>
                    <a:pt x="3189103" y="732843"/>
                    <a:pt x="3191130" y="732843"/>
                    <a:pt x="3193157" y="732843"/>
                  </a:cubicBezTo>
                  <a:cubicBezTo>
                    <a:pt x="3193157" y="730681"/>
                    <a:pt x="3195183" y="728519"/>
                    <a:pt x="3195183" y="726358"/>
                  </a:cubicBezTo>
                  <a:cubicBezTo>
                    <a:pt x="3197210" y="726358"/>
                    <a:pt x="3199237" y="726358"/>
                    <a:pt x="3201263" y="726358"/>
                  </a:cubicBezTo>
                  <a:cubicBezTo>
                    <a:pt x="3201263" y="728519"/>
                    <a:pt x="3201263" y="730681"/>
                    <a:pt x="3203291" y="735005"/>
                  </a:cubicBezTo>
                  <a:cubicBezTo>
                    <a:pt x="3207343" y="735005"/>
                    <a:pt x="3211397" y="735005"/>
                    <a:pt x="3215451" y="735005"/>
                  </a:cubicBezTo>
                  <a:cubicBezTo>
                    <a:pt x="3215451" y="732843"/>
                    <a:pt x="3215451" y="730681"/>
                    <a:pt x="3215451" y="728519"/>
                  </a:cubicBezTo>
                  <a:cubicBezTo>
                    <a:pt x="3223557" y="728519"/>
                    <a:pt x="3229636" y="728519"/>
                    <a:pt x="3237744" y="728519"/>
                  </a:cubicBezTo>
                  <a:cubicBezTo>
                    <a:pt x="3237744" y="730681"/>
                    <a:pt x="3237744" y="732843"/>
                    <a:pt x="3237744" y="735005"/>
                  </a:cubicBezTo>
                  <a:cubicBezTo>
                    <a:pt x="3243823" y="735005"/>
                    <a:pt x="3251931" y="735005"/>
                    <a:pt x="3258011" y="735005"/>
                  </a:cubicBezTo>
                  <a:cubicBezTo>
                    <a:pt x="3258011" y="750137"/>
                    <a:pt x="3258011" y="765270"/>
                    <a:pt x="3258011" y="780402"/>
                  </a:cubicBezTo>
                  <a:cubicBezTo>
                    <a:pt x="3262065" y="780402"/>
                    <a:pt x="3268145" y="780402"/>
                    <a:pt x="3272198" y="780402"/>
                  </a:cubicBezTo>
                  <a:cubicBezTo>
                    <a:pt x="3272198" y="776078"/>
                    <a:pt x="3272198" y="771755"/>
                    <a:pt x="3272198" y="767431"/>
                  </a:cubicBezTo>
                  <a:cubicBezTo>
                    <a:pt x="3278278" y="767431"/>
                    <a:pt x="3284358" y="767431"/>
                    <a:pt x="3288412" y="767431"/>
                  </a:cubicBezTo>
                  <a:cubicBezTo>
                    <a:pt x="3288412" y="706902"/>
                    <a:pt x="3288412" y="648534"/>
                    <a:pt x="3288412" y="588004"/>
                  </a:cubicBezTo>
                  <a:cubicBezTo>
                    <a:pt x="3290438" y="585842"/>
                    <a:pt x="3292465" y="583680"/>
                    <a:pt x="3294492" y="581518"/>
                  </a:cubicBezTo>
                  <a:cubicBezTo>
                    <a:pt x="3318811" y="581518"/>
                    <a:pt x="3343131" y="581518"/>
                    <a:pt x="3367453" y="581518"/>
                  </a:cubicBezTo>
                  <a:lnTo>
                    <a:pt x="3367453" y="590166"/>
                  </a:lnTo>
                  <a:lnTo>
                    <a:pt x="3377586" y="590166"/>
                  </a:lnTo>
                  <a:cubicBezTo>
                    <a:pt x="3377586" y="629078"/>
                    <a:pt x="3377586" y="667990"/>
                    <a:pt x="3377586" y="704740"/>
                  </a:cubicBezTo>
                  <a:cubicBezTo>
                    <a:pt x="3385693" y="704740"/>
                    <a:pt x="3391773" y="704740"/>
                    <a:pt x="3399879" y="704740"/>
                  </a:cubicBezTo>
                  <a:cubicBezTo>
                    <a:pt x="3399879" y="683122"/>
                    <a:pt x="3399879" y="661504"/>
                    <a:pt x="3399879" y="637725"/>
                  </a:cubicBezTo>
                  <a:cubicBezTo>
                    <a:pt x="3407986" y="637725"/>
                    <a:pt x="3418119" y="637725"/>
                    <a:pt x="3426227" y="637725"/>
                  </a:cubicBezTo>
                  <a:cubicBezTo>
                    <a:pt x="3428253" y="637725"/>
                    <a:pt x="3428253" y="635563"/>
                    <a:pt x="3430279" y="633401"/>
                  </a:cubicBezTo>
                  <a:lnTo>
                    <a:pt x="3438387" y="633401"/>
                  </a:lnTo>
                  <a:cubicBezTo>
                    <a:pt x="3440413" y="635563"/>
                    <a:pt x="3440413" y="637725"/>
                    <a:pt x="3442439" y="637725"/>
                  </a:cubicBezTo>
                  <a:cubicBezTo>
                    <a:pt x="3448519" y="637725"/>
                    <a:pt x="3456627" y="637725"/>
                    <a:pt x="3464734" y="637725"/>
                  </a:cubicBezTo>
                  <a:cubicBezTo>
                    <a:pt x="3464734" y="598813"/>
                    <a:pt x="3464734" y="559901"/>
                    <a:pt x="3464734" y="520989"/>
                  </a:cubicBezTo>
                  <a:cubicBezTo>
                    <a:pt x="3464747" y="520986"/>
                    <a:pt x="3465614" y="520822"/>
                    <a:pt x="3521481" y="510180"/>
                  </a:cubicBezTo>
                  <a:cubicBezTo>
                    <a:pt x="3521481" y="510187"/>
                    <a:pt x="3521481" y="510261"/>
                    <a:pt x="3521481" y="511261"/>
                  </a:cubicBezTo>
                  <a:lnTo>
                    <a:pt x="3521481" y="518827"/>
                  </a:lnTo>
                  <a:cubicBezTo>
                    <a:pt x="3521498" y="518827"/>
                    <a:pt x="3522142" y="518827"/>
                    <a:pt x="3547828" y="518827"/>
                  </a:cubicBezTo>
                  <a:cubicBezTo>
                    <a:pt x="3547828" y="518849"/>
                    <a:pt x="3547828" y="521220"/>
                    <a:pt x="3547828" y="773917"/>
                  </a:cubicBezTo>
                  <a:cubicBezTo>
                    <a:pt x="3553907" y="773917"/>
                    <a:pt x="3562015" y="773917"/>
                    <a:pt x="3570122" y="773917"/>
                  </a:cubicBezTo>
                  <a:cubicBezTo>
                    <a:pt x="3570122" y="771755"/>
                    <a:pt x="3570122" y="771755"/>
                    <a:pt x="3570122" y="769593"/>
                  </a:cubicBezTo>
                  <a:cubicBezTo>
                    <a:pt x="3574174" y="769593"/>
                    <a:pt x="3578227" y="769593"/>
                    <a:pt x="3582282" y="769593"/>
                  </a:cubicBezTo>
                  <a:cubicBezTo>
                    <a:pt x="3582282" y="771755"/>
                    <a:pt x="3582282" y="771755"/>
                    <a:pt x="3582282" y="773917"/>
                  </a:cubicBezTo>
                  <a:cubicBezTo>
                    <a:pt x="3590389" y="773917"/>
                    <a:pt x="3598494" y="773917"/>
                    <a:pt x="3606602" y="773917"/>
                  </a:cubicBezTo>
                  <a:cubicBezTo>
                    <a:pt x="3606602" y="769593"/>
                    <a:pt x="3606602" y="765270"/>
                    <a:pt x="3606602" y="760946"/>
                  </a:cubicBezTo>
                  <a:cubicBezTo>
                    <a:pt x="3616735" y="760946"/>
                    <a:pt x="3626870" y="760946"/>
                    <a:pt x="3634975" y="760946"/>
                  </a:cubicBezTo>
                  <a:cubicBezTo>
                    <a:pt x="3639029" y="756622"/>
                    <a:pt x="3643083" y="756622"/>
                    <a:pt x="3647135" y="756622"/>
                  </a:cubicBezTo>
                  <a:cubicBezTo>
                    <a:pt x="3653215" y="760946"/>
                    <a:pt x="3661323" y="760946"/>
                    <a:pt x="3667403" y="760946"/>
                  </a:cubicBezTo>
                  <a:cubicBezTo>
                    <a:pt x="3667403" y="754461"/>
                    <a:pt x="3667403" y="750137"/>
                    <a:pt x="3667403" y="743652"/>
                  </a:cubicBezTo>
                  <a:lnTo>
                    <a:pt x="3675510" y="743652"/>
                  </a:lnTo>
                  <a:cubicBezTo>
                    <a:pt x="3675510" y="739328"/>
                    <a:pt x="3675510" y="735005"/>
                    <a:pt x="3675510" y="730681"/>
                  </a:cubicBezTo>
                  <a:cubicBezTo>
                    <a:pt x="3693750" y="730681"/>
                    <a:pt x="3714017" y="730681"/>
                    <a:pt x="3732257" y="730681"/>
                  </a:cubicBezTo>
                  <a:cubicBezTo>
                    <a:pt x="3732257" y="719872"/>
                    <a:pt x="3732257" y="711225"/>
                    <a:pt x="3732257" y="700416"/>
                  </a:cubicBezTo>
                  <a:cubicBezTo>
                    <a:pt x="3738337" y="700416"/>
                    <a:pt x="3744417" y="700416"/>
                    <a:pt x="3750497" y="700416"/>
                  </a:cubicBezTo>
                  <a:cubicBezTo>
                    <a:pt x="3750497" y="698254"/>
                    <a:pt x="3750497" y="696093"/>
                    <a:pt x="3750497" y="693931"/>
                  </a:cubicBezTo>
                  <a:cubicBezTo>
                    <a:pt x="3754550" y="693931"/>
                    <a:pt x="3758603" y="693931"/>
                    <a:pt x="3762657" y="693931"/>
                  </a:cubicBezTo>
                  <a:cubicBezTo>
                    <a:pt x="3762657" y="696093"/>
                    <a:pt x="3762657" y="698254"/>
                    <a:pt x="3762657" y="700416"/>
                  </a:cubicBezTo>
                  <a:cubicBezTo>
                    <a:pt x="3768737" y="700416"/>
                    <a:pt x="3772790" y="700416"/>
                    <a:pt x="3778870" y="700416"/>
                  </a:cubicBezTo>
                  <a:cubicBezTo>
                    <a:pt x="3778870" y="715549"/>
                    <a:pt x="3778870" y="732843"/>
                    <a:pt x="3778870" y="750137"/>
                  </a:cubicBezTo>
                  <a:lnTo>
                    <a:pt x="3789470" y="750137"/>
                  </a:lnTo>
                  <a:lnTo>
                    <a:pt x="3789470" y="586174"/>
                  </a:lnTo>
                  <a:lnTo>
                    <a:pt x="3791390" y="586174"/>
                  </a:lnTo>
                  <a:lnTo>
                    <a:pt x="3791390" y="723865"/>
                  </a:lnTo>
                  <a:lnTo>
                    <a:pt x="3791390" y="750137"/>
                  </a:lnTo>
                  <a:lnTo>
                    <a:pt x="3806350" y="750137"/>
                  </a:lnTo>
                  <a:lnTo>
                    <a:pt x="3806350" y="742023"/>
                  </a:lnTo>
                  <a:lnTo>
                    <a:pt x="3811298" y="742023"/>
                  </a:lnTo>
                  <a:lnTo>
                    <a:pt x="3811298" y="724196"/>
                  </a:lnTo>
                  <a:cubicBezTo>
                    <a:pt x="3823458" y="724196"/>
                    <a:pt x="3837645" y="724196"/>
                    <a:pt x="3849805" y="724196"/>
                  </a:cubicBezTo>
                  <a:cubicBezTo>
                    <a:pt x="3849805" y="713387"/>
                    <a:pt x="3849805" y="704740"/>
                    <a:pt x="3849805" y="693931"/>
                  </a:cubicBezTo>
                  <a:lnTo>
                    <a:pt x="3888823" y="693931"/>
                  </a:lnTo>
                  <a:lnTo>
                    <a:pt x="3888823" y="690579"/>
                  </a:lnTo>
                  <a:cubicBezTo>
                    <a:pt x="3888823" y="690579"/>
                    <a:pt x="3888823" y="690579"/>
                    <a:pt x="3887708" y="690579"/>
                  </a:cubicBezTo>
                  <a:lnTo>
                    <a:pt x="3879906" y="690579"/>
                  </a:lnTo>
                  <a:cubicBezTo>
                    <a:pt x="3879906" y="690579"/>
                    <a:pt x="3879906" y="690579"/>
                    <a:pt x="3879906" y="689443"/>
                  </a:cubicBezTo>
                  <a:lnTo>
                    <a:pt x="3879906" y="681500"/>
                  </a:lnTo>
                  <a:cubicBezTo>
                    <a:pt x="3879906" y="681500"/>
                    <a:pt x="3879906" y="681500"/>
                    <a:pt x="3881022" y="681500"/>
                  </a:cubicBezTo>
                  <a:lnTo>
                    <a:pt x="3888823" y="681500"/>
                  </a:lnTo>
                  <a:cubicBezTo>
                    <a:pt x="3888823" y="681500"/>
                    <a:pt x="3888823" y="681500"/>
                    <a:pt x="3888823" y="679986"/>
                  </a:cubicBezTo>
                  <a:lnTo>
                    <a:pt x="3888823" y="669395"/>
                  </a:lnTo>
                  <a:cubicBezTo>
                    <a:pt x="3888823" y="669395"/>
                    <a:pt x="3888823" y="669395"/>
                    <a:pt x="3887708" y="669395"/>
                  </a:cubicBezTo>
                  <a:lnTo>
                    <a:pt x="3879906" y="669395"/>
                  </a:lnTo>
                  <a:cubicBezTo>
                    <a:pt x="3879906" y="669395"/>
                    <a:pt x="3879906" y="669395"/>
                    <a:pt x="3879906" y="667882"/>
                  </a:cubicBezTo>
                  <a:lnTo>
                    <a:pt x="3879906" y="657290"/>
                  </a:lnTo>
                  <a:cubicBezTo>
                    <a:pt x="3879906" y="657290"/>
                    <a:pt x="3879906" y="657290"/>
                    <a:pt x="3881022" y="657290"/>
                  </a:cubicBezTo>
                  <a:lnTo>
                    <a:pt x="3888823" y="657290"/>
                  </a:lnTo>
                  <a:cubicBezTo>
                    <a:pt x="3888823" y="657290"/>
                    <a:pt x="3888823" y="657290"/>
                    <a:pt x="3888823" y="656156"/>
                  </a:cubicBezTo>
                  <a:lnTo>
                    <a:pt x="3888823" y="648212"/>
                  </a:lnTo>
                  <a:cubicBezTo>
                    <a:pt x="3888823" y="648212"/>
                    <a:pt x="3888823" y="648212"/>
                    <a:pt x="3887708" y="648212"/>
                  </a:cubicBezTo>
                  <a:lnTo>
                    <a:pt x="3879906" y="648212"/>
                  </a:lnTo>
                  <a:cubicBezTo>
                    <a:pt x="3879906" y="648212"/>
                    <a:pt x="3879906" y="648212"/>
                    <a:pt x="3879906" y="646698"/>
                  </a:cubicBezTo>
                  <a:lnTo>
                    <a:pt x="3879906" y="636107"/>
                  </a:lnTo>
                  <a:cubicBezTo>
                    <a:pt x="3879906" y="636107"/>
                    <a:pt x="3879906" y="636107"/>
                    <a:pt x="3881022" y="636107"/>
                  </a:cubicBezTo>
                  <a:lnTo>
                    <a:pt x="3888823" y="636107"/>
                  </a:lnTo>
                  <a:cubicBezTo>
                    <a:pt x="3888823" y="636107"/>
                    <a:pt x="3888823" y="636107"/>
                    <a:pt x="3888823" y="634594"/>
                  </a:cubicBezTo>
                  <a:lnTo>
                    <a:pt x="3888823" y="624002"/>
                  </a:lnTo>
                  <a:cubicBezTo>
                    <a:pt x="3888823" y="624002"/>
                    <a:pt x="3888823" y="624002"/>
                    <a:pt x="3887708" y="624002"/>
                  </a:cubicBezTo>
                  <a:lnTo>
                    <a:pt x="3879906" y="624002"/>
                  </a:lnTo>
                  <a:cubicBezTo>
                    <a:pt x="3879906" y="624002"/>
                    <a:pt x="3879906" y="624002"/>
                    <a:pt x="3879906" y="622489"/>
                  </a:cubicBezTo>
                  <a:lnTo>
                    <a:pt x="3879906" y="611898"/>
                  </a:lnTo>
                  <a:cubicBezTo>
                    <a:pt x="3879906" y="611898"/>
                    <a:pt x="3879906" y="611898"/>
                    <a:pt x="3881022" y="611898"/>
                  </a:cubicBezTo>
                  <a:lnTo>
                    <a:pt x="3888823" y="611898"/>
                  </a:lnTo>
                  <a:cubicBezTo>
                    <a:pt x="3888823" y="611898"/>
                    <a:pt x="3888823" y="611898"/>
                    <a:pt x="3888823" y="610763"/>
                  </a:cubicBezTo>
                  <a:lnTo>
                    <a:pt x="3888823" y="602819"/>
                  </a:lnTo>
                  <a:cubicBezTo>
                    <a:pt x="3888823" y="602819"/>
                    <a:pt x="3888823" y="602819"/>
                    <a:pt x="3887708" y="602819"/>
                  </a:cubicBezTo>
                  <a:lnTo>
                    <a:pt x="3879906" y="602819"/>
                  </a:lnTo>
                  <a:cubicBezTo>
                    <a:pt x="3879906" y="602819"/>
                    <a:pt x="3879906" y="602819"/>
                    <a:pt x="3879906" y="601307"/>
                  </a:cubicBezTo>
                  <a:lnTo>
                    <a:pt x="3879906" y="590714"/>
                  </a:lnTo>
                  <a:cubicBezTo>
                    <a:pt x="3879906" y="590714"/>
                    <a:pt x="3879906" y="590714"/>
                    <a:pt x="3881022" y="590714"/>
                  </a:cubicBezTo>
                  <a:lnTo>
                    <a:pt x="3888823" y="590714"/>
                  </a:lnTo>
                  <a:cubicBezTo>
                    <a:pt x="3888823" y="590714"/>
                    <a:pt x="3888823" y="590714"/>
                    <a:pt x="3888823" y="589202"/>
                  </a:cubicBezTo>
                  <a:lnTo>
                    <a:pt x="3888823" y="578610"/>
                  </a:lnTo>
                  <a:cubicBezTo>
                    <a:pt x="3888823" y="578610"/>
                    <a:pt x="3888823" y="578610"/>
                    <a:pt x="3887708" y="578610"/>
                  </a:cubicBezTo>
                  <a:lnTo>
                    <a:pt x="3879906" y="578610"/>
                  </a:lnTo>
                  <a:cubicBezTo>
                    <a:pt x="3879906" y="578610"/>
                    <a:pt x="3879906" y="578610"/>
                    <a:pt x="3879906" y="577096"/>
                  </a:cubicBezTo>
                  <a:lnTo>
                    <a:pt x="3879906" y="566505"/>
                  </a:lnTo>
                  <a:cubicBezTo>
                    <a:pt x="3879906" y="566505"/>
                    <a:pt x="3879906" y="566505"/>
                    <a:pt x="3881022" y="566505"/>
                  </a:cubicBezTo>
                  <a:lnTo>
                    <a:pt x="3888823" y="566505"/>
                  </a:lnTo>
                  <a:cubicBezTo>
                    <a:pt x="3888823" y="566505"/>
                    <a:pt x="3888823" y="566505"/>
                    <a:pt x="3888823" y="565370"/>
                  </a:cubicBezTo>
                  <a:lnTo>
                    <a:pt x="3888823" y="557427"/>
                  </a:lnTo>
                  <a:cubicBezTo>
                    <a:pt x="3888823" y="557427"/>
                    <a:pt x="3888823" y="557427"/>
                    <a:pt x="3887708" y="557427"/>
                  </a:cubicBezTo>
                  <a:lnTo>
                    <a:pt x="3879906" y="557427"/>
                  </a:lnTo>
                  <a:cubicBezTo>
                    <a:pt x="3879906" y="557427"/>
                    <a:pt x="3879906" y="557427"/>
                    <a:pt x="3879906" y="555914"/>
                  </a:cubicBezTo>
                  <a:lnTo>
                    <a:pt x="3879906" y="545322"/>
                  </a:lnTo>
                  <a:cubicBezTo>
                    <a:pt x="3879906" y="545322"/>
                    <a:pt x="3879906" y="545322"/>
                    <a:pt x="3881022" y="545322"/>
                  </a:cubicBezTo>
                  <a:lnTo>
                    <a:pt x="3888823" y="545322"/>
                  </a:lnTo>
                  <a:cubicBezTo>
                    <a:pt x="3888823" y="545322"/>
                    <a:pt x="3888823" y="545322"/>
                    <a:pt x="3887708" y="543053"/>
                  </a:cubicBezTo>
                  <a:lnTo>
                    <a:pt x="3879906" y="527166"/>
                  </a:lnTo>
                  <a:cubicBezTo>
                    <a:pt x="3879906" y="527166"/>
                    <a:pt x="3879906" y="527166"/>
                    <a:pt x="3879906" y="478746"/>
                  </a:cubicBezTo>
                  <a:cubicBezTo>
                    <a:pt x="3879906" y="478746"/>
                    <a:pt x="3879906" y="478746"/>
                    <a:pt x="4029251" y="478746"/>
                  </a:cubicBezTo>
                  <a:cubicBezTo>
                    <a:pt x="4029251" y="478746"/>
                    <a:pt x="4029251" y="478746"/>
                    <a:pt x="4042623" y="505982"/>
                  </a:cubicBezTo>
                  <a:cubicBezTo>
                    <a:pt x="4042623" y="505982"/>
                    <a:pt x="4042623" y="505982"/>
                    <a:pt x="4042623" y="566505"/>
                  </a:cubicBezTo>
                  <a:cubicBezTo>
                    <a:pt x="4042623" y="566505"/>
                    <a:pt x="4042623" y="566505"/>
                    <a:pt x="4041510" y="566505"/>
                  </a:cubicBezTo>
                  <a:lnTo>
                    <a:pt x="4033708" y="566505"/>
                  </a:lnTo>
                  <a:cubicBezTo>
                    <a:pt x="4033708" y="566505"/>
                    <a:pt x="4033708" y="566505"/>
                    <a:pt x="4033708" y="568018"/>
                  </a:cubicBezTo>
                  <a:lnTo>
                    <a:pt x="4033708" y="578610"/>
                  </a:lnTo>
                  <a:cubicBezTo>
                    <a:pt x="4033708" y="578610"/>
                    <a:pt x="4033708" y="578610"/>
                    <a:pt x="4034823" y="578610"/>
                  </a:cubicBezTo>
                  <a:lnTo>
                    <a:pt x="4042623" y="578610"/>
                  </a:lnTo>
                  <a:cubicBezTo>
                    <a:pt x="4042623" y="578610"/>
                    <a:pt x="4042623" y="578610"/>
                    <a:pt x="4042623" y="580123"/>
                  </a:cubicBezTo>
                  <a:lnTo>
                    <a:pt x="4042623" y="590714"/>
                  </a:lnTo>
                  <a:cubicBezTo>
                    <a:pt x="4042623" y="590714"/>
                    <a:pt x="4042623" y="590714"/>
                    <a:pt x="4041510" y="590714"/>
                  </a:cubicBezTo>
                  <a:lnTo>
                    <a:pt x="4033708" y="590714"/>
                  </a:lnTo>
                  <a:cubicBezTo>
                    <a:pt x="4033708" y="590714"/>
                    <a:pt x="4033708" y="590714"/>
                    <a:pt x="4033708" y="592227"/>
                  </a:cubicBezTo>
                  <a:lnTo>
                    <a:pt x="4033708" y="602819"/>
                  </a:lnTo>
                  <a:cubicBezTo>
                    <a:pt x="4033708" y="602819"/>
                    <a:pt x="4033708" y="602819"/>
                    <a:pt x="4034823" y="602819"/>
                  </a:cubicBezTo>
                  <a:lnTo>
                    <a:pt x="4042623" y="602819"/>
                  </a:lnTo>
                  <a:cubicBezTo>
                    <a:pt x="4042623" y="602819"/>
                    <a:pt x="4042623" y="602819"/>
                    <a:pt x="4042623" y="603955"/>
                  </a:cubicBezTo>
                  <a:lnTo>
                    <a:pt x="4042623" y="611898"/>
                  </a:lnTo>
                  <a:cubicBezTo>
                    <a:pt x="4042623" y="611898"/>
                    <a:pt x="4042623" y="611898"/>
                    <a:pt x="4041510" y="611898"/>
                  </a:cubicBezTo>
                  <a:lnTo>
                    <a:pt x="4033708" y="611898"/>
                  </a:lnTo>
                  <a:cubicBezTo>
                    <a:pt x="4033708" y="611898"/>
                    <a:pt x="4033708" y="611898"/>
                    <a:pt x="4033708" y="613411"/>
                  </a:cubicBezTo>
                  <a:lnTo>
                    <a:pt x="4033708" y="624002"/>
                  </a:lnTo>
                  <a:cubicBezTo>
                    <a:pt x="4033708" y="624002"/>
                    <a:pt x="4033708" y="624002"/>
                    <a:pt x="4034823" y="624002"/>
                  </a:cubicBezTo>
                  <a:lnTo>
                    <a:pt x="4042623" y="624002"/>
                  </a:lnTo>
                  <a:cubicBezTo>
                    <a:pt x="4042623" y="624002"/>
                    <a:pt x="4042623" y="624002"/>
                    <a:pt x="4042623" y="625516"/>
                  </a:cubicBezTo>
                  <a:lnTo>
                    <a:pt x="4042623" y="636107"/>
                  </a:lnTo>
                  <a:cubicBezTo>
                    <a:pt x="4042623" y="636107"/>
                    <a:pt x="4042623" y="636107"/>
                    <a:pt x="4041510" y="636107"/>
                  </a:cubicBezTo>
                  <a:lnTo>
                    <a:pt x="4033708" y="636107"/>
                  </a:lnTo>
                  <a:cubicBezTo>
                    <a:pt x="4033708" y="636107"/>
                    <a:pt x="4033708" y="636107"/>
                    <a:pt x="4033708" y="637620"/>
                  </a:cubicBezTo>
                  <a:lnTo>
                    <a:pt x="4033708" y="648212"/>
                  </a:lnTo>
                  <a:cubicBezTo>
                    <a:pt x="4033708" y="648212"/>
                    <a:pt x="4033708" y="648212"/>
                    <a:pt x="4034823" y="648212"/>
                  </a:cubicBezTo>
                  <a:lnTo>
                    <a:pt x="4042623" y="648212"/>
                  </a:lnTo>
                  <a:cubicBezTo>
                    <a:pt x="4042623" y="648212"/>
                    <a:pt x="4042623" y="648212"/>
                    <a:pt x="4042623" y="649346"/>
                  </a:cubicBezTo>
                  <a:lnTo>
                    <a:pt x="4042623" y="657290"/>
                  </a:lnTo>
                  <a:cubicBezTo>
                    <a:pt x="4042623" y="657290"/>
                    <a:pt x="4042623" y="657290"/>
                    <a:pt x="4041510" y="657290"/>
                  </a:cubicBezTo>
                  <a:lnTo>
                    <a:pt x="4033708" y="657290"/>
                  </a:lnTo>
                  <a:cubicBezTo>
                    <a:pt x="4033708" y="657290"/>
                    <a:pt x="4033708" y="657290"/>
                    <a:pt x="4033708" y="658804"/>
                  </a:cubicBezTo>
                  <a:lnTo>
                    <a:pt x="4033708" y="669395"/>
                  </a:lnTo>
                  <a:cubicBezTo>
                    <a:pt x="4033708" y="669395"/>
                    <a:pt x="4033708" y="669395"/>
                    <a:pt x="4034823" y="669395"/>
                  </a:cubicBezTo>
                  <a:lnTo>
                    <a:pt x="4042623" y="669395"/>
                  </a:lnTo>
                  <a:cubicBezTo>
                    <a:pt x="4042623" y="669395"/>
                    <a:pt x="4042623" y="669395"/>
                    <a:pt x="4042623" y="670908"/>
                  </a:cubicBezTo>
                  <a:lnTo>
                    <a:pt x="4042623" y="681500"/>
                  </a:lnTo>
                  <a:cubicBezTo>
                    <a:pt x="4042623" y="681500"/>
                    <a:pt x="4042623" y="681500"/>
                    <a:pt x="4041510" y="681500"/>
                  </a:cubicBezTo>
                  <a:lnTo>
                    <a:pt x="4033708" y="681500"/>
                  </a:lnTo>
                  <a:cubicBezTo>
                    <a:pt x="4033708" y="681500"/>
                    <a:pt x="4033708" y="681500"/>
                    <a:pt x="4033708" y="682634"/>
                  </a:cubicBezTo>
                  <a:lnTo>
                    <a:pt x="4033708" y="690579"/>
                  </a:lnTo>
                  <a:cubicBezTo>
                    <a:pt x="4033708" y="690579"/>
                    <a:pt x="4033708" y="690579"/>
                    <a:pt x="4034823" y="690579"/>
                  </a:cubicBezTo>
                  <a:lnTo>
                    <a:pt x="4042623" y="690579"/>
                  </a:lnTo>
                  <a:cubicBezTo>
                    <a:pt x="4042623" y="690579"/>
                    <a:pt x="4042623" y="690579"/>
                    <a:pt x="4042623" y="692091"/>
                  </a:cubicBezTo>
                  <a:lnTo>
                    <a:pt x="4042623" y="702682"/>
                  </a:lnTo>
                  <a:cubicBezTo>
                    <a:pt x="4042623" y="702682"/>
                    <a:pt x="4042623" y="702682"/>
                    <a:pt x="4041510" y="702682"/>
                  </a:cubicBezTo>
                  <a:lnTo>
                    <a:pt x="4033708" y="702682"/>
                  </a:lnTo>
                  <a:cubicBezTo>
                    <a:pt x="4033708" y="702682"/>
                    <a:pt x="4033708" y="702682"/>
                    <a:pt x="4033708" y="704195"/>
                  </a:cubicBezTo>
                  <a:lnTo>
                    <a:pt x="4033708" y="714788"/>
                  </a:lnTo>
                  <a:cubicBezTo>
                    <a:pt x="4033708" y="714788"/>
                    <a:pt x="4033708" y="714788"/>
                    <a:pt x="4034823" y="714788"/>
                  </a:cubicBezTo>
                  <a:lnTo>
                    <a:pt x="4042623" y="714788"/>
                  </a:lnTo>
                  <a:cubicBezTo>
                    <a:pt x="4042623" y="714788"/>
                    <a:pt x="4042623" y="714788"/>
                    <a:pt x="4042623" y="716300"/>
                  </a:cubicBezTo>
                  <a:lnTo>
                    <a:pt x="4042623" y="726892"/>
                  </a:lnTo>
                  <a:cubicBezTo>
                    <a:pt x="4042623" y="726892"/>
                    <a:pt x="4042623" y="726892"/>
                    <a:pt x="4041510" y="726892"/>
                  </a:cubicBezTo>
                  <a:lnTo>
                    <a:pt x="4033708" y="726892"/>
                  </a:lnTo>
                  <a:cubicBezTo>
                    <a:pt x="4033708" y="726892"/>
                    <a:pt x="4033708" y="726892"/>
                    <a:pt x="4033708" y="728027"/>
                  </a:cubicBezTo>
                  <a:lnTo>
                    <a:pt x="4033708" y="735970"/>
                  </a:lnTo>
                  <a:cubicBezTo>
                    <a:pt x="4033708" y="735970"/>
                    <a:pt x="4033708" y="735970"/>
                    <a:pt x="4034823" y="735970"/>
                  </a:cubicBezTo>
                  <a:lnTo>
                    <a:pt x="4042623" y="735970"/>
                  </a:lnTo>
                  <a:cubicBezTo>
                    <a:pt x="4042623" y="735970"/>
                    <a:pt x="4042623" y="735970"/>
                    <a:pt x="4042623" y="737484"/>
                  </a:cubicBezTo>
                  <a:lnTo>
                    <a:pt x="4042623" y="748075"/>
                  </a:lnTo>
                  <a:cubicBezTo>
                    <a:pt x="4042623" y="748075"/>
                    <a:pt x="4042623" y="748075"/>
                    <a:pt x="4041510" y="748075"/>
                  </a:cubicBezTo>
                  <a:lnTo>
                    <a:pt x="4033708" y="748075"/>
                  </a:lnTo>
                  <a:cubicBezTo>
                    <a:pt x="4033708" y="748075"/>
                    <a:pt x="4033708" y="748075"/>
                    <a:pt x="4033708" y="749588"/>
                  </a:cubicBezTo>
                  <a:lnTo>
                    <a:pt x="4033708" y="760181"/>
                  </a:lnTo>
                  <a:cubicBezTo>
                    <a:pt x="4033708" y="760181"/>
                    <a:pt x="4033708" y="760181"/>
                    <a:pt x="4034823" y="760181"/>
                  </a:cubicBezTo>
                  <a:lnTo>
                    <a:pt x="4042623" y="760181"/>
                  </a:lnTo>
                  <a:cubicBezTo>
                    <a:pt x="4042623" y="760181"/>
                    <a:pt x="4042623" y="760181"/>
                    <a:pt x="4042623" y="761314"/>
                  </a:cubicBezTo>
                  <a:lnTo>
                    <a:pt x="4042623" y="769258"/>
                  </a:lnTo>
                  <a:cubicBezTo>
                    <a:pt x="4042623" y="769258"/>
                    <a:pt x="4042623" y="769258"/>
                    <a:pt x="4041510" y="769258"/>
                  </a:cubicBezTo>
                  <a:lnTo>
                    <a:pt x="4033708" y="769258"/>
                  </a:lnTo>
                  <a:cubicBezTo>
                    <a:pt x="4033708" y="769258"/>
                    <a:pt x="4033708" y="769258"/>
                    <a:pt x="4033708" y="770772"/>
                  </a:cubicBezTo>
                  <a:lnTo>
                    <a:pt x="4033708" y="781363"/>
                  </a:lnTo>
                  <a:cubicBezTo>
                    <a:pt x="4033708" y="781363"/>
                    <a:pt x="4033708" y="781363"/>
                    <a:pt x="4034823" y="781363"/>
                  </a:cubicBezTo>
                  <a:lnTo>
                    <a:pt x="4042623" y="781363"/>
                  </a:lnTo>
                  <a:cubicBezTo>
                    <a:pt x="4042623" y="781363"/>
                    <a:pt x="4042623" y="781363"/>
                    <a:pt x="4042623" y="782876"/>
                  </a:cubicBezTo>
                  <a:lnTo>
                    <a:pt x="4042623" y="793468"/>
                  </a:lnTo>
                  <a:cubicBezTo>
                    <a:pt x="4042623" y="793468"/>
                    <a:pt x="4042623" y="793468"/>
                    <a:pt x="4041510" y="793468"/>
                  </a:cubicBezTo>
                  <a:lnTo>
                    <a:pt x="4033708" y="793468"/>
                  </a:lnTo>
                  <a:cubicBezTo>
                    <a:pt x="4033708" y="793468"/>
                    <a:pt x="4033708" y="793468"/>
                    <a:pt x="4033708" y="794981"/>
                  </a:cubicBezTo>
                  <a:lnTo>
                    <a:pt x="4033708" y="805572"/>
                  </a:lnTo>
                  <a:cubicBezTo>
                    <a:pt x="4033708" y="805572"/>
                    <a:pt x="4033708" y="805572"/>
                    <a:pt x="4034823" y="805572"/>
                  </a:cubicBezTo>
                  <a:lnTo>
                    <a:pt x="4042623" y="805572"/>
                  </a:lnTo>
                  <a:cubicBezTo>
                    <a:pt x="4042623" y="805572"/>
                    <a:pt x="4042623" y="805572"/>
                    <a:pt x="4042623" y="806707"/>
                  </a:cubicBezTo>
                  <a:lnTo>
                    <a:pt x="4042623" y="814651"/>
                  </a:lnTo>
                  <a:cubicBezTo>
                    <a:pt x="4042623" y="814651"/>
                    <a:pt x="4042623" y="814651"/>
                    <a:pt x="4041510" y="814651"/>
                  </a:cubicBezTo>
                  <a:lnTo>
                    <a:pt x="4033708" y="814651"/>
                  </a:lnTo>
                  <a:cubicBezTo>
                    <a:pt x="4033708" y="814651"/>
                    <a:pt x="4033708" y="814651"/>
                    <a:pt x="4033708" y="816163"/>
                  </a:cubicBezTo>
                  <a:lnTo>
                    <a:pt x="4033708" y="826756"/>
                  </a:lnTo>
                  <a:cubicBezTo>
                    <a:pt x="4033708" y="826756"/>
                    <a:pt x="4033708" y="826756"/>
                    <a:pt x="4058227" y="853992"/>
                  </a:cubicBezTo>
                  <a:cubicBezTo>
                    <a:pt x="4058227" y="860044"/>
                    <a:pt x="4058227" y="860044"/>
                    <a:pt x="4057113" y="860044"/>
                  </a:cubicBezTo>
                  <a:lnTo>
                    <a:pt x="4049311" y="860044"/>
                  </a:lnTo>
                  <a:cubicBezTo>
                    <a:pt x="4049311" y="860044"/>
                    <a:pt x="4049311" y="860044"/>
                    <a:pt x="4049311" y="893331"/>
                  </a:cubicBezTo>
                  <a:cubicBezTo>
                    <a:pt x="4049311" y="893331"/>
                    <a:pt x="4049311" y="893331"/>
                    <a:pt x="4050427" y="893331"/>
                  </a:cubicBezTo>
                  <a:lnTo>
                    <a:pt x="4058227" y="893331"/>
                  </a:lnTo>
                  <a:cubicBezTo>
                    <a:pt x="4058227" y="893331"/>
                    <a:pt x="4058227" y="893331"/>
                    <a:pt x="4058227" y="891440"/>
                  </a:cubicBezTo>
                  <a:lnTo>
                    <a:pt x="4058227" y="878201"/>
                  </a:lnTo>
                  <a:cubicBezTo>
                    <a:pt x="4058227" y="878201"/>
                    <a:pt x="4058227" y="878201"/>
                    <a:pt x="4059342" y="877444"/>
                  </a:cubicBezTo>
                  <a:lnTo>
                    <a:pt x="4067142" y="872149"/>
                  </a:lnTo>
                  <a:cubicBezTo>
                    <a:pt x="4067142" y="872149"/>
                    <a:pt x="4067142" y="872149"/>
                    <a:pt x="4069094" y="872149"/>
                  </a:cubicBezTo>
                  <a:lnTo>
                    <a:pt x="4082747" y="872149"/>
                  </a:lnTo>
                  <a:cubicBezTo>
                    <a:pt x="4082747" y="872149"/>
                    <a:pt x="4082747" y="872149"/>
                    <a:pt x="4082747" y="873661"/>
                  </a:cubicBezTo>
                  <a:lnTo>
                    <a:pt x="4082747" y="884253"/>
                  </a:lnTo>
                  <a:cubicBezTo>
                    <a:pt x="4082747" y="884253"/>
                    <a:pt x="4082747" y="884253"/>
                    <a:pt x="4084419" y="884253"/>
                  </a:cubicBezTo>
                  <a:lnTo>
                    <a:pt x="4096121" y="884253"/>
                  </a:lnTo>
                  <a:cubicBezTo>
                    <a:pt x="4096121" y="890305"/>
                    <a:pt x="4096121" y="890305"/>
                    <a:pt x="4097235" y="890305"/>
                  </a:cubicBezTo>
                  <a:lnTo>
                    <a:pt x="4105038" y="890305"/>
                  </a:lnTo>
                  <a:cubicBezTo>
                    <a:pt x="4105038" y="890305"/>
                    <a:pt x="4105038" y="890305"/>
                    <a:pt x="4129555" y="932671"/>
                  </a:cubicBezTo>
                  <a:cubicBezTo>
                    <a:pt x="4129555" y="932671"/>
                    <a:pt x="4129555" y="932671"/>
                    <a:pt x="4129555" y="951821"/>
                  </a:cubicBezTo>
                  <a:lnTo>
                    <a:pt x="4129555" y="970823"/>
                  </a:lnTo>
                  <a:lnTo>
                    <a:pt x="4138472" y="970823"/>
                  </a:lnTo>
                  <a:lnTo>
                    <a:pt x="4138472" y="956881"/>
                  </a:lnTo>
                  <a:cubicBezTo>
                    <a:pt x="4138472" y="956881"/>
                    <a:pt x="4138472" y="956881"/>
                    <a:pt x="4139308" y="956881"/>
                  </a:cubicBezTo>
                  <a:lnTo>
                    <a:pt x="4145159" y="956881"/>
                  </a:lnTo>
                  <a:cubicBezTo>
                    <a:pt x="4145159" y="956881"/>
                    <a:pt x="4145159" y="956881"/>
                    <a:pt x="4145159" y="958394"/>
                  </a:cubicBezTo>
                  <a:lnTo>
                    <a:pt x="4145159" y="968985"/>
                  </a:lnTo>
                  <a:cubicBezTo>
                    <a:pt x="4154075" y="972013"/>
                    <a:pt x="4154075" y="972013"/>
                    <a:pt x="4154075" y="905436"/>
                  </a:cubicBezTo>
                  <a:cubicBezTo>
                    <a:pt x="4154075" y="905436"/>
                    <a:pt x="4154075" y="905436"/>
                    <a:pt x="4191968" y="905436"/>
                  </a:cubicBezTo>
                  <a:cubicBezTo>
                    <a:pt x="4191968" y="905436"/>
                    <a:pt x="4191968" y="905436"/>
                    <a:pt x="4191968" y="808599"/>
                  </a:cubicBezTo>
                  <a:cubicBezTo>
                    <a:pt x="4191968" y="808599"/>
                    <a:pt x="4191968" y="808599"/>
                    <a:pt x="4227631" y="808599"/>
                  </a:cubicBezTo>
                  <a:cubicBezTo>
                    <a:pt x="4227631" y="808599"/>
                    <a:pt x="4227631" y="808599"/>
                    <a:pt x="4227631" y="807464"/>
                  </a:cubicBezTo>
                  <a:lnTo>
                    <a:pt x="4227631" y="799520"/>
                  </a:lnTo>
                  <a:cubicBezTo>
                    <a:pt x="4227631" y="799520"/>
                    <a:pt x="4227631" y="799520"/>
                    <a:pt x="4249922" y="799520"/>
                  </a:cubicBezTo>
                  <a:cubicBezTo>
                    <a:pt x="4249922" y="799520"/>
                    <a:pt x="4249922" y="799520"/>
                    <a:pt x="4249922" y="748075"/>
                  </a:cubicBezTo>
                  <a:cubicBezTo>
                    <a:pt x="4245463" y="748075"/>
                    <a:pt x="4245463" y="748075"/>
                    <a:pt x="4245463" y="745805"/>
                  </a:cubicBezTo>
                  <a:lnTo>
                    <a:pt x="4245463" y="729918"/>
                  </a:lnTo>
                  <a:lnTo>
                    <a:pt x="4249922" y="732945"/>
                  </a:lnTo>
                  <a:cubicBezTo>
                    <a:pt x="4249922" y="732945"/>
                    <a:pt x="4249922" y="732945"/>
                    <a:pt x="4254381" y="702682"/>
                  </a:cubicBezTo>
                  <a:cubicBezTo>
                    <a:pt x="4254381" y="702682"/>
                    <a:pt x="4254381" y="702682"/>
                    <a:pt x="4258839" y="732945"/>
                  </a:cubicBezTo>
                  <a:cubicBezTo>
                    <a:pt x="4261067" y="729918"/>
                    <a:pt x="4261067" y="729918"/>
                    <a:pt x="4261346" y="728783"/>
                  </a:cubicBezTo>
                  <a:lnTo>
                    <a:pt x="4263297" y="720840"/>
                  </a:lnTo>
                  <a:cubicBezTo>
                    <a:pt x="4263297" y="720840"/>
                    <a:pt x="4263297" y="720840"/>
                    <a:pt x="4263853" y="719327"/>
                  </a:cubicBezTo>
                  <a:lnTo>
                    <a:pt x="4267754" y="708734"/>
                  </a:lnTo>
                  <a:cubicBezTo>
                    <a:pt x="4267754" y="708734"/>
                    <a:pt x="4267754" y="708734"/>
                    <a:pt x="4268311" y="707222"/>
                  </a:cubicBezTo>
                  <a:lnTo>
                    <a:pt x="4272213" y="696631"/>
                  </a:lnTo>
                  <a:cubicBezTo>
                    <a:pt x="4272213" y="696631"/>
                    <a:pt x="4272213" y="696631"/>
                    <a:pt x="4273605" y="695495"/>
                  </a:cubicBezTo>
                  <a:lnTo>
                    <a:pt x="4283357" y="687552"/>
                  </a:lnTo>
                  <a:cubicBezTo>
                    <a:pt x="4283357" y="687552"/>
                    <a:pt x="4283357" y="687552"/>
                    <a:pt x="4285030" y="686039"/>
                  </a:cubicBezTo>
                  <a:lnTo>
                    <a:pt x="4296732" y="675447"/>
                  </a:lnTo>
                  <a:cubicBezTo>
                    <a:pt x="4296732" y="675447"/>
                    <a:pt x="4296732" y="675447"/>
                    <a:pt x="4297568" y="673934"/>
                  </a:cubicBezTo>
                  <a:lnTo>
                    <a:pt x="4303418" y="663343"/>
                  </a:lnTo>
                  <a:cubicBezTo>
                    <a:pt x="4303418" y="663343"/>
                    <a:pt x="4303418" y="663343"/>
                    <a:pt x="4303976" y="660695"/>
                  </a:cubicBezTo>
                  <a:lnTo>
                    <a:pt x="4307877" y="642159"/>
                  </a:lnTo>
                  <a:cubicBezTo>
                    <a:pt x="4307877" y="642159"/>
                    <a:pt x="4307877" y="642159"/>
                    <a:pt x="4308435" y="644807"/>
                  </a:cubicBezTo>
                  <a:lnTo>
                    <a:pt x="4312335" y="663343"/>
                  </a:lnTo>
                  <a:cubicBezTo>
                    <a:pt x="4312335" y="663343"/>
                    <a:pt x="4312335" y="663343"/>
                    <a:pt x="4312893" y="664477"/>
                  </a:cubicBezTo>
                  <a:lnTo>
                    <a:pt x="4316793" y="672421"/>
                  </a:lnTo>
                  <a:cubicBezTo>
                    <a:pt x="4316793" y="672421"/>
                    <a:pt x="4316793" y="672421"/>
                    <a:pt x="4318186" y="673934"/>
                  </a:cubicBezTo>
                  <a:lnTo>
                    <a:pt x="4327938" y="684525"/>
                  </a:lnTo>
                  <a:cubicBezTo>
                    <a:pt x="4327938" y="684525"/>
                    <a:pt x="4327938" y="684525"/>
                    <a:pt x="4329054" y="686039"/>
                  </a:cubicBezTo>
                  <a:lnTo>
                    <a:pt x="4336853" y="696631"/>
                  </a:lnTo>
                  <a:cubicBezTo>
                    <a:pt x="4336853" y="696631"/>
                    <a:pt x="4336853" y="696631"/>
                    <a:pt x="4337969" y="698143"/>
                  </a:cubicBezTo>
                  <a:lnTo>
                    <a:pt x="4345771" y="708734"/>
                  </a:lnTo>
                  <a:cubicBezTo>
                    <a:pt x="4345771" y="708734"/>
                    <a:pt x="4345771" y="708734"/>
                    <a:pt x="4346049" y="710248"/>
                  </a:cubicBezTo>
                  <a:lnTo>
                    <a:pt x="4347998" y="720840"/>
                  </a:lnTo>
                  <a:cubicBezTo>
                    <a:pt x="4347998" y="720840"/>
                    <a:pt x="4347998" y="720840"/>
                    <a:pt x="4348277" y="722352"/>
                  </a:cubicBezTo>
                  <a:lnTo>
                    <a:pt x="4350228" y="732945"/>
                  </a:lnTo>
                  <a:cubicBezTo>
                    <a:pt x="4354685" y="732945"/>
                    <a:pt x="4354685" y="732945"/>
                    <a:pt x="4356914" y="702682"/>
                  </a:cubicBezTo>
                  <a:cubicBezTo>
                    <a:pt x="4356914" y="702682"/>
                    <a:pt x="4356914" y="702682"/>
                    <a:pt x="4361373" y="732945"/>
                  </a:cubicBezTo>
                  <a:cubicBezTo>
                    <a:pt x="4365830" y="732945"/>
                    <a:pt x="4365830" y="732945"/>
                    <a:pt x="4365830" y="735214"/>
                  </a:cubicBezTo>
                  <a:lnTo>
                    <a:pt x="4365830" y="751102"/>
                  </a:lnTo>
                  <a:cubicBezTo>
                    <a:pt x="4361373" y="751102"/>
                    <a:pt x="4361373" y="751102"/>
                    <a:pt x="4361373" y="793468"/>
                  </a:cubicBezTo>
                  <a:cubicBezTo>
                    <a:pt x="4361373" y="793468"/>
                    <a:pt x="4361373" y="793468"/>
                    <a:pt x="4362489" y="793468"/>
                  </a:cubicBezTo>
                  <a:lnTo>
                    <a:pt x="4370289" y="793468"/>
                  </a:lnTo>
                  <a:cubicBezTo>
                    <a:pt x="4370289" y="799520"/>
                    <a:pt x="4370289" y="799520"/>
                    <a:pt x="4371126" y="799520"/>
                  </a:cubicBezTo>
                  <a:lnTo>
                    <a:pt x="4376976" y="799520"/>
                  </a:lnTo>
                  <a:cubicBezTo>
                    <a:pt x="4376976" y="799520"/>
                    <a:pt x="4376976" y="799520"/>
                    <a:pt x="4376976" y="798007"/>
                  </a:cubicBezTo>
                  <a:lnTo>
                    <a:pt x="4376976" y="787415"/>
                  </a:lnTo>
                  <a:cubicBezTo>
                    <a:pt x="4376976" y="787415"/>
                    <a:pt x="4376976" y="787415"/>
                    <a:pt x="4379206" y="787415"/>
                  </a:cubicBezTo>
                  <a:lnTo>
                    <a:pt x="4394808" y="787415"/>
                  </a:lnTo>
                  <a:cubicBezTo>
                    <a:pt x="4394808" y="787415"/>
                    <a:pt x="4394808" y="787415"/>
                    <a:pt x="4394808" y="784767"/>
                  </a:cubicBezTo>
                  <a:lnTo>
                    <a:pt x="4394808" y="766232"/>
                  </a:lnTo>
                  <a:cubicBezTo>
                    <a:pt x="4394808" y="766232"/>
                    <a:pt x="4394808" y="766232"/>
                    <a:pt x="4432702" y="766232"/>
                  </a:cubicBezTo>
                  <a:cubicBezTo>
                    <a:pt x="4432702" y="766232"/>
                    <a:pt x="4432702" y="766232"/>
                    <a:pt x="4432702" y="768124"/>
                  </a:cubicBezTo>
                  <a:lnTo>
                    <a:pt x="4432702" y="781363"/>
                  </a:lnTo>
                  <a:cubicBezTo>
                    <a:pt x="4432702" y="781363"/>
                    <a:pt x="4432702" y="781363"/>
                    <a:pt x="4452762" y="781363"/>
                  </a:cubicBezTo>
                  <a:cubicBezTo>
                    <a:pt x="4452762" y="781363"/>
                    <a:pt x="4452762" y="781363"/>
                    <a:pt x="4452762" y="784390"/>
                  </a:cubicBezTo>
                  <a:lnTo>
                    <a:pt x="4452762" y="805572"/>
                  </a:lnTo>
                  <a:cubicBezTo>
                    <a:pt x="4448306" y="805572"/>
                    <a:pt x="4448306" y="805572"/>
                    <a:pt x="4448306" y="806707"/>
                  </a:cubicBezTo>
                  <a:lnTo>
                    <a:pt x="4448306" y="814651"/>
                  </a:lnTo>
                  <a:cubicBezTo>
                    <a:pt x="4452762" y="814651"/>
                    <a:pt x="4452762" y="814651"/>
                    <a:pt x="4452762" y="816921"/>
                  </a:cubicBezTo>
                  <a:lnTo>
                    <a:pt x="4452762" y="832808"/>
                  </a:lnTo>
                  <a:lnTo>
                    <a:pt x="4448306" y="838860"/>
                  </a:lnTo>
                  <a:cubicBezTo>
                    <a:pt x="4448306" y="838860"/>
                    <a:pt x="4448306" y="838860"/>
                    <a:pt x="4448306" y="911488"/>
                  </a:cubicBezTo>
                  <a:cubicBezTo>
                    <a:pt x="4448306" y="911488"/>
                    <a:pt x="4448306" y="911488"/>
                    <a:pt x="4450255" y="911488"/>
                  </a:cubicBezTo>
                  <a:lnTo>
                    <a:pt x="4463908" y="911488"/>
                  </a:lnTo>
                  <a:cubicBezTo>
                    <a:pt x="4463908" y="917540"/>
                    <a:pt x="4463908" y="917540"/>
                    <a:pt x="4465579" y="917540"/>
                  </a:cubicBezTo>
                  <a:lnTo>
                    <a:pt x="4477282" y="917540"/>
                  </a:lnTo>
                  <a:cubicBezTo>
                    <a:pt x="4477282" y="917540"/>
                    <a:pt x="4477282" y="917540"/>
                    <a:pt x="4477282" y="920188"/>
                  </a:cubicBezTo>
                  <a:lnTo>
                    <a:pt x="4477282" y="938724"/>
                  </a:lnTo>
                  <a:cubicBezTo>
                    <a:pt x="4477282" y="938724"/>
                    <a:pt x="4477282" y="938724"/>
                    <a:pt x="4478955" y="938724"/>
                  </a:cubicBezTo>
                  <a:lnTo>
                    <a:pt x="4490656" y="938724"/>
                  </a:lnTo>
                  <a:cubicBezTo>
                    <a:pt x="4490656" y="938724"/>
                    <a:pt x="4490656" y="938724"/>
                    <a:pt x="4490656" y="936076"/>
                  </a:cubicBezTo>
                  <a:lnTo>
                    <a:pt x="4490656" y="917540"/>
                  </a:lnTo>
                  <a:cubicBezTo>
                    <a:pt x="4490656" y="917540"/>
                    <a:pt x="4490656" y="917540"/>
                    <a:pt x="4492605" y="916028"/>
                  </a:cubicBezTo>
                  <a:lnTo>
                    <a:pt x="4506258" y="905436"/>
                  </a:lnTo>
                  <a:cubicBezTo>
                    <a:pt x="4506258" y="905436"/>
                    <a:pt x="4506258" y="905436"/>
                    <a:pt x="4506258" y="878201"/>
                  </a:cubicBezTo>
                  <a:cubicBezTo>
                    <a:pt x="4501802" y="878201"/>
                    <a:pt x="4501802" y="878201"/>
                    <a:pt x="4501802" y="847938"/>
                  </a:cubicBezTo>
                  <a:cubicBezTo>
                    <a:pt x="4501802" y="847938"/>
                    <a:pt x="4501802" y="847938"/>
                    <a:pt x="4502914" y="847938"/>
                  </a:cubicBezTo>
                  <a:lnTo>
                    <a:pt x="4510717" y="847938"/>
                  </a:lnTo>
                  <a:cubicBezTo>
                    <a:pt x="4510717" y="844913"/>
                    <a:pt x="4510717" y="844913"/>
                    <a:pt x="4530778" y="844913"/>
                  </a:cubicBezTo>
                  <a:cubicBezTo>
                    <a:pt x="4530778" y="844913"/>
                    <a:pt x="4530778" y="844913"/>
                    <a:pt x="4530778" y="843399"/>
                  </a:cubicBezTo>
                  <a:lnTo>
                    <a:pt x="4530778" y="832808"/>
                  </a:lnTo>
                  <a:cubicBezTo>
                    <a:pt x="4530778" y="832808"/>
                    <a:pt x="4530778" y="832808"/>
                    <a:pt x="4532451" y="832808"/>
                  </a:cubicBezTo>
                  <a:lnTo>
                    <a:pt x="4544152" y="832808"/>
                  </a:lnTo>
                  <a:cubicBezTo>
                    <a:pt x="4544152" y="832808"/>
                    <a:pt x="4544152" y="832808"/>
                    <a:pt x="4544152" y="681500"/>
                  </a:cubicBezTo>
                  <a:cubicBezTo>
                    <a:pt x="4544152" y="681500"/>
                    <a:pt x="4544152" y="681500"/>
                    <a:pt x="4545267" y="681500"/>
                  </a:cubicBezTo>
                  <a:lnTo>
                    <a:pt x="4553068" y="681500"/>
                  </a:lnTo>
                  <a:cubicBezTo>
                    <a:pt x="4553068" y="681500"/>
                    <a:pt x="4553068" y="681500"/>
                    <a:pt x="4553068" y="678473"/>
                  </a:cubicBezTo>
                  <a:lnTo>
                    <a:pt x="4553068" y="657290"/>
                  </a:lnTo>
                  <a:cubicBezTo>
                    <a:pt x="4555298" y="657290"/>
                    <a:pt x="4555298" y="657290"/>
                    <a:pt x="4555298" y="596766"/>
                  </a:cubicBezTo>
                  <a:cubicBezTo>
                    <a:pt x="4555298" y="596766"/>
                    <a:pt x="4555298" y="596766"/>
                    <a:pt x="4556412" y="596766"/>
                  </a:cubicBezTo>
                  <a:lnTo>
                    <a:pt x="4564213" y="596766"/>
                  </a:lnTo>
                  <a:cubicBezTo>
                    <a:pt x="4564213" y="596766"/>
                    <a:pt x="4564213" y="596766"/>
                    <a:pt x="4564213" y="598280"/>
                  </a:cubicBezTo>
                  <a:lnTo>
                    <a:pt x="4564213" y="608871"/>
                  </a:lnTo>
                  <a:cubicBezTo>
                    <a:pt x="4568671" y="608871"/>
                    <a:pt x="4568671" y="608871"/>
                    <a:pt x="4568671" y="605845"/>
                  </a:cubicBezTo>
                  <a:lnTo>
                    <a:pt x="4568671" y="584662"/>
                  </a:lnTo>
                  <a:cubicBezTo>
                    <a:pt x="4568671" y="584662"/>
                    <a:pt x="4568671" y="584662"/>
                    <a:pt x="4570065" y="583906"/>
                  </a:cubicBezTo>
                  <a:lnTo>
                    <a:pt x="4579816" y="578610"/>
                  </a:lnTo>
                  <a:cubicBezTo>
                    <a:pt x="4579816" y="578610"/>
                    <a:pt x="4579816" y="578610"/>
                    <a:pt x="4580930" y="579367"/>
                  </a:cubicBezTo>
                  <a:lnTo>
                    <a:pt x="4588733" y="584662"/>
                  </a:lnTo>
                  <a:cubicBezTo>
                    <a:pt x="4588733" y="584662"/>
                    <a:pt x="4588733" y="584662"/>
                    <a:pt x="4590404" y="584662"/>
                  </a:cubicBezTo>
                  <a:lnTo>
                    <a:pt x="4602107" y="584662"/>
                  </a:lnTo>
                  <a:cubicBezTo>
                    <a:pt x="4602107" y="584662"/>
                    <a:pt x="4602107" y="584662"/>
                    <a:pt x="4602107" y="545322"/>
                  </a:cubicBezTo>
                  <a:cubicBezTo>
                    <a:pt x="4602107" y="545322"/>
                    <a:pt x="4602107" y="545322"/>
                    <a:pt x="4603221" y="545322"/>
                  </a:cubicBezTo>
                  <a:lnTo>
                    <a:pt x="4611021" y="545322"/>
                  </a:lnTo>
                  <a:cubicBezTo>
                    <a:pt x="4611021" y="551375"/>
                    <a:pt x="4611021" y="551375"/>
                    <a:pt x="4612414" y="551375"/>
                  </a:cubicBezTo>
                  <a:lnTo>
                    <a:pt x="4622169" y="551375"/>
                  </a:lnTo>
                  <a:cubicBezTo>
                    <a:pt x="4622169" y="545322"/>
                    <a:pt x="4622169" y="545322"/>
                    <a:pt x="4623282" y="545322"/>
                  </a:cubicBezTo>
                  <a:lnTo>
                    <a:pt x="4631084" y="545322"/>
                  </a:lnTo>
                  <a:cubicBezTo>
                    <a:pt x="4631084" y="545322"/>
                    <a:pt x="4631084" y="545322"/>
                    <a:pt x="4631084" y="590714"/>
                  </a:cubicBezTo>
                  <a:cubicBezTo>
                    <a:pt x="4631084" y="590714"/>
                    <a:pt x="4631084" y="590714"/>
                    <a:pt x="4632477" y="592227"/>
                  </a:cubicBezTo>
                  <a:lnTo>
                    <a:pt x="4642230" y="602819"/>
                  </a:lnTo>
                  <a:cubicBezTo>
                    <a:pt x="4640000" y="611898"/>
                    <a:pt x="4640000" y="611898"/>
                    <a:pt x="4664518" y="611898"/>
                  </a:cubicBezTo>
                  <a:cubicBezTo>
                    <a:pt x="4664518" y="611898"/>
                    <a:pt x="4664518" y="611898"/>
                    <a:pt x="4664518" y="610007"/>
                  </a:cubicBezTo>
                  <a:lnTo>
                    <a:pt x="4664518" y="596766"/>
                  </a:lnTo>
                  <a:cubicBezTo>
                    <a:pt x="4664518" y="596766"/>
                    <a:pt x="4664518" y="596766"/>
                    <a:pt x="4693496" y="584662"/>
                  </a:cubicBezTo>
                  <a:cubicBezTo>
                    <a:pt x="4693496" y="584662"/>
                    <a:pt x="4693496" y="584662"/>
                    <a:pt x="4693496" y="583150"/>
                  </a:cubicBezTo>
                  <a:lnTo>
                    <a:pt x="4693496" y="572557"/>
                  </a:lnTo>
                  <a:cubicBezTo>
                    <a:pt x="4693496" y="572557"/>
                    <a:pt x="4693496" y="572557"/>
                    <a:pt x="4694332" y="572557"/>
                  </a:cubicBezTo>
                  <a:lnTo>
                    <a:pt x="4700182" y="572557"/>
                  </a:lnTo>
                  <a:cubicBezTo>
                    <a:pt x="4700182" y="572557"/>
                    <a:pt x="4700182" y="572557"/>
                    <a:pt x="4700182" y="571423"/>
                  </a:cubicBezTo>
                  <a:lnTo>
                    <a:pt x="4700182" y="563479"/>
                  </a:lnTo>
                  <a:cubicBezTo>
                    <a:pt x="4700182" y="563479"/>
                    <a:pt x="4700182" y="563479"/>
                    <a:pt x="4702412" y="563479"/>
                  </a:cubicBezTo>
                  <a:lnTo>
                    <a:pt x="4718014" y="563479"/>
                  </a:lnTo>
                  <a:cubicBezTo>
                    <a:pt x="4718014" y="563479"/>
                    <a:pt x="4718014" y="563479"/>
                    <a:pt x="4718014" y="564614"/>
                  </a:cubicBezTo>
                  <a:lnTo>
                    <a:pt x="4718014" y="572557"/>
                  </a:lnTo>
                  <a:cubicBezTo>
                    <a:pt x="4718014" y="572557"/>
                    <a:pt x="4718014" y="572557"/>
                    <a:pt x="4719686" y="572557"/>
                  </a:cubicBezTo>
                  <a:lnTo>
                    <a:pt x="4731390" y="572557"/>
                  </a:lnTo>
                  <a:cubicBezTo>
                    <a:pt x="4731390" y="572557"/>
                    <a:pt x="4731390" y="572557"/>
                    <a:pt x="4731390" y="574828"/>
                  </a:cubicBezTo>
                  <a:lnTo>
                    <a:pt x="4731390" y="590714"/>
                  </a:lnTo>
                  <a:cubicBezTo>
                    <a:pt x="4731390" y="590714"/>
                    <a:pt x="4731390" y="590714"/>
                    <a:pt x="4755908" y="590714"/>
                  </a:cubicBezTo>
                  <a:cubicBezTo>
                    <a:pt x="4755908" y="590714"/>
                    <a:pt x="4755908" y="590714"/>
                    <a:pt x="4755908" y="589202"/>
                  </a:cubicBezTo>
                  <a:lnTo>
                    <a:pt x="4755908" y="578610"/>
                  </a:lnTo>
                  <a:cubicBezTo>
                    <a:pt x="4755908" y="578610"/>
                    <a:pt x="4755908" y="578610"/>
                    <a:pt x="4757302" y="578610"/>
                  </a:cubicBezTo>
                  <a:lnTo>
                    <a:pt x="4767053" y="578610"/>
                  </a:lnTo>
                  <a:cubicBezTo>
                    <a:pt x="4767053" y="578610"/>
                    <a:pt x="4767053" y="578610"/>
                    <a:pt x="4767053" y="577096"/>
                  </a:cubicBezTo>
                  <a:lnTo>
                    <a:pt x="4767053" y="566505"/>
                  </a:lnTo>
                  <a:cubicBezTo>
                    <a:pt x="4767053" y="566505"/>
                    <a:pt x="4767053" y="566505"/>
                    <a:pt x="4768725" y="566505"/>
                  </a:cubicBezTo>
                  <a:lnTo>
                    <a:pt x="4780426" y="566505"/>
                  </a:lnTo>
                  <a:cubicBezTo>
                    <a:pt x="4780426" y="566505"/>
                    <a:pt x="4780426" y="566505"/>
                    <a:pt x="4780426" y="568018"/>
                  </a:cubicBezTo>
                  <a:lnTo>
                    <a:pt x="4780426" y="578610"/>
                  </a:lnTo>
                  <a:cubicBezTo>
                    <a:pt x="4784886" y="578610"/>
                    <a:pt x="4784886" y="578610"/>
                    <a:pt x="4784886" y="505982"/>
                  </a:cubicBezTo>
                  <a:cubicBezTo>
                    <a:pt x="4784886" y="505982"/>
                    <a:pt x="4784886" y="505982"/>
                    <a:pt x="4885191" y="505982"/>
                  </a:cubicBezTo>
                  <a:cubicBezTo>
                    <a:pt x="4885191" y="505982"/>
                    <a:pt x="4885191" y="505982"/>
                    <a:pt x="4885191" y="602819"/>
                  </a:cubicBezTo>
                  <a:cubicBezTo>
                    <a:pt x="4885191" y="602819"/>
                    <a:pt x="4885191" y="602819"/>
                    <a:pt x="4887420" y="602819"/>
                  </a:cubicBezTo>
                  <a:lnTo>
                    <a:pt x="4903022" y="602819"/>
                  </a:lnTo>
                  <a:cubicBezTo>
                    <a:pt x="4903022" y="602819"/>
                    <a:pt x="4903022" y="602819"/>
                    <a:pt x="4903022" y="493877"/>
                  </a:cubicBezTo>
                  <a:cubicBezTo>
                    <a:pt x="4903022" y="493877"/>
                    <a:pt x="4903022" y="493877"/>
                    <a:pt x="4925313" y="478746"/>
                  </a:cubicBezTo>
                  <a:cubicBezTo>
                    <a:pt x="4925313" y="478746"/>
                    <a:pt x="4925313" y="478746"/>
                    <a:pt x="4954291" y="478746"/>
                  </a:cubicBezTo>
                  <a:cubicBezTo>
                    <a:pt x="4954291" y="478746"/>
                    <a:pt x="4954291" y="478746"/>
                    <a:pt x="4956242" y="476477"/>
                  </a:cubicBezTo>
                  <a:lnTo>
                    <a:pt x="4969893" y="460589"/>
                  </a:lnTo>
                  <a:cubicBezTo>
                    <a:pt x="4969893" y="460589"/>
                    <a:pt x="4969893" y="460589"/>
                    <a:pt x="5007787" y="460589"/>
                  </a:cubicBezTo>
                  <a:cubicBezTo>
                    <a:pt x="5007787" y="460589"/>
                    <a:pt x="5007787" y="460589"/>
                    <a:pt x="5007787" y="462859"/>
                  </a:cubicBezTo>
                  <a:lnTo>
                    <a:pt x="5007787" y="478746"/>
                  </a:lnTo>
                  <a:cubicBezTo>
                    <a:pt x="5007787" y="478746"/>
                    <a:pt x="5007787" y="478746"/>
                    <a:pt x="5045681" y="478746"/>
                  </a:cubicBezTo>
                  <a:cubicBezTo>
                    <a:pt x="5045681" y="478746"/>
                    <a:pt x="5045681" y="478746"/>
                    <a:pt x="5045681" y="596766"/>
                  </a:cubicBezTo>
                  <a:cubicBezTo>
                    <a:pt x="5045681" y="596766"/>
                    <a:pt x="5045681" y="596766"/>
                    <a:pt x="5047073" y="596766"/>
                  </a:cubicBezTo>
                  <a:lnTo>
                    <a:pt x="5056825" y="596766"/>
                  </a:lnTo>
                  <a:cubicBezTo>
                    <a:pt x="5056825" y="596766"/>
                    <a:pt x="5056825" y="596766"/>
                    <a:pt x="5056825" y="769258"/>
                  </a:cubicBezTo>
                  <a:cubicBezTo>
                    <a:pt x="5056825" y="769258"/>
                    <a:pt x="5056825" y="769258"/>
                    <a:pt x="5059053" y="769258"/>
                  </a:cubicBezTo>
                  <a:lnTo>
                    <a:pt x="5074657" y="769258"/>
                  </a:lnTo>
                  <a:cubicBezTo>
                    <a:pt x="5074657" y="769258"/>
                    <a:pt x="5074657" y="769258"/>
                    <a:pt x="5074657" y="657290"/>
                  </a:cubicBezTo>
                  <a:cubicBezTo>
                    <a:pt x="5074657" y="657290"/>
                    <a:pt x="5074657" y="657290"/>
                    <a:pt x="5075493" y="656533"/>
                  </a:cubicBezTo>
                  <a:lnTo>
                    <a:pt x="5081344" y="651238"/>
                  </a:lnTo>
                  <a:cubicBezTo>
                    <a:pt x="5085802" y="651238"/>
                    <a:pt x="5085802" y="651238"/>
                    <a:pt x="5085802" y="652750"/>
                  </a:cubicBezTo>
                  <a:lnTo>
                    <a:pt x="5085802" y="663343"/>
                  </a:lnTo>
                  <a:cubicBezTo>
                    <a:pt x="5085802" y="663343"/>
                    <a:pt x="5085802" y="663343"/>
                    <a:pt x="5088030" y="661829"/>
                  </a:cubicBezTo>
                  <a:lnTo>
                    <a:pt x="5103634" y="651238"/>
                  </a:lnTo>
                  <a:cubicBezTo>
                    <a:pt x="5103634" y="651238"/>
                    <a:pt x="5103634" y="651238"/>
                    <a:pt x="5105585" y="651238"/>
                  </a:cubicBezTo>
                  <a:lnTo>
                    <a:pt x="5119237" y="651238"/>
                  </a:lnTo>
                  <a:cubicBezTo>
                    <a:pt x="5119237" y="651238"/>
                    <a:pt x="5119237" y="651238"/>
                    <a:pt x="5119237" y="857017"/>
                  </a:cubicBezTo>
                  <a:cubicBezTo>
                    <a:pt x="5119237" y="857017"/>
                    <a:pt x="5119237" y="857017"/>
                    <a:pt x="5150444" y="863070"/>
                  </a:cubicBezTo>
                  <a:cubicBezTo>
                    <a:pt x="5150444" y="860044"/>
                    <a:pt x="5150444" y="857017"/>
                    <a:pt x="5150444" y="853992"/>
                  </a:cubicBezTo>
                  <a:cubicBezTo>
                    <a:pt x="5161589" y="853992"/>
                    <a:pt x="5172733" y="853992"/>
                    <a:pt x="5183878" y="853992"/>
                  </a:cubicBezTo>
                  <a:cubicBezTo>
                    <a:pt x="5183878" y="838860"/>
                    <a:pt x="5183878" y="826756"/>
                    <a:pt x="5183878" y="814651"/>
                  </a:cubicBezTo>
                  <a:lnTo>
                    <a:pt x="5192794" y="814651"/>
                  </a:lnTo>
                  <a:cubicBezTo>
                    <a:pt x="5192794" y="796494"/>
                    <a:pt x="5192794" y="781363"/>
                    <a:pt x="5192794" y="763206"/>
                  </a:cubicBezTo>
                  <a:cubicBezTo>
                    <a:pt x="5195024" y="763206"/>
                    <a:pt x="5197254" y="763206"/>
                    <a:pt x="5199482" y="763206"/>
                  </a:cubicBezTo>
                  <a:cubicBezTo>
                    <a:pt x="5199482" y="745049"/>
                    <a:pt x="5199482" y="729918"/>
                    <a:pt x="5199482" y="711761"/>
                  </a:cubicBezTo>
                  <a:cubicBezTo>
                    <a:pt x="5203940" y="711761"/>
                    <a:pt x="5208398" y="711761"/>
                    <a:pt x="5215086" y="711761"/>
                  </a:cubicBezTo>
                  <a:cubicBezTo>
                    <a:pt x="5230688" y="705709"/>
                    <a:pt x="5248520" y="693604"/>
                    <a:pt x="5264122" y="684525"/>
                  </a:cubicBezTo>
                  <a:cubicBezTo>
                    <a:pt x="5266352" y="675447"/>
                    <a:pt x="5266352" y="666368"/>
                    <a:pt x="5266352" y="657290"/>
                  </a:cubicBezTo>
                  <a:cubicBezTo>
                    <a:pt x="5268582" y="666368"/>
                    <a:pt x="5268582" y="675447"/>
                    <a:pt x="5270810" y="684525"/>
                  </a:cubicBezTo>
                  <a:cubicBezTo>
                    <a:pt x="5288642" y="696631"/>
                    <a:pt x="5304245" y="708734"/>
                    <a:pt x="5322078" y="720840"/>
                  </a:cubicBezTo>
                  <a:cubicBezTo>
                    <a:pt x="5322078" y="717821"/>
                    <a:pt x="5322078" y="714803"/>
                    <a:pt x="5322078" y="714788"/>
                  </a:cubicBezTo>
                  <a:cubicBezTo>
                    <a:pt x="5326534" y="714788"/>
                    <a:pt x="5330994" y="714788"/>
                    <a:pt x="5335452" y="714788"/>
                  </a:cubicBezTo>
                  <a:cubicBezTo>
                    <a:pt x="5335452" y="729918"/>
                    <a:pt x="5335452" y="748075"/>
                    <a:pt x="5335452" y="763206"/>
                  </a:cubicBezTo>
                  <a:cubicBezTo>
                    <a:pt x="5337681" y="763206"/>
                    <a:pt x="5339909" y="763206"/>
                    <a:pt x="5342138" y="763206"/>
                  </a:cubicBezTo>
                  <a:lnTo>
                    <a:pt x="5342138" y="801467"/>
                  </a:lnTo>
                  <a:lnTo>
                    <a:pt x="5377917" y="790806"/>
                  </a:lnTo>
                  <a:cubicBezTo>
                    <a:pt x="5411603" y="790806"/>
                    <a:pt x="5445289" y="790806"/>
                    <a:pt x="5478973" y="790806"/>
                  </a:cubicBezTo>
                  <a:cubicBezTo>
                    <a:pt x="5478973" y="725949"/>
                    <a:pt x="5478973" y="661090"/>
                    <a:pt x="5478973" y="596233"/>
                  </a:cubicBezTo>
                  <a:cubicBezTo>
                    <a:pt x="5486748" y="590828"/>
                    <a:pt x="5497114" y="588126"/>
                    <a:pt x="5507479" y="582720"/>
                  </a:cubicBezTo>
                  <a:cubicBezTo>
                    <a:pt x="5548938" y="577316"/>
                    <a:pt x="5590398" y="569208"/>
                    <a:pt x="5631857" y="561101"/>
                  </a:cubicBezTo>
                  <a:cubicBezTo>
                    <a:pt x="5647405" y="566506"/>
                    <a:pt x="5660362" y="571911"/>
                    <a:pt x="5675909" y="574613"/>
                  </a:cubicBezTo>
                  <a:cubicBezTo>
                    <a:pt x="5678501" y="577316"/>
                    <a:pt x="5681091" y="580019"/>
                    <a:pt x="5683682" y="582720"/>
                  </a:cubicBezTo>
                  <a:lnTo>
                    <a:pt x="5683682" y="833084"/>
                  </a:lnTo>
                  <a:lnTo>
                    <a:pt x="5701821" y="873985"/>
                  </a:lnTo>
                  <a:lnTo>
                    <a:pt x="5701821" y="798914"/>
                  </a:lnTo>
                  <a:cubicBezTo>
                    <a:pt x="5707004" y="798914"/>
                    <a:pt x="5712186" y="798914"/>
                    <a:pt x="5717369" y="798914"/>
                  </a:cubicBezTo>
                  <a:cubicBezTo>
                    <a:pt x="5717369" y="793509"/>
                    <a:pt x="5717369" y="790806"/>
                    <a:pt x="5717369" y="785402"/>
                  </a:cubicBezTo>
                  <a:cubicBezTo>
                    <a:pt x="5722551" y="782699"/>
                    <a:pt x="5727734" y="779997"/>
                    <a:pt x="5732917" y="777295"/>
                  </a:cubicBezTo>
                  <a:lnTo>
                    <a:pt x="5745871" y="777295"/>
                  </a:lnTo>
                  <a:cubicBezTo>
                    <a:pt x="5745871" y="771890"/>
                    <a:pt x="5745871" y="769187"/>
                    <a:pt x="5745871" y="763783"/>
                  </a:cubicBezTo>
                  <a:cubicBezTo>
                    <a:pt x="5748464" y="761080"/>
                    <a:pt x="5753646" y="758377"/>
                    <a:pt x="5756236" y="755675"/>
                  </a:cubicBezTo>
                  <a:cubicBezTo>
                    <a:pt x="5764011" y="755675"/>
                    <a:pt x="5774376" y="755675"/>
                    <a:pt x="5782151" y="755675"/>
                  </a:cubicBezTo>
                  <a:cubicBezTo>
                    <a:pt x="5782151" y="769187"/>
                    <a:pt x="5782151" y="785402"/>
                    <a:pt x="5782151" y="798914"/>
                  </a:cubicBezTo>
                  <a:cubicBezTo>
                    <a:pt x="5800289" y="798914"/>
                    <a:pt x="5818428" y="798914"/>
                    <a:pt x="5836566" y="798914"/>
                  </a:cubicBezTo>
                  <a:cubicBezTo>
                    <a:pt x="5836566" y="850260"/>
                    <a:pt x="5836566" y="898903"/>
                    <a:pt x="5836566" y="950250"/>
                  </a:cubicBezTo>
                  <a:cubicBezTo>
                    <a:pt x="5844340" y="950250"/>
                    <a:pt x="5852114" y="950250"/>
                    <a:pt x="5857295" y="950250"/>
                  </a:cubicBezTo>
                  <a:cubicBezTo>
                    <a:pt x="5865070" y="947547"/>
                    <a:pt x="5870253" y="944844"/>
                    <a:pt x="5878025" y="942143"/>
                  </a:cubicBezTo>
                  <a:cubicBezTo>
                    <a:pt x="5878025" y="936737"/>
                    <a:pt x="5878025" y="934035"/>
                    <a:pt x="5878025" y="931332"/>
                  </a:cubicBezTo>
                  <a:cubicBezTo>
                    <a:pt x="5875435" y="931332"/>
                    <a:pt x="5872843" y="928630"/>
                    <a:pt x="5870253" y="928630"/>
                  </a:cubicBezTo>
                  <a:cubicBezTo>
                    <a:pt x="5870253" y="925928"/>
                    <a:pt x="5870253" y="923225"/>
                    <a:pt x="5870253" y="920522"/>
                  </a:cubicBezTo>
                  <a:cubicBezTo>
                    <a:pt x="5872843" y="917821"/>
                    <a:pt x="5875435" y="917821"/>
                    <a:pt x="5878025" y="915118"/>
                  </a:cubicBezTo>
                  <a:cubicBezTo>
                    <a:pt x="5878025" y="896202"/>
                    <a:pt x="5878025" y="874581"/>
                    <a:pt x="5878025" y="855665"/>
                  </a:cubicBezTo>
                  <a:cubicBezTo>
                    <a:pt x="5875435" y="855665"/>
                    <a:pt x="5872843" y="852962"/>
                    <a:pt x="5870253" y="852962"/>
                  </a:cubicBezTo>
                  <a:cubicBezTo>
                    <a:pt x="5870253" y="850260"/>
                    <a:pt x="5870253" y="847558"/>
                    <a:pt x="5870253" y="844855"/>
                  </a:cubicBezTo>
                  <a:cubicBezTo>
                    <a:pt x="5872843" y="842153"/>
                    <a:pt x="5875435" y="842153"/>
                    <a:pt x="5878025" y="839450"/>
                  </a:cubicBezTo>
                  <a:lnTo>
                    <a:pt x="5883208" y="834046"/>
                  </a:lnTo>
                  <a:lnTo>
                    <a:pt x="5883208" y="823236"/>
                  </a:lnTo>
                  <a:cubicBezTo>
                    <a:pt x="5880618" y="823236"/>
                    <a:pt x="5880618" y="823236"/>
                    <a:pt x="5878025" y="823236"/>
                  </a:cubicBezTo>
                  <a:cubicBezTo>
                    <a:pt x="5878025" y="820533"/>
                    <a:pt x="5878025" y="817831"/>
                    <a:pt x="5878025" y="815128"/>
                  </a:cubicBezTo>
                  <a:cubicBezTo>
                    <a:pt x="5880618" y="815128"/>
                    <a:pt x="5883208" y="812426"/>
                    <a:pt x="5885800" y="809724"/>
                  </a:cubicBezTo>
                  <a:cubicBezTo>
                    <a:pt x="5888390" y="777295"/>
                    <a:pt x="5896165" y="750271"/>
                    <a:pt x="5927259" y="734056"/>
                  </a:cubicBezTo>
                  <a:cubicBezTo>
                    <a:pt x="5924668" y="734056"/>
                    <a:pt x="5924668" y="731353"/>
                    <a:pt x="5922077" y="731353"/>
                  </a:cubicBezTo>
                  <a:cubicBezTo>
                    <a:pt x="5922077" y="728651"/>
                    <a:pt x="5922077" y="725949"/>
                    <a:pt x="5922077" y="723246"/>
                  </a:cubicBezTo>
                  <a:cubicBezTo>
                    <a:pt x="5924668" y="723246"/>
                    <a:pt x="5927259" y="720543"/>
                    <a:pt x="5929850" y="720543"/>
                  </a:cubicBezTo>
                  <a:cubicBezTo>
                    <a:pt x="5929850" y="715139"/>
                    <a:pt x="5929850" y="712436"/>
                    <a:pt x="5929850" y="709734"/>
                  </a:cubicBezTo>
                  <a:cubicBezTo>
                    <a:pt x="5932442" y="709734"/>
                    <a:pt x="5932442" y="709734"/>
                    <a:pt x="5935033" y="709734"/>
                  </a:cubicBezTo>
                  <a:cubicBezTo>
                    <a:pt x="5935033" y="701627"/>
                    <a:pt x="5935033" y="693520"/>
                    <a:pt x="5935033" y="685412"/>
                  </a:cubicBezTo>
                  <a:cubicBezTo>
                    <a:pt x="5932442" y="685412"/>
                    <a:pt x="5932442" y="685412"/>
                    <a:pt x="5929850" y="685412"/>
                  </a:cubicBezTo>
                  <a:cubicBezTo>
                    <a:pt x="5929850" y="682710"/>
                    <a:pt x="5929850" y="682710"/>
                    <a:pt x="5929850" y="680008"/>
                  </a:cubicBezTo>
                  <a:lnTo>
                    <a:pt x="5935033" y="677305"/>
                  </a:lnTo>
                  <a:cubicBezTo>
                    <a:pt x="5940215" y="671901"/>
                    <a:pt x="5942806" y="666495"/>
                    <a:pt x="5947989" y="658388"/>
                  </a:cubicBezTo>
                  <a:cubicBezTo>
                    <a:pt x="5950579" y="652983"/>
                    <a:pt x="5950579" y="650281"/>
                    <a:pt x="5950579" y="647579"/>
                  </a:cubicBezTo>
                  <a:cubicBezTo>
                    <a:pt x="5945398" y="639471"/>
                    <a:pt x="5945398" y="625960"/>
                    <a:pt x="5950579" y="617852"/>
                  </a:cubicBezTo>
                  <a:cubicBezTo>
                    <a:pt x="5950581" y="617849"/>
                    <a:pt x="5950598" y="617795"/>
                    <a:pt x="5950904" y="616838"/>
                  </a:cubicBezTo>
                  <a:lnTo>
                    <a:pt x="5953171" y="609745"/>
                  </a:lnTo>
                  <a:cubicBezTo>
                    <a:pt x="5953173" y="609748"/>
                    <a:pt x="5953190" y="609802"/>
                    <a:pt x="5953495" y="610759"/>
                  </a:cubicBezTo>
                  <a:lnTo>
                    <a:pt x="5955763" y="617852"/>
                  </a:lnTo>
                  <a:cubicBezTo>
                    <a:pt x="5960944" y="625960"/>
                    <a:pt x="5963537" y="639471"/>
                    <a:pt x="5958354" y="647579"/>
                  </a:cubicBezTo>
                  <a:cubicBezTo>
                    <a:pt x="5958354" y="650281"/>
                    <a:pt x="5958354" y="652983"/>
                    <a:pt x="5958354" y="655686"/>
                  </a:cubicBezTo>
                  <a:cubicBezTo>
                    <a:pt x="5963537" y="663793"/>
                    <a:pt x="5968719" y="671901"/>
                    <a:pt x="5971311" y="677305"/>
                  </a:cubicBezTo>
                  <a:cubicBezTo>
                    <a:pt x="5973903" y="677305"/>
                    <a:pt x="5973903" y="680008"/>
                    <a:pt x="5976494" y="680008"/>
                  </a:cubicBezTo>
                  <a:cubicBezTo>
                    <a:pt x="5976494" y="682710"/>
                    <a:pt x="5976494" y="682710"/>
                    <a:pt x="5976494" y="685412"/>
                  </a:cubicBezTo>
                  <a:cubicBezTo>
                    <a:pt x="5973903" y="693520"/>
                    <a:pt x="5973903" y="701627"/>
                    <a:pt x="5973903" y="709734"/>
                  </a:cubicBezTo>
                  <a:cubicBezTo>
                    <a:pt x="5979084" y="712436"/>
                    <a:pt x="5979084" y="715139"/>
                    <a:pt x="5979084" y="720543"/>
                  </a:cubicBezTo>
                  <a:lnTo>
                    <a:pt x="5984268" y="723246"/>
                  </a:lnTo>
                  <a:cubicBezTo>
                    <a:pt x="5984268" y="725949"/>
                    <a:pt x="5984268" y="728651"/>
                    <a:pt x="5984268" y="731353"/>
                  </a:cubicBezTo>
                  <a:cubicBezTo>
                    <a:pt x="5981676" y="734056"/>
                    <a:pt x="5981676" y="734056"/>
                    <a:pt x="5979084" y="734056"/>
                  </a:cubicBezTo>
                  <a:lnTo>
                    <a:pt x="5999269" y="755105"/>
                  </a:lnTo>
                  <a:lnTo>
                    <a:pt x="5999269" y="627662"/>
                  </a:lnTo>
                  <a:lnTo>
                    <a:pt x="5999299" y="627662"/>
                  </a:lnTo>
                  <a:cubicBezTo>
                    <a:pt x="6004989" y="627662"/>
                    <a:pt x="6016130" y="627662"/>
                    <a:pt x="6037948" y="627662"/>
                  </a:cubicBezTo>
                  <a:cubicBezTo>
                    <a:pt x="6037948" y="627654"/>
                    <a:pt x="6037948" y="627557"/>
                    <a:pt x="6037948" y="626311"/>
                  </a:cubicBezTo>
                  <a:lnTo>
                    <a:pt x="6037948" y="616853"/>
                  </a:lnTo>
                  <a:cubicBezTo>
                    <a:pt x="6037954" y="616853"/>
                    <a:pt x="6038029" y="616853"/>
                    <a:pt x="6038962" y="616853"/>
                  </a:cubicBezTo>
                  <a:lnTo>
                    <a:pt x="6046055" y="616853"/>
                  </a:lnTo>
                  <a:cubicBezTo>
                    <a:pt x="6046055" y="616846"/>
                    <a:pt x="6046055" y="616733"/>
                    <a:pt x="6046055" y="614962"/>
                  </a:cubicBezTo>
                  <a:lnTo>
                    <a:pt x="6046055" y="601721"/>
                  </a:lnTo>
                  <a:cubicBezTo>
                    <a:pt x="6046064" y="601721"/>
                    <a:pt x="6046136" y="601721"/>
                    <a:pt x="6046815" y="601721"/>
                  </a:cubicBezTo>
                  <a:lnTo>
                    <a:pt x="6052135" y="601721"/>
                  </a:lnTo>
                  <a:cubicBezTo>
                    <a:pt x="6052135" y="601714"/>
                    <a:pt x="6052135" y="601629"/>
                    <a:pt x="6052135" y="600640"/>
                  </a:cubicBezTo>
                  <a:lnTo>
                    <a:pt x="6052135" y="593073"/>
                  </a:lnTo>
                  <a:cubicBezTo>
                    <a:pt x="6052143" y="593073"/>
                    <a:pt x="6052267" y="593073"/>
                    <a:pt x="6054163" y="593073"/>
                  </a:cubicBezTo>
                  <a:lnTo>
                    <a:pt x="6068350" y="593073"/>
                  </a:lnTo>
                  <a:cubicBezTo>
                    <a:pt x="6068350" y="593080"/>
                    <a:pt x="6068350" y="593157"/>
                    <a:pt x="6068350" y="594154"/>
                  </a:cubicBezTo>
                  <a:lnTo>
                    <a:pt x="6068350" y="601721"/>
                  </a:lnTo>
                  <a:cubicBezTo>
                    <a:pt x="6068360" y="601721"/>
                    <a:pt x="6068861" y="601721"/>
                    <a:pt x="6090642" y="601721"/>
                  </a:cubicBezTo>
                  <a:cubicBezTo>
                    <a:pt x="6090642" y="601713"/>
                    <a:pt x="6090642" y="601599"/>
                    <a:pt x="6090642" y="599829"/>
                  </a:cubicBezTo>
                  <a:lnTo>
                    <a:pt x="6090642" y="586588"/>
                  </a:lnTo>
                  <a:cubicBezTo>
                    <a:pt x="6090648" y="586588"/>
                    <a:pt x="6090745" y="586588"/>
                    <a:pt x="6092416" y="586588"/>
                  </a:cubicBezTo>
                  <a:lnTo>
                    <a:pt x="6104829" y="586588"/>
                  </a:lnTo>
                  <a:cubicBezTo>
                    <a:pt x="6104829" y="586600"/>
                    <a:pt x="6104829" y="587114"/>
                    <a:pt x="6104829" y="610368"/>
                  </a:cubicBezTo>
                  <a:cubicBezTo>
                    <a:pt x="6104836" y="610368"/>
                    <a:pt x="6104916" y="610368"/>
                    <a:pt x="6105843" y="610368"/>
                  </a:cubicBezTo>
                  <a:lnTo>
                    <a:pt x="6112936" y="610368"/>
                  </a:lnTo>
                  <a:cubicBezTo>
                    <a:pt x="6112936" y="610362"/>
                    <a:pt x="6112936" y="610281"/>
                    <a:pt x="6112936" y="609287"/>
                  </a:cubicBezTo>
                  <a:lnTo>
                    <a:pt x="6112936" y="601721"/>
                  </a:lnTo>
                  <a:cubicBezTo>
                    <a:pt x="6112945" y="601721"/>
                    <a:pt x="6113063" y="601721"/>
                    <a:pt x="6114709" y="601721"/>
                  </a:cubicBezTo>
                  <a:lnTo>
                    <a:pt x="6127123" y="601721"/>
                  </a:lnTo>
                  <a:cubicBezTo>
                    <a:pt x="6127123" y="601734"/>
                    <a:pt x="6127123" y="602293"/>
                    <a:pt x="6127123" y="627662"/>
                  </a:cubicBezTo>
                  <a:cubicBezTo>
                    <a:pt x="6127131" y="627662"/>
                    <a:pt x="6127249" y="627662"/>
                    <a:pt x="6129150" y="627662"/>
                  </a:cubicBezTo>
                  <a:lnTo>
                    <a:pt x="6143336" y="627662"/>
                  </a:lnTo>
                  <a:cubicBezTo>
                    <a:pt x="6143336" y="627673"/>
                    <a:pt x="6143336" y="627788"/>
                    <a:pt x="6143336" y="629283"/>
                  </a:cubicBezTo>
                  <a:lnTo>
                    <a:pt x="6143336" y="640633"/>
                  </a:lnTo>
                  <a:cubicBezTo>
                    <a:pt x="6143344" y="640633"/>
                    <a:pt x="6143415" y="640633"/>
                    <a:pt x="6144096" y="640633"/>
                  </a:cubicBezTo>
                  <a:lnTo>
                    <a:pt x="6149417" y="640633"/>
                  </a:lnTo>
                  <a:cubicBezTo>
                    <a:pt x="6149417" y="640625"/>
                    <a:pt x="6149417" y="640549"/>
                    <a:pt x="6149417" y="639822"/>
                  </a:cubicBezTo>
                  <a:lnTo>
                    <a:pt x="6149417" y="634147"/>
                  </a:lnTo>
                  <a:cubicBezTo>
                    <a:pt x="6149434" y="634147"/>
                    <a:pt x="6150153" y="634147"/>
                    <a:pt x="6179817" y="634147"/>
                  </a:cubicBezTo>
                  <a:cubicBezTo>
                    <a:pt x="6179817" y="634161"/>
                    <a:pt x="6179817" y="634724"/>
                    <a:pt x="6179817" y="657927"/>
                  </a:cubicBezTo>
                  <a:cubicBezTo>
                    <a:pt x="6179824" y="657927"/>
                    <a:pt x="6179903" y="657927"/>
                    <a:pt x="6180830" y="657927"/>
                  </a:cubicBezTo>
                  <a:lnTo>
                    <a:pt x="6187924" y="657927"/>
                  </a:lnTo>
                  <a:cubicBezTo>
                    <a:pt x="6187924" y="657934"/>
                    <a:pt x="6187924" y="658007"/>
                    <a:pt x="6187924" y="659008"/>
                  </a:cubicBezTo>
                  <a:lnTo>
                    <a:pt x="6187924" y="666574"/>
                  </a:lnTo>
                  <a:cubicBezTo>
                    <a:pt x="6187933" y="666574"/>
                    <a:pt x="6188006" y="666574"/>
                    <a:pt x="6188684" y="666574"/>
                  </a:cubicBezTo>
                  <a:lnTo>
                    <a:pt x="6194004" y="666574"/>
                  </a:lnTo>
                  <a:cubicBezTo>
                    <a:pt x="6194004" y="666567"/>
                    <a:pt x="6194004" y="666447"/>
                    <a:pt x="6194004" y="664412"/>
                  </a:cubicBezTo>
                  <a:lnTo>
                    <a:pt x="6194004" y="649280"/>
                  </a:lnTo>
                  <a:cubicBezTo>
                    <a:pt x="6194011" y="649280"/>
                    <a:pt x="6194089" y="649280"/>
                    <a:pt x="6195017" y="649280"/>
                  </a:cubicBezTo>
                  <a:lnTo>
                    <a:pt x="6202111" y="649280"/>
                  </a:lnTo>
                  <a:cubicBezTo>
                    <a:pt x="6202111" y="649288"/>
                    <a:pt x="6202111" y="649371"/>
                    <a:pt x="6202111" y="650361"/>
                  </a:cubicBezTo>
                  <a:lnTo>
                    <a:pt x="6202111" y="657927"/>
                  </a:lnTo>
                  <a:lnTo>
                    <a:pt x="6207431" y="655934"/>
                  </a:lnTo>
                  <a:cubicBezTo>
                    <a:pt x="6208191" y="655562"/>
                    <a:pt x="6208191" y="655360"/>
                    <a:pt x="6208191" y="654954"/>
                  </a:cubicBezTo>
                  <a:lnTo>
                    <a:pt x="6208191" y="649280"/>
                  </a:lnTo>
                  <a:cubicBezTo>
                    <a:pt x="6208208" y="649280"/>
                    <a:pt x="6209009" y="649280"/>
                    <a:pt x="6246698" y="649280"/>
                  </a:cubicBezTo>
                  <a:cubicBezTo>
                    <a:pt x="6246698" y="649294"/>
                    <a:pt x="6246698" y="649841"/>
                    <a:pt x="6246698" y="673059"/>
                  </a:cubicBezTo>
                  <a:cubicBezTo>
                    <a:pt x="6246706" y="673059"/>
                    <a:pt x="6246824" y="673059"/>
                    <a:pt x="6248724" y="673059"/>
                  </a:cubicBezTo>
                  <a:lnTo>
                    <a:pt x="6262911" y="673059"/>
                  </a:lnTo>
                  <a:cubicBezTo>
                    <a:pt x="6262911" y="673067"/>
                    <a:pt x="6262911" y="673149"/>
                    <a:pt x="6262911" y="674140"/>
                  </a:cubicBezTo>
                  <a:lnTo>
                    <a:pt x="6262911" y="681706"/>
                  </a:lnTo>
                  <a:cubicBezTo>
                    <a:pt x="6262920" y="681706"/>
                    <a:pt x="6263043" y="681706"/>
                    <a:pt x="6264685" y="681706"/>
                  </a:cubicBezTo>
                  <a:lnTo>
                    <a:pt x="6277098" y="681706"/>
                  </a:lnTo>
                  <a:cubicBezTo>
                    <a:pt x="6277098" y="681694"/>
                    <a:pt x="6277098" y="681183"/>
                    <a:pt x="6277098" y="657927"/>
                  </a:cubicBezTo>
                  <a:cubicBezTo>
                    <a:pt x="6277105" y="657927"/>
                    <a:pt x="6277183" y="657927"/>
                    <a:pt x="6278111" y="657927"/>
                  </a:cubicBezTo>
                  <a:lnTo>
                    <a:pt x="6285205" y="657927"/>
                  </a:lnTo>
                  <a:cubicBezTo>
                    <a:pt x="6285205" y="657908"/>
                    <a:pt x="6285205" y="657137"/>
                    <a:pt x="6285205" y="625500"/>
                  </a:cubicBezTo>
                  <a:cubicBezTo>
                    <a:pt x="6285212" y="625500"/>
                    <a:pt x="6285289" y="625500"/>
                    <a:pt x="6286218" y="625500"/>
                  </a:cubicBezTo>
                  <a:lnTo>
                    <a:pt x="6293312" y="625500"/>
                  </a:lnTo>
                  <a:cubicBezTo>
                    <a:pt x="6293312" y="625494"/>
                    <a:pt x="6293312" y="625385"/>
                    <a:pt x="6293312" y="623609"/>
                  </a:cubicBezTo>
                  <a:lnTo>
                    <a:pt x="6293312" y="610368"/>
                  </a:lnTo>
                  <a:cubicBezTo>
                    <a:pt x="6291285" y="610368"/>
                    <a:pt x="6291285" y="610368"/>
                    <a:pt x="6292045" y="608746"/>
                  </a:cubicBezTo>
                  <a:lnTo>
                    <a:pt x="6297365" y="597397"/>
                  </a:lnTo>
                  <a:cubicBezTo>
                    <a:pt x="6297370" y="597414"/>
                    <a:pt x="6297565" y="598088"/>
                    <a:pt x="6305472" y="625500"/>
                  </a:cubicBezTo>
                  <a:cubicBezTo>
                    <a:pt x="6305480" y="625500"/>
                    <a:pt x="6305553" y="625500"/>
                    <a:pt x="6306232" y="625500"/>
                  </a:cubicBezTo>
                  <a:lnTo>
                    <a:pt x="6311552" y="625500"/>
                  </a:lnTo>
                  <a:cubicBezTo>
                    <a:pt x="6311552" y="625487"/>
                    <a:pt x="6311552" y="624308"/>
                    <a:pt x="6311552" y="519573"/>
                  </a:cubicBezTo>
                  <a:cubicBezTo>
                    <a:pt x="6311562" y="519573"/>
                    <a:pt x="6311676" y="519573"/>
                    <a:pt x="6313072" y="519573"/>
                  </a:cubicBezTo>
                  <a:lnTo>
                    <a:pt x="6323712" y="519573"/>
                  </a:lnTo>
                  <a:cubicBezTo>
                    <a:pt x="6323712" y="519551"/>
                    <a:pt x="6323712" y="518541"/>
                    <a:pt x="6323712" y="472014"/>
                  </a:cubicBezTo>
                  <a:cubicBezTo>
                    <a:pt x="6323729" y="472014"/>
                    <a:pt x="6324354" y="472014"/>
                    <a:pt x="6350059" y="472014"/>
                  </a:cubicBezTo>
                  <a:cubicBezTo>
                    <a:pt x="6350059" y="472002"/>
                    <a:pt x="6350059" y="471492"/>
                    <a:pt x="6350059" y="450396"/>
                  </a:cubicBezTo>
                  <a:cubicBezTo>
                    <a:pt x="6350078" y="450396"/>
                    <a:pt x="6350867" y="450396"/>
                    <a:pt x="6384513" y="450396"/>
                  </a:cubicBezTo>
                  <a:cubicBezTo>
                    <a:pt x="6384513" y="450404"/>
                    <a:pt x="6384513" y="450534"/>
                    <a:pt x="6384513" y="452828"/>
                  </a:cubicBezTo>
                  <a:lnTo>
                    <a:pt x="6384513" y="469852"/>
                  </a:lnTo>
                  <a:cubicBezTo>
                    <a:pt x="6384522" y="469852"/>
                    <a:pt x="6384653" y="469852"/>
                    <a:pt x="6386793" y="469852"/>
                  </a:cubicBezTo>
                  <a:lnTo>
                    <a:pt x="6402753" y="469852"/>
                  </a:lnTo>
                  <a:cubicBezTo>
                    <a:pt x="6402753" y="469870"/>
                    <a:pt x="6402753" y="470764"/>
                    <a:pt x="6402753" y="517411"/>
                  </a:cubicBezTo>
                  <a:cubicBezTo>
                    <a:pt x="6402759" y="517411"/>
                    <a:pt x="6402835" y="517411"/>
                    <a:pt x="6403766" y="517411"/>
                  </a:cubicBezTo>
                  <a:lnTo>
                    <a:pt x="6410860" y="517411"/>
                  </a:lnTo>
                  <a:lnTo>
                    <a:pt x="6425047" y="521735"/>
                  </a:lnTo>
                  <a:cubicBezTo>
                    <a:pt x="6425047" y="521745"/>
                    <a:pt x="6425047" y="522395"/>
                    <a:pt x="6425047" y="560647"/>
                  </a:cubicBezTo>
                  <a:cubicBezTo>
                    <a:pt x="6425053" y="560647"/>
                    <a:pt x="6425128" y="560647"/>
                    <a:pt x="6426060" y="560647"/>
                  </a:cubicBezTo>
                  <a:lnTo>
                    <a:pt x="6433153" y="560647"/>
                  </a:lnTo>
                  <a:cubicBezTo>
                    <a:pt x="6433153" y="560657"/>
                    <a:pt x="6433153" y="560763"/>
                    <a:pt x="6433153" y="562268"/>
                  </a:cubicBezTo>
                  <a:lnTo>
                    <a:pt x="6433153" y="573617"/>
                  </a:lnTo>
                  <a:cubicBezTo>
                    <a:pt x="6433161" y="573617"/>
                    <a:pt x="6433285" y="573617"/>
                    <a:pt x="6435180" y="573617"/>
                  </a:cubicBezTo>
                  <a:lnTo>
                    <a:pt x="6449367" y="573617"/>
                  </a:lnTo>
                  <a:lnTo>
                    <a:pt x="6455447" y="580103"/>
                  </a:lnTo>
                  <a:cubicBezTo>
                    <a:pt x="6455447" y="580115"/>
                    <a:pt x="6455447" y="580601"/>
                    <a:pt x="6455447" y="601721"/>
                  </a:cubicBezTo>
                  <a:cubicBezTo>
                    <a:pt x="6455456" y="601721"/>
                    <a:pt x="6455587" y="601721"/>
                    <a:pt x="6457727" y="601721"/>
                  </a:cubicBezTo>
                  <a:lnTo>
                    <a:pt x="6473687" y="601721"/>
                  </a:lnTo>
                  <a:cubicBezTo>
                    <a:pt x="6473687" y="601728"/>
                    <a:pt x="6473687" y="601808"/>
                    <a:pt x="6473687" y="602801"/>
                  </a:cubicBezTo>
                  <a:lnTo>
                    <a:pt x="6473687" y="610368"/>
                  </a:lnTo>
                  <a:cubicBezTo>
                    <a:pt x="6473696" y="610368"/>
                    <a:pt x="6473795" y="610368"/>
                    <a:pt x="6474954" y="610368"/>
                  </a:cubicBezTo>
                  <a:lnTo>
                    <a:pt x="6483821" y="610368"/>
                  </a:lnTo>
                  <a:cubicBezTo>
                    <a:pt x="6483821" y="610377"/>
                    <a:pt x="6483821" y="610506"/>
                    <a:pt x="6483821" y="612529"/>
                  </a:cubicBezTo>
                  <a:lnTo>
                    <a:pt x="6483821" y="627662"/>
                  </a:lnTo>
                  <a:cubicBezTo>
                    <a:pt x="6487874" y="627662"/>
                    <a:pt x="6487874" y="627662"/>
                    <a:pt x="6487874" y="625770"/>
                  </a:cubicBezTo>
                  <a:lnTo>
                    <a:pt x="6487874" y="612529"/>
                  </a:lnTo>
                  <a:cubicBezTo>
                    <a:pt x="6487880" y="612529"/>
                    <a:pt x="6487958" y="612529"/>
                    <a:pt x="6488887" y="612529"/>
                  </a:cubicBezTo>
                  <a:lnTo>
                    <a:pt x="6495981" y="612529"/>
                  </a:lnTo>
                  <a:cubicBezTo>
                    <a:pt x="6495981" y="612540"/>
                    <a:pt x="6495981" y="612659"/>
                    <a:pt x="6495981" y="614151"/>
                  </a:cubicBezTo>
                  <a:lnTo>
                    <a:pt x="6495981" y="625500"/>
                  </a:lnTo>
                  <a:cubicBezTo>
                    <a:pt x="6495990" y="625500"/>
                    <a:pt x="6496063" y="625500"/>
                    <a:pt x="6496741" y="625500"/>
                  </a:cubicBezTo>
                  <a:lnTo>
                    <a:pt x="6502061" y="625500"/>
                  </a:lnTo>
                  <a:cubicBezTo>
                    <a:pt x="6502061" y="621177"/>
                    <a:pt x="6502061" y="621177"/>
                    <a:pt x="6550701" y="621177"/>
                  </a:cubicBezTo>
                  <a:cubicBezTo>
                    <a:pt x="6550701" y="621186"/>
                    <a:pt x="6550701" y="621287"/>
                    <a:pt x="6550701" y="622528"/>
                  </a:cubicBezTo>
                  <a:lnTo>
                    <a:pt x="6550701" y="631985"/>
                  </a:lnTo>
                  <a:cubicBezTo>
                    <a:pt x="6550709" y="631985"/>
                    <a:pt x="6550784" y="631985"/>
                    <a:pt x="6551461" y="631985"/>
                  </a:cubicBezTo>
                  <a:lnTo>
                    <a:pt x="6556782" y="631985"/>
                  </a:lnTo>
                  <a:cubicBezTo>
                    <a:pt x="6556782" y="631994"/>
                    <a:pt x="6556782" y="632116"/>
                    <a:pt x="6556782" y="634147"/>
                  </a:cubicBezTo>
                  <a:lnTo>
                    <a:pt x="6556782" y="649280"/>
                  </a:lnTo>
                  <a:cubicBezTo>
                    <a:pt x="6556790" y="649276"/>
                    <a:pt x="6556906" y="649198"/>
                    <a:pt x="6558808" y="647929"/>
                  </a:cubicBezTo>
                  <a:lnTo>
                    <a:pt x="6572995" y="638471"/>
                  </a:lnTo>
                  <a:cubicBezTo>
                    <a:pt x="6572997" y="638452"/>
                    <a:pt x="6573128" y="637577"/>
                    <a:pt x="6579075" y="597397"/>
                  </a:cubicBezTo>
                  <a:cubicBezTo>
                    <a:pt x="6579084" y="597395"/>
                    <a:pt x="6579153" y="597369"/>
                    <a:pt x="6579835" y="597127"/>
                  </a:cubicBezTo>
                  <a:lnTo>
                    <a:pt x="6585155" y="595235"/>
                  </a:lnTo>
                  <a:cubicBezTo>
                    <a:pt x="6585155" y="595219"/>
                    <a:pt x="6585188" y="594158"/>
                    <a:pt x="6587182" y="526058"/>
                  </a:cubicBezTo>
                  <a:cubicBezTo>
                    <a:pt x="6587182" y="526076"/>
                    <a:pt x="6587215" y="527167"/>
                    <a:pt x="6589209" y="595235"/>
                  </a:cubicBezTo>
                  <a:cubicBezTo>
                    <a:pt x="6589218" y="595238"/>
                    <a:pt x="6589289" y="595263"/>
                    <a:pt x="6589969" y="595505"/>
                  </a:cubicBezTo>
                  <a:lnTo>
                    <a:pt x="6595289" y="597397"/>
                  </a:lnTo>
                  <a:cubicBezTo>
                    <a:pt x="6595289" y="597377"/>
                    <a:pt x="6595289" y="596044"/>
                    <a:pt x="6595289" y="510926"/>
                  </a:cubicBezTo>
                  <a:cubicBezTo>
                    <a:pt x="6599342" y="510926"/>
                    <a:pt x="6599342" y="510926"/>
                    <a:pt x="6599342" y="478499"/>
                  </a:cubicBezTo>
                  <a:cubicBezTo>
                    <a:pt x="6599354" y="478499"/>
                    <a:pt x="6600040" y="478499"/>
                    <a:pt x="6637849" y="478499"/>
                  </a:cubicBezTo>
                  <a:cubicBezTo>
                    <a:pt x="6637849" y="478516"/>
                    <a:pt x="6637849" y="479234"/>
                    <a:pt x="6637849" y="510926"/>
                  </a:cubicBezTo>
                  <a:cubicBezTo>
                    <a:pt x="6637858" y="510926"/>
                    <a:pt x="6637930" y="510926"/>
                    <a:pt x="6638609" y="510926"/>
                  </a:cubicBezTo>
                  <a:lnTo>
                    <a:pt x="6643929" y="510926"/>
                  </a:lnTo>
                  <a:cubicBezTo>
                    <a:pt x="6643929" y="510905"/>
                    <a:pt x="6643929" y="509599"/>
                    <a:pt x="6643929" y="428778"/>
                  </a:cubicBezTo>
                  <a:cubicBezTo>
                    <a:pt x="6643935" y="428778"/>
                    <a:pt x="6644034" y="428778"/>
                    <a:pt x="6645703" y="428778"/>
                  </a:cubicBezTo>
                  <a:lnTo>
                    <a:pt x="6658116" y="428778"/>
                  </a:lnTo>
                  <a:cubicBezTo>
                    <a:pt x="6658116" y="428771"/>
                    <a:pt x="6658116" y="428660"/>
                    <a:pt x="6658116" y="426887"/>
                  </a:cubicBezTo>
                  <a:lnTo>
                    <a:pt x="6658116" y="413646"/>
                  </a:lnTo>
                  <a:cubicBezTo>
                    <a:pt x="6658127" y="413646"/>
                    <a:pt x="6658625" y="413646"/>
                    <a:pt x="6680410" y="413646"/>
                  </a:cubicBezTo>
                  <a:cubicBezTo>
                    <a:pt x="6680410" y="413639"/>
                    <a:pt x="6680410" y="413558"/>
                    <a:pt x="6680410" y="412565"/>
                  </a:cubicBezTo>
                  <a:lnTo>
                    <a:pt x="6680410" y="404999"/>
                  </a:lnTo>
                  <a:cubicBezTo>
                    <a:pt x="6680417" y="404999"/>
                    <a:pt x="6680527" y="404999"/>
                    <a:pt x="6682183" y="404999"/>
                  </a:cubicBezTo>
                  <a:lnTo>
                    <a:pt x="6694597" y="404999"/>
                  </a:lnTo>
                  <a:cubicBezTo>
                    <a:pt x="6694597" y="405007"/>
                    <a:pt x="6694597" y="405086"/>
                    <a:pt x="6694597" y="406080"/>
                  </a:cubicBezTo>
                  <a:lnTo>
                    <a:pt x="6694597" y="413646"/>
                  </a:lnTo>
                  <a:cubicBezTo>
                    <a:pt x="6694606" y="413646"/>
                    <a:pt x="6694679" y="413646"/>
                    <a:pt x="6695357" y="413646"/>
                  </a:cubicBezTo>
                  <a:lnTo>
                    <a:pt x="6700677" y="413646"/>
                  </a:lnTo>
                  <a:lnTo>
                    <a:pt x="6710810" y="409322"/>
                  </a:lnTo>
                  <a:lnTo>
                    <a:pt x="6714863" y="412565"/>
                  </a:lnTo>
                  <a:lnTo>
                    <a:pt x="6714863" y="404999"/>
                  </a:lnTo>
                  <a:cubicBezTo>
                    <a:pt x="6714872" y="404999"/>
                    <a:pt x="6715009" y="404999"/>
                    <a:pt x="6717143" y="404999"/>
                  </a:cubicBezTo>
                  <a:lnTo>
                    <a:pt x="6733104" y="404999"/>
                  </a:lnTo>
                  <a:cubicBezTo>
                    <a:pt x="6733104" y="405007"/>
                    <a:pt x="6733104" y="405086"/>
                    <a:pt x="6733104" y="406080"/>
                  </a:cubicBezTo>
                  <a:lnTo>
                    <a:pt x="6733104" y="413646"/>
                  </a:lnTo>
                  <a:cubicBezTo>
                    <a:pt x="6733123" y="413646"/>
                    <a:pt x="6733859" y="413646"/>
                    <a:pt x="6763504" y="413646"/>
                  </a:cubicBezTo>
                  <a:cubicBezTo>
                    <a:pt x="6763504" y="413656"/>
                    <a:pt x="6763504" y="413765"/>
                    <a:pt x="6763504" y="415267"/>
                  </a:cubicBezTo>
                  <a:lnTo>
                    <a:pt x="6763504" y="426617"/>
                  </a:lnTo>
                  <a:cubicBezTo>
                    <a:pt x="6763521" y="426617"/>
                    <a:pt x="6764161" y="426617"/>
                    <a:pt x="6789851" y="426617"/>
                  </a:cubicBezTo>
                  <a:cubicBezTo>
                    <a:pt x="6789851" y="426633"/>
                    <a:pt x="6789851" y="427313"/>
                    <a:pt x="6789851" y="456881"/>
                  </a:cubicBezTo>
                  <a:cubicBezTo>
                    <a:pt x="6789860" y="456881"/>
                    <a:pt x="6789933" y="456881"/>
                    <a:pt x="6790611" y="456881"/>
                  </a:cubicBezTo>
                  <a:lnTo>
                    <a:pt x="6795931" y="456881"/>
                  </a:lnTo>
                  <a:cubicBezTo>
                    <a:pt x="6795931" y="456888"/>
                    <a:pt x="6795931" y="456974"/>
                    <a:pt x="6795931" y="457962"/>
                  </a:cubicBezTo>
                  <a:lnTo>
                    <a:pt x="6795931" y="465529"/>
                  </a:lnTo>
                  <a:cubicBezTo>
                    <a:pt x="6799985" y="465529"/>
                    <a:pt x="6799985" y="465529"/>
                    <a:pt x="6799985" y="495793"/>
                  </a:cubicBezTo>
                  <a:cubicBezTo>
                    <a:pt x="6799994" y="495793"/>
                    <a:pt x="6800068" y="495793"/>
                    <a:pt x="6800745" y="495793"/>
                  </a:cubicBezTo>
                  <a:lnTo>
                    <a:pt x="6806065" y="495793"/>
                  </a:lnTo>
                  <a:cubicBezTo>
                    <a:pt x="6806065" y="495802"/>
                    <a:pt x="6806065" y="495869"/>
                    <a:pt x="6806065" y="496604"/>
                  </a:cubicBezTo>
                  <a:lnTo>
                    <a:pt x="6806065" y="502279"/>
                  </a:lnTo>
                  <a:cubicBezTo>
                    <a:pt x="6806071" y="502279"/>
                    <a:pt x="6806149" y="502279"/>
                    <a:pt x="6807078" y="502279"/>
                  </a:cubicBezTo>
                  <a:lnTo>
                    <a:pt x="6814171" y="502279"/>
                  </a:lnTo>
                  <a:cubicBezTo>
                    <a:pt x="6814171" y="502296"/>
                    <a:pt x="6814171" y="503009"/>
                    <a:pt x="6814171" y="532544"/>
                  </a:cubicBezTo>
                  <a:cubicBezTo>
                    <a:pt x="6814179" y="532544"/>
                    <a:pt x="6814299" y="532544"/>
                    <a:pt x="6816198" y="532544"/>
                  </a:cubicBezTo>
                  <a:lnTo>
                    <a:pt x="6830385" y="532544"/>
                  </a:lnTo>
                  <a:cubicBezTo>
                    <a:pt x="6830385" y="532560"/>
                    <a:pt x="6830385" y="533140"/>
                    <a:pt x="6830385" y="556323"/>
                  </a:cubicBezTo>
                  <a:cubicBezTo>
                    <a:pt x="6832412" y="556323"/>
                    <a:pt x="6832412" y="556323"/>
                    <a:pt x="6832412" y="557944"/>
                  </a:cubicBezTo>
                  <a:lnTo>
                    <a:pt x="6832412" y="569294"/>
                  </a:lnTo>
                  <a:cubicBezTo>
                    <a:pt x="6832421" y="569294"/>
                    <a:pt x="6832491" y="569294"/>
                    <a:pt x="6833172" y="569294"/>
                  </a:cubicBezTo>
                  <a:lnTo>
                    <a:pt x="6838492" y="569294"/>
                  </a:lnTo>
                  <a:cubicBezTo>
                    <a:pt x="6838492" y="569308"/>
                    <a:pt x="6838492" y="569871"/>
                    <a:pt x="6838492" y="593073"/>
                  </a:cubicBezTo>
                  <a:cubicBezTo>
                    <a:pt x="6838500" y="593073"/>
                    <a:pt x="6838599" y="593073"/>
                    <a:pt x="6839758" y="593073"/>
                  </a:cubicBezTo>
                  <a:lnTo>
                    <a:pt x="6848625" y="593073"/>
                  </a:lnTo>
                  <a:cubicBezTo>
                    <a:pt x="6850652" y="595235"/>
                    <a:pt x="6850652" y="595235"/>
                    <a:pt x="6850652" y="597127"/>
                  </a:cubicBezTo>
                  <a:lnTo>
                    <a:pt x="6850652" y="610368"/>
                  </a:lnTo>
                  <a:cubicBezTo>
                    <a:pt x="6850657" y="610361"/>
                    <a:pt x="6850744" y="610254"/>
                    <a:pt x="6852172" y="608476"/>
                  </a:cubicBezTo>
                  <a:lnTo>
                    <a:pt x="6862812" y="595235"/>
                  </a:lnTo>
                  <a:cubicBezTo>
                    <a:pt x="6862827" y="595235"/>
                    <a:pt x="6863466" y="595235"/>
                    <a:pt x="6891186" y="595235"/>
                  </a:cubicBezTo>
                  <a:cubicBezTo>
                    <a:pt x="6891186" y="595260"/>
                    <a:pt x="6891186" y="596661"/>
                    <a:pt x="6891186" y="681706"/>
                  </a:cubicBezTo>
                  <a:cubicBezTo>
                    <a:pt x="6891194" y="681706"/>
                    <a:pt x="6891270" y="681706"/>
                    <a:pt x="6891946" y="681706"/>
                  </a:cubicBezTo>
                  <a:lnTo>
                    <a:pt x="6897266" y="681706"/>
                  </a:lnTo>
                  <a:cubicBezTo>
                    <a:pt x="6897270" y="681698"/>
                    <a:pt x="6897329" y="681598"/>
                    <a:pt x="6898026" y="680355"/>
                  </a:cubicBezTo>
                  <a:lnTo>
                    <a:pt x="6903346" y="670897"/>
                  </a:lnTo>
                  <a:cubicBezTo>
                    <a:pt x="6903346" y="670904"/>
                    <a:pt x="6903346" y="671003"/>
                    <a:pt x="6903346" y="672789"/>
                  </a:cubicBezTo>
                  <a:lnTo>
                    <a:pt x="6903346" y="686030"/>
                  </a:lnTo>
                  <a:cubicBezTo>
                    <a:pt x="6907399" y="686030"/>
                    <a:pt x="6907399" y="686030"/>
                    <a:pt x="6907399" y="640633"/>
                  </a:cubicBezTo>
                  <a:cubicBezTo>
                    <a:pt x="6907408" y="640633"/>
                    <a:pt x="6907478" y="640633"/>
                    <a:pt x="6908159" y="640633"/>
                  </a:cubicBezTo>
                  <a:lnTo>
                    <a:pt x="6913479" y="640633"/>
                  </a:lnTo>
                  <a:cubicBezTo>
                    <a:pt x="6913479" y="640618"/>
                    <a:pt x="6913479" y="639618"/>
                    <a:pt x="6913479" y="575779"/>
                  </a:cubicBezTo>
                  <a:cubicBezTo>
                    <a:pt x="6913486" y="575779"/>
                    <a:pt x="6913567" y="575779"/>
                    <a:pt x="6914493" y="575779"/>
                  </a:cubicBezTo>
                  <a:lnTo>
                    <a:pt x="6921586" y="575779"/>
                  </a:lnTo>
                  <a:cubicBezTo>
                    <a:pt x="6921592" y="575758"/>
                    <a:pt x="6921856" y="574818"/>
                    <a:pt x="6933746" y="532544"/>
                  </a:cubicBezTo>
                  <a:cubicBezTo>
                    <a:pt x="6933755" y="532544"/>
                    <a:pt x="6933852" y="532544"/>
                    <a:pt x="6935013" y="532544"/>
                  </a:cubicBezTo>
                  <a:lnTo>
                    <a:pt x="6943880" y="532544"/>
                  </a:lnTo>
                  <a:cubicBezTo>
                    <a:pt x="6943885" y="532567"/>
                    <a:pt x="6944111" y="533533"/>
                    <a:pt x="6954013" y="575779"/>
                  </a:cubicBezTo>
                  <a:cubicBezTo>
                    <a:pt x="6954019" y="575779"/>
                    <a:pt x="6954093" y="575779"/>
                    <a:pt x="6955026" y="575779"/>
                  </a:cubicBezTo>
                  <a:lnTo>
                    <a:pt x="6962120" y="575779"/>
                  </a:lnTo>
                  <a:cubicBezTo>
                    <a:pt x="6962120" y="575790"/>
                    <a:pt x="6962120" y="576457"/>
                    <a:pt x="6962120" y="614691"/>
                  </a:cubicBezTo>
                  <a:cubicBezTo>
                    <a:pt x="6962127" y="614691"/>
                    <a:pt x="6962226" y="614691"/>
                    <a:pt x="6963893" y="614691"/>
                  </a:cubicBezTo>
                  <a:lnTo>
                    <a:pt x="6976307" y="614691"/>
                  </a:lnTo>
                  <a:cubicBezTo>
                    <a:pt x="6976307" y="614699"/>
                    <a:pt x="6976307" y="614821"/>
                    <a:pt x="6976307" y="616853"/>
                  </a:cubicBezTo>
                  <a:lnTo>
                    <a:pt x="6976307" y="631985"/>
                  </a:lnTo>
                  <a:cubicBezTo>
                    <a:pt x="6980360" y="631985"/>
                    <a:pt x="6980360" y="631985"/>
                    <a:pt x="6980360" y="629824"/>
                  </a:cubicBezTo>
                  <a:lnTo>
                    <a:pt x="6980360" y="614691"/>
                  </a:lnTo>
                  <a:cubicBezTo>
                    <a:pt x="6980370" y="614691"/>
                    <a:pt x="6980482" y="614691"/>
                    <a:pt x="6981880" y="614691"/>
                  </a:cubicBezTo>
                  <a:lnTo>
                    <a:pt x="6992520" y="614691"/>
                  </a:lnTo>
                  <a:cubicBezTo>
                    <a:pt x="6992520" y="614701"/>
                    <a:pt x="6992520" y="614818"/>
                    <a:pt x="6992520" y="616312"/>
                  </a:cubicBezTo>
                  <a:lnTo>
                    <a:pt x="6992520" y="627662"/>
                  </a:lnTo>
                  <a:cubicBezTo>
                    <a:pt x="6992536" y="627662"/>
                    <a:pt x="6993245" y="627662"/>
                    <a:pt x="7022921" y="627662"/>
                  </a:cubicBezTo>
                  <a:cubicBezTo>
                    <a:pt x="7022921" y="627645"/>
                    <a:pt x="7022921" y="626874"/>
                    <a:pt x="7022921" y="590912"/>
                  </a:cubicBezTo>
                  <a:cubicBezTo>
                    <a:pt x="7022929" y="590912"/>
                    <a:pt x="7023022" y="590912"/>
                    <a:pt x="7024187" y="590912"/>
                  </a:cubicBezTo>
                  <a:lnTo>
                    <a:pt x="7033054" y="590912"/>
                  </a:lnTo>
                  <a:cubicBezTo>
                    <a:pt x="7033054" y="590923"/>
                    <a:pt x="7033054" y="591417"/>
                    <a:pt x="7033054" y="612529"/>
                  </a:cubicBezTo>
                  <a:cubicBezTo>
                    <a:pt x="7035081" y="612529"/>
                    <a:pt x="7035081" y="612529"/>
                    <a:pt x="7035081" y="580103"/>
                  </a:cubicBezTo>
                  <a:cubicBezTo>
                    <a:pt x="7035095" y="580103"/>
                    <a:pt x="7035636" y="580103"/>
                    <a:pt x="7057374" y="580103"/>
                  </a:cubicBezTo>
                  <a:cubicBezTo>
                    <a:pt x="7057374" y="580093"/>
                    <a:pt x="7057374" y="579973"/>
                    <a:pt x="7057374" y="578481"/>
                  </a:cubicBezTo>
                  <a:lnTo>
                    <a:pt x="7057374" y="567132"/>
                  </a:lnTo>
                  <a:cubicBezTo>
                    <a:pt x="7057382" y="567132"/>
                    <a:pt x="7057457" y="567132"/>
                    <a:pt x="7058134" y="567132"/>
                  </a:cubicBezTo>
                  <a:lnTo>
                    <a:pt x="7063454" y="567132"/>
                  </a:lnTo>
                  <a:cubicBezTo>
                    <a:pt x="7063454" y="567126"/>
                    <a:pt x="7063454" y="567013"/>
                    <a:pt x="7063454" y="565241"/>
                  </a:cubicBezTo>
                  <a:lnTo>
                    <a:pt x="7063454" y="552000"/>
                  </a:lnTo>
                  <a:lnTo>
                    <a:pt x="7067508" y="558485"/>
                  </a:lnTo>
                  <a:cubicBezTo>
                    <a:pt x="7067516" y="558485"/>
                    <a:pt x="7067645" y="558485"/>
                    <a:pt x="7069788" y="558485"/>
                  </a:cubicBezTo>
                  <a:lnTo>
                    <a:pt x="7085748" y="558485"/>
                  </a:lnTo>
                  <a:cubicBezTo>
                    <a:pt x="7085748" y="558477"/>
                    <a:pt x="7085748" y="558409"/>
                    <a:pt x="7085748" y="557674"/>
                  </a:cubicBezTo>
                  <a:lnTo>
                    <a:pt x="7085748" y="552000"/>
                  </a:lnTo>
                  <a:cubicBezTo>
                    <a:pt x="7085757" y="552000"/>
                    <a:pt x="7085831" y="552000"/>
                    <a:pt x="7086508" y="552000"/>
                  </a:cubicBezTo>
                  <a:lnTo>
                    <a:pt x="7091828" y="552000"/>
                  </a:lnTo>
                  <a:cubicBezTo>
                    <a:pt x="7091828" y="552009"/>
                    <a:pt x="7091828" y="552109"/>
                    <a:pt x="7091828" y="553351"/>
                  </a:cubicBezTo>
                  <a:lnTo>
                    <a:pt x="7091828" y="562809"/>
                  </a:lnTo>
                  <a:cubicBezTo>
                    <a:pt x="7091843" y="562809"/>
                    <a:pt x="7092576" y="562809"/>
                    <a:pt x="7130335" y="562809"/>
                  </a:cubicBezTo>
                  <a:cubicBezTo>
                    <a:pt x="7130335" y="562827"/>
                    <a:pt x="7130335" y="564337"/>
                    <a:pt x="7130335" y="701162"/>
                  </a:cubicBezTo>
                  <a:cubicBezTo>
                    <a:pt x="7130345" y="701162"/>
                    <a:pt x="7130460" y="701162"/>
                    <a:pt x="7131855" y="701162"/>
                  </a:cubicBezTo>
                  <a:lnTo>
                    <a:pt x="7142495" y="701162"/>
                  </a:lnTo>
                  <a:cubicBezTo>
                    <a:pt x="7142495" y="696839"/>
                    <a:pt x="7142495" y="692515"/>
                    <a:pt x="7142495" y="688192"/>
                  </a:cubicBezTo>
                  <a:cubicBezTo>
                    <a:pt x="7144522" y="688192"/>
                    <a:pt x="7144522" y="688192"/>
                    <a:pt x="7146549" y="688192"/>
                  </a:cubicBezTo>
                  <a:cubicBezTo>
                    <a:pt x="7146549" y="692515"/>
                    <a:pt x="7146549" y="696839"/>
                    <a:pt x="7146549" y="701162"/>
                  </a:cubicBezTo>
                  <a:cubicBezTo>
                    <a:pt x="7156682" y="701162"/>
                    <a:pt x="7166816" y="701162"/>
                    <a:pt x="7176949" y="701162"/>
                  </a:cubicBezTo>
                  <a:cubicBezTo>
                    <a:pt x="7176949" y="690353"/>
                    <a:pt x="7176949" y="681706"/>
                    <a:pt x="7176949" y="670897"/>
                  </a:cubicBezTo>
                  <a:cubicBezTo>
                    <a:pt x="7181003" y="670897"/>
                    <a:pt x="7185056" y="670897"/>
                    <a:pt x="7189109" y="670897"/>
                  </a:cubicBezTo>
                  <a:lnTo>
                    <a:pt x="7201269" y="668736"/>
                  </a:lnTo>
                  <a:cubicBezTo>
                    <a:pt x="7203296" y="668736"/>
                    <a:pt x="7203296" y="670897"/>
                    <a:pt x="7205323" y="670897"/>
                  </a:cubicBezTo>
                  <a:lnTo>
                    <a:pt x="7215456" y="670897"/>
                  </a:lnTo>
                  <a:cubicBezTo>
                    <a:pt x="7215456" y="681706"/>
                    <a:pt x="7215456" y="692515"/>
                    <a:pt x="7215456" y="701162"/>
                  </a:cubicBezTo>
                  <a:cubicBezTo>
                    <a:pt x="7217483" y="701162"/>
                    <a:pt x="7219510" y="701162"/>
                    <a:pt x="7223563" y="701162"/>
                  </a:cubicBezTo>
                  <a:cubicBezTo>
                    <a:pt x="7223563" y="707648"/>
                    <a:pt x="7223563" y="714133"/>
                    <a:pt x="7223563" y="718457"/>
                  </a:cubicBezTo>
                  <a:lnTo>
                    <a:pt x="7232899" y="719362"/>
                  </a:lnTo>
                  <a:lnTo>
                    <a:pt x="7245857" y="719362"/>
                  </a:lnTo>
                  <a:cubicBezTo>
                    <a:pt x="7245857" y="713553"/>
                    <a:pt x="7245857" y="709381"/>
                    <a:pt x="7245857" y="703324"/>
                  </a:cubicBezTo>
                  <a:lnTo>
                    <a:pt x="7313813" y="703324"/>
                  </a:lnTo>
                  <a:lnTo>
                    <a:pt x="7313813" y="618071"/>
                  </a:lnTo>
                  <a:lnTo>
                    <a:pt x="7385821" y="618071"/>
                  </a:lnTo>
                  <a:lnTo>
                    <a:pt x="7385821" y="696839"/>
                  </a:lnTo>
                  <a:cubicBezTo>
                    <a:pt x="7386456" y="696839"/>
                    <a:pt x="7387091" y="696839"/>
                    <a:pt x="7387725" y="696839"/>
                  </a:cubicBezTo>
                  <a:lnTo>
                    <a:pt x="7388967" y="719362"/>
                  </a:lnTo>
                  <a:lnTo>
                    <a:pt x="7398643" y="719362"/>
                  </a:lnTo>
                  <a:cubicBezTo>
                    <a:pt x="7399179" y="712148"/>
                    <a:pt x="7399885" y="704494"/>
                    <a:pt x="7399885" y="696839"/>
                  </a:cubicBezTo>
                  <a:cubicBezTo>
                    <a:pt x="7401912" y="696839"/>
                    <a:pt x="7403939" y="696839"/>
                    <a:pt x="7405965" y="696839"/>
                  </a:cubicBezTo>
                  <a:lnTo>
                    <a:pt x="7407207" y="719362"/>
                  </a:lnTo>
                  <a:lnTo>
                    <a:pt x="7457829" y="719362"/>
                  </a:lnTo>
                  <a:lnTo>
                    <a:pt x="7457829" y="556334"/>
                  </a:lnTo>
                  <a:lnTo>
                    <a:pt x="7655156" y="556334"/>
                  </a:lnTo>
                  <a:lnTo>
                    <a:pt x="7655156" y="719362"/>
                  </a:lnTo>
                  <a:lnTo>
                    <a:pt x="7673853" y="719362"/>
                  </a:lnTo>
                  <a:lnTo>
                    <a:pt x="7673853" y="636669"/>
                  </a:lnTo>
                  <a:lnTo>
                    <a:pt x="7768973" y="636669"/>
                  </a:lnTo>
                  <a:lnTo>
                    <a:pt x="7773382" y="519115"/>
                  </a:lnTo>
                  <a:lnTo>
                    <a:pt x="7819759" y="519115"/>
                  </a:lnTo>
                  <a:lnTo>
                    <a:pt x="7821437" y="571456"/>
                  </a:lnTo>
                  <a:cubicBezTo>
                    <a:pt x="7843732" y="571456"/>
                    <a:pt x="7866024" y="571456"/>
                    <a:pt x="7886292" y="571456"/>
                  </a:cubicBezTo>
                  <a:cubicBezTo>
                    <a:pt x="7886292" y="597397"/>
                    <a:pt x="7886292" y="623338"/>
                    <a:pt x="7886292" y="647118"/>
                  </a:cubicBezTo>
                  <a:cubicBezTo>
                    <a:pt x="7890345" y="647118"/>
                    <a:pt x="7892372" y="647118"/>
                    <a:pt x="7894398" y="647118"/>
                  </a:cubicBezTo>
                  <a:cubicBezTo>
                    <a:pt x="7894398" y="644956"/>
                    <a:pt x="7896425" y="642794"/>
                    <a:pt x="7896425" y="640633"/>
                  </a:cubicBezTo>
                  <a:cubicBezTo>
                    <a:pt x="7898452" y="640633"/>
                    <a:pt x="7900478" y="640633"/>
                    <a:pt x="7902505" y="640633"/>
                  </a:cubicBezTo>
                  <a:cubicBezTo>
                    <a:pt x="7902505" y="642794"/>
                    <a:pt x="7902505" y="644956"/>
                    <a:pt x="7904533" y="649280"/>
                  </a:cubicBezTo>
                  <a:cubicBezTo>
                    <a:pt x="7908585" y="649280"/>
                    <a:pt x="7912638" y="649280"/>
                    <a:pt x="7916693" y="649280"/>
                  </a:cubicBezTo>
                  <a:cubicBezTo>
                    <a:pt x="7916693" y="647118"/>
                    <a:pt x="7916693" y="644956"/>
                    <a:pt x="7916693" y="642794"/>
                  </a:cubicBezTo>
                  <a:cubicBezTo>
                    <a:pt x="7924798" y="642794"/>
                    <a:pt x="7930878" y="642794"/>
                    <a:pt x="7938985" y="642794"/>
                  </a:cubicBezTo>
                  <a:cubicBezTo>
                    <a:pt x="7938985" y="644956"/>
                    <a:pt x="7938985" y="647118"/>
                    <a:pt x="7938985" y="649280"/>
                  </a:cubicBezTo>
                  <a:cubicBezTo>
                    <a:pt x="7945065" y="649280"/>
                    <a:pt x="7953173" y="649280"/>
                    <a:pt x="7959253" y="649280"/>
                  </a:cubicBezTo>
                  <a:cubicBezTo>
                    <a:pt x="7959253" y="664412"/>
                    <a:pt x="7959253" y="679545"/>
                    <a:pt x="7959253" y="694677"/>
                  </a:cubicBezTo>
                  <a:cubicBezTo>
                    <a:pt x="7963306" y="694677"/>
                    <a:pt x="7969386" y="694677"/>
                    <a:pt x="7973440" y="694677"/>
                  </a:cubicBezTo>
                  <a:cubicBezTo>
                    <a:pt x="7973440" y="690353"/>
                    <a:pt x="7973440" y="686030"/>
                    <a:pt x="7973440" y="681706"/>
                  </a:cubicBezTo>
                  <a:cubicBezTo>
                    <a:pt x="7979520" y="681706"/>
                    <a:pt x="7985600" y="681706"/>
                    <a:pt x="7989653" y="681706"/>
                  </a:cubicBezTo>
                  <a:cubicBezTo>
                    <a:pt x="7989653" y="621177"/>
                    <a:pt x="7989653" y="562809"/>
                    <a:pt x="7989653" y="502279"/>
                  </a:cubicBezTo>
                  <a:cubicBezTo>
                    <a:pt x="7991680" y="500117"/>
                    <a:pt x="7993706" y="497955"/>
                    <a:pt x="7995733" y="495793"/>
                  </a:cubicBezTo>
                  <a:cubicBezTo>
                    <a:pt x="8020053" y="495793"/>
                    <a:pt x="8044373" y="495793"/>
                    <a:pt x="8068694" y="495793"/>
                  </a:cubicBezTo>
                  <a:lnTo>
                    <a:pt x="8068694" y="504441"/>
                  </a:lnTo>
                  <a:lnTo>
                    <a:pt x="8078828" y="504441"/>
                  </a:lnTo>
                  <a:cubicBezTo>
                    <a:pt x="8078828" y="543353"/>
                    <a:pt x="8078828" y="582265"/>
                    <a:pt x="8078828" y="619015"/>
                  </a:cubicBezTo>
                  <a:cubicBezTo>
                    <a:pt x="8086934" y="619015"/>
                    <a:pt x="8093014" y="619015"/>
                    <a:pt x="8101121" y="619015"/>
                  </a:cubicBezTo>
                  <a:cubicBezTo>
                    <a:pt x="8101121" y="597397"/>
                    <a:pt x="8101121" y="575779"/>
                    <a:pt x="8101121" y="552000"/>
                  </a:cubicBezTo>
                  <a:cubicBezTo>
                    <a:pt x="8109228" y="552000"/>
                    <a:pt x="8119361" y="552000"/>
                    <a:pt x="8127469" y="552000"/>
                  </a:cubicBezTo>
                  <a:cubicBezTo>
                    <a:pt x="8129494" y="552000"/>
                    <a:pt x="8129494" y="549838"/>
                    <a:pt x="8131521" y="547676"/>
                  </a:cubicBezTo>
                  <a:lnTo>
                    <a:pt x="8139629" y="547676"/>
                  </a:lnTo>
                  <a:cubicBezTo>
                    <a:pt x="8141654" y="549838"/>
                    <a:pt x="8141654" y="552000"/>
                    <a:pt x="8143681" y="552000"/>
                  </a:cubicBezTo>
                  <a:cubicBezTo>
                    <a:pt x="8149761" y="552000"/>
                    <a:pt x="8157869" y="552000"/>
                    <a:pt x="8165976" y="552000"/>
                  </a:cubicBezTo>
                  <a:cubicBezTo>
                    <a:pt x="8165976" y="513088"/>
                    <a:pt x="8165976" y="474176"/>
                    <a:pt x="8165976" y="435264"/>
                  </a:cubicBezTo>
                  <a:cubicBezTo>
                    <a:pt x="8165989" y="435261"/>
                    <a:pt x="8166856" y="435097"/>
                    <a:pt x="8222722" y="424455"/>
                  </a:cubicBezTo>
                  <a:cubicBezTo>
                    <a:pt x="8222722" y="424462"/>
                    <a:pt x="8222722" y="424536"/>
                    <a:pt x="8222722" y="425536"/>
                  </a:cubicBezTo>
                  <a:lnTo>
                    <a:pt x="8222722" y="433102"/>
                  </a:lnTo>
                  <a:cubicBezTo>
                    <a:pt x="8222740" y="433102"/>
                    <a:pt x="8223384" y="433102"/>
                    <a:pt x="8249069" y="433102"/>
                  </a:cubicBezTo>
                  <a:cubicBezTo>
                    <a:pt x="8249069" y="433124"/>
                    <a:pt x="8249069" y="435495"/>
                    <a:pt x="8249069" y="688192"/>
                  </a:cubicBezTo>
                  <a:cubicBezTo>
                    <a:pt x="8255149" y="688192"/>
                    <a:pt x="8263256" y="688192"/>
                    <a:pt x="8271364" y="688192"/>
                  </a:cubicBezTo>
                  <a:cubicBezTo>
                    <a:pt x="8271364" y="686030"/>
                    <a:pt x="8271364" y="686030"/>
                    <a:pt x="8271364" y="683868"/>
                  </a:cubicBezTo>
                  <a:cubicBezTo>
                    <a:pt x="8275416" y="683868"/>
                    <a:pt x="8279469" y="683868"/>
                    <a:pt x="8283524" y="683868"/>
                  </a:cubicBezTo>
                  <a:cubicBezTo>
                    <a:pt x="8283524" y="686030"/>
                    <a:pt x="8283524" y="686030"/>
                    <a:pt x="8283524" y="688192"/>
                  </a:cubicBezTo>
                  <a:cubicBezTo>
                    <a:pt x="8291630" y="688192"/>
                    <a:pt x="8299736" y="688192"/>
                    <a:pt x="8307844" y="688192"/>
                  </a:cubicBezTo>
                  <a:cubicBezTo>
                    <a:pt x="8307844" y="683868"/>
                    <a:pt x="8307844" y="679545"/>
                    <a:pt x="8307844" y="675221"/>
                  </a:cubicBezTo>
                  <a:cubicBezTo>
                    <a:pt x="8317977" y="675221"/>
                    <a:pt x="8328110" y="675221"/>
                    <a:pt x="8336217" y="675221"/>
                  </a:cubicBezTo>
                  <a:cubicBezTo>
                    <a:pt x="8340270" y="670897"/>
                    <a:pt x="8344325" y="670897"/>
                    <a:pt x="8348377" y="670897"/>
                  </a:cubicBezTo>
                  <a:cubicBezTo>
                    <a:pt x="8354457" y="675221"/>
                    <a:pt x="8362565" y="675221"/>
                    <a:pt x="8368645" y="675221"/>
                  </a:cubicBezTo>
                  <a:cubicBezTo>
                    <a:pt x="8368645" y="668736"/>
                    <a:pt x="8368645" y="664412"/>
                    <a:pt x="8368645" y="657927"/>
                  </a:cubicBezTo>
                  <a:lnTo>
                    <a:pt x="8376752" y="657927"/>
                  </a:lnTo>
                  <a:cubicBezTo>
                    <a:pt x="8376752" y="653603"/>
                    <a:pt x="8376752" y="649280"/>
                    <a:pt x="8376752" y="644956"/>
                  </a:cubicBezTo>
                  <a:cubicBezTo>
                    <a:pt x="8394992" y="644956"/>
                    <a:pt x="8415258" y="644956"/>
                    <a:pt x="8433498" y="644956"/>
                  </a:cubicBezTo>
                  <a:cubicBezTo>
                    <a:pt x="8433498" y="634147"/>
                    <a:pt x="8433498" y="625500"/>
                    <a:pt x="8433498" y="614691"/>
                  </a:cubicBezTo>
                  <a:cubicBezTo>
                    <a:pt x="8439578" y="614691"/>
                    <a:pt x="8445658" y="614691"/>
                    <a:pt x="8451738" y="614691"/>
                  </a:cubicBezTo>
                  <a:cubicBezTo>
                    <a:pt x="8451738" y="612529"/>
                    <a:pt x="8451738" y="610368"/>
                    <a:pt x="8451738" y="608206"/>
                  </a:cubicBezTo>
                  <a:cubicBezTo>
                    <a:pt x="8455792" y="608206"/>
                    <a:pt x="8459845" y="608206"/>
                    <a:pt x="8463898" y="608206"/>
                  </a:cubicBezTo>
                  <a:cubicBezTo>
                    <a:pt x="8463898" y="610368"/>
                    <a:pt x="8463898" y="612529"/>
                    <a:pt x="8463898" y="614691"/>
                  </a:cubicBezTo>
                  <a:cubicBezTo>
                    <a:pt x="8469978" y="614691"/>
                    <a:pt x="8474032" y="614691"/>
                    <a:pt x="8480112" y="614691"/>
                  </a:cubicBezTo>
                  <a:cubicBezTo>
                    <a:pt x="8480112" y="629824"/>
                    <a:pt x="8480112" y="647118"/>
                    <a:pt x="8480112" y="664412"/>
                  </a:cubicBezTo>
                  <a:cubicBezTo>
                    <a:pt x="8490245" y="664412"/>
                    <a:pt x="8502406" y="664412"/>
                    <a:pt x="8512540" y="664412"/>
                  </a:cubicBezTo>
                  <a:cubicBezTo>
                    <a:pt x="8512540" y="655765"/>
                    <a:pt x="8512540" y="647118"/>
                    <a:pt x="8512540" y="638471"/>
                  </a:cubicBezTo>
                  <a:cubicBezTo>
                    <a:pt x="8524700" y="638471"/>
                    <a:pt x="8538886" y="638471"/>
                    <a:pt x="8551046" y="638471"/>
                  </a:cubicBezTo>
                  <a:cubicBezTo>
                    <a:pt x="8551046" y="627662"/>
                    <a:pt x="8551046" y="619015"/>
                    <a:pt x="8551046" y="608206"/>
                  </a:cubicBezTo>
                  <a:cubicBezTo>
                    <a:pt x="8567261" y="608206"/>
                    <a:pt x="8583473" y="608206"/>
                    <a:pt x="8599688" y="608206"/>
                  </a:cubicBezTo>
                  <a:cubicBezTo>
                    <a:pt x="8599688" y="608235"/>
                    <a:pt x="8599688" y="610010"/>
                    <a:pt x="8599688" y="719362"/>
                  </a:cubicBezTo>
                  <a:lnTo>
                    <a:pt x="8599688" y="733141"/>
                  </a:lnTo>
                  <a:lnTo>
                    <a:pt x="8665562" y="733141"/>
                  </a:lnTo>
                  <a:lnTo>
                    <a:pt x="8665562" y="838913"/>
                  </a:lnTo>
                  <a:lnTo>
                    <a:pt x="8665562" y="862160"/>
                  </a:lnTo>
                  <a:lnTo>
                    <a:pt x="8680522" y="862160"/>
                  </a:lnTo>
                  <a:cubicBezTo>
                    <a:pt x="8680522" y="862160"/>
                    <a:pt x="8680522" y="862160"/>
                    <a:pt x="8680522" y="860998"/>
                  </a:cubicBezTo>
                  <a:lnTo>
                    <a:pt x="8680522" y="852862"/>
                  </a:lnTo>
                  <a:cubicBezTo>
                    <a:pt x="8680522" y="852862"/>
                    <a:pt x="8680522" y="852862"/>
                    <a:pt x="8725102" y="852862"/>
                  </a:cubicBezTo>
                  <a:cubicBezTo>
                    <a:pt x="8725102" y="852862"/>
                    <a:pt x="8725102" y="852862"/>
                    <a:pt x="8725102" y="855477"/>
                  </a:cubicBezTo>
                  <a:lnTo>
                    <a:pt x="8725102" y="861131"/>
                  </a:lnTo>
                  <a:lnTo>
                    <a:pt x="8733569" y="852574"/>
                  </a:lnTo>
                  <a:cubicBezTo>
                    <a:pt x="8731340" y="852574"/>
                    <a:pt x="8731340" y="850249"/>
                    <a:pt x="8729111" y="850249"/>
                  </a:cubicBezTo>
                  <a:cubicBezTo>
                    <a:pt x="8729111" y="847924"/>
                    <a:pt x="8729111" y="845600"/>
                    <a:pt x="8729111" y="843275"/>
                  </a:cubicBezTo>
                  <a:cubicBezTo>
                    <a:pt x="8731340" y="843275"/>
                    <a:pt x="8733569" y="840950"/>
                    <a:pt x="8735797" y="840950"/>
                  </a:cubicBezTo>
                  <a:cubicBezTo>
                    <a:pt x="8735797" y="836301"/>
                    <a:pt x="8735797" y="833976"/>
                    <a:pt x="8735797" y="831652"/>
                  </a:cubicBezTo>
                  <a:cubicBezTo>
                    <a:pt x="8738027" y="831652"/>
                    <a:pt x="8738027" y="831652"/>
                    <a:pt x="8740256" y="831652"/>
                  </a:cubicBezTo>
                  <a:cubicBezTo>
                    <a:pt x="8740256" y="824678"/>
                    <a:pt x="8740256" y="817704"/>
                    <a:pt x="8740256" y="810730"/>
                  </a:cubicBezTo>
                  <a:cubicBezTo>
                    <a:pt x="8738027" y="810730"/>
                    <a:pt x="8738027" y="810730"/>
                    <a:pt x="8735797" y="810730"/>
                  </a:cubicBezTo>
                  <a:cubicBezTo>
                    <a:pt x="8735797" y="808405"/>
                    <a:pt x="8735797" y="808405"/>
                    <a:pt x="8735797" y="806081"/>
                  </a:cubicBezTo>
                  <a:lnTo>
                    <a:pt x="8740256" y="803756"/>
                  </a:lnTo>
                  <a:cubicBezTo>
                    <a:pt x="8744713" y="799107"/>
                    <a:pt x="8746943" y="794457"/>
                    <a:pt x="8751401" y="787483"/>
                  </a:cubicBezTo>
                  <a:cubicBezTo>
                    <a:pt x="8753629" y="782834"/>
                    <a:pt x="8753629" y="780510"/>
                    <a:pt x="8753629" y="778185"/>
                  </a:cubicBezTo>
                  <a:cubicBezTo>
                    <a:pt x="8749172" y="771211"/>
                    <a:pt x="8749172" y="759588"/>
                    <a:pt x="8753629" y="752614"/>
                  </a:cubicBezTo>
                  <a:cubicBezTo>
                    <a:pt x="8753631" y="752611"/>
                    <a:pt x="8753645" y="752565"/>
                    <a:pt x="8753909" y="751742"/>
                  </a:cubicBezTo>
                  <a:lnTo>
                    <a:pt x="8755767" y="745928"/>
                  </a:lnTo>
                  <a:lnTo>
                    <a:pt x="8754080" y="745928"/>
                  </a:lnTo>
                  <a:cubicBezTo>
                    <a:pt x="8754080" y="745928"/>
                    <a:pt x="8754080" y="745928"/>
                    <a:pt x="8754080" y="744766"/>
                  </a:cubicBezTo>
                  <a:lnTo>
                    <a:pt x="8754080" y="736629"/>
                  </a:lnTo>
                  <a:cubicBezTo>
                    <a:pt x="8754080" y="736629"/>
                    <a:pt x="8754080" y="736629"/>
                    <a:pt x="8755194" y="736629"/>
                  </a:cubicBezTo>
                  <a:lnTo>
                    <a:pt x="8762996" y="736629"/>
                  </a:lnTo>
                  <a:cubicBezTo>
                    <a:pt x="8762996" y="736629"/>
                    <a:pt x="8762996" y="736629"/>
                    <a:pt x="8762996" y="735467"/>
                  </a:cubicBezTo>
                  <a:lnTo>
                    <a:pt x="8762996" y="727331"/>
                  </a:lnTo>
                  <a:cubicBezTo>
                    <a:pt x="8762996" y="727331"/>
                    <a:pt x="8762996" y="727331"/>
                    <a:pt x="8761881" y="727331"/>
                  </a:cubicBezTo>
                  <a:lnTo>
                    <a:pt x="8754080" y="727331"/>
                  </a:lnTo>
                  <a:cubicBezTo>
                    <a:pt x="8754080" y="727331"/>
                    <a:pt x="8754080" y="727331"/>
                    <a:pt x="8754080" y="726168"/>
                  </a:cubicBezTo>
                  <a:lnTo>
                    <a:pt x="8754080" y="718032"/>
                  </a:lnTo>
                  <a:cubicBezTo>
                    <a:pt x="8754080" y="718032"/>
                    <a:pt x="8754080" y="718032"/>
                    <a:pt x="8755194" y="718032"/>
                  </a:cubicBezTo>
                  <a:lnTo>
                    <a:pt x="8762996" y="718032"/>
                  </a:lnTo>
                  <a:cubicBezTo>
                    <a:pt x="8762996" y="718032"/>
                    <a:pt x="8762996" y="718032"/>
                    <a:pt x="8762996" y="717160"/>
                  </a:cubicBezTo>
                  <a:lnTo>
                    <a:pt x="8762996" y="711058"/>
                  </a:lnTo>
                  <a:cubicBezTo>
                    <a:pt x="8762996" y="711058"/>
                    <a:pt x="8762996" y="711058"/>
                    <a:pt x="8761881" y="711058"/>
                  </a:cubicBezTo>
                  <a:lnTo>
                    <a:pt x="8754080" y="711058"/>
                  </a:lnTo>
                  <a:cubicBezTo>
                    <a:pt x="8754080" y="711058"/>
                    <a:pt x="8754080" y="711058"/>
                    <a:pt x="8754080" y="709896"/>
                  </a:cubicBezTo>
                  <a:lnTo>
                    <a:pt x="8754080" y="701759"/>
                  </a:lnTo>
                  <a:cubicBezTo>
                    <a:pt x="8754080" y="701759"/>
                    <a:pt x="8754080" y="701759"/>
                    <a:pt x="8755194" y="701759"/>
                  </a:cubicBezTo>
                  <a:lnTo>
                    <a:pt x="8762996" y="701759"/>
                  </a:lnTo>
                  <a:cubicBezTo>
                    <a:pt x="8762996" y="701759"/>
                    <a:pt x="8762996" y="701759"/>
                    <a:pt x="8761881" y="700016"/>
                  </a:cubicBezTo>
                  <a:lnTo>
                    <a:pt x="8754080" y="687812"/>
                  </a:lnTo>
                  <a:cubicBezTo>
                    <a:pt x="8754080" y="687812"/>
                    <a:pt x="8754080" y="687812"/>
                    <a:pt x="8754080" y="650617"/>
                  </a:cubicBezTo>
                  <a:cubicBezTo>
                    <a:pt x="8754080" y="650617"/>
                    <a:pt x="8754080" y="650617"/>
                    <a:pt x="8903424" y="650617"/>
                  </a:cubicBezTo>
                  <a:cubicBezTo>
                    <a:pt x="8903424" y="650617"/>
                    <a:pt x="8903424" y="650617"/>
                    <a:pt x="8905096" y="653232"/>
                  </a:cubicBezTo>
                  <a:lnTo>
                    <a:pt x="8908543" y="658626"/>
                  </a:lnTo>
                  <a:lnTo>
                    <a:pt x="8908543" y="647687"/>
                  </a:lnTo>
                  <a:cubicBezTo>
                    <a:pt x="8908543" y="636001"/>
                    <a:pt x="8908543" y="622669"/>
                    <a:pt x="8908543" y="607460"/>
                  </a:cubicBezTo>
                  <a:cubicBezTo>
                    <a:pt x="8908552" y="607460"/>
                    <a:pt x="8908671" y="607460"/>
                    <a:pt x="8910570" y="607460"/>
                  </a:cubicBezTo>
                  <a:lnTo>
                    <a:pt x="8924757" y="607460"/>
                  </a:lnTo>
                  <a:cubicBezTo>
                    <a:pt x="8924757" y="607441"/>
                    <a:pt x="8924757" y="606126"/>
                    <a:pt x="8924757" y="515723"/>
                  </a:cubicBezTo>
                  <a:lnTo>
                    <a:pt x="8924757" y="490724"/>
                  </a:lnTo>
                  <a:lnTo>
                    <a:pt x="9078786" y="490724"/>
                  </a:lnTo>
                  <a:lnTo>
                    <a:pt x="9078786" y="506306"/>
                  </a:lnTo>
                  <a:cubicBezTo>
                    <a:pt x="9078786" y="526935"/>
                    <a:pt x="9078786" y="559711"/>
                    <a:pt x="9078786" y="611783"/>
                  </a:cubicBezTo>
                  <a:cubicBezTo>
                    <a:pt x="9078796" y="611782"/>
                    <a:pt x="9078908" y="611761"/>
                    <a:pt x="9080306" y="611513"/>
                  </a:cubicBezTo>
                  <a:lnTo>
                    <a:pt x="9090946" y="609622"/>
                  </a:lnTo>
                  <a:cubicBezTo>
                    <a:pt x="9090946" y="609644"/>
                    <a:pt x="9090916" y="610978"/>
                    <a:pt x="9088919" y="698254"/>
                  </a:cubicBezTo>
                  <a:cubicBezTo>
                    <a:pt x="9088929" y="698256"/>
                    <a:pt x="9089040" y="698276"/>
                    <a:pt x="9090439" y="698525"/>
                  </a:cubicBezTo>
                  <a:lnTo>
                    <a:pt x="9101079" y="700416"/>
                  </a:lnTo>
                  <a:cubicBezTo>
                    <a:pt x="9101081" y="700423"/>
                    <a:pt x="9101101" y="700487"/>
                    <a:pt x="9101332" y="701227"/>
                  </a:cubicBezTo>
                  <a:lnTo>
                    <a:pt x="9103106" y="706902"/>
                  </a:lnTo>
                  <a:cubicBezTo>
                    <a:pt x="9103108" y="706893"/>
                    <a:pt x="9103153" y="706750"/>
                    <a:pt x="9103866" y="704470"/>
                  </a:cubicBezTo>
                  <a:lnTo>
                    <a:pt x="9109186" y="687446"/>
                  </a:lnTo>
                  <a:cubicBezTo>
                    <a:pt x="9109193" y="687446"/>
                    <a:pt x="9109293" y="687446"/>
                    <a:pt x="9110959" y="687446"/>
                  </a:cubicBezTo>
                  <a:lnTo>
                    <a:pt x="9123373" y="687446"/>
                  </a:lnTo>
                  <a:cubicBezTo>
                    <a:pt x="9123373" y="687463"/>
                    <a:pt x="9123373" y="688156"/>
                    <a:pt x="9123373" y="719872"/>
                  </a:cubicBezTo>
                  <a:cubicBezTo>
                    <a:pt x="9123379" y="719877"/>
                    <a:pt x="9123456" y="719917"/>
                    <a:pt x="9124386" y="720413"/>
                  </a:cubicBezTo>
                  <a:lnTo>
                    <a:pt x="9131480" y="724196"/>
                  </a:lnTo>
                  <a:cubicBezTo>
                    <a:pt x="9131480" y="724205"/>
                    <a:pt x="9131480" y="724306"/>
                    <a:pt x="9131480" y="725547"/>
                  </a:cubicBezTo>
                  <a:lnTo>
                    <a:pt x="9131480" y="735005"/>
                  </a:lnTo>
                  <a:cubicBezTo>
                    <a:pt x="9131500" y="735005"/>
                    <a:pt x="9132408" y="735005"/>
                    <a:pt x="9176067" y="735005"/>
                  </a:cubicBezTo>
                  <a:cubicBezTo>
                    <a:pt x="9176067" y="735013"/>
                    <a:pt x="9176067" y="735096"/>
                    <a:pt x="9176067" y="736086"/>
                  </a:cubicBezTo>
                  <a:lnTo>
                    <a:pt x="9176067" y="743652"/>
                  </a:lnTo>
                  <a:cubicBezTo>
                    <a:pt x="9176076" y="743652"/>
                    <a:pt x="9176197" y="743652"/>
                    <a:pt x="9178093" y="743652"/>
                  </a:cubicBezTo>
                  <a:lnTo>
                    <a:pt x="9192280" y="743652"/>
                  </a:lnTo>
                  <a:cubicBezTo>
                    <a:pt x="9192280" y="743634"/>
                    <a:pt x="9192280" y="742905"/>
                    <a:pt x="9192280" y="713387"/>
                  </a:cubicBezTo>
                  <a:cubicBezTo>
                    <a:pt x="9192301" y="713387"/>
                    <a:pt x="9193231" y="713387"/>
                    <a:pt x="9236867" y="713387"/>
                  </a:cubicBezTo>
                  <a:cubicBezTo>
                    <a:pt x="9236867" y="713379"/>
                    <a:pt x="9236867" y="713282"/>
                    <a:pt x="9236867" y="712036"/>
                  </a:cubicBezTo>
                  <a:lnTo>
                    <a:pt x="9236867" y="702578"/>
                  </a:lnTo>
                  <a:cubicBezTo>
                    <a:pt x="9236873" y="702578"/>
                    <a:pt x="9236947" y="702578"/>
                    <a:pt x="9237881" y="702578"/>
                  </a:cubicBezTo>
                  <a:lnTo>
                    <a:pt x="9244974" y="702578"/>
                  </a:lnTo>
                  <a:cubicBezTo>
                    <a:pt x="9244974" y="702571"/>
                    <a:pt x="9244974" y="702458"/>
                    <a:pt x="9244974" y="700687"/>
                  </a:cubicBezTo>
                  <a:lnTo>
                    <a:pt x="9244974" y="687446"/>
                  </a:lnTo>
                  <a:cubicBezTo>
                    <a:pt x="9244983" y="687446"/>
                    <a:pt x="9245055" y="687446"/>
                    <a:pt x="9245734" y="687446"/>
                  </a:cubicBezTo>
                  <a:lnTo>
                    <a:pt x="9251054" y="687446"/>
                  </a:lnTo>
                  <a:cubicBezTo>
                    <a:pt x="9251054" y="687439"/>
                    <a:pt x="9251054" y="687354"/>
                    <a:pt x="9251054" y="686365"/>
                  </a:cubicBezTo>
                  <a:lnTo>
                    <a:pt x="9251054" y="678798"/>
                  </a:lnTo>
                  <a:cubicBezTo>
                    <a:pt x="9251062" y="678798"/>
                    <a:pt x="9251186" y="678798"/>
                    <a:pt x="9253081" y="678798"/>
                  </a:cubicBezTo>
                  <a:lnTo>
                    <a:pt x="9267268" y="678798"/>
                  </a:lnTo>
                  <a:cubicBezTo>
                    <a:pt x="9267268" y="678805"/>
                    <a:pt x="9267268" y="678882"/>
                    <a:pt x="9267268" y="679879"/>
                  </a:cubicBezTo>
                  <a:lnTo>
                    <a:pt x="9267268" y="687446"/>
                  </a:lnTo>
                  <a:cubicBezTo>
                    <a:pt x="9267279" y="687446"/>
                    <a:pt x="9267780" y="687446"/>
                    <a:pt x="9289561" y="687446"/>
                  </a:cubicBezTo>
                  <a:cubicBezTo>
                    <a:pt x="9289561" y="687438"/>
                    <a:pt x="9289561" y="687324"/>
                    <a:pt x="9289561" y="685554"/>
                  </a:cubicBezTo>
                  <a:lnTo>
                    <a:pt x="9289561" y="672313"/>
                  </a:lnTo>
                  <a:cubicBezTo>
                    <a:pt x="9289567" y="672313"/>
                    <a:pt x="9289664" y="672313"/>
                    <a:pt x="9291335" y="672313"/>
                  </a:cubicBezTo>
                  <a:lnTo>
                    <a:pt x="9303748" y="672313"/>
                  </a:lnTo>
                  <a:cubicBezTo>
                    <a:pt x="9303748" y="672325"/>
                    <a:pt x="9303748" y="672839"/>
                    <a:pt x="9303748" y="696093"/>
                  </a:cubicBezTo>
                  <a:cubicBezTo>
                    <a:pt x="9303755" y="696093"/>
                    <a:pt x="9303835" y="696093"/>
                    <a:pt x="9304762" y="696093"/>
                  </a:cubicBezTo>
                  <a:lnTo>
                    <a:pt x="9311855" y="696093"/>
                  </a:lnTo>
                  <a:cubicBezTo>
                    <a:pt x="9311855" y="696087"/>
                    <a:pt x="9311855" y="696006"/>
                    <a:pt x="9311855" y="695012"/>
                  </a:cubicBezTo>
                  <a:lnTo>
                    <a:pt x="9311855" y="687446"/>
                  </a:lnTo>
                  <a:cubicBezTo>
                    <a:pt x="9311864" y="687446"/>
                    <a:pt x="9311982" y="687446"/>
                    <a:pt x="9313628" y="687446"/>
                  </a:cubicBezTo>
                  <a:lnTo>
                    <a:pt x="9326042" y="687446"/>
                  </a:lnTo>
                  <a:cubicBezTo>
                    <a:pt x="9326042" y="687459"/>
                    <a:pt x="9326042" y="688018"/>
                    <a:pt x="9326042" y="713387"/>
                  </a:cubicBezTo>
                  <a:cubicBezTo>
                    <a:pt x="9326050" y="713387"/>
                    <a:pt x="9326168" y="713387"/>
                    <a:pt x="9328069" y="713387"/>
                  </a:cubicBezTo>
                  <a:lnTo>
                    <a:pt x="9342255" y="713387"/>
                  </a:lnTo>
                  <a:cubicBezTo>
                    <a:pt x="9342255" y="713398"/>
                    <a:pt x="9342255" y="713513"/>
                    <a:pt x="9342255" y="715008"/>
                  </a:cubicBezTo>
                  <a:lnTo>
                    <a:pt x="9342255" y="726358"/>
                  </a:lnTo>
                  <a:cubicBezTo>
                    <a:pt x="9342263" y="726358"/>
                    <a:pt x="9342334" y="726358"/>
                    <a:pt x="9343015" y="726358"/>
                  </a:cubicBezTo>
                  <a:lnTo>
                    <a:pt x="9348336" y="726358"/>
                  </a:lnTo>
                  <a:cubicBezTo>
                    <a:pt x="9348336" y="726350"/>
                    <a:pt x="9348336" y="726274"/>
                    <a:pt x="9348336" y="725547"/>
                  </a:cubicBezTo>
                  <a:lnTo>
                    <a:pt x="9348336" y="719872"/>
                  </a:lnTo>
                  <a:cubicBezTo>
                    <a:pt x="9348353" y="719872"/>
                    <a:pt x="9349072" y="719872"/>
                    <a:pt x="9378736" y="719872"/>
                  </a:cubicBezTo>
                  <a:cubicBezTo>
                    <a:pt x="9378736" y="719886"/>
                    <a:pt x="9378736" y="720449"/>
                    <a:pt x="9378736" y="743652"/>
                  </a:cubicBezTo>
                  <a:cubicBezTo>
                    <a:pt x="9378743" y="743652"/>
                    <a:pt x="9378822" y="743652"/>
                    <a:pt x="9379749" y="743652"/>
                  </a:cubicBezTo>
                  <a:lnTo>
                    <a:pt x="9386843" y="743652"/>
                  </a:lnTo>
                  <a:cubicBezTo>
                    <a:pt x="9386843" y="743659"/>
                    <a:pt x="9386843" y="743732"/>
                    <a:pt x="9386843" y="744733"/>
                  </a:cubicBezTo>
                  <a:lnTo>
                    <a:pt x="9386843" y="752299"/>
                  </a:lnTo>
                  <a:cubicBezTo>
                    <a:pt x="9386852" y="752299"/>
                    <a:pt x="9386925" y="752299"/>
                    <a:pt x="9387603" y="752299"/>
                  </a:cubicBezTo>
                  <a:lnTo>
                    <a:pt x="9392923" y="752299"/>
                  </a:lnTo>
                  <a:cubicBezTo>
                    <a:pt x="9392923" y="752292"/>
                    <a:pt x="9392923" y="752172"/>
                    <a:pt x="9392923" y="750137"/>
                  </a:cubicBezTo>
                  <a:lnTo>
                    <a:pt x="9392923" y="735005"/>
                  </a:lnTo>
                  <a:cubicBezTo>
                    <a:pt x="9392930" y="735005"/>
                    <a:pt x="9393008" y="735005"/>
                    <a:pt x="9393936" y="735005"/>
                  </a:cubicBezTo>
                  <a:lnTo>
                    <a:pt x="9401030" y="735005"/>
                  </a:lnTo>
                  <a:cubicBezTo>
                    <a:pt x="9401030" y="735013"/>
                    <a:pt x="9401030" y="735096"/>
                    <a:pt x="9401030" y="736086"/>
                  </a:cubicBezTo>
                  <a:lnTo>
                    <a:pt x="9401030" y="743652"/>
                  </a:lnTo>
                  <a:lnTo>
                    <a:pt x="9406350" y="741659"/>
                  </a:lnTo>
                  <a:cubicBezTo>
                    <a:pt x="9407110" y="741287"/>
                    <a:pt x="9407110" y="741085"/>
                    <a:pt x="9407110" y="740679"/>
                  </a:cubicBezTo>
                  <a:lnTo>
                    <a:pt x="9407110" y="735005"/>
                  </a:lnTo>
                  <a:cubicBezTo>
                    <a:pt x="9407127" y="735005"/>
                    <a:pt x="9407928" y="735005"/>
                    <a:pt x="9445617" y="735005"/>
                  </a:cubicBezTo>
                  <a:cubicBezTo>
                    <a:pt x="9445617" y="735019"/>
                    <a:pt x="9445617" y="735566"/>
                    <a:pt x="9445617" y="758784"/>
                  </a:cubicBezTo>
                  <a:cubicBezTo>
                    <a:pt x="9445625" y="758784"/>
                    <a:pt x="9445743" y="758784"/>
                    <a:pt x="9447643" y="758784"/>
                  </a:cubicBezTo>
                  <a:lnTo>
                    <a:pt x="9461830" y="758784"/>
                  </a:lnTo>
                  <a:cubicBezTo>
                    <a:pt x="9461830" y="758792"/>
                    <a:pt x="9461830" y="758874"/>
                    <a:pt x="9461830" y="759865"/>
                  </a:cubicBezTo>
                  <a:lnTo>
                    <a:pt x="9461830" y="767431"/>
                  </a:lnTo>
                  <a:cubicBezTo>
                    <a:pt x="9461839" y="767431"/>
                    <a:pt x="9461962" y="767431"/>
                    <a:pt x="9463604" y="767431"/>
                  </a:cubicBezTo>
                  <a:lnTo>
                    <a:pt x="9476017" y="767431"/>
                  </a:lnTo>
                  <a:cubicBezTo>
                    <a:pt x="9476017" y="767419"/>
                    <a:pt x="9476017" y="766908"/>
                    <a:pt x="9476017" y="743652"/>
                  </a:cubicBezTo>
                  <a:cubicBezTo>
                    <a:pt x="9476024" y="743652"/>
                    <a:pt x="9476102" y="743652"/>
                    <a:pt x="9477030" y="743652"/>
                  </a:cubicBezTo>
                  <a:lnTo>
                    <a:pt x="9484124" y="743652"/>
                  </a:lnTo>
                  <a:cubicBezTo>
                    <a:pt x="9484124" y="743633"/>
                    <a:pt x="9484124" y="742862"/>
                    <a:pt x="9484124" y="711225"/>
                  </a:cubicBezTo>
                  <a:cubicBezTo>
                    <a:pt x="9484131" y="711225"/>
                    <a:pt x="9484208" y="711225"/>
                    <a:pt x="9485137" y="711225"/>
                  </a:cubicBezTo>
                  <a:lnTo>
                    <a:pt x="9492231" y="711225"/>
                  </a:lnTo>
                  <a:cubicBezTo>
                    <a:pt x="9492231" y="711219"/>
                    <a:pt x="9492231" y="711110"/>
                    <a:pt x="9492231" y="709334"/>
                  </a:cubicBezTo>
                  <a:lnTo>
                    <a:pt x="9492231" y="696093"/>
                  </a:lnTo>
                  <a:cubicBezTo>
                    <a:pt x="9490204" y="696093"/>
                    <a:pt x="9490204" y="696093"/>
                    <a:pt x="9490964" y="694471"/>
                  </a:cubicBezTo>
                  <a:lnTo>
                    <a:pt x="9496284" y="683122"/>
                  </a:lnTo>
                  <a:cubicBezTo>
                    <a:pt x="9496289" y="683139"/>
                    <a:pt x="9496484" y="683813"/>
                    <a:pt x="9504391" y="711225"/>
                  </a:cubicBezTo>
                  <a:cubicBezTo>
                    <a:pt x="9504399" y="711225"/>
                    <a:pt x="9504472" y="711225"/>
                    <a:pt x="9505151" y="711225"/>
                  </a:cubicBezTo>
                  <a:lnTo>
                    <a:pt x="9510471" y="711225"/>
                  </a:lnTo>
                  <a:cubicBezTo>
                    <a:pt x="9510471" y="711212"/>
                    <a:pt x="9510471" y="710033"/>
                    <a:pt x="9510471" y="605298"/>
                  </a:cubicBezTo>
                  <a:cubicBezTo>
                    <a:pt x="9510481" y="605298"/>
                    <a:pt x="9510595" y="605298"/>
                    <a:pt x="9511991" y="605298"/>
                  </a:cubicBezTo>
                  <a:lnTo>
                    <a:pt x="9522631" y="605298"/>
                  </a:lnTo>
                  <a:cubicBezTo>
                    <a:pt x="9522631" y="605276"/>
                    <a:pt x="9522631" y="604266"/>
                    <a:pt x="9522631" y="557739"/>
                  </a:cubicBezTo>
                  <a:cubicBezTo>
                    <a:pt x="9522648" y="557739"/>
                    <a:pt x="9523273" y="557739"/>
                    <a:pt x="9548978" y="557739"/>
                  </a:cubicBezTo>
                  <a:cubicBezTo>
                    <a:pt x="9548978" y="557727"/>
                    <a:pt x="9548978" y="557217"/>
                    <a:pt x="9548978" y="536121"/>
                  </a:cubicBezTo>
                  <a:cubicBezTo>
                    <a:pt x="9548997" y="536121"/>
                    <a:pt x="9549786" y="536121"/>
                    <a:pt x="9583432" y="536121"/>
                  </a:cubicBezTo>
                  <a:cubicBezTo>
                    <a:pt x="9583432" y="536129"/>
                    <a:pt x="9583432" y="536259"/>
                    <a:pt x="9583432" y="538553"/>
                  </a:cubicBezTo>
                  <a:lnTo>
                    <a:pt x="9583432" y="555577"/>
                  </a:lnTo>
                  <a:cubicBezTo>
                    <a:pt x="9583441" y="555577"/>
                    <a:pt x="9583572" y="555577"/>
                    <a:pt x="9585712" y="555577"/>
                  </a:cubicBezTo>
                  <a:lnTo>
                    <a:pt x="9601672" y="555577"/>
                  </a:lnTo>
                  <a:cubicBezTo>
                    <a:pt x="9601672" y="555595"/>
                    <a:pt x="9601672" y="556489"/>
                    <a:pt x="9601672" y="603136"/>
                  </a:cubicBezTo>
                  <a:cubicBezTo>
                    <a:pt x="9601678" y="603136"/>
                    <a:pt x="9601754" y="603136"/>
                    <a:pt x="9602685" y="603136"/>
                  </a:cubicBezTo>
                  <a:lnTo>
                    <a:pt x="9609779" y="603136"/>
                  </a:lnTo>
                  <a:lnTo>
                    <a:pt x="9623966" y="607460"/>
                  </a:lnTo>
                  <a:cubicBezTo>
                    <a:pt x="9623966" y="607470"/>
                    <a:pt x="9623966" y="608120"/>
                    <a:pt x="9623966" y="646372"/>
                  </a:cubicBezTo>
                  <a:cubicBezTo>
                    <a:pt x="9623972" y="646372"/>
                    <a:pt x="9624047" y="646372"/>
                    <a:pt x="9624979" y="646372"/>
                  </a:cubicBezTo>
                  <a:lnTo>
                    <a:pt x="9632072" y="646372"/>
                  </a:lnTo>
                  <a:cubicBezTo>
                    <a:pt x="9632072" y="646382"/>
                    <a:pt x="9632072" y="646488"/>
                    <a:pt x="9632072" y="647993"/>
                  </a:cubicBezTo>
                  <a:lnTo>
                    <a:pt x="9632072" y="659342"/>
                  </a:lnTo>
                  <a:cubicBezTo>
                    <a:pt x="9632080" y="659342"/>
                    <a:pt x="9632204" y="659342"/>
                    <a:pt x="9634099" y="659342"/>
                  </a:cubicBezTo>
                  <a:lnTo>
                    <a:pt x="9648286" y="659342"/>
                  </a:lnTo>
                  <a:lnTo>
                    <a:pt x="9654366" y="665828"/>
                  </a:lnTo>
                  <a:cubicBezTo>
                    <a:pt x="9654366" y="665840"/>
                    <a:pt x="9654366" y="666326"/>
                    <a:pt x="9654366" y="687446"/>
                  </a:cubicBezTo>
                  <a:cubicBezTo>
                    <a:pt x="9654375" y="687446"/>
                    <a:pt x="9654506" y="687446"/>
                    <a:pt x="9656646" y="687446"/>
                  </a:cubicBezTo>
                  <a:lnTo>
                    <a:pt x="9672606" y="687446"/>
                  </a:lnTo>
                  <a:cubicBezTo>
                    <a:pt x="9672606" y="687453"/>
                    <a:pt x="9672606" y="687533"/>
                    <a:pt x="9672606" y="688526"/>
                  </a:cubicBezTo>
                  <a:lnTo>
                    <a:pt x="9672606" y="696093"/>
                  </a:lnTo>
                  <a:cubicBezTo>
                    <a:pt x="9672615" y="696093"/>
                    <a:pt x="9672714" y="696093"/>
                    <a:pt x="9673873" y="696093"/>
                  </a:cubicBezTo>
                  <a:lnTo>
                    <a:pt x="9682740" y="696093"/>
                  </a:lnTo>
                  <a:cubicBezTo>
                    <a:pt x="9682740" y="696102"/>
                    <a:pt x="9682740" y="696231"/>
                    <a:pt x="9682740" y="698254"/>
                  </a:cubicBezTo>
                  <a:lnTo>
                    <a:pt x="9682740" y="713387"/>
                  </a:lnTo>
                  <a:cubicBezTo>
                    <a:pt x="9686793" y="713387"/>
                    <a:pt x="9686793" y="713387"/>
                    <a:pt x="9686793" y="711495"/>
                  </a:cubicBezTo>
                  <a:lnTo>
                    <a:pt x="9686793" y="698254"/>
                  </a:lnTo>
                  <a:cubicBezTo>
                    <a:pt x="9686799" y="698254"/>
                    <a:pt x="9686877" y="698254"/>
                    <a:pt x="9687806" y="698254"/>
                  </a:cubicBezTo>
                  <a:lnTo>
                    <a:pt x="9694900" y="698254"/>
                  </a:lnTo>
                  <a:cubicBezTo>
                    <a:pt x="9694900" y="698265"/>
                    <a:pt x="9694900" y="698384"/>
                    <a:pt x="9694900" y="699876"/>
                  </a:cubicBezTo>
                  <a:lnTo>
                    <a:pt x="9694900" y="711225"/>
                  </a:lnTo>
                  <a:cubicBezTo>
                    <a:pt x="9694909" y="711225"/>
                    <a:pt x="9694982" y="711225"/>
                    <a:pt x="9695660" y="711225"/>
                  </a:cubicBezTo>
                  <a:lnTo>
                    <a:pt x="9700980" y="711225"/>
                  </a:lnTo>
                  <a:cubicBezTo>
                    <a:pt x="9700980" y="706902"/>
                    <a:pt x="9700980" y="706902"/>
                    <a:pt x="9749620" y="706902"/>
                  </a:cubicBezTo>
                  <a:cubicBezTo>
                    <a:pt x="9749620" y="706911"/>
                    <a:pt x="9749620" y="707012"/>
                    <a:pt x="9749620" y="708253"/>
                  </a:cubicBezTo>
                  <a:lnTo>
                    <a:pt x="9749620" y="717710"/>
                  </a:lnTo>
                  <a:cubicBezTo>
                    <a:pt x="9749628" y="717710"/>
                    <a:pt x="9749703" y="717710"/>
                    <a:pt x="9750380" y="717710"/>
                  </a:cubicBezTo>
                  <a:lnTo>
                    <a:pt x="9755702" y="717710"/>
                  </a:lnTo>
                  <a:cubicBezTo>
                    <a:pt x="9755702" y="717719"/>
                    <a:pt x="9755702" y="717841"/>
                    <a:pt x="9755702" y="719872"/>
                  </a:cubicBezTo>
                  <a:lnTo>
                    <a:pt x="9755702" y="735005"/>
                  </a:lnTo>
                  <a:cubicBezTo>
                    <a:pt x="9755710" y="735001"/>
                    <a:pt x="9755826" y="734923"/>
                    <a:pt x="9757728" y="733654"/>
                  </a:cubicBezTo>
                  <a:lnTo>
                    <a:pt x="9771914" y="724196"/>
                  </a:lnTo>
                  <a:cubicBezTo>
                    <a:pt x="9771916" y="724177"/>
                    <a:pt x="9772048" y="723302"/>
                    <a:pt x="9777994" y="683122"/>
                  </a:cubicBezTo>
                  <a:cubicBezTo>
                    <a:pt x="9778004" y="683120"/>
                    <a:pt x="9778072" y="683094"/>
                    <a:pt x="9778754" y="682852"/>
                  </a:cubicBezTo>
                  <a:lnTo>
                    <a:pt x="9784074" y="680960"/>
                  </a:lnTo>
                  <a:cubicBezTo>
                    <a:pt x="9784074" y="680944"/>
                    <a:pt x="9784108" y="679883"/>
                    <a:pt x="9786102" y="611783"/>
                  </a:cubicBezTo>
                  <a:cubicBezTo>
                    <a:pt x="9786102" y="611801"/>
                    <a:pt x="9786134" y="612892"/>
                    <a:pt x="9788128" y="680960"/>
                  </a:cubicBezTo>
                  <a:cubicBezTo>
                    <a:pt x="9788138" y="680963"/>
                    <a:pt x="9788208" y="680988"/>
                    <a:pt x="9788888" y="681230"/>
                  </a:cubicBezTo>
                  <a:lnTo>
                    <a:pt x="9794208" y="683122"/>
                  </a:lnTo>
                  <a:cubicBezTo>
                    <a:pt x="9794208" y="683102"/>
                    <a:pt x="9794208" y="681769"/>
                    <a:pt x="9794208" y="596651"/>
                  </a:cubicBezTo>
                  <a:cubicBezTo>
                    <a:pt x="9798262" y="596651"/>
                    <a:pt x="9798262" y="596651"/>
                    <a:pt x="9798262" y="564224"/>
                  </a:cubicBezTo>
                  <a:cubicBezTo>
                    <a:pt x="9798274" y="564224"/>
                    <a:pt x="9798960" y="564224"/>
                    <a:pt x="9836768" y="564224"/>
                  </a:cubicBezTo>
                  <a:cubicBezTo>
                    <a:pt x="9836768" y="564241"/>
                    <a:pt x="9836768" y="564959"/>
                    <a:pt x="9836768" y="596651"/>
                  </a:cubicBezTo>
                  <a:cubicBezTo>
                    <a:pt x="9836778" y="596651"/>
                    <a:pt x="9836850" y="596651"/>
                    <a:pt x="9837528" y="596651"/>
                  </a:cubicBezTo>
                  <a:lnTo>
                    <a:pt x="9842848" y="596651"/>
                  </a:lnTo>
                  <a:cubicBezTo>
                    <a:pt x="9842848" y="596630"/>
                    <a:pt x="9842848" y="595324"/>
                    <a:pt x="9842848" y="514503"/>
                  </a:cubicBezTo>
                  <a:cubicBezTo>
                    <a:pt x="9842854" y="514503"/>
                    <a:pt x="9842954" y="514503"/>
                    <a:pt x="9844622" y="514503"/>
                  </a:cubicBezTo>
                  <a:lnTo>
                    <a:pt x="9857036" y="514503"/>
                  </a:lnTo>
                  <a:cubicBezTo>
                    <a:pt x="9857036" y="514496"/>
                    <a:pt x="9857036" y="514385"/>
                    <a:pt x="9857036" y="512612"/>
                  </a:cubicBezTo>
                  <a:lnTo>
                    <a:pt x="9857036" y="499371"/>
                  </a:lnTo>
                  <a:cubicBezTo>
                    <a:pt x="9857046" y="499371"/>
                    <a:pt x="9857544" y="499371"/>
                    <a:pt x="9879330" y="499371"/>
                  </a:cubicBezTo>
                  <a:cubicBezTo>
                    <a:pt x="9879330" y="499364"/>
                    <a:pt x="9879330" y="499283"/>
                    <a:pt x="9879330" y="498290"/>
                  </a:cubicBezTo>
                  <a:lnTo>
                    <a:pt x="9879330" y="490724"/>
                  </a:lnTo>
                  <a:cubicBezTo>
                    <a:pt x="9879336" y="490724"/>
                    <a:pt x="9879446" y="490724"/>
                    <a:pt x="9881102" y="490724"/>
                  </a:cubicBezTo>
                  <a:lnTo>
                    <a:pt x="9893516" y="490724"/>
                  </a:lnTo>
                  <a:cubicBezTo>
                    <a:pt x="9893516" y="490732"/>
                    <a:pt x="9893516" y="490811"/>
                    <a:pt x="9893516" y="491805"/>
                  </a:cubicBezTo>
                  <a:lnTo>
                    <a:pt x="9893516" y="499371"/>
                  </a:lnTo>
                  <a:cubicBezTo>
                    <a:pt x="9893526" y="499371"/>
                    <a:pt x="9893598" y="499371"/>
                    <a:pt x="9894276" y="499371"/>
                  </a:cubicBezTo>
                  <a:lnTo>
                    <a:pt x="9899596" y="499371"/>
                  </a:lnTo>
                  <a:lnTo>
                    <a:pt x="9909730" y="495047"/>
                  </a:lnTo>
                  <a:lnTo>
                    <a:pt x="9913782" y="498290"/>
                  </a:lnTo>
                  <a:lnTo>
                    <a:pt x="9913782" y="490724"/>
                  </a:lnTo>
                  <a:cubicBezTo>
                    <a:pt x="9913792" y="490724"/>
                    <a:pt x="9913928" y="490724"/>
                    <a:pt x="9916062" y="490724"/>
                  </a:cubicBezTo>
                  <a:lnTo>
                    <a:pt x="9932024" y="490724"/>
                  </a:lnTo>
                  <a:cubicBezTo>
                    <a:pt x="9932024" y="490732"/>
                    <a:pt x="9932024" y="490811"/>
                    <a:pt x="9932024" y="491805"/>
                  </a:cubicBezTo>
                  <a:lnTo>
                    <a:pt x="9932024" y="499371"/>
                  </a:lnTo>
                  <a:cubicBezTo>
                    <a:pt x="9932042" y="499371"/>
                    <a:pt x="9932778" y="499371"/>
                    <a:pt x="9962424" y="499371"/>
                  </a:cubicBezTo>
                  <a:cubicBezTo>
                    <a:pt x="9962424" y="499381"/>
                    <a:pt x="9962424" y="499490"/>
                    <a:pt x="9962424" y="500992"/>
                  </a:cubicBezTo>
                  <a:lnTo>
                    <a:pt x="9962424" y="512342"/>
                  </a:lnTo>
                  <a:cubicBezTo>
                    <a:pt x="9962440" y="512342"/>
                    <a:pt x="9963080" y="512342"/>
                    <a:pt x="9988770" y="512342"/>
                  </a:cubicBezTo>
                  <a:cubicBezTo>
                    <a:pt x="9988770" y="512358"/>
                    <a:pt x="9988770" y="513038"/>
                    <a:pt x="9988770" y="542606"/>
                  </a:cubicBezTo>
                  <a:cubicBezTo>
                    <a:pt x="9988780" y="542606"/>
                    <a:pt x="9988852" y="542606"/>
                    <a:pt x="9989530" y="542606"/>
                  </a:cubicBezTo>
                  <a:lnTo>
                    <a:pt x="9994850" y="542606"/>
                  </a:lnTo>
                  <a:cubicBezTo>
                    <a:pt x="9994850" y="542613"/>
                    <a:pt x="9994850" y="542699"/>
                    <a:pt x="9994850" y="543687"/>
                  </a:cubicBezTo>
                  <a:lnTo>
                    <a:pt x="9994850" y="551254"/>
                  </a:lnTo>
                  <a:cubicBezTo>
                    <a:pt x="9998904" y="551254"/>
                    <a:pt x="9998904" y="551254"/>
                    <a:pt x="9998904" y="581518"/>
                  </a:cubicBezTo>
                  <a:cubicBezTo>
                    <a:pt x="9998914" y="581518"/>
                    <a:pt x="9998988" y="581518"/>
                    <a:pt x="9999664" y="581518"/>
                  </a:cubicBezTo>
                  <a:lnTo>
                    <a:pt x="10004984" y="581518"/>
                  </a:lnTo>
                  <a:cubicBezTo>
                    <a:pt x="10004984" y="581527"/>
                    <a:pt x="10004984" y="581594"/>
                    <a:pt x="10004984" y="582329"/>
                  </a:cubicBezTo>
                  <a:lnTo>
                    <a:pt x="10004984" y="588004"/>
                  </a:lnTo>
                  <a:cubicBezTo>
                    <a:pt x="10004990" y="588004"/>
                    <a:pt x="10005068" y="588004"/>
                    <a:pt x="10005998" y="588004"/>
                  </a:cubicBezTo>
                  <a:lnTo>
                    <a:pt x="10013090" y="588004"/>
                  </a:lnTo>
                  <a:cubicBezTo>
                    <a:pt x="10013090" y="588021"/>
                    <a:pt x="10013090" y="588734"/>
                    <a:pt x="10013090" y="618269"/>
                  </a:cubicBezTo>
                  <a:cubicBezTo>
                    <a:pt x="10013098" y="618269"/>
                    <a:pt x="10013218" y="618269"/>
                    <a:pt x="10015118" y="618269"/>
                  </a:cubicBezTo>
                  <a:lnTo>
                    <a:pt x="10029304" y="618269"/>
                  </a:lnTo>
                  <a:cubicBezTo>
                    <a:pt x="10029304" y="618285"/>
                    <a:pt x="10029304" y="618865"/>
                    <a:pt x="10029304" y="642048"/>
                  </a:cubicBezTo>
                  <a:cubicBezTo>
                    <a:pt x="10031332" y="642048"/>
                    <a:pt x="10031332" y="642048"/>
                    <a:pt x="10031332" y="643669"/>
                  </a:cubicBezTo>
                  <a:lnTo>
                    <a:pt x="10031332" y="655019"/>
                  </a:lnTo>
                  <a:cubicBezTo>
                    <a:pt x="10031340" y="655019"/>
                    <a:pt x="10031410" y="655019"/>
                    <a:pt x="10032092" y="655019"/>
                  </a:cubicBezTo>
                  <a:lnTo>
                    <a:pt x="10037412" y="655019"/>
                  </a:lnTo>
                  <a:cubicBezTo>
                    <a:pt x="10037412" y="655033"/>
                    <a:pt x="10037412" y="655596"/>
                    <a:pt x="10037412" y="678798"/>
                  </a:cubicBezTo>
                  <a:cubicBezTo>
                    <a:pt x="10037420" y="678798"/>
                    <a:pt x="10037518" y="678798"/>
                    <a:pt x="10038678" y="678798"/>
                  </a:cubicBezTo>
                  <a:lnTo>
                    <a:pt x="10047544" y="678798"/>
                  </a:lnTo>
                  <a:cubicBezTo>
                    <a:pt x="10049572" y="680960"/>
                    <a:pt x="10049572" y="680960"/>
                    <a:pt x="10049572" y="682852"/>
                  </a:cubicBezTo>
                  <a:lnTo>
                    <a:pt x="10049572" y="696093"/>
                  </a:lnTo>
                  <a:cubicBezTo>
                    <a:pt x="10049576" y="696086"/>
                    <a:pt x="10049664" y="695979"/>
                    <a:pt x="10051092" y="694201"/>
                  </a:cubicBezTo>
                  <a:lnTo>
                    <a:pt x="10061732" y="680960"/>
                  </a:lnTo>
                  <a:cubicBezTo>
                    <a:pt x="10061746" y="680960"/>
                    <a:pt x="10062386" y="680960"/>
                    <a:pt x="10090106" y="680960"/>
                  </a:cubicBezTo>
                  <a:cubicBezTo>
                    <a:pt x="10090106" y="680985"/>
                    <a:pt x="10090106" y="682386"/>
                    <a:pt x="10090106" y="767431"/>
                  </a:cubicBezTo>
                  <a:cubicBezTo>
                    <a:pt x="10090114" y="767431"/>
                    <a:pt x="10090190" y="767431"/>
                    <a:pt x="10090866" y="767431"/>
                  </a:cubicBezTo>
                  <a:lnTo>
                    <a:pt x="10096186" y="767431"/>
                  </a:lnTo>
                  <a:cubicBezTo>
                    <a:pt x="10096190" y="767423"/>
                    <a:pt x="10096248" y="767323"/>
                    <a:pt x="10096946" y="766080"/>
                  </a:cubicBezTo>
                  <a:lnTo>
                    <a:pt x="10102266" y="756622"/>
                  </a:lnTo>
                  <a:cubicBezTo>
                    <a:pt x="10102266" y="756629"/>
                    <a:pt x="10102266" y="756728"/>
                    <a:pt x="10102266" y="758514"/>
                  </a:cubicBezTo>
                  <a:lnTo>
                    <a:pt x="10102266" y="771755"/>
                  </a:lnTo>
                  <a:cubicBezTo>
                    <a:pt x="10106318" y="771755"/>
                    <a:pt x="10106318" y="771755"/>
                    <a:pt x="10106318" y="726358"/>
                  </a:cubicBezTo>
                  <a:cubicBezTo>
                    <a:pt x="10106328" y="726358"/>
                    <a:pt x="10106398" y="726358"/>
                    <a:pt x="10107078" y="726358"/>
                  </a:cubicBezTo>
                  <a:lnTo>
                    <a:pt x="10112398" y="726358"/>
                  </a:lnTo>
                  <a:cubicBezTo>
                    <a:pt x="10112398" y="726343"/>
                    <a:pt x="10112398" y="725343"/>
                    <a:pt x="10112398" y="661504"/>
                  </a:cubicBezTo>
                  <a:cubicBezTo>
                    <a:pt x="10112406" y="661504"/>
                    <a:pt x="10112486" y="661504"/>
                    <a:pt x="10113412" y="661504"/>
                  </a:cubicBezTo>
                  <a:lnTo>
                    <a:pt x="10120506" y="661504"/>
                  </a:lnTo>
                  <a:cubicBezTo>
                    <a:pt x="10120512" y="661483"/>
                    <a:pt x="10120776" y="660543"/>
                    <a:pt x="10132666" y="618269"/>
                  </a:cubicBezTo>
                  <a:cubicBezTo>
                    <a:pt x="10132674" y="618269"/>
                    <a:pt x="10132772" y="618269"/>
                    <a:pt x="10133932" y="618269"/>
                  </a:cubicBezTo>
                  <a:lnTo>
                    <a:pt x="10142800" y="618269"/>
                  </a:lnTo>
                  <a:cubicBezTo>
                    <a:pt x="10142804" y="618292"/>
                    <a:pt x="10143030" y="619258"/>
                    <a:pt x="10152932" y="661504"/>
                  </a:cubicBezTo>
                  <a:cubicBezTo>
                    <a:pt x="10152938" y="661504"/>
                    <a:pt x="10153012" y="661504"/>
                    <a:pt x="10153946" y="661504"/>
                  </a:cubicBezTo>
                  <a:lnTo>
                    <a:pt x="10161040" y="661504"/>
                  </a:lnTo>
                  <a:cubicBezTo>
                    <a:pt x="10161040" y="661515"/>
                    <a:pt x="10161040" y="662182"/>
                    <a:pt x="10161040" y="700416"/>
                  </a:cubicBezTo>
                  <a:cubicBezTo>
                    <a:pt x="10161046" y="700416"/>
                    <a:pt x="10161146" y="700416"/>
                    <a:pt x="10162812" y="700416"/>
                  </a:cubicBezTo>
                  <a:lnTo>
                    <a:pt x="10175226" y="700416"/>
                  </a:lnTo>
                  <a:cubicBezTo>
                    <a:pt x="10175226" y="700424"/>
                    <a:pt x="10175226" y="700546"/>
                    <a:pt x="10175226" y="702578"/>
                  </a:cubicBezTo>
                  <a:lnTo>
                    <a:pt x="10175226" y="717710"/>
                  </a:lnTo>
                  <a:cubicBezTo>
                    <a:pt x="10179280" y="717710"/>
                    <a:pt x="10179280" y="717710"/>
                    <a:pt x="10179280" y="715549"/>
                  </a:cubicBezTo>
                  <a:lnTo>
                    <a:pt x="10179280" y="700416"/>
                  </a:lnTo>
                  <a:cubicBezTo>
                    <a:pt x="10179290" y="700416"/>
                    <a:pt x="10179402" y="700416"/>
                    <a:pt x="10180800" y="700416"/>
                  </a:cubicBezTo>
                  <a:lnTo>
                    <a:pt x="10191440" y="700416"/>
                  </a:lnTo>
                  <a:cubicBezTo>
                    <a:pt x="10191440" y="700426"/>
                    <a:pt x="10191440" y="700543"/>
                    <a:pt x="10191440" y="702037"/>
                  </a:cubicBezTo>
                  <a:lnTo>
                    <a:pt x="10191440" y="713387"/>
                  </a:lnTo>
                  <a:cubicBezTo>
                    <a:pt x="10191456" y="713387"/>
                    <a:pt x="10192164" y="713387"/>
                    <a:pt x="10221840" y="713387"/>
                  </a:cubicBezTo>
                  <a:cubicBezTo>
                    <a:pt x="10221840" y="713370"/>
                    <a:pt x="10221840" y="712599"/>
                    <a:pt x="10221840" y="676637"/>
                  </a:cubicBezTo>
                  <a:cubicBezTo>
                    <a:pt x="10221848" y="676637"/>
                    <a:pt x="10221942" y="676637"/>
                    <a:pt x="10223106" y="676637"/>
                  </a:cubicBezTo>
                  <a:lnTo>
                    <a:pt x="10231974" y="676637"/>
                  </a:lnTo>
                  <a:cubicBezTo>
                    <a:pt x="10231974" y="676648"/>
                    <a:pt x="10231974" y="677142"/>
                    <a:pt x="10231974" y="698254"/>
                  </a:cubicBezTo>
                  <a:cubicBezTo>
                    <a:pt x="10234000" y="698254"/>
                    <a:pt x="10234000" y="698254"/>
                    <a:pt x="10234000" y="665828"/>
                  </a:cubicBezTo>
                  <a:cubicBezTo>
                    <a:pt x="10234014" y="665828"/>
                    <a:pt x="10234556" y="665828"/>
                    <a:pt x="10256294" y="665828"/>
                  </a:cubicBezTo>
                  <a:cubicBezTo>
                    <a:pt x="10256294" y="665818"/>
                    <a:pt x="10256294" y="665698"/>
                    <a:pt x="10256294" y="664206"/>
                  </a:cubicBezTo>
                  <a:lnTo>
                    <a:pt x="10256294" y="652857"/>
                  </a:lnTo>
                  <a:cubicBezTo>
                    <a:pt x="10256302" y="652857"/>
                    <a:pt x="10256376" y="652857"/>
                    <a:pt x="10257054" y="652857"/>
                  </a:cubicBezTo>
                  <a:lnTo>
                    <a:pt x="10262374" y="652857"/>
                  </a:lnTo>
                  <a:cubicBezTo>
                    <a:pt x="10262374" y="652851"/>
                    <a:pt x="10262374" y="652738"/>
                    <a:pt x="10262374" y="650966"/>
                  </a:cubicBezTo>
                  <a:lnTo>
                    <a:pt x="10262374" y="637725"/>
                  </a:lnTo>
                  <a:lnTo>
                    <a:pt x="10266428" y="644210"/>
                  </a:lnTo>
                  <a:cubicBezTo>
                    <a:pt x="10266436" y="644210"/>
                    <a:pt x="10266564" y="644210"/>
                    <a:pt x="10268708" y="644210"/>
                  </a:cubicBezTo>
                  <a:lnTo>
                    <a:pt x="10284668" y="644210"/>
                  </a:lnTo>
                  <a:cubicBezTo>
                    <a:pt x="10284668" y="644202"/>
                    <a:pt x="10284668" y="644134"/>
                    <a:pt x="10284668" y="643399"/>
                  </a:cubicBezTo>
                  <a:lnTo>
                    <a:pt x="10284668" y="637725"/>
                  </a:lnTo>
                  <a:cubicBezTo>
                    <a:pt x="10284676" y="637725"/>
                    <a:pt x="10284750" y="637725"/>
                    <a:pt x="10285428" y="637725"/>
                  </a:cubicBezTo>
                  <a:lnTo>
                    <a:pt x="10290748" y="637725"/>
                  </a:lnTo>
                  <a:cubicBezTo>
                    <a:pt x="10290748" y="637734"/>
                    <a:pt x="10290748" y="637834"/>
                    <a:pt x="10290748" y="639076"/>
                  </a:cubicBezTo>
                  <a:lnTo>
                    <a:pt x="10290748" y="648534"/>
                  </a:lnTo>
                  <a:cubicBezTo>
                    <a:pt x="10290762" y="648534"/>
                    <a:pt x="10291496" y="648534"/>
                    <a:pt x="10329254" y="648534"/>
                  </a:cubicBezTo>
                  <a:cubicBezTo>
                    <a:pt x="10329254" y="648552"/>
                    <a:pt x="10329254" y="650062"/>
                    <a:pt x="10329254" y="786887"/>
                  </a:cubicBezTo>
                  <a:cubicBezTo>
                    <a:pt x="10329264" y="786887"/>
                    <a:pt x="10329380" y="786887"/>
                    <a:pt x="10330774" y="786887"/>
                  </a:cubicBezTo>
                  <a:lnTo>
                    <a:pt x="10341414" y="786887"/>
                  </a:lnTo>
                  <a:cubicBezTo>
                    <a:pt x="10341414" y="782564"/>
                    <a:pt x="10341414" y="778240"/>
                    <a:pt x="10341414" y="773917"/>
                  </a:cubicBezTo>
                  <a:cubicBezTo>
                    <a:pt x="10343442" y="773917"/>
                    <a:pt x="10343442" y="773917"/>
                    <a:pt x="10345468" y="773917"/>
                  </a:cubicBezTo>
                  <a:cubicBezTo>
                    <a:pt x="10345468" y="778240"/>
                    <a:pt x="10345468" y="782564"/>
                    <a:pt x="10345468" y="786887"/>
                  </a:cubicBezTo>
                  <a:cubicBezTo>
                    <a:pt x="10355602" y="786887"/>
                    <a:pt x="10365736" y="786887"/>
                    <a:pt x="10375868" y="786887"/>
                  </a:cubicBezTo>
                  <a:cubicBezTo>
                    <a:pt x="10375868" y="776078"/>
                    <a:pt x="10375868" y="767431"/>
                    <a:pt x="10375868" y="756622"/>
                  </a:cubicBezTo>
                  <a:cubicBezTo>
                    <a:pt x="10379922" y="756622"/>
                    <a:pt x="10383976" y="756622"/>
                    <a:pt x="10388028" y="756622"/>
                  </a:cubicBezTo>
                  <a:lnTo>
                    <a:pt x="10400188" y="754461"/>
                  </a:lnTo>
                  <a:cubicBezTo>
                    <a:pt x="10402216" y="754461"/>
                    <a:pt x="10402216" y="756622"/>
                    <a:pt x="10404242" y="756622"/>
                  </a:cubicBezTo>
                  <a:lnTo>
                    <a:pt x="10414376" y="756622"/>
                  </a:lnTo>
                  <a:cubicBezTo>
                    <a:pt x="10414376" y="767431"/>
                    <a:pt x="10414376" y="778240"/>
                    <a:pt x="10414376" y="786887"/>
                  </a:cubicBezTo>
                  <a:cubicBezTo>
                    <a:pt x="10416402" y="786887"/>
                    <a:pt x="10418430" y="786887"/>
                    <a:pt x="10422482" y="786887"/>
                  </a:cubicBezTo>
                  <a:cubicBezTo>
                    <a:pt x="10422482" y="793373"/>
                    <a:pt x="10422482" y="799858"/>
                    <a:pt x="10422482" y="804182"/>
                  </a:cubicBezTo>
                  <a:lnTo>
                    <a:pt x="10431818" y="805087"/>
                  </a:lnTo>
                  <a:lnTo>
                    <a:pt x="10444776" y="805087"/>
                  </a:lnTo>
                  <a:cubicBezTo>
                    <a:pt x="10444776" y="799278"/>
                    <a:pt x="10444776" y="795106"/>
                    <a:pt x="10444776" y="789049"/>
                  </a:cubicBezTo>
                  <a:lnTo>
                    <a:pt x="10512732" y="789049"/>
                  </a:lnTo>
                  <a:lnTo>
                    <a:pt x="10512732" y="703796"/>
                  </a:lnTo>
                  <a:lnTo>
                    <a:pt x="10584740" y="703796"/>
                  </a:lnTo>
                  <a:lnTo>
                    <a:pt x="10584740" y="782564"/>
                  </a:lnTo>
                  <a:cubicBezTo>
                    <a:pt x="10585376" y="782564"/>
                    <a:pt x="10586010" y="782564"/>
                    <a:pt x="10586644" y="782564"/>
                  </a:cubicBezTo>
                  <a:lnTo>
                    <a:pt x="10587886" y="805087"/>
                  </a:lnTo>
                  <a:lnTo>
                    <a:pt x="10597562" y="805087"/>
                  </a:lnTo>
                  <a:cubicBezTo>
                    <a:pt x="10598098" y="797873"/>
                    <a:pt x="10598804" y="790219"/>
                    <a:pt x="10598804" y="782564"/>
                  </a:cubicBezTo>
                  <a:cubicBezTo>
                    <a:pt x="10600832" y="782564"/>
                    <a:pt x="10602858" y="782564"/>
                    <a:pt x="10604884" y="782564"/>
                  </a:cubicBezTo>
                  <a:lnTo>
                    <a:pt x="10606126" y="805087"/>
                  </a:lnTo>
                  <a:lnTo>
                    <a:pt x="10656748" y="805087"/>
                  </a:lnTo>
                  <a:lnTo>
                    <a:pt x="10656748" y="642059"/>
                  </a:lnTo>
                  <a:lnTo>
                    <a:pt x="10854076" y="642059"/>
                  </a:lnTo>
                  <a:lnTo>
                    <a:pt x="10854076" y="805087"/>
                  </a:lnTo>
                  <a:lnTo>
                    <a:pt x="10872772" y="805087"/>
                  </a:lnTo>
                  <a:lnTo>
                    <a:pt x="10872772" y="722394"/>
                  </a:lnTo>
                  <a:lnTo>
                    <a:pt x="10967892" y="722394"/>
                  </a:lnTo>
                  <a:cubicBezTo>
                    <a:pt x="10971967" y="616373"/>
                    <a:pt x="10975346" y="510899"/>
                    <a:pt x="10979823" y="404253"/>
                  </a:cubicBezTo>
                  <a:cubicBezTo>
                    <a:pt x="10969690" y="404253"/>
                    <a:pt x="10945370" y="391282"/>
                    <a:pt x="10967663" y="382635"/>
                  </a:cubicBezTo>
                  <a:cubicBezTo>
                    <a:pt x="10965635" y="380473"/>
                    <a:pt x="10963610" y="378311"/>
                    <a:pt x="10961583" y="378311"/>
                  </a:cubicBezTo>
                  <a:cubicBezTo>
                    <a:pt x="10961583" y="365341"/>
                    <a:pt x="10959555" y="363179"/>
                    <a:pt x="10969690" y="354532"/>
                  </a:cubicBezTo>
                  <a:cubicBezTo>
                    <a:pt x="10969690" y="350208"/>
                    <a:pt x="10969690" y="343723"/>
                    <a:pt x="10969690" y="337238"/>
                  </a:cubicBezTo>
                  <a:cubicBezTo>
                    <a:pt x="10973743" y="337238"/>
                    <a:pt x="10977796" y="337238"/>
                    <a:pt x="10983876" y="337238"/>
                  </a:cubicBezTo>
                  <a:cubicBezTo>
                    <a:pt x="10983876" y="328590"/>
                    <a:pt x="10983876" y="322105"/>
                    <a:pt x="10983876" y="315620"/>
                  </a:cubicBezTo>
                  <a:cubicBezTo>
                    <a:pt x="10983876" y="313458"/>
                    <a:pt x="10985903" y="313458"/>
                    <a:pt x="10985903" y="311296"/>
                  </a:cubicBezTo>
                  <a:cubicBezTo>
                    <a:pt x="10985903" y="285355"/>
                    <a:pt x="10985903" y="259414"/>
                    <a:pt x="10985903" y="233472"/>
                  </a:cubicBezTo>
                  <a:cubicBezTo>
                    <a:pt x="10985903" y="231310"/>
                    <a:pt x="10983876" y="229149"/>
                    <a:pt x="10983876" y="226987"/>
                  </a:cubicBezTo>
                  <a:cubicBezTo>
                    <a:pt x="10985903" y="224825"/>
                    <a:pt x="10987930" y="222663"/>
                    <a:pt x="10989956" y="220501"/>
                  </a:cubicBezTo>
                  <a:cubicBezTo>
                    <a:pt x="10989956" y="201045"/>
                    <a:pt x="10989956" y="181589"/>
                    <a:pt x="10989956" y="162133"/>
                  </a:cubicBezTo>
                  <a:cubicBezTo>
                    <a:pt x="10989956" y="159972"/>
                    <a:pt x="10989956" y="159972"/>
                    <a:pt x="10991983" y="157810"/>
                  </a:cubicBezTo>
                  <a:cubicBezTo>
                    <a:pt x="10991983" y="140516"/>
                    <a:pt x="10991983" y="121060"/>
                    <a:pt x="10991983" y="101604"/>
                  </a:cubicBezTo>
                  <a:cubicBezTo>
                    <a:pt x="10994010" y="92957"/>
                    <a:pt x="10994010" y="88633"/>
                    <a:pt x="10994010" y="82148"/>
                  </a:cubicBezTo>
                  <a:cubicBezTo>
                    <a:pt x="10998063" y="88633"/>
                    <a:pt x="10998063" y="92957"/>
                    <a:pt x="10998063" y="99442"/>
                  </a:cubicBezTo>
                  <a:cubicBezTo>
                    <a:pt x="11000090" y="121060"/>
                    <a:pt x="11000090" y="140516"/>
                    <a:pt x="11000090" y="157810"/>
                  </a:cubicBezTo>
                  <a:cubicBezTo>
                    <a:pt x="11002116" y="181589"/>
                    <a:pt x="11002116" y="201045"/>
                    <a:pt x="11002116" y="220501"/>
                  </a:cubicBezTo>
                  <a:cubicBezTo>
                    <a:pt x="11004143" y="222663"/>
                    <a:pt x="11006170" y="224825"/>
                    <a:pt x="11008196" y="226987"/>
                  </a:cubicBezTo>
                  <a:cubicBezTo>
                    <a:pt x="11008196" y="229149"/>
                    <a:pt x="11006170" y="231310"/>
                    <a:pt x="11006170" y="233472"/>
                  </a:cubicBezTo>
                  <a:cubicBezTo>
                    <a:pt x="11006170" y="259414"/>
                    <a:pt x="11006170" y="285355"/>
                    <a:pt x="11006170" y="311296"/>
                  </a:cubicBezTo>
                  <a:cubicBezTo>
                    <a:pt x="11006170" y="313458"/>
                    <a:pt x="11008196" y="313458"/>
                    <a:pt x="11008196" y="315620"/>
                  </a:cubicBezTo>
                  <a:cubicBezTo>
                    <a:pt x="11008196" y="322105"/>
                    <a:pt x="11008196" y="328590"/>
                    <a:pt x="11008196" y="337238"/>
                  </a:cubicBezTo>
                  <a:cubicBezTo>
                    <a:pt x="11012250" y="337238"/>
                    <a:pt x="11018330" y="337238"/>
                    <a:pt x="11022383" y="337238"/>
                  </a:cubicBezTo>
                  <a:cubicBezTo>
                    <a:pt x="11022383" y="343723"/>
                    <a:pt x="11022383" y="350208"/>
                    <a:pt x="11022383" y="354532"/>
                  </a:cubicBezTo>
                  <a:cubicBezTo>
                    <a:pt x="11030491" y="363179"/>
                    <a:pt x="11030491" y="363179"/>
                    <a:pt x="11030491" y="378311"/>
                  </a:cubicBezTo>
                  <a:cubicBezTo>
                    <a:pt x="11028463" y="378311"/>
                    <a:pt x="11026436" y="380473"/>
                    <a:pt x="11024411" y="382635"/>
                  </a:cubicBezTo>
                  <a:cubicBezTo>
                    <a:pt x="11044676" y="393444"/>
                    <a:pt x="11020356" y="402091"/>
                    <a:pt x="11012250" y="404253"/>
                  </a:cubicBezTo>
                  <a:cubicBezTo>
                    <a:pt x="11014276" y="488562"/>
                    <a:pt x="11018330" y="572871"/>
                    <a:pt x="11020356" y="657181"/>
                  </a:cubicBezTo>
                  <a:cubicBezTo>
                    <a:pt x="11042651" y="657181"/>
                    <a:pt x="11064943" y="657181"/>
                    <a:pt x="11085211" y="657181"/>
                  </a:cubicBezTo>
                  <a:cubicBezTo>
                    <a:pt x="11085211" y="683122"/>
                    <a:pt x="11085211" y="709063"/>
                    <a:pt x="11085211" y="732843"/>
                  </a:cubicBezTo>
                  <a:cubicBezTo>
                    <a:pt x="11089264" y="732843"/>
                    <a:pt x="11091291" y="732843"/>
                    <a:pt x="11093318" y="732843"/>
                  </a:cubicBezTo>
                  <a:cubicBezTo>
                    <a:pt x="11093318" y="730681"/>
                    <a:pt x="11095344" y="728519"/>
                    <a:pt x="11095344" y="726358"/>
                  </a:cubicBezTo>
                  <a:cubicBezTo>
                    <a:pt x="11097371" y="726358"/>
                    <a:pt x="11099398" y="726358"/>
                    <a:pt x="11101424" y="726358"/>
                  </a:cubicBezTo>
                  <a:cubicBezTo>
                    <a:pt x="11101424" y="728519"/>
                    <a:pt x="11101424" y="730681"/>
                    <a:pt x="11103452" y="735005"/>
                  </a:cubicBezTo>
                  <a:cubicBezTo>
                    <a:pt x="11107504" y="735005"/>
                    <a:pt x="11111558" y="735005"/>
                    <a:pt x="11115612" y="735005"/>
                  </a:cubicBezTo>
                  <a:cubicBezTo>
                    <a:pt x="11115612" y="732843"/>
                    <a:pt x="11115612" y="730681"/>
                    <a:pt x="11115612" y="728519"/>
                  </a:cubicBezTo>
                  <a:cubicBezTo>
                    <a:pt x="11123718" y="728519"/>
                    <a:pt x="11129798" y="728519"/>
                    <a:pt x="11137904" y="728519"/>
                  </a:cubicBezTo>
                  <a:cubicBezTo>
                    <a:pt x="11137904" y="730681"/>
                    <a:pt x="11137904" y="732843"/>
                    <a:pt x="11137904" y="735005"/>
                  </a:cubicBezTo>
                  <a:cubicBezTo>
                    <a:pt x="11143984" y="735005"/>
                    <a:pt x="11152092" y="735005"/>
                    <a:pt x="11158172" y="735005"/>
                  </a:cubicBezTo>
                  <a:cubicBezTo>
                    <a:pt x="11158172" y="750137"/>
                    <a:pt x="11158172" y="765270"/>
                    <a:pt x="11158172" y="780402"/>
                  </a:cubicBezTo>
                  <a:cubicBezTo>
                    <a:pt x="11162226" y="780402"/>
                    <a:pt x="11168306" y="780402"/>
                    <a:pt x="11172359" y="780402"/>
                  </a:cubicBezTo>
                  <a:cubicBezTo>
                    <a:pt x="11172359" y="776078"/>
                    <a:pt x="11172359" y="771755"/>
                    <a:pt x="11172359" y="767431"/>
                  </a:cubicBezTo>
                  <a:cubicBezTo>
                    <a:pt x="11178439" y="767431"/>
                    <a:pt x="11184519" y="767431"/>
                    <a:pt x="11188572" y="767431"/>
                  </a:cubicBezTo>
                  <a:cubicBezTo>
                    <a:pt x="11188572" y="706902"/>
                    <a:pt x="11188572" y="648534"/>
                    <a:pt x="11188572" y="588004"/>
                  </a:cubicBezTo>
                  <a:cubicBezTo>
                    <a:pt x="11190599" y="585842"/>
                    <a:pt x="11192626" y="583680"/>
                    <a:pt x="11194652" y="581518"/>
                  </a:cubicBezTo>
                  <a:cubicBezTo>
                    <a:pt x="11218972" y="581518"/>
                    <a:pt x="11243292" y="581518"/>
                    <a:pt x="11267614" y="581518"/>
                  </a:cubicBezTo>
                  <a:lnTo>
                    <a:pt x="11267614" y="590166"/>
                  </a:lnTo>
                  <a:lnTo>
                    <a:pt x="11277747" y="590166"/>
                  </a:lnTo>
                  <a:cubicBezTo>
                    <a:pt x="11277747" y="629078"/>
                    <a:pt x="11277747" y="667990"/>
                    <a:pt x="11277747" y="704740"/>
                  </a:cubicBezTo>
                  <a:cubicBezTo>
                    <a:pt x="11285854" y="704740"/>
                    <a:pt x="11291934" y="704740"/>
                    <a:pt x="11300040" y="704740"/>
                  </a:cubicBezTo>
                  <a:cubicBezTo>
                    <a:pt x="11300040" y="683122"/>
                    <a:pt x="11300040" y="661504"/>
                    <a:pt x="11300040" y="637725"/>
                  </a:cubicBezTo>
                  <a:cubicBezTo>
                    <a:pt x="11308147" y="637725"/>
                    <a:pt x="11318280" y="637725"/>
                    <a:pt x="11326388" y="637725"/>
                  </a:cubicBezTo>
                  <a:cubicBezTo>
                    <a:pt x="11328414" y="637725"/>
                    <a:pt x="11328414" y="635563"/>
                    <a:pt x="11330440" y="633401"/>
                  </a:cubicBezTo>
                  <a:lnTo>
                    <a:pt x="11338548" y="633401"/>
                  </a:lnTo>
                  <a:cubicBezTo>
                    <a:pt x="11340574" y="635563"/>
                    <a:pt x="11340574" y="637725"/>
                    <a:pt x="11342600" y="637725"/>
                  </a:cubicBezTo>
                  <a:cubicBezTo>
                    <a:pt x="11348680" y="637725"/>
                    <a:pt x="11356788" y="637725"/>
                    <a:pt x="11364895" y="637725"/>
                  </a:cubicBezTo>
                  <a:cubicBezTo>
                    <a:pt x="11364895" y="598813"/>
                    <a:pt x="11364895" y="559901"/>
                    <a:pt x="11364895" y="520989"/>
                  </a:cubicBezTo>
                  <a:cubicBezTo>
                    <a:pt x="11364908" y="520986"/>
                    <a:pt x="11365775" y="520822"/>
                    <a:pt x="11421642" y="510180"/>
                  </a:cubicBezTo>
                  <a:cubicBezTo>
                    <a:pt x="11421642" y="510187"/>
                    <a:pt x="11421642" y="510261"/>
                    <a:pt x="11421642" y="511261"/>
                  </a:cubicBezTo>
                  <a:lnTo>
                    <a:pt x="11421642" y="518827"/>
                  </a:lnTo>
                  <a:cubicBezTo>
                    <a:pt x="11421659" y="518827"/>
                    <a:pt x="11422303" y="518827"/>
                    <a:pt x="11447988" y="518827"/>
                  </a:cubicBezTo>
                  <a:cubicBezTo>
                    <a:pt x="11447988" y="518849"/>
                    <a:pt x="11447988" y="521220"/>
                    <a:pt x="11447988" y="773917"/>
                  </a:cubicBezTo>
                  <a:cubicBezTo>
                    <a:pt x="11454068" y="773917"/>
                    <a:pt x="11462175" y="773917"/>
                    <a:pt x="11470283" y="773917"/>
                  </a:cubicBezTo>
                  <a:cubicBezTo>
                    <a:pt x="11470283" y="771755"/>
                    <a:pt x="11470283" y="771755"/>
                    <a:pt x="11470283" y="769593"/>
                  </a:cubicBezTo>
                  <a:cubicBezTo>
                    <a:pt x="11474335" y="769593"/>
                    <a:pt x="11478388" y="769593"/>
                    <a:pt x="11482443" y="769593"/>
                  </a:cubicBezTo>
                  <a:cubicBezTo>
                    <a:pt x="11482443" y="771755"/>
                    <a:pt x="11482443" y="771755"/>
                    <a:pt x="11482443" y="773917"/>
                  </a:cubicBezTo>
                  <a:cubicBezTo>
                    <a:pt x="11490550" y="773917"/>
                    <a:pt x="11498655" y="773917"/>
                    <a:pt x="11506763" y="773917"/>
                  </a:cubicBezTo>
                  <a:cubicBezTo>
                    <a:pt x="11506763" y="769593"/>
                    <a:pt x="11506763" y="765270"/>
                    <a:pt x="11506763" y="760946"/>
                  </a:cubicBezTo>
                  <a:cubicBezTo>
                    <a:pt x="11516896" y="760946"/>
                    <a:pt x="11527030" y="760946"/>
                    <a:pt x="11535136" y="760946"/>
                  </a:cubicBezTo>
                  <a:cubicBezTo>
                    <a:pt x="11539190" y="756622"/>
                    <a:pt x="11543244" y="756622"/>
                    <a:pt x="11547296" y="756622"/>
                  </a:cubicBezTo>
                  <a:cubicBezTo>
                    <a:pt x="11553376" y="760946"/>
                    <a:pt x="11561484" y="760946"/>
                    <a:pt x="11567564" y="760946"/>
                  </a:cubicBezTo>
                  <a:cubicBezTo>
                    <a:pt x="11567564" y="754461"/>
                    <a:pt x="11567564" y="750137"/>
                    <a:pt x="11567564" y="743652"/>
                  </a:cubicBezTo>
                  <a:lnTo>
                    <a:pt x="11575671" y="743652"/>
                  </a:lnTo>
                  <a:cubicBezTo>
                    <a:pt x="11575671" y="739328"/>
                    <a:pt x="11575671" y="735005"/>
                    <a:pt x="11575671" y="730681"/>
                  </a:cubicBezTo>
                  <a:cubicBezTo>
                    <a:pt x="11593911" y="730681"/>
                    <a:pt x="11614178" y="730681"/>
                    <a:pt x="11632418" y="730681"/>
                  </a:cubicBezTo>
                  <a:cubicBezTo>
                    <a:pt x="11632418" y="719872"/>
                    <a:pt x="11632418" y="711225"/>
                    <a:pt x="11632418" y="700416"/>
                  </a:cubicBezTo>
                  <a:cubicBezTo>
                    <a:pt x="11638498" y="700416"/>
                    <a:pt x="11644578" y="700416"/>
                    <a:pt x="11650658" y="700416"/>
                  </a:cubicBezTo>
                  <a:cubicBezTo>
                    <a:pt x="11650658" y="698254"/>
                    <a:pt x="11650658" y="696093"/>
                    <a:pt x="11650658" y="693931"/>
                  </a:cubicBezTo>
                  <a:cubicBezTo>
                    <a:pt x="11654711" y="693931"/>
                    <a:pt x="11658764" y="693931"/>
                    <a:pt x="11662818" y="693931"/>
                  </a:cubicBezTo>
                  <a:cubicBezTo>
                    <a:pt x="11662818" y="696093"/>
                    <a:pt x="11662818" y="698254"/>
                    <a:pt x="11662818" y="700416"/>
                  </a:cubicBezTo>
                  <a:cubicBezTo>
                    <a:pt x="11668898" y="700416"/>
                    <a:pt x="11672951" y="700416"/>
                    <a:pt x="11679031" y="700416"/>
                  </a:cubicBezTo>
                  <a:cubicBezTo>
                    <a:pt x="11679031" y="715549"/>
                    <a:pt x="11679031" y="732843"/>
                    <a:pt x="11679031" y="750137"/>
                  </a:cubicBezTo>
                  <a:cubicBezTo>
                    <a:pt x="11689164" y="750137"/>
                    <a:pt x="11701326" y="750137"/>
                    <a:pt x="11711459" y="750137"/>
                  </a:cubicBezTo>
                  <a:cubicBezTo>
                    <a:pt x="11711459" y="741490"/>
                    <a:pt x="11711459" y="732843"/>
                    <a:pt x="11711459" y="724196"/>
                  </a:cubicBezTo>
                  <a:cubicBezTo>
                    <a:pt x="11723619" y="724196"/>
                    <a:pt x="11737806" y="724196"/>
                    <a:pt x="11749966" y="724196"/>
                  </a:cubicBezTo>
                  <a:cubicBezTo>
                    <a:pt x="11749966" y="713387"/>
                    <a:pt x="11749966" y="704740"/>
                    <a:pt x="11749966" y="693931"/>
                  </a:cubicBezTo>
                  <a:cubicBezTo>
                    <a:pt x="11766180" y="693931"/>
                    <a:pt x="11782392" y="693931"/>
                    <a:pt x="11798607" y="693931"/>
                  </a:cubicBezTo>
                  <a:cubicBezTo>
                    <a:pt x="11798607" y="693960"/>
                    <a:pt x="11798607" y="695735"/>
                    <a:pt x="11798607" y="805087"/>
                  </a:cubicBezTo>
                  <a:lnTo>
                    <a:pt x="11798607" y="818866"/>
                  </a:lnTo>
                  <a:lnTo>
                    <a:pt x="11864482" y="818866"/>
                  </a:lnTo>
                  <a:lnTo>
                    <a:pt x="11864482" y="924638"/>
                  </a:lnTo>
                  <a:lnTo>
                    <a:pt x="11864482" y="947885"/>
                  </a:lnTo>
                  <a:lnTo>
                    <a:pt x="11879442" y="947885"/>
                  </a:lnTo>
                  <a:cubicBezTo>
                    <a:pt x="11879442" y="947885"/>
                    <a:pt x="11879442" y="947885"/>
                    <a:pt x="11879442" y="946723"/>
                  </a:cubicBezTo>
                  <a:lnTo>
                    <a:pt x="11879442" y="938587"/>
                  </a:lnTo>
                  <a:cubicBezTo>
                    <a:pt x="11879442" y="938587"/>
                    <a:pt x="11879442" y="938587"/>
                    <a:pt x="11924022" y="938587"/>
                  </a:cubicBezTo>
                  <a:cubicBezTo>
                    <a:pt x="11924022" y="938587"/>
                    <a:pt x="11924022" y="938587"/>
                    <a:pt x="11924022" y="959508"/>
                  </a:cubicBezTo>
                  <a:cubicBezTo>
                    <a:pt x="11924022" y="959508"/>
                    <a:pt x="11924022" y="959508"/>
                    <a:pt x="11926250" y="960671"/>
                  </a:cubicBezTo>
                  <a:lnTo>
                    <a:pt x="11941854" y="968807"/>
                  </a:lnTo>
                  <a:cubicBezTo>
                    <a:pt x="11941854" y="968807"/>
                    <a:pt x="11941854" y="968807"/>
                    <a:pt x="11941854" y="999027"/>
                  </a:cubicBezTo>
                  <a:cubicBezTo>
                    <a:pt x="11941854" y="999027"/>
                    <a:pt x="11941854" y="999027"/>
                    <a:pt x="11943247" y="999609"/>
                  </a:cubicBezTo>
                  <a:lnTo>
                    <a:pt x="11952999" y="1003677"/>
                  </a:lnTo>
                  <a:cubicBezTo>
                    <a:pt x="11952999" y="1003677"/>
                    <a:pt x="11952999" y="1003677"/>
                    <a:pt x="11952999" y="1002515"/>
                  </a:cubicBezTo>
                  <a:lnTo>
                    <a:pt x="11952999" y="994378"/>
                  </a:lnTo>
                  <a:cubicBezTo>
                    <a:pt x="11952999" y="994378"/>
                    <a:pt x="11952999" y="994378"/>
                    <a:pt x="11954114" y="994378"/>
                  </a:cubicBezTo>
                  <a:lnTo>
                    <a:pt x="11961915" y="994378"/>
                  </a:lnTo>
                  <a:cubicBezTo>
                    <a:pt x="11961915" y="994378"/>
                    <a:pt x="11961915" y="994378"/>
                    <a:pt x="11961915" y="993506"/>
                  </a:cubicBezTo>
                  <a:lnTo>
                    <a:pt x="11961915" y="987404"/>
                  </a:lnTo>
                  <a:cubicBezTo>
                    <a:pt x="11961915" y="987404"/>
                    <a:pt x="11961915" y="987404"/>
                    <a:pt x="11960800" y="987404"/>
                  </a:cubicBezTo>
                  <a:lnTo>
                    <a:pt x="11952999" y="987404"/>
                  </a:lnTo>
                  <a:cubicBezTo>
                    <a:pt x="11952999" y="987404"/>
                    <a:pt x="11952999" y="987404"/>
                    <a:pt x="11952999" y="986242"/>
                  </a:cubicBezTo>
                  <a:lnTo>
                    <a:pt x="11952999" y="978106"/>
                  </a:lnTo>
                  <a:cubicBezTo>
                    <a:pt x="11952999" y="978106"/>
                    <a:pt x="11952999" y="978106"/>
                    <a:pt x="11954114" y="978106"/>
                  </a:cubicBezTo>
                  <a:lnTo>
                    <a:pt x="11961915" y="978106"/>
                  </a:lnTo>
                  <a:cubicBezTo>
                    <a:pt x="11961915" y="978106"/>
                    <a:pt x="11961915" y="978106"/>
                    <a:pt x="11961915" y="976943"/>
                  </a:cubicBezTo>
                  <a:lnTo>
                    <a:pt x="11961915" y="968807"/>
                  </a:lnTo>
                  <a:cubicBezTo>
                    <a:pt x="11961915" y="968807"/>
                    <a:pt x="11961915" y="968807"/>
                    <a:pt x="11960800" y="968807"/>
                  </a:cubicBezTo>
                  <a:lnTo>
                    <a:pt x="11952999" y="968807"/>
                  </a:lnTo>
                  <a:cubicBezTo>
                    <a:pt x="11952999" y="968807"/>
                    <a:pt x="11952999" y="968807"/>
                    <a:pt x="11952999" y="967645"/>
                  </a:cubicBezTo>
                  <a:lnTo>
                    <a:pt x="11952999" y="959508"/>
                  </a:lnTo>
                  <a:cubicBezTo>
                    <a:pt x="11952999" y="959508"/>
                    <a:pt x="11952999" y="959508"/>
                    <a:pt x="11954114" y="959508"/>
                  </a:cubicBezTo>
                  <a:lnTo>
                    <a:pt x="11961915" y="959508"/>
                  </a:lnTo>
                  <a:cubicBezTo>
                    <a:pt x="11961915" y="959508"/>
                    <a:pt x="11961915" y="959508"/>
                    <a:pt x="11961915" y="958637"/>
                  </a:cubicBezTo>
                  <a:lnTo>
                    <a:pt x="11961915" y="952535"/>
                  </a:lnTo>
                  <a:cubicBezTo>
                    <a:pt x="11961915" y="952535"/>
                    <a:pt x="11961915" y="952535"/>
                    <a:pt x="11960800" y="952535"/>
                  </a:cubicBezTo>
                  <a:lnTo>
                    <a:pt x="11952999" y="952535"/>
                  </a:lnTo>
                  <a:cubicBezTo>
                    <a:pt x="11952999" y="952535"/>
                    <a:pt x="11952999" y="952535"/>
                    <a:pt x="11952999" y="951372"/>
                  </a:cubicBezTo>
                  <a:lnTo>
                    <a:pt x="11952999" y="943236"/>
                  </a:lnTo>
                  <a:cubicBezTo>
                    <a:pt x="11952999" y="943236"/>
                    <a:pt x="11952999" y="943236"/>
                    <a:pt x="11954114" y="943236"/>
                  </a:cubicBezTo>
                  <a:lnTo>
                    <a:pt x="11961915" y="943236"/>
                  </a:lnTo>
                  <a:cubicBezTo>
                    <a:pt x="11961915" y="943236"/>
                    <a:pt x="11961915" y="943236"/>
                    <a:pt x="11961915" y="942074"/>
                  </a:cubicBezTo>
                  <a:lnTo>
                    <a:pt x="11961915" y="933937"/>
                  </a:lnTo>
                  <a:cubicBezTo>
                    <a:pt x="11961915" y="933937"/>
                    <a:pt x="11961915" y="933937"/>
                    <a:pt x="11960800" y="933937"/>
                  </a:cubicBezTo>
                  <a:lnTo>
                    <a:pt x="11952999" y="933937"/>
                  </a:lnTo>
                  <a:cubicBezTo>
                    <a:pt x="11952999" y="933937"/>
                    <a:pt x="11952999" y="933937"/>
                    <a:pt x="11952999" y="933066"/>
                  </a:cubicBezTo>
                  <a:lnTo>
                    <a:pt x="11952999" y="926963"/>
                  </a:lnTo>
                  <a:cubicBezTo>
                    <a:pt x="11952999" y="926963"/>
                    <a:pt x="11952999" y="926963"/>
                    <a:pt x="11954114" y="926963"/>
                  </a:cubicBezTo>
                  <a:lnTo>
                    <a:pt x="11961915" y="926963"/>
                  </a:lnTo>
                  <a:cubicBezTo>
                    <a:pt x="11961915" y="926963"/>
                    <a:pt x="11961915" y="926963"/>
                    <a:pt x="11961915" y="925801"/>
                  </a:cubicBezTo>
                  <a:lnTo>
                    <a:pt x="11961915" y="917665"/>
                  </a:lnTo>
                  <a:cubicBezTo>
                    <a:pt x="11961915" y="917665"/>
                    <a:pt x="11961915" y="917665"/>
                    <a:pt x="11960800" y="917665"/>
                  </a:cubicBezTo>
                  <a:lnTo>
                    <a:pt x="11952999" y="917665"/>
                  </a:lnTo>
                  <a:cubicBezTo>
                    <a:pt x="11952999" y="917665"/>
                    <a:pt x="11952999" y="917665"/>
                    <a:pt x="11952999" y="916503"/>
                  </a:cubicBezTo>
                  <a:lnTo>
                    <a:pt x="11952999" y="908366"/>
                  </a:lnTo>
                  <a:cubicBezTo>
                    <a:pt x="11952999" y="908366"/>
                    <a:pt x="11952999" y="908366"/>
                    <a:pt x="11954114" y="908366"/>
                  </a:cubicBezTo>
                  <a:lnTo>
                    <a:pt x="11961915" y="908366"/>
                  </a:lnTo>
                  <a:cubicBezTo>
                    <a:pt x="11961915" y="908366"/>
                    <a:pt x="11961915" y="908366"/>
                    <a:pt x="11961915" y="907204"/>
                  </a:cubicBezTo>
                  <a:lnTo>
                    <a:pt x="11961915" y="899068"/>
                  </a:lnTo>
                  <a:cubicBezTo>
                    <a:pt x="11961915" y="899068"/>
                    <a:pt x="11961915" y="899068"/>
                    <a:pt x="11960800" y="899068"/>
                  </a:cubicBezTo>
                  <a:lnTo>
                    <a:pt x="11952999" y="899068"/>
                  </a:lnTo>
                  <a:cubicBezTo>
                    <a:pt x="11952999" y="899068"/>
                    <a:pt x="11952999" y="899068"/>
                    <a:pt x="11952999" y="898196"/>
                  </a:cubicBezTo>
                  <a:lnTo>
                    <a:pt x="11952999" y="892094"/>
                  </a:lnTo>
                  <a:cubicBezTo>
                    <a:pt x="11952999" y="892094"/>
                    <a:pt x="11952999" y="892094"/>
                    <a:pt x="11954114" y="892094"/>
                  </a:cubicBezTo>
                  <a:lnTo>
                    <a:pt x="11961915" y="892094"/>
                  </a:lnTo>
                  <a:cubicBezTo>
                    <a:pt x="11961915" y="892094"/>
                    <a:pt x="11961915" y="892094"/>
                    <a:pt x="11961915" y="890931"/>
                  </a:cubicBezTo>
                  <a:lnTo>
                    <a:pt x="11961915" y="882795"/>
                  </a:lnTo>
                  <a:cubicBezTo>
                    <a:pt x="11961915" y="882795"/>
                    <a:pt x="11961915" y="882795"/>
                    <a:pt x="11960800" y="882795"/>
                  </a:cubicBezTo>
                  <a:lnTo>
                    <a:pt x="11952999" y="882795"/>
                  </a:lnTo>
                  <a:cubicBezTo>
                    <a:pt x="11952999" y="882795"/>
                    <a:pt x="11952999" y="882795"/>
                    <a:pt x="11952999" y="881633"/>
                  </a:cubicBezTo>
                  <a:lnTo>
                    <a:pt x="11952999" y="873496"/>
                  </a:lnTo>
                  <a:cubicBezTo>
                    <a:pt x="11952999" y="873496"/>
                    <a:pt x="11952999" y="873496"/>
                    <a:pt x="11954114" y="873496"/>
                  </a:cubicBezTo>
                  <a:lnTo>
                    <a:pt x="11961915" y="873496"/>
                  </a:lnTo>
                  <a:cubicBezTo>
                    <a:pt x="11961915" y="873496"/>
                    <a:pt x="11961915" y="873496"/>
                    <a:pt x="11961915" y="872625"/>
                  </a:cubicBezTo>
                  <a:lnTo>
                    <a:pt x="11961915" y="866523"/>
                  </a:lnTo>
                  <a:cubicBezTo>
                    <a:pt x="11961915" y="866523"/>
                    <a:pt x="11961915" y="866523"/>
                    <a:pt x="11960800" y="866523"/>
                  </a:cubicBezTo>
                  <a:lnTo>
                    <a:pt x="11952999" y="866523"/>
                  </a:lnTo>
                  <a:cubicBezTo>
                    <a:pt x="11952999" y="866523"/>
                    <a:pt x="11952999" y="866523"/>
                    <a:pt x="11952999" y="865360"/>
                  </a:cubicBezTo>
                  <a:lnTo>
                    <a:pt x="11952999" y="857224"/>
                  </a:lnTo>
                  <a:cubicBezTo>
                    <a:pt x="11952999" y="857224"/>
                    <a:pt x="11952999" y="857224"/>
                    <a:pt x="11954114" y="857224"/>
                  </a:cubicBezTo>
                  <a:lnTo>
                    <a:pt x="11961915" y="857224"/>
                  </a:lnTo>
                  <a:cubicBezTo>
                    <a:pt x="11961915" y="857224"/>
                    <a:pt x="11961915" y="857224"/>
                    <a:pt x="11961915" y="856062"/>
                  </a:cubicBezTo>
                  <a:lnTo>
                    <a:pt x="11961915" y="847925"/>
                  </a:lnTo>
                  <a:cubicBezTo>
                    <a:pt x="11961915" y="847925"/>
                    <a:pt x="11961915" y="847925"/>
                    <a:pt x="11960800" y="847925"/>
                  </a:cubicBezTo>
                  <a:lnTo>
                    <a:pt x="11952999" y="847925"/>
                  </a:lnTo>
                  <a:cubicBezTo>
                    <a:pt x="11952999" y="847925"/>
                    <a:pt x="11952999" y="847925"/>
                    <a:pt x="11952999" y="846763"/>
                  </a:cubicBezTo>
                  <a:lnTo>
                    <a:pt x="11952999" y="838627"/>
                  </a:lnTo>
                  <a:cubicBezTo>
                    <a:pt x="11952999" y="838627"/>
                    <a:pt x="11952999" y="838627"/>
                    <a:pt x="11954114" y="838627"/>
                  </a:cubicBezTo>
                  <a:lnTo>
                    <a:pt x="11961915" y="838627"/>
                  </a:lnTo>
                  <a:cubicBezTo>
                    <a:pt x="11961915" y="838627"/>
                    <a:pt x="11961915" y="838627"/>
                    <a:pt x="11961915" y="837755"/>
                  </a:cubicBezTo>
                  <a:lnTo>
                    <a:pt x="11961915" y="831653"/>
                  </a:lnTo>
                  <a:cubicBezTo>
                    <a:pt x="11961915" y="831653"/>
                    <a:pt x="11961915" y="831653"/>
                    <a:pt x="11960800" y="831653"/>
                  </a:cubicBezTo>
                  <a:lnTo>
                    <a:pt x="11952999" y="831653"/>
                  </a:lnTo>
                  <a:cubicBezTo>
                    <a:pt x="11952999" y="831653"/>
                    <a:pt x="11952999" y="831653"/>
                    <a:pt x="11952999" y="830491"/>
                  </a:cubicBezTo>
                  <a:lnTo>
                    <a:pt x="11952999" y="822354"/>
                  </a:lnTo>
                  <a:cubicBezTo>
                    <a:pt x="11952999" y="822354"/>
                    <a:pt x="11952999" y="822354"/>
                    <a:pt x="11954114" y="822354"/>
                  </a:cubicBezTo>
                  <a:lnTo>
                    <a:pt x="11961915" y="822354"/>
                  </a:lnTo>
                  <a:cubicBezTo>
                    <a:pt x="11961915" y="822354"/>
                    <a:pt x="11961915" y="822354"/>
                    <a:pt x="11961915" y="821192"/>
                  </a:cubicBezTo>
                  <a:lnTo>
                    <a:pt x="11961915" y="813056"/>
                  </a:lnTo>
                  <a:cubicBezTo>
                    <a:pt x="11961915" y="813056"/>
                    <a:pt x="11961915" y="813056"/>
                    <a:pt x="11960800" y="813056"/>
                  </a:cubicBezTo>
                  <a:lnTo>
                    <a:pt x="11952999" y="813056"/>
                  </a:lnTo>
                  <a:cubicBezTo>
                    <a:pt x="11952999" y="813056"/>
                    <a:pt x="11952999" y="813056"/>
                    <a:pt x="11952999" y="811893"/>
                  </a:cubicBezTo>
                  <a:lnTo>
                    <a:pt x="11952999" y="803757"/>
                  </a:lnTo>
                  <a:cubicBezTo>
                    <a:pt x="11952999" y="803757"/>
                    <a:pt x="11952999" y="803757"/>
                    <a:pt x="11954114" y="803757"/>
                  </a:cubicBezTo>
                  <a:lnTo>
                    <a:pt x="11961915" y="803757"/>
                  </a:lnTo>
                  <a:cubicBezTo>
                    <a:pt x="11961915" y="803757"/>
                    <a:pt x="11961915" y="803757"/>
                    <a:pt x="11961915" y="802885"/>
                  </a:cubicBezTo>
                  <a:lnTo>
                    <a:pt x="11961915" y="796783"/>
                  </a:lnTo>
                  <a:cubicBezTo>
                    <a:pt x="11961915" y="796783"/>
                    <a:pt x="11961915" y="796783"/>
                    <a:pt x="11960800" y="796783"/>
                  </a:cubicBezTo>
                  <a:lnTo>
                    <a:pt x="11952999" y="796783"/>
                  </a:lnTo>
                  <a:cubicBezTo>
                    <a:pt x="11952999" y="796783"/>
                    <a:pt x="11952999" y="796783"/>
                    <a:pt x="11952999" y="795621"/>
                  </a:cubicBezTo>
                  <a:lnTo>
                    <a:pt x="11952999" y="787484"/>
                  </a:lnTo>
                  <a:cubicBezTo>
                    <a:pt x="11952999" y="787484"/>
                    <a:pt x="11952999" y="787484"/>
                    <a:pt x="11954114" y="787484"/>
                  </a:cubicBezTo>
                  <a:lnTo>
                    <a:pt x="11961915" y="787484"/>
                  </a:lnTo>
                  <a:cubicBezTo>
                    <a:pt x="11961915" y="787484"/>
                    <a:pt x="11961915" y="787484"/>
                    <a:pt x="11960800" y="785741"/>
                  </a:cubicBezTo>
                  <a:lnTo>
                    <a:pt x="11952999" y="773537"/>
                  </a:lnTo>
                  <a:cubicBezTo>
                    <a:pt x="11952999" y="773537"/>
                    <a:pt x="11952999" y="773537"/>
                    <a:pt x="11952999" y="736342"/>
                  </a:cubicBezTo>
                  <a:cubicBezTo>
                    <a:pt x="11952999" y="736342"/>
                    <a:pt x="11952999" y="736342"/>
                    <a:pt x="12102343" y="736342"/>
                  </a:cubicBezTo>
                  <a:cubicBezTo>
                    <a:pt x="12102343" y="736342"/>
                    <a:pt x="12102343" y="736342"/>
                    <a:pt x="12115716" y="757264"/>
                  </a:cubicBezTo>
                  <a:cubicBezTo>
                    <a:pt x="12115716" y="757264"/>
                    <a:pt x="12115716" y="757264"/>
                    <a:pt x="12115716" y="803757"/>
                  </a:cubicBezTo>
                  <a:cubicBezTo>
                    <a:pt x="12115716" y="803757"/>
                    <a:pt x="12115716" y="803757"/>
                    <a:pt x="12114602" y="803757"/>
                  </a:cubicBezTo>
                  <a:lnTo>
                    <a:pt x="12106800" y="803757"/>
                  </a:lnTo>
                  <a:cubicBezTo>
                    <a:pt x="12106800" y="803757"/>
                    <a:pt x="12106800" y="803757"/>
                    <a:pt x="12106800" y="804919"/>
                  </a:cubicBezTo>
                  <a:lnTo>
                    <a:pt x="12106800" y="813056"/>
                  </a:lnTo>
                  <a:cubicBezTo>
                    <a:pt x="12106800" y="813056"/>
                    <a:pt x="12106800" y="813056"/>
                    <a:pt x="12107915" y="813056"/>
                  </a:cubicBezTo>
                  <a:lnTo>
                    <a:pt x="12115716" y="813056"/>
                  </a:lnTo>
                  <a:cubicBezTo>
                    <a:pt x="12115716" y="813056"/>
                    <a:pt x="12115716" y="813056"/>
                    <a:pt x="12115716" y="814218"/>
                  </a:cubicBezTo>
                  <a:lnTo>
                    <a:pt x="12115716" y="822354"/>
                  </a:lnTo>
                  <a:cubicBezTo>
                    <a:pt x="12115716" y="822354"/>
                    <a:pt x="12115716" y="822354"/>
                    <a:pt x="12114602" y="822354"/>
                  </a:cubicBezTo>
                  <a:lnTo>
                    <a:pt x="12106800" y="822354"/>
                  </a:lnTo>
                  <a:cubicBezTo>
                    <a:pt x="12106800" y="822354"/>
                    <a:pt x="12106800" y="822354"/>
                    <a:pt x="12106800" y="823516"/>
                  </a:cubicBezTo>
                  <a:lnTo>
                    <a:pt x="12106800" y="831653"/>
                  </a:lnTo>
                  <a:cubicBezTo>
                    <a:pt x="12106800" y="831653"/>
                    <a:pt x="12106800" y="831653"/>
                    <a:pt x="12107915" y="831653"/>
                  </a:cubicBezTo>
                  <a:lnTo>
                    <a:pt x="12115716" y="831653"/>
                  </a:lnTo>
                  <a:cubicBezTo>
                    <a:pt x="12115716" y="831653"/>
                    <a:pt x="12115716" y="831653"/>
                    <a:pt x="12115716" y="832525"/>
                  </a:cubicBezTo>
                  <a:lnTo>
                    <a:pt x="12115716" y="838627"/>
                  </a:lnTo>
                  <a:cubicBezTo>
                    <a:pt x="12115716" y="838627"/>
                    <a:pt x="12115716" y="838627"/>
                    <a:pt x="12114602" y="838627"/>
                  </a:cubicBezTo>
                  <a:lnTo>
                    <a:pt x="12106800" y="838627"/>
                  </a:lnTo>
                  <a:cubicBezTo>
                    <a:pt x="12106800" y="838627"/>
                    <a:pt x="12106800" y="838627"/>
                    <a:pt x="12106800" y="839789"/>
                  </a:cubicBezTo>
                  <a:lnTo>
                    <a:pt x="12106800" y="847925"/>
                  </a:lnTo>
                  <a:cubicBezTo>
                    <a:pt x="12106800" y="847925"/>
                    <a:pt x="12106800" y="847925"/>
                    <a:pt x="12107915" y="847925"/>
                  </a:cubicBezTo>
                  <a:lnTo>
                    <a:pt x="12115716" y="847925"/>
                  </a:lnTo>
                  <a:cubicBezTo>
                    <a:pt x="12115716" y="847925"/>
                    <a:pt x="12115716" y="847925"/>
                    <a:pt x="12115716" y="849088"/>
                  </a:cubicBezTo>
                  <a:lnTo>
                    <a:pt x="12115716" y="857224"/>
                  </a:lnTo>
                  <a:cubicBezTo>
                    <a:pt x="12115716" y="857224"/>
                    <a:pt x="12115716" y="857224"/>
                    <a:pt x="12114602" y="857224"/>
                  </a:cubicBezTo>
                  <a:lnTo>
                    <a:pt x="12106800" y="857224"/>
                  </a:lnTo>
                  <a:cubicBezTo>
                    <a:pt x="12106800" y="857224"/>
                    <a:pt x="12106800" y="857224"/>
                    <a:pt x="12106800" y="858386"/>
                  </a:cubicBezTo>
                  <a:lnTo>
                    <a:pt x="12106800" y="866523"/>
                  </a:lnTo>
                  <a:cubicBezTo>
                    <a:pt x="12106800" y="866523"/>
                    <a:pt x="12106800" y="866523"/>
                    <a:pt x="12107915" y="866523"/>
                  </a:cubicBezTo>
                  <a:lnTo>
                    <a:pt x="12115716" y="866523"/>
                  </a:lnTo>
                  <a:cubicBezTo>
                    <a:pt x="12115716" y="866523"/>
                    <a:pt x="12115716" y="866523"/>
                    <a:pt x="12115716" y="867394"/>
                  </a:cubicBezTo>
                  <a:lnTo>
                    <a:pt x="12115716" y="873496"/>
                  </a:lnTo>
                  <a:cubicBezTo>
                    <a:pt x="12115716" y="873496"/>
                    <a:pt x="12115716" y="873496"/>
                    <a:pt x="12114602" y="873496"/>
                  </a:cubicBezTo>
                  <a:lnTo>
                    <a:pt x="12106800" y="873496"/>
                  </a:lnTo>
                  <a:cubicBezTo>
                    <a:pt x="12106800" y="873496"/>
                    <a:pt x="12106800" y="873496"/>
                    <a:pt x="12106800" y="874659"/>
                  </a:cubicBezTo>
                  <a:lnTo>
                    <a:pt x="12106800" y="882795"/>
                  </a:lnTo>
                  <a:cubicBezTo>
                    <a:pt x="12106800" y="882795"/>
                    <a:pt x="12106800" y="882795"/>
                    <a:pt x="12107915" y="882795"/>
                  </a:cubicBezTo>
                  <a:lnTo>
                    <a:pt x="12115716" y="882795"/>
                  </a:lnTo>
                  <a:cubicBezTo>
                    <a:pt x="12115716" y="882795"/>
                    <a:pt x="12115716" y="882795"/>
                    <a:pt x="12115716" y="883957"/>
                  </a:cubicBezTo>
                  <a:lnTo>
                    <a:pt x="12115716" y="892094"/>
                  </a:lnTo>
                  <a:cubicBezTo>
                    <a:pt x="12115716" y="892094"/>
                    <a:pt x="12115716" y="892094"/>
                    <a:pt x="12114602" y="892094"/>
                  </a:cubicBezTo>
                  <a:lnTo>
                    <a:pt x="12106800" y="892094"/>
                  </a:lnTo>
                  <a:cubicBezTo>
                    <a:pt x="12106800" y="892094"/>
                    <a:pt x="12106800" y="892094"/>
                    <a:pt x="12106800" y="892965"/>
                  </a:cubicBezTo>
                  <a:lnTo>
                    <a:pt x="12106800" y="899068"/>
                  </a:lnTo>
                  <a:cubicBezTo>
                    <a:pt x="12106800" y="899068"/>
                    <a:pt x="12106800" y="899068"/>
                    <a:pt x="12107915" y="899068"/>
                  </a:cubicBezTo>
                  <a:lnTo>
                    <a:pt x="12115716" y="899068"/>
                  </a:lnTo>
                  <a:cubicBezTo>
                    <a:pt x="12115716" y="899068"/>
                    <a:pt x="12115716" y="899068"/>
                    <a:pt x="12115716" y="900230"/>
                  </a:cubicBezTo>
                  <a:lnTo>
                    <a:pt x="12115716" y="908366"/>
                  </a:lnTo>
                  <a:cubicBezTo>
                    <a:pt x="12115716" y="908366"/>
                    <a:pt x="12115716" y="908366"/>
                    <a:pt x="12114602" y="908366"/>
                  </a:cubicBezTo>
                  <a:lnTo>
                    <a:pt x="12106800" y="908366"/>
                  </a:lnTo>
                  <a:cubicBezTo>
                    <a:pt x="12106800" y="908366"/>
                    <a:pt x="12106800" y="908366"/>
                    <a:pt x="12106800" y="909528"/>
                  </a:cubicBezTo>
                  <a:lnTo>
                    <a:pt x="12106800" y="917665"/>
                  </a:lnTo>
                  <a:cubicBezTo>
                    <a:pt x="12106800" y="917665"/>
                    <a:pt x="12106800" y="917665"/>
                    <a:pt x="12107915" y="917665"/>
                  </a:cubicBezTo>
                  <a:lnTo>
                    <a:pt x="12115716" y="917665"/>
                  </a:lnTo>
                  <a:cubicBezTo>
                    <a:pt x="12115716" y="917665"/>
                    <a:pt x="12115716" y="917665"/>
                    <a:pt x="12115716" y="918827"/>
                  </a:cubicBezTo>
                  <a:lnTo>
                    <a:pt x="12115716" y="926963"/>
                  </a:lnTo>
                  <a:cubicBezTo>
                    <a:pt x="12115716" y="926963"/>
                    <a:pt x="12115716" y="926963"/>
                    <a:pt x="12114602" y="926963"/>
                  </a:cubicBezTo>
                  <a:lnTo>
                    <a:pt x="12106800" y="926963"/>
                  </a:lnTo>
                  <a:cubicBezTo>
                    <a:pt x="12106800" y="926963"/>
                    <a:pt x="12106800" y="926963"/>
                    <a:pt x="12106800" y="927835"/>
                  </a:cubicBezTo>
                  <a:lnTo>
                    <a:pt x="12106800" y="933937"/>
                  </a:lnTo>
                  <a:cubicBezTo>
                    <a:pt x="12106800" y="933937"/>
                    <a:pt x="12106800" y="933937"/>
                    <a:pt x="12107915" y="933937"/>
                  </a:cubicBezTo>
                  <a:lnTo>
                    <a:pt x="12115716" y="933937"/>
                  </a:lnTo>
                  <a:cubicBezTo>
                    <a:pt x="12115716" y="933937"/>
                    <a:pt x="12115716" y="933937"/>
                    <a:pt x="12115716" y="935100"/>
                  </a:cubicBezTo>
                  <a:lnTo>
                    <a:pt x="12115716" y="943236"/>
                  </a:lnTo>
                  <a:cubicBezTo>
                    <a:pt x="12115716" y="943236"/>
                    <a:pt x="12115716" y="943236"/>
                    <a:pt x="12114602" y="943236"/>
                  </a:cubicBezTo>
                  <a:lnTo>
                    <a:pt x="12106800" y="943236"/>
                  </a:lnTo>
                  <a:cubicBezTo>
                    <a:pt x="12106800" y="943236"/>
                    <a:pt x="12106800" y="943236"/>
                    <a:pt x="12106800" y="944398"/>
                  </a:cubicBezTo>
                  <a:lnTo>
                    <a:pt x="12106800" y="952535"/>
                  </a:lnTo>
                  <a:cubicBezTo>
                    <a:pt x="12106800" y="952535"/>
                    <a:pt x="12106800" y="952535"/>
                    <a:pt x="12107915" y="952535"/>
                  </a:cubicBezTo>
                  <a:lnTo>
                    <a:pt x="12115716" y="952535"/>
                  </a:lnTo>
                  <a:cubicBezTo>
                    <a:pt x="12115716" y="952535"/>
                    <a:pt x="12115716" y="952535"/>
                    <a:pt x="12115716" y="953406"/>
                  </a:cubicBezTo>
                  <a:lnTo>
                    <a:pt x="12115716" y="959508"/>
                  </a:lnTo>
                  <a:cubicBezTo>
                    <a:pt x="12115716" y="959508"/>
                    <a:pt x="12115716" y="959508"/>
                    <a:pt x="12114602" y="959508"/>
                  </a:cubicBezTo>
                  <a:lnTo>
                    <a:pt x="12106800" y="959508"/>
                  </a:lnTo>
                  <a:cubicBezTo>
                    <a:pt x="12106800" y="959508"/>
                    <a:pt x="12106800" y="959508"/>
                    <a:pt x="12106800" y="960671"/>
                  </a:cubicBezTo>
                  <a:lnTo>
                    <a:pt x="12106800" y="968807"/>
                  </a:lnTo>
                  <a:cubicBezTo>
                    <a:pt x="12106800" y="968807"/>
                    <a:pt x="12106800" y="968807"/>
                    <a:pt x="12107915" y="968807"/>
                  </a:cubicBezTo>
                  <a:lnTo>
                    <a:pt x="12115716" y="968807"/>
                  </a:lnTo>
                  <a:cubicBezTo>
                    <a:pt x="12115716" y="968807"/>
                    <a:pt x="12115716" y="968807"/>
                    <a:pt x="12115716" y="969969"/>
                  </a:cubicBezTo>
                  <a:lnTo>
                    <a:pt x="12115716" y="978106"/>
                  </a:lnTo>
                  <a:cubicBezTo>
                    <a:pt x="12115716" y="978106"/>
                    <a:pt x="12115716" y="978106"/>
                    <a:pt x="12114602" y="978106"/>
                  </a:cubicBezTo>
                  <a:lnTo>
                    <a:pt x="12106800" y="978106"/>
                  </a:lnTo>
                  <a:cubicBezTo>
                    <a:pt x="12106800" y="978106"/>
                    <a:pt x="12106800" y="978106"/>
                    <a:pt x="12106800" y="979268"/>
                  </a:cubicBezTo>
                  <a:lnTo>
                    <a:pt x="12106800" y="987404"/>
                  </a:lnTo>
                  <a:cubicBezTo>
                    <a:pt x="12106800" y="987404"/>
                    <a:pt x="12106800" y="987404"/>
                    <a:pt x="12107915" y="987404"/>
                  </a:cubicBezTo>
                  <a:lnTo>
                    <a:pt x="12115716" y="987404"/>
                  </a:lnTo>
                  <a:cubicBezTo>
                    <a:pt x="12115716" y="987404"/>
                    <a:pt x="12115716" y="987404"/>
                    <a:pt x="12115716" y="988276"/>
                  </a:cubicBezTo>
                  <a:lnTo>
                    <a:pt x="12115716" y="994378"/>
                  </a:lnTo>
                  <a:cubicBezTo>
                    <a:pt x="12115716" y="994378"/>
                    <a:pt x="12115716" y="994378"/>
                    <a:pt x="12114602" y="994378"/>
                  </a:cubicBezTo>
                  <a:lnTo>
                    <a:pt x="12106800" y="994378"/>
                  </a:lnTo>
                  <a:cubicBezTo>
                    <a:pt x="12106800" y="994378"/>
                    <a:pt x="12106800" y="994378"/>
                    <a:pt x="12106800" y="995540"/>
                  </a:cubicBezTo>
                  <a:lnTo>
                    <a:pt x="12106800" y="1003677"/>
                  </a:lnTo>
                  <a:cubicBezTo>
                    <a:pt x="12106800" y="1003677"/>
                    <a:pt x="12106800" y="1003677"/>
                    <a:pt x="12131319" y="1024599"/>
                  </a:cubicBezTo>
                  <a:cubicBezTo>
                    <a:pt x="12131319" y="1029248"/>
                    <a:pt x="12131319" y="1029248"/>
                    <a:pt x="12130206" y="1029248"/>
                  </a:cubicBezTo>
                  <a:lnTo>
                    <a:pt x="12122403" y="1029248"/>
                  </a:lnTo>
                  <a:cubicBezTo>
                    <a:pt x="12122403" y="1029248"/>
                    <a:pt x="12122403" y="1029248"/>
                    <a:pt x="12122403" y="1040036"/>
                  </a:cubicBezTo>
                  <a:lnTo>
                    <a:pt x="12122403" y="1046874"/>
                  </a:lnTo>
                  <a:lnTo>
                    <a:pt x="12131319" y="1046874"/>
                  </a:lnTo>
                  <a:lnTo>
                    <a:pt x="12131319" y="1043196"/>
                  </a:lnTo>
                  <a:cubicBezTo>
                    <a:pt x="12131319" y="1043196"/>
                    <a:pt x="12131319" y="1043196"/>
                    <a:pt x="12132434" y="1042615"/>
                  </a:cubicBezTo>
                  <a:lnTo>
                    <a:pt x="12140235" y="1038547"/>
                  </a:lnTo>
                  <a:cubicBezTo>
                    <a:pt x="12140235" y="1038547"/>
                    <a:pt x="12140235" y="1038547"/>
                    <a:pt x="12142186" y="1038547"/>
                  </a:cubicBezTo>
                  <a:lnTo>
                    <a:pt x="12155839" y="1038547"/>
                  </a:lnTo>
                  <a:cubicBezTo>
                    <a:pt x="12155839" y="1038547"/>
                    <a:pt x="12155839" y="1038547"/>
                    <a:pt x="12155839" y="1039709"/>
                  </a:cubicBezTo>
                  <a:lnTo>
                    <a:pt x="12155839" y="1046874"/>
                  </a:lnTo>
                  <a:lnTo>
                    <a:pt x="12192000" y="1046874"/>
                  </a:lnTo>
                  <a:lnTo>
                    <a:pt x="12192000" y="1070905"/>
                  </a:lnTo>
                  <a:lnTo>
                    <a:pt x="12192000" y="1121663"/>
                  </a:lnTo>
                  <a:lnTo>
                    <a:pt x="12192000" y="1608850"/>
                  </a:lnTo>
                  <a:lnTo>
                    <a:pt x="0" y="1608850"/>
                  </a:lnTo>
                  <a:lnTo>
                    <a:pt x="0" y="1046874"/>
                  </a:lnTo>
                  <a:lnTo>
                    <a:pt x="65773" y="1046874"/>
                  </a:lnTo>
                  <a:lnTo>
                    <a:pt x="82231" y="1045519"/>
                  </a:lnTo>
                  <a:cubicBezTo>
                    <a:pt x="82231" y="1033896"/>
                    <a:pt x="82231" y="1024598"/>
                    <a:pt x="82231" y="1012974"/>
                  </a:cubicBezTo>
                  <a:cubicBezTo>
                    <a:pt x="97834" y="1012974"/>
                    <a:pt x="113436" y="1012974"/>
                    <a:pt x="126811" y="1012974"/>
                  </a:cubicBezTo>
                  <a:cubicBezTo>
                    <a:pt x="126811" y="1006000"/>
                    <a:pt x="126811" y="1001351"/>
                    <a:pt x="126811" y="994377"/>
                  </a:cubicBezTo>
                  <a:cubicBezTo>
                    <a:pt x="158018" y="994377"/>
                    <a:pt x="189224" y="994377"/>
                    <a:pt x="220430" y="994377"/>
                  </a:cubicBezTo>
                  <a:cubicBezTo>
                    <a:pt x="220430" y="999026"/>
                    <a:pt x="220430" y="1001351"/>
                    <a:pt x="220430" y="1006000"/>
                  </a:cubicBezTo>
                  <a:cubicBezTo>
                    <a:pt x="240491" y="1006000"/>
                    <a:pt x="260552" y="1006000"/>
                    <a:pt x="280612" y="1006000"/>
                  </a:cubicBezTo>
                  <a:cubicBezTo>
                    <a:pt x="280612" y="1008325"/>
                    <a:pt x="280612" y="1010650"/>
                    <a:pt x="280612" y="1012974"/>
                  </a:cubicBezTo>
                  <a:cubicBezTo>
                    <a:pt x="285071" y="1012974"/>
                    <a:pt x="291758" y="1012974"/>
                    <a:pt x="298444" y="1012974"/>
                  </a:cubicBezTo>
                  <a:cubicBezTo>
                    <a:pt x="298444" y="1015299"/>
                    <a:pt x="298444" y="1017624"/>
                    <a:pt x="298444" y="1019948"/>
                  </a:cubicBezTo>
                  <a:cubicBezTo>
                    <a:pt x="302903" y="1019948"/>
                    <a:pt x="309590" y="1019948"/>
                    <a:pt x="314048" y="1019948"/>
                  </a:cubicBezTo>
                  <a:cubicBezTo>
                    <a:pt x="314048" y="985079"/>
                    <a:pt x="314048" y="950209"/>
                    <a:pt x="314048" y="915339"/>
                  </a:cubicBezTo>
                  <a:cubicBezTo>
                    <a:pt x="329651" y="910690"/>
                    <a:pt x="345255" y="906041"/>
                    <a:pt x="360858" y="901391"/>
                  </a:cubicBezTo>
                  <a:cubicBezTo>
                    <a:pt x="389835" y="901391"/>
                    <a:pt x="418812" y="901391"/>
                    <a:pt x="447789" y="901391"/>
                  </a:cubicBezTo>
                  <a:cubicBezTo>
                    <a:pt x="447789" y="845600"/>
                    <a:pt x="447789" y="789808"/>
                    <a:pt x="447789" y="734017"/>
                  </a:cubicBezTo>
                  <a:cubicBezTo>
                    <a:pt x="454476" y="729367"/>
                    <a:pt x="463392" y="727043"/>
                    <a:pt x="472308" y="722393"/>
                  </a:cubicBezTo>
                  <a:cubicBezTo>
                    <a:pt x="507972" y="717744"/>
                    <a:pt x="543636" y="710770"/>
                    <a:pt x="579301" y="703796"/>
                  </a:cubicBezTo>
                  <a:cubicBezTo>
                    <a:pt x="592675" y="708445"/>
                    <a:pt x="603820" y="713095"/>
                    <a:pt x="617194" y="715419"/>
                  </a:cubicBezTo>
                  <a:cubicBezTo>
                    <a:pt x="619423" y="717744"/>
                    <a:pt x="621652" y="720069"/>
                    <a:pt x="623881" y="722393"/>
                  </a:cubicBezTo>
                  <a:cubicBezTo>
                    <a:pt x="623881" y="827002"/>
                    <a:pt x="623881" y="931612"/>
                    <a:pt x="623881" y="1033896"/>
                  </a:cubicBezTo>
                  <a:cubicBezTo>
                    <a:pt x="628339" y="1033896"/>
                    <a:pt x="632796" y="1033896"/>
                    <a:pt x="639484" y="1033896"/>
                  </a:cubicBezTo>
                  <a:cubicBezTo>
                    <a:pt x="639484" y="992053"/>
                    <a:pt x="639484" y="950209"/>
                    <a:pt x="639484" y="908365"/>
                  </a:cubicBezTo>
                  <a:cubicBezTo>
                    <a:pt x="643942" y="908365"/>
                    <a:pt x="648400" y="908365"/>
                    <a:pt x="652858" y="908365"/>
                  </a:cubicBezTo>
                  <a:cubicBezTo>
                    <a:pt x="652858" y="903716"/>
                    <a:pt x="652858" y="901391"/>
                    <a:pt x="652858" y="896742"/>
                  </a:cubicBezTo>
                  <a:cubicBezTo>
                    <a:pt x="657316" y="894417"/>
                    <a:pt x="661774" y="892093"/>
                    <a:pt x="666232" y="889768"/>
                  </a:cubicBezTo>
                  <a:lnTo>
                    <a:pt x="677377" y="889768"/>
                  </a:lnTo>
                  <a:cubicBezTo>
                    <a:pt x="677377" y="885119"/>
                    <a:pt x="677377" y="882794"/>
                    <a:pt x="677377" y="878145"/>
                  </a:cubicBezTo>
                  <a:cubicBezTo>
                    <a:pt x="679606" y="875820"/>
                    <a:pt x="684064" y="873495"/>
                    <a:pt x="686293" y="871171"/>
                  </a:cubicBezTo>
                  <a:cubicBezTo>
                    <a:pt x="692981" y="871171"/>
                    <a:pt x="701896" y="871171"/>
                    <a:pt x="708584" y="871171"/>
                  </a:cubicBezTo>
                  <a:cubicBezTo>
                    <a:pt x="708584" y="882794"/>
                    <a:pt x="708584" y="896742"/>
                    <a:pt x="708584" y="908365"/>
                  </a:cubicBezTo>
                  <a:cubicBezTo>
                    <a:pt x="724187" y="908365"/>
                    <a:pt x="739790" y="908365"/>
                    <a:pt x="755393" y="908365"/>
                  </a:cubicBezTo>
                  <a:cubicBezTo>
                    <a:pt x="755393" y="952534"/>
                    <a:pt x="755393" y="994377"/>
                    <a:pt x="755393" y="1038546"/>
                  </a:cubicBezTo>
                  <a:cubicBezTo>
                    <a:pt x="762080" y="1038546"/>
                    <a:pt x="768767" y="1038546"/>
                    <a:pt x="773225" y="1038546"/>
                  </a:cubicBezTo>
                  <a:cubicBezTo>
                    <a:pt x="779912" y="1036221"/>
                    <a:pt x="784370" y="1033896"/>
                    <a:pt x="791057" y="1031572"/>
                  </a:cubicBezTo>
                  <a:cubicBezTo>
                    <a:pt x="791057" y="1026922"/>
                    <a:pt x="791057" y="1024598"/>
                    <a:pt x="791057" y="1022273"/>
                  </a:cubicBezTo>
                  <a:cubicBezTo>
                    <a:pt x="788828" y="1022273"/>
                    <a:pt x="786599" y="1019948"/>
                    <a:pt x="784370" y="1019948"/>
                  </a:cubicBezTo>
                  <a:cubicBezTo>
                    <a:pt x="784370" y="1017624"/>
                    <a:pt x="784370" y="1015299"/>
                    <a:pt x="784370" y="1012974"/>
                  </a:cubicBezTo>
                  <a:cubicBezTo>
                    <a:pt x="786599" y="1010650"/>
                    <a:pt x="788828" y="1010650"/>
                    <a:pt x="791057" y="1008325"/>
                  </a:cubicBezTo>
                  <a:cubicBezTo>
                    <a:pt x="791057" y="992053"/>
                    <a:pt x="791057" y="973455"/>
                    <a:pt x="791057" y="957183"/>
                  </a:cubicBezTo>
                  <a:cubicBezTo>
                    <a:pt x="788828" y="957183"/>
                    <a:pt x="786599" y="954858"/>
                    <a:pt x="784370" y="954858"/>
                  </a:cubicBezTo>
                  <a:cubicBezTo>
                    <a:pt x="784370" y="952534"/>
                    <a:pt x="784370" y="950209"/>
                    <a:pt x="784370" y="947884"/>
                  </a:cubicBezTo>
                  <a:cubicBezTo>
                    <a:pt x="786599" y="945560"/>
                    <a:pt x="788828" y="945560"/>
                    <a:pt x="791057" y="943235"/>
                  </a:cubicBezTo>
                  <a:lnTo>
                    <a:pt x="795515" y="938586"/>
                  </a:lnTo>
                  <a:lnTo>
                    <a:pt x="795515" y="929287"/>
                  </a:lnTo>
                  <a:cubicBezTo>
                    <a:pt x="793286" y="929287"/>
                    <a:pt x="793286" y="929287"/>
                    <a:pt x="791057" y="929287"/>
                  </a:cubicBezTo>
                  <a:cubicBezTo>
                    <a:pt x="791057" y="926962"/>
                    <a:pt x="791057" y="924638"/>
                    <a:pt x="791057" y="922313"/>
                  </a:cubicBezTo>
                  <a:cubicBezTo>
                    <a:pt x="793286" y="922313"/>
                    <a:pt x="795515" y="919988"/>
                    <a:pt x="797744" y="917664"/>
                  </a:cubicBezTo>
                  <a:cubicBezTo>
                    <a:pt x="799972" y="889768"/>
                    <a:pt x="806660" y="866522"/>
                    <a:pt x="833408" y="852574"/>
                  </a:cubicBezTo>
                  <a:cubicBezTo>
                    <a:pt x="831179" y="852574"/>
                    <a:pt x="831179" y="850249"/>
                    <a:pt x="828950" y="850249"/>
                  </a:cubicBezTo>
                  <a:cubicBezTo>
                    <a:pt x="828950" y="847924"/>
                    <a:pt x="828950" y="845600"/>
                    <a:pt x="828950" y="843275"/>
                  </a:cubicBezTo>
                  <a:cubicBezTo>
                    <a:pt x="831179" y="843275"/>
                    <a:pt x="833408" y="840950"/>
                    <a:pt x="835637" y="840950"/>
                  </a:cubicBezTo>
                  <a:cubicBezTo>
                    <a:pt x="835637" y="836301"/>
                    <a:pt x="835637" y="833976"/>
                    <a:pt x="835637" y="831652"/>
                  </a:cubicBezTo>
                  <a:cubicBezTo>
                    <a:pt x="837866" y="831652"/>
                    <a:pt x="837866" y="831652"/>
                    <a:pt x="840095" y="831652"/>
                  </a:cubicBezTo>
                  <a:cubicBezTo>
                    <a:pt x="840095" y="824678"/>
                    <a:pt x="840095" y="817704"/>
                    <a:pt x="840095" y="810730"/>
                  </a:cubicBezTo>
                  <a:cubicBezTo>
                    <a:pt x="837866" y="810730"/>
                    <a:pt x="837866" y="810730"/>
                    <a:pt x="835637" y="810730"/>
                  </a:cubicBezTo>
                  <a:cubicBezTo>
                    <a:pt x="835637" y="808405"/>
                    <a:pt x="835637" y="808405"/>
                    <a:pt x="835637" y="806081"/>
                  </a:cubicBezTo>
                  <a:lnTo>
                    <a:pt x="840095" y="803756"/>
                  </a:lnTo>
                  <a:cubicBezTo>
                    <a:pt x="844552" y="799107"/>
                    <a:pt x="846782" y="794457"/>
                    <a:pt x="851240" y="787483"/>
                  </a:cubicBezTo>
                  <a:cubicBezTo>
                    <a:pt x="853469" y="782834"/>
                    <a:pt x="853469" y="780510"/>
                    <a:pt x="853469" y="778185"/>
                  </a:cubicBezTo>
                  <a:cubicBezTo>
                    <a:pt x="849011" y="771211"/>
                    <a:pt x="849011" y="759588"/>
                    <a:pt x="853469" y="752614"/>
                  </a:cubicBezTo>
                  <a:cubicBezTo>
                    <a:pt x="853470" y="752611"/>
                    <a:pt x="853485" y="752565"/>
                    <a:pt x="853748" y="751742"/>
                  </a:cubicBezTo>
                  <a:lnTo>
                    <a:pt x="855698" y="745640"/>
                  </a:lnTo>
                  <a:cubicBezTo>
                    <a:pt x="855699" y="745643"/>
                    <a:pt x="855714" y="745689"/>
                    <a:pt x="855977" y="746512"/>
                  </a:cubicBezTo>
                  <a:lnTo>
                    <a:pt x="857927" y="752614"/>
                  </a:lnTo>
                  <a:cubicBezTo>
                    <a:pt x="862384" y="759588"/>
                    <a:pt x="864614" y="771211"/>
                    <a:pt x="860156" y="778185"/>
                  </a:cubicBezTo>
                  <a:cubicBezTo>
                    <a:pt x="860156" y="780510"/>
                    <a:pt x="860156" y="782834"/>
                    <a:pt x="860156" y="785159"/>
                  </a:cubicBezTo>
                  <a:cubicBezTo>
                    <a:pt x="864614" y="792133"/>
                    <a:pt x="869072" y="799107"/>
                    <a:pt x="871302" y="803756"/>
                  </a:cubicBezTo>
                  <a:cubicBezTo>
                    <a:pt x="873531" y="803756"/>
                    <a:pt x="873531" y="806081"/>
                    <a:pt x="875760" y="806081"/>
                  </a:cubicBezTo>
                  <a:cubicBezTo>
                    <a:pt x="875760" y="808405"/>
                    <a:pt x="875760" y="808405"/>
                    <a:pt x="875760" y="810730"/>
                  </a:cubicBezTo>
                  <a:cubicBezTo>
                    <a:pt x="873531" y="817704"/>
                    <a:pt x="873531" y="824678"/>
                    <a:pt x="873531" y="831652"/>
                  </a:cubicBezTo>
                  <a:cubicBezTo>
                    <a:pt x="877989" y="833976"/>
                    <a:pt x="877989" y="836301"/>
                    <a:pt x="877989" y="840950"/>
                  </a:cubicBezTo>
                  <a:lnTo>
                    <a:pt x="882447" y="843275"/>
                  </a:lnTo>
                  <a:cubicBezTo>
                    <a:pt x="882447" y="845600"/>
                    <a:pt x="882447" y="847924"/>
                    <a:pt x="882447" y="850249"/>
                  </a:cubicBezTo>
                  <a:cubicBezTo>
                    <a:pt x="880218" y="852574"/>
                    <a:pt x="880218" y="852574"/>
                    <a:pt x="877989" y="852574"/>
                  </a:cubicBezTo>
                  <a:cubicBezTo>
                    <a:pt x="891362" y="859548"/>
                    <a:pt x="899165" y="868846"/>
                    <a:pt x="904180" y="879888"/>
                  </a:cubicBezTo>
                  <a:lnTo>
                    <a:pt x="913070" y="915339"/>
                  </a:lnTo>
                  <a:lnTo>
                    <a:pt x="944859" y="915339"/>
                  </a:lnTo>
                  <a:lnTo>
                    <a:pt x="944859" y="886329"/>
                  </a:lnTo>
                  <a:lnTo>
                    <a:pt x="939475" y="886329"/>
                  </a:lnTo>
                  <a:cubicBezTo>
                    <a:pt x="939475" y="886306"/>
                    <a:pt x="939475" y="884414"/>
                    <a:pt x="939475" y="724196"/>
                  </a:cubicBezTo>
                  <a:cubicBezTo>
                    <a:pt x="939487" y="724196"/>
                    <a:pt x="939957" y="724196"/>
                    <a:pt x="959742" y="724196"/>
                  </a:cubicBezTo>
                  <a:cubicBezTo>
                    <a:pt x="959747" y="724190"/>
                    <a:pt x="959783" y="724108"/>
                    <a:pt x="960249" y="723115"/>
                  </a:cubicBezTo>
                  <a:lnTo>
                    <a:pt x="963795" y="715549"/>
                  </a:lnTo>
                  <a:cubicBezTo>
                    <a:pt x="963804" y="715550"/>
                    <a:pt x="963917" y="715568"/>
                    <a:pt x="965569" y="715819"/>
                  </a:cubicBezTo>
                  <a:lnTo>
                    <a:pt x="977982" y="717710"/>
                  </a:lnTo>
                  <a:cubicBezTo>
                    <a:pt x="977985" y="717720"/>
                    <a:pt x="978023" y="717821"/>
                    <a:pt x="978489" y="719062"/>
                  </a:cubicBezTo>
                  <a:lnTo>
                    <a:pt x="982035" y="728519"/>
                  </a:lnTo>
                  <a:cubicBezTo>
                    <a:pt x="982049" y="728520"/>
                    <a:pt x="982645" y="728570"/>
                    <a:pt x="1008382" y="730681"/>
                  </a:cubicBezTo>
                  <a:cubicBezTo>
                    <a:pt x="1008382" y="730661"/>
                    <a:pt x="1008382" y="729131"/>
                    <a:pt x="1008382" y="607460"/>
                  </a:cubicBezTo>
                  <a:cubicBezTo>
                    <a:pt x="1008391" y="607460"/>
                    <a:pt x="1008510" y="607460"/>
                    <a:pt x="1010409" y="607460"/>
                  </a:cubicBezTo>
                  <a:lnTo>
                    <a:pt x="1024597" y="607460"/>
                  </a:lnTo>
                  <a:cubicBezTo>
                    <a:pt x="1024597" y="607438"/>
                    <a:pt x="1024597" y="605724"/>
                    <a:pt x="1024597" y="471268"/>
                  </a:cubicBezTo>
                  <a:cubicBezTo>
                    <a:pt x="1024605" y="471268"/>
                    <a:pt x="1024712" y="471268"/>
                    <a:pt x="1026369" y="471268"/>
                  </a:cubicBezTo>
                  <a:lnTo>
                    <a:pt x="1038783" y="471268"/>
                  </a:lnTo>
                  <a:cubicBezTo>
                    <a:pt x="1038783" y="471251"/>
                    <a:pt x="1038783" y="469845"/>
                    <a:pt x="1038783" y="356694"/>
                  </a:cubicBezTo>
                  <a:cubicBezTo>
                    <a:pt x="1042837" y="354532"/>
                    <a:pt x="1042837" y="354532"/>
                    <a:pt x="1042837" y="328590"/>
                  </a:cubicBezTo>
                  <a:cubicBezTo>
                    <a:pt x="1042843" y="328590"/>
                    <a:pt x="1042963" y="328590"/>
                    <a:pt x="1044863" y="328590"/>
                  </a:cubicBezTo>
                  <a:lnTo>
                    <a:pt x="1059050" y="328590"/>
                  </a:lnTo>
                  <a:cubicBezTo>
                    <a:pt x="1059061" y="328567"/>
                    <a:pt x="1059667" y="327200"/>
                    <a:pt x="1095531" y="246443"/>
                  </a:cubicBezTo>
                  <a:cubicBezTo>
                    <a:pt x="1095531" y="246429"/>
                    <a:pt x="1095565" y="244478"/>
                    <a:pt x="10995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09402" y="704676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87725266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72097439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s slide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658917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191655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gradFill>
          <a:gsLst>
            <a:gs pos="0">
              <a:schemeClr val="bg1">
                <a:lumMod val="90000"/>
              </a:schemeClr>
            </a:gs>
            <a:gs pos="100000">
              <a:schemeClr val="bg1">
                <a:lumMod val="8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766232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id="{A45798D9-CAFF-4DD7-AB24-0A8493ACDD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21844" y="1811568"/>
            <a:ext cx="3192955" cy="44084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F410BE4-3C5E-43B8-8434-8829CB38EFEC}"/>
              </a:ext>
            </a:extLst>
          </p:cNvPr>
          <p:cNvGrpSpPr/>
          <p:nvPr userDrawn="1"/>
        </p:nvGrpSpPr>
        <p:grpSpPr>
          <a:xfrm>
            <a:off x="-1" y="-121539"/>
            <a:ext cx="12192001" cy="1608851"/>
            <a:chOff x="-1" y="-121539"/>
            <a:chExt cx="12192001" cy="1608851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06A72D2-8DDC-4832-8E1A-5E6079DDB785}"/>
                </a:ext>
              </a:extLst>
            </p:cNvPr>
            <p:cNvSpPr/>
            <p:nvPr userDrawn="1"/>
          </p:nvSpPr>
          <p:spPr>
            <a:xfrm>
              <a:off x="0" y="1"/>
              <a:ext cx="12192000" cy="140017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77B211F-304A-4E12-A07A-202247B1726A}"/>
                </a:ext>
              </a:extLst>
            </p:cNvPr>
            <p:cNvSpPr/>
            <p:nvPr userDrawn="1"/>
          </p:nvSpPr>
          <p:spPr>
            <a:xfrm>
              <a:off x="-1" y="-121539"/>
              <a:ext cx="12192000" cy="1608851"/>
            </a:xfrm>
            <a:custGeom>
              <a:avLst/>
              <a:gdLst>
                <a:gd name="connsiteX0" fmla="*/ 8760317 w 12192000"/>
                <a:gd name="connsiteY0" fmla="*/ 780798 h 1608850"/>
                <a:gd name="connsiteX1" fmla="*/ 8760317 w 12192000"/>
                <a:gd name="connsiteY1" fmla="*/ 785159 h 1608850"/>
                <a:gd name="connsiteX2" fmla="*/ 8761882 w 12192000"/>
                <a:gd name="connsiteY2" fmla="*/ 787771 h 1608850"/>
                <a:gd name="connsiteX3" fmla="*/ 8762996 w 12192000"/>
                <a:gd name="connsiteY3" fmla="*/ 787771 h 1608850"/>
                <a:gd name="connsiteX4" fmla="*/ 8762996 w 12192000"/>
                <a:gd name="connsiteY4" fmla="*/ 786900 h 1608850"/>
                <a:gd name="connsiteX5" fmla="*/ 8762996 w 12192000"/>
                <a:gd name="connsiteY5" fmla="*/ 780798 h 1608850"/>
                <a:gd name="connsiteX6" fmla="*/ 8761881 w 12192000"/>
                <a:gd name="connsiteY6" fmla="*/ 780798 h 1608850"/>
                <a:gd name="connsiteX7" fmla="*/ 8758924 w 12192000"/>
                <a:gd name="connsiteY7" fmla="*/ 762200 h 1608850"/>
                <a:gd name="connsiteX8" fmla="*/ 8759734 w 12192000"/>
                <a:gd name="connsiteY8" fmla="*/ 771499 h 1608850"/>
                <a:gd name="connsiteX9" fmla="*/ 8762996 w 12192000"/>
                <a:gd name="connsiteY9" fmla="*/ 771499 h 1608850"/>
                <a:gd name="connsiteX10" fmla="*/ 8762996 w 12192000"/>
                <a:gd name="connsiteY10" fmla="*/ 770337 h 1608850"/>
                <a:gd name="connsiteX11" fmla="*/ 8762996 w 12192000"/>
                <a:gd name="connsiteY11" fmla="*/ 762200 h 1608850"/>
                <a:gd name="connsiteX12" fmla="*/ 8761881 w 12192000"/>
                <a:gd name="connsiteY12" fmla="*/ 762200 h 1608850"/>
                <a:gd name="connsiteX13" fmla="*/ 8755951 w 12192000"/>
                <a:gd name="connsiteY13" fmla="*/ 745928 h 1608850"/>
                <a:gd name="connsiteX14" fmla="*/ 8756137 w 12192000"/>
                <a:gd name="connsiteY14" fmla="*/ 746512 h 1608850"/>
                <a:gd name="connsiteX15" fmla="*/ 8758088 w 12192000"/>
                <a:gd name="connsiteY15" fmla="*/ 752614 h 1608850"/>
                <a:gd name="connsiteX16" fmla="*/ 8758113 w 12192000"/>
                <a:gd name="connsiteY16" fmla="*/ 752902 h 1608850"/>
                <a:gd name="connsiteX17" fmla="*/ 8762996 w 12192000"/>
                <a:gd name="connsiteY17" fmla="*/ 752902 h 1608850"/>
                <a:gd name="connsiteX18" fmla="*/ 8762996 w 12192000"/>
                <a:gd name="connsiteY18" fmla="*/ 752030 h 1608850"/>
                <a:gd name="connsiteX19" fmla="*/ 8762996 w 12192000"/>
                <a:gd name="connsiteY19" fmla="*/ 745928 h 1608850"/>
                <a:gd name="connsiteX20" fmla="*/ 8761881 w 12192000"/>
                <a:gd name="connsiteY20" fmla="*/ 745928 h 1608850"/>
                <a:gd name="connsiteX21" fmla="*/ 8907881 w 12192000"/>
                <a:gd name="connsiteY21" fmla="*/ 718032 h 1608850"/>
                <a:gd name="connsiteX22" fmla="*/ 8907881 w 12192000"/>
                <a:gd name="connsiteY22" fmla="*/ 719194 h 1608850"/>
                <a:gd name="connsiteX23" fmla="*/ 8907881 w 12192000"/>
                <a:gd name="connsiteY23" fmla="*/ 727331 h 1608850"/>
                <a:gd name="connsiteX24" fmla="*/ 8908543 w 12192000"/>
                <a:gd name="connsiteY24" fmla="*/ 727331 h 1608850"/>
                <a:gd name="connsiteX25" fmla="*/ 8908543 w 12192000"/>
                <a:gd name="connsiteY25" fmla="*/ 718032 h 1608850"/>
                <a:gd name="connsiteX26" fmla="*/ 1099585 w 12192000"/>
                <a:gd name="connsiteY26" fmla="*/ 0 h 1608850"/>
                <a:gd name="connsiteX27" fmla="*/ 1101611 w 12192000"/>
                <a:gd name="connsiteY27" fmla="*/ 246443 h 1608850"/>
                <a:gd name="connsiteX28" fmla="*/ 1140117 w 12192000"/>
                <a:gd name="connsiteY28" fmla="*/ 326429 h 1608850"/>
                <a:gd name="connsiteX29" fmla="*/ 1142145 w 12192000"/>
                <a:gd name="connsiteY29" fmla="*/ 326429 h 1608850"/>
                <a:gd name="connsiteX30" fmla="*/ 1156331 w 12192000"/>
                <a:gd name="connsiteY30" fmla="*/ 326429 h 1608850"/>
                <a:gd name="connsiteX31" fmla="*/ 1156331 w 12192000"/>
                <a:gd name="connsiteY31" fmla="*/ 350208 h 1608850"/>
                <a:gd name="connsiteX32" fmla="*/ 1156839 w 12192000"/>
                <a:gd name="connsiteY32" fmla="*/ 351019 h 1608850"/>
                <a:gd name="connsiteX33" fmla="*/ 1160385 w 12192000"/>
                <a:gd name="connsiteY33" fmla="*/ 356694 h 1608850"/>
                <a:gd name="connsiteX34" fmla="*/ 1160385 w 12192000"/>
                <a:gd name="connsiteY34" fmla="*/ 471268 h 1608850"/>
                <a:gd name="connsiteX35" fmla="*/ 1162664 w 12192000"/>
                <a:gd name="connsiteY35" fmla="*/ 471268 h 1608850"/>
                <a:gd name="connsiteX36" fmla="*/ 1178625 w 12192000"/>
                <a:gd name="connsiteY36" fmla="*/ 471268 h 1608850"/>
                <a:gd name="connsiteX37" fmla="*/ 1178625 w 12192000"/>
                <a:gd name="connsiteY37" fmla="*/ 611783 h 1608850"/>
                <a:gd name="connsiteX38" fmla="*/ 1180145 w 12192000"/>
                <a:gd name="connsiteY38" fmla="*/ 611513 h 1608850"/>
                <a:gd name="connsiteX39" fmla="*/ 1190785 w 12192000"/>
                <a:gd name="connsiteY39" fmla="*/ 609622 h 1608850"/>
                <a:gd name="connsiteX40" fmla="*/ 1188759 w 12192000"/>
                <a:gd name="connsiteY40" fmla="*/ 698254 h 1608850"/>
                <a:gd name="connsiteX41" fmla="*/ 1190279 w 12192000"/>
                <a:gd name="connsiteY41" fmla="*/ 698525 h 1608850"/>
                <a:gd name="connsiteX42" fmla="*/ 1200919 w 12192000"/>
                <a:gd name="connsiteY42" fmla="*/ 700416 h 1608850"/>
                <a:gd name="connsiteX43" fmla="*/ 1201171 w 12192000"/>
                <a:gd name="connsiteY43" fmla="*/ 701227 h 1608850"/>
                <a:gd name="connsiteX44" fmla="*/ 1202945 w 12192000"/>
                <a:gd name="connsiteY44" fmla="*/ 706902 h 1608850"/>
                <a:gd name="connsiteX45" fmla="*/ 1203705 w 12192000"/>
                <a:gd name="connsiteY45" fmla="*/ 704470 h 1608850"/>
                <a:gd name="connsiteX46" fmla="*/ 1209025 w 12192000"/>
                <a:gd name="connsiteY46" fmla="*/ 687446 h 1608850"/>
                <a:gd name="connsiteX47" fmla="*/ 1210799 w 12192000"/>
                <a:gd name="connsiteY47" fmla="*/ 687446 h 1608850"/>
                <a:gd name="connsiteX48" fmla="*/ 1223212 w 12192000"/>
                <a:gd name="connsiteY48" fmla="*/ 687446 h 1608850"/>
                <a:gd name="connsiteX49" fmla="*/ 1223212 w 12192000"/>
                <a:gd name="connsiteY49" fmla="*/ 719872 h 1608850"/>
                <a:gd name="connsiteX50" fmla="*/ 1224225 w 12192000"/>
                <a:gd name="connsiteY50" fmla="*/ 720413 h 1608850"/>
                <a:gd name="connsiteX51" fmla="*/ 1231319 w 12192000"/>
                <a:gd name="connsiteY51" fmla="*/ 724196 h 1608850"/>
                <a:gd name="connsiteX52" fmla="*/ 1231319 w 12192000"/>
                <a:gd name="connsiteY52" fmla="*/ 725547 h 1608850"/>
                <a:gd name="connsiteX53" fmla="*/ 1231319 w 12192000"/>
                <a:gd name="connsiteY53" fmla="*/ 735005 h 1608850"/>
                <a:gd name="connsiteX54" fmla="*/ 1275907 w 12192000"/>
                <a:gd name="connsiteY54" fmla="*/ 735005 h 1608850"/>
                <a:gd name="connsiteX55" fmla="*/ 1275907 w 12192000"/>
                <a:gd name="connsiteY55" fmla="*/ 736086 h 1608850"/>
                <a:gd name="connsiteX56" fmla="*/ 1275907 w 12192000"/>
                <a:gd name="connsiteY56" fmla="*/ 743652 h 1608850"/>
                <a:gd name="connsiteX57" fmla="*/ 1277933 w 12192000"/>
                <a:gd name="connsiteY57" fmla="*/ 743652 h 1608850"/>
                <a:gd name="connsiteX58" fmla="*/ 1292119 w 12192000"/>
                <a:gd name="connsiteY58" fmla="*/ 743652 h 1608850"/>
                <a:gd name="connsiteX59" fmla="*/ 1292119 w 12192000"/>
                <a:gd name="connsiteY59" fmla="*/ 713387 h 1608850"/>
                <a:gd name="connsiteX60" fmla="*/ 1336706 w 12192000"/>
                <a:gd name="connsiteY60" fmla="*/ 713387 h 1608850"/>
                <a:gd name="connsiteX61" fmla="*/ 1336706 w 12192000"/>
                <a:gd name="connsiteY61" fmla="*/ 712036 h 1608850"/>
                <a:gd name="connsiteX62" fmla="*/ 1336706 w 12192000"/>
                <a:gd name="connsiteY62" fmla="*/ 702578 h 1608850"/>
                <a:gd name="connsiteX63" fmla="*/ 1337721 w 12192000"/>
                <a:gd name="connsiteY63" fmla="*/ 702578 h 1608850"/>
                <a:gd name="connsiteX64" fmla="*/ 1344813 w 12192000"/>
                <a:gd name="connsiteY64" fmla="*/ 702578 h 1608850"/>
                <a:gd name="connsiteX65" fmla="*/ 1344813 w 12192000"/>
                <a:gd name="connsiteY65" fmla="*/ 700687 h 1608850"/>
                <a:gd name="connsiteX66" fmla="*/ 1344813 w 12192000"/>
                <a:gd name="connsiteY66" fmla="*/ 687446 h 1608850"/>
                <a:gd name="connsiteX67" fmla="*/ 1345573 w 12192000"/>
                <a:gd name="connsiteY67" fmla="*/ 687446 h 1608850"/>
                <a:gd name="connsiteX68" fmla="*/ 1350893 w 12192000"/>
                <a:gd name="connsiteY68" fmla="*/ 687446 h 1608850"/>
                <a:gd name="connsiteX69" fmla="*/ 1350893 w 12192000"/>
                <a:gd name="connsiteY69" fmla="*/ 686365 h 1608850"/>
                <a:gd name="connsiteX70" fmla="*/ 1350893 w 12192000"/>
                <a:gd name="connsiteY70" fmla="*/ 678798 h 1608850"/>
                <a:gd name="connsiteX71" fmla="*/ 1352921 w 12192000"/>
                <a:gd name="connsiteY71" fmla="*/ 678798 h 1608850"/>
                <a:gd name="connsiteX72" fmla="*/ 1367107 w 12192000"/>
                <a:gd name="connsiteY72" fmla="*/ 678798 h 1608850"/>
                <a:gd name="connsiteX73" fmla="*/ 1367107 w 12192000"/>
                <a:gd name="connsiteY73" fmla="*/ 679879 h 1608850"/>
                <a:gd name="connsiteX74" fmla="*/ 1367107 w 12192000"/>
                <a:gd name="connsiteY74" fmla="*/ 687446 h 1608850"/>
                <a:gd name="connsiteX75" fmla="*/ 1389401 w 12192000"/>
                <a:gd name="connsiteY75" fmla="*/ 687446 h 1608850"/>
                <a:gd name="connsiteX76" fmla="*/ 1389401 w 12192000"/>
                <a:gd name="connsiteY76" fmla="*/ 685554 h 1608850"/>
                <a:gd name="connsiteX77" fmla="*/ 1389401 w 12192000"/>
                <a:gd name="connsiteY77" fmla="*/ 672313 h 1608850"/>
                <a:gd name="connsiteX78" fmla="*/ 1391174 w 12192000"/>
                <a:gd name="connsiteY78" fmla="*/ 672313 h 1608850"/>
                <a:gd name="connsiteX79" fmla="*/ 1403587 w 12192000"/>
                <a:gd name="connsiteY79" fmla="*/ 672313 h 1608850"/>
                <a:gd name="connsiteX80" fmla="*/ 1403587 w 12192000"/>
                <a:gd name="connsiteY80" fmla="*/ 696093 h 1608850"/>
                <a:gd name="connsiteX81" fmla="*/ 1404601 w 12192000"/>
                <a:gd name="connsiteY81" fmla="*/ 696093 h 1608850"/>
                <a:gd name="connsiteX82" fmla="*/ 1411695 w 12192000"/>
                <a:gd name="connsiteY82" fmla="*/ 696093 h 1608850"/>
                <a:gd name="connsiteX83" fmla="*/ 1411695 w 12192000"/>
                <a:gd name="connsiteY83" fmla="*/ 695012 h 1608850"/>
                <a:gd name="connsiteX84" fmla="*/ 1411695 w 12192000"/>
                <a:gd name="connsiteY84" fmla="*/ 687446 h 1608850"/>
                <a:gd name="connsiteX85" fmla="*/ 1413467 w 12192000"/>
                <a:gd name="connsiteY85" fmla="*/ 687446 h 1608850"/>
                <a:gd name="connsiteX86" fmla="*/ 1425881 w 12192000"/>
                <a:gd name="connsiteY86" fmla="*/ 687446 h 1608850"/>
                <a:gd name="connsiteX87" fmla="*/ 1425881 w 12192000"/>
                <a:gd name="connsiteY87" fmla="*/ 713387 h 1608850"/>
                <a:gd name="connsiteX88" fmla="*/ 1427909 w 12192000"/>
                <a:gd name="connsiteY88" fmla="*/ 713387 h 1608850"/>
                <a:gd name="connsiteX89" fmla="*/ 1442095 w 12192000"/>
                <a:gd name="connsiteY89" fmla="*/ 713387 h 1608850"/>
                <a:gd name="connsiteX90" fmla="*/ 1442095 w 12192000"/>
                <a:gd name="connsiteY90" fmla="*/ 715008 h 1608850"/>
                <a:gd name="connsiteX91" fmla="*/ 1442095 w 12192000"/>
                <a:gd name="connsiteY91" fmla="*/ 726358 h 1608850"/>
                <a:gd name="connsiteX92" fmla="*/ 1442855 w 12192000"/>
                <a:gd name="connsiteY92" fmla="*/ 726358 h 1608850"/>
                <a:gd name="connsiteX93" fmla="*/ 1448175 w 12192000"/>
                <a:gd name="connsiteY93" fmla="*/ 726358 h 1608850"/>
                <a:gd name="connsiteX94" fmla="*/ 1448175 w 12192000"/>
                <a:gd name="connsiteY94" fmla="*/ 725547 h 1608850"/>
                <a:gd name="connsiteX95" fmla="*/ 1448175 w 12192000"/>
                <a:gd name="connsiteY95" fmla="*/ 719872 h 1608850"/>
                <a:gd name="connsiteX96" fmla="*/ 1478575 w 12192000"/>
                <a:gd name="connsiteY96" fmla="*/ 719872 h 1608850"/>
                <a:gd name="connsiteX97" fmla="*/ 1478575 w 12192000"/>
                <a:gd name="connsiteY97" fmla="*/ 743652 h 1608850"/>
                <a:gd name="connsiteX98" fmla="*/ 1479589 w 12192000"/>
                <a:gd name="connsiteY98" fmla="*/ 743652 h 1608850"/>
                <a:gd name="connsiteX99" fmla="*/ 1486683 w 12192000"/>
                <a:gd name="connsiteY99" fmla="*/ 743652 h 1608850"/>
                <a:gd name="connsiteX100" fmla="*/ 1486683 w 12192000"/>
                <a:gd name="connsiteY100" fmla="*/ 744733 h 1608850"/>
                <a:gd name="connsiteX101" fmla="*/ 1486683 w 12192000"/>
                <a:gd name="connsiteY101" fmla="*/ 752299 h 1608850"/>
                <a:gd name="connsiteX102" fmla="*/ 1487443 w 12192000"/>
                <a:gd name="connsiteY102" fmla="*/ 752299 h 1608850"/>
                <a:gd name="connsiteX103" fmla="*/ 1492763 w 12192000"/>
                <a:gd name="connsiteY103" fmla="*/ 752299 h 1608850"/>
                <a:gd name="connsiteX104" fmla="*/ 1492763 w 12192000"/>
                <a:gd name="connsiteY104" fmla="*/ 750137 h 1608850"/>
                <a:gd name="connsiteX105" fmla="*/ 1492763 w 12192000"/>
                <a:gd name="connsiteY105" fmla="*/ 735005 h 1608850"/>
                <a:gd name="connsiteX106" fmla="*/ 1493775 w 12192000"/>
                <a:gd name="connsiteY106" fmla="*/ 735005 h 1608850"/>
                <a:gd name="connsiteX107" fmla="*/ 1500869 w 12192000"/>
                <a:gd name="connsiteY107" fmla="*/ 735005 h 1608850"/>
                <a:gd name="connsiteX108" fmla="*/ 1500869 w 12192000"/>
                <a:gd name="connsiteY108" fmla="*/ 736086 h 1608850"/>
                <a:gd name="connsiteX109" fmla="*/ 1500869 w 12192000"/>
                <a:gd name="connsiteY109" fmla="*/ 743652 h 1608850"/>
                <a:gd name="connsiteX110" fmla="*/ 1506189 w 12192000"/>
                <a:gd name="connsiteY110" fmla="*/ 741659 h 1608850"/>
                <a:gd name="connsiteX111" fmla="*/ 1506949 w 12192000"/>
                <a:gd name="connsiteY111" fmla="*/ 740679 h 1608850"/>
                <a:gd name="connsiteX112" fmla="*/ 1506949 w 12192000"/>
                <a:gd name="connsiteY112" fmla="*/ 735005 h 1608850"/>
                <a:gd name="connsiteX113" fmla="*/ 1545457 w 12192000"/>
                <a:gd name="connsiteY113" fmla="*/ 735005 h 1608850"/>
                <a:gd name="connsiteX114" fmla="*/ 1545457 w 12192000"/>
                <a:gd name="connsiteY114" fmla="*/ 758784 h 1608850"/>
                <a:gd name="connsiteX115" fmla="*/ 1547483 w 12192000"/>
                <a:gd name="connsiteY115" fmla="*/ 758784 h 1608850"/>
                <a:gd name="connsiteX116" fmla="*/ 1561669 w 12192000"/>
                <a:gd name="connsiteY116" fmla="*/ 758784 h 1608850"/>
                <a:gd name="connsiteX117" fmla="*/ 1561669 w 12192000"/>
                <a:gd name="connsiteY117" fmla="*/ 759865 h 1608850"/>
                <a:gd name="connsiteX118" fmla="*/ 1561669 w 12192000"/>
                <a:gd name="connsiteY118" fmla="*/ 767431 h 1608850"/>
                <a:gd name="connsiteX119" fmla="*/ 1563443 w 12192000"/>
                <a:gd name="connsiteY119" fmla="*/ 767431 h 1608850"/>
                <a:gd name="connsiteX120" fmla="*/ 1575857 w 12192000"/>
                <a:gd name="connsiteY120" fmla="*/ 767431 h 1608850"/>
                <a:gd name="connsiteX121" fmla="*/ 1575857 w 12192000"/>
                <a:gd name="connsiteY121" fmla="*/ 743652 h 1608850"/>
                <a:gd name="connsiteX122" fmla="*/ 1576869 w 12192000"/>
                <a:gd name="connsiteY122" fmla="*/ 743652 h 1608850"/>
                <a:gd name="connsiteX123" fmla="*/ 1583963 w 12192000"/>
                <a:gd name="connsiteY123" fmla="*/ 743652 h 1608850"/>
                <a:gd name="connsiteX124" fmla="*/ 1583963 w 12192000"/>
                <a:gd name="connsiteY124" fmla="*/ 711225 h 1608850"/>
                <a:gd name="connsiteX125" fmla="*/ 1584977 w 12192000"/>
                <a:gd name="connsiteY125" fmla="*/ 711225 h 1608850"/>
                <a:gd name="connsiteX126" fmla="*/ 1592071 w 12192000"/>
                <a:gd name="connsiteY126" fmla="*/ 711225 h 1608850"/>
                <a:gd name="connsiteX127" fmla="*/ 1592071 w 12192000"/>
                <a:gd name="connsiteY127" fmla="*/ 709334 h 1608850"/>
                <a:gd name="connsiteX128" fmla="*/ 1592071 w 12192000"/>
                <a:gd name="connsiteY128" fmla="*/ 696093 h 1608850"/>
                <a:gd name="connsiteX129" fmla="*/ 1590803 w 12192000"/>
                <a:gd name="connsiteY129" fmla="*/ 694471 h 1608850"/>
                <a:gd name="connsiteX130" fmla="*/ 1596123 w 12192000"/>
                <a:gd name="connsiteY130" fmla="*/ 683122 h 1608850"/>
                <a:gd name="connsiteX131" fmla="*/ 1604231 w 12192000"/>
                <a:gd name="connsiteY131" fmla="*/ 711225 h 1608850"/>
                <a:gd name="connsiteX132" fmla="*/ 1604991 w 12192000"/>
                <a:gd name="connsiteY132" fmla="*/ 711225 h 1608850"/>
                <a:gd name="connsiteX133" fmla="*/ 1610311 w 12192000"/>
                <a:gd name="connsiteY133" fmla="*/ 711225 h 1608850"/>
                <a:gd name="connsiteX134" fmla="*/ 1610311 w 12192000"/>
                <a:gd name="connsiteY134" fmla="*/ 605298 h 1608850"/>
                <a:gd name="connsiteX135" fmla="*/ 1611831 w 12192000"/>
                <a:gd name="connsiteY135" fmla="*/ 605298 h 1608850"/>
                <a:gd name="connsiteX136" fmla="*/ 1622471 w 12192000"/>
                <a:gd name="connsiteY136" fmla="*/ 605298 h 1608850"/>
                <a:gd name="connsiteX137" fmla="*/ 1622471 w 12192000"/>
                <a:gd name="connsiteY137" fmla="*/ 557739 h 1608850"/>
                <a:gd name="connsiteX138" fmla="*/ 1648817 w 12192000"/>
                <a:gd name="connsiteY138" fmla="*/ 557739 h 1608850"/>
                <a:gd name="connsiteX139" fmla="*/ 1648817 w 12192000"/>
                <a:gd name="connsiteY139" fmla="*/ 536121 h 1608850"/>
                <a:gd name="connsiteX140" fmla="*/ 1683271 w 12192000"/>
                <a:gd name="connsiteY140" fmla="*/ 536121 h 1608850"/>
                <a:gd name="connsiteX141" fmla="*/ 1683271 w 12192000"/>
                <a:gd name="connsiteY141" fmla="*/ 538553 h 1608850"/>
                <a:gd name="connsiteX142" fmla="*/ 1683271 w 12192000"/>
                <a:gd name="connsiteY142" fmla="*/ 555577 h 1608850"/>
                <a:gd name="connsiteX143" fmla="*/ 1685551 w 12192000"/>
                <a:gd name="connsiteY143" fmla="*/ 555577 h 1608850"/>
                <a:gd name="connsiteX144" fmla="*/ 1701511 w 12192000"/>
                <a:gd name="connsiteY144" fmla="*/ 555577 h 1608850"/>
                <a:gd name="connsiteX145" fmla="*/ 1701511 w 12192000"/>
                <a:gd name="connsiteY145" fmla="*/ 603136 h 1608850"/>
                <a:gd name="connsiteX146" fmla="*/ 1702525 w 12192000"/>
                <a:gd name="connsiteY146" fmla="*/ 603136 h 1608850"/>
                <a:gd name="connsiteX147" fmla="*/ 1709619 w 12192000"/>
                <a:gd name="connsiteY147" fmla="*/ 603136 h 1608850"/>
                <a:gd name="connsiteX148" fmla="*/ 1723805 w 12192000"/>
                <a:gd name="connsiteY148" fmla="*/ 607460 h 1608850"/>
                <a:gd name="connsiteX149" fmla="*/ 1723805 w 12192000"/>
                <a:gd name="connsiteY149" fmla="*/ 646372 h 1608850"/>
                <a:gd name="connsiteX150" fmla="*/ 1724819 w 12192000"/>
                <a:gd name="connsiteY150" fmla="*/ 646372 h 1608850"/>
                <a:gd name="connsiteX151" fmla="*/ 1731911 w 12192000"/>
                <a:gd name="connsiteY151" fmla="*/ 646372 h 1608850"/>
                <a:gd name="connsiteX152" fmla="*/ 1731911 w 12192000"/>
                <a:gd name="connsiteY152" fmla="*/ 647993 h 1608850"/>
                <a:gd name="connsiteX153" fmla="*/ 1731911 w 12192000"/>
                <a:gd name="connsiteY153" fmla="*/ 659342 h 1608850"/>
                <a:gd name="connsiteX154" fmla="*/ 1733939 w 12192000"/>
                <a:gd name="connsiteY154" fmla="*/ 659342 h 1608850"/>
                <a:gd name="connsiteX155" fmla="*/ 1748125 w 12192000"/>
                <a:gd name="connsiteY155" fmla="*/ 659342 h 1608850"/>
                <a:gd name="connsiteX156" fmla="*/ 1754205 w 12192000"/>
                <a:gd name="connsiteY156" fmla="*/ 665828 h 1608850"/>
                <a:gd name="connsiteX157" fmla="*/ 1754205 w 12192000"/>
                <a:gd name="connsiteY157" fmla="*/ 687446 h 1608850"/>
                <a:gd name="connsiteX158" fmla="*/ 1756485 w 12192000"/>
                <a:gd name="connsiteY158" fmla="*/ 687446 h 1608850"/>
                <a:gd name="connsiteX159" fmla="*/ 1772445 w 12192000"/>
                <a:gd name="connsiteY159" fmla="*/ 687446 h 1608850"/>
                <a:gd name="connsiteX160" fmla="*/ 1772445 w 12192000"/>
                <a:gd name="connsiteY160" fmla="*/ 688526 h 1608850"/>
                <a:gd name="connsiteX161" fmla="*/ 1772445 w 12192000"/>
                <a:gd name="connsiteY161" fmla="*/ 696093 h 1608850"/>
                <a:gd name="connsiteX162" fmla="*/ 1773713 w 12192000"/>
                <a:gd name="connsiteY162" fmla="*/ 696093 h 1608850"/>
                <a:gd name="connsiteX163" fmla="*/ 1782579 w 12192000"/>
                <a:gd name="connsiteY163" fmla="*/ 696093 h 1608850"/>
                <a:gd name="connsiteX164" fmla="*/ 1782579 w 12192000"/>
                <a:gd name="connsiteY164" fmla="*/ 698254 h 1608850"/>
                <a:gd name="connsiteX165" fmla="*/ 1782579 w 12192000"/>
                <a:gd name="connsiteY165" fmla="*/ 713387 h 1608850"/>
                <a:gd name="connsiteX166" fmla="*/ 1786633 w 12192000"/>
                <a:gd name="connsiteY166" fmla="*/ 711495 h 1608850"/>
                <a:gd name="connsiteX167" fmla="*/ 1786633 w 12192000"/>
                <a:gd name="connsiteY167" fmla="*/ 698254 h 1608850"/>
                <a:gd name="connsiteX168" fmla="*/ 1787645 w 12192000"/>
                <a:gd name="connsiteY168" fmla="*/ 698254 h 1608850"/>
                <a:gd name="connsiteX169" fmla="*/ 1794739 w 12192000"/>
                <a:gd name="connsiteY169" fmla="*/ 698254 h 1608850"/>
                <a:gd name="connsiteX170" fmla="*/ 1794739 w 12192000"/>
                <a:gd name="connsiteY170" fmla="*/ 699876 h 1608850"/>
                <a:gd name="connsiteX171" fmla="*/ 1794739 w 12192000"/>
                <a:gd name="connsiteY171" fmla="*/ 711225 h 1608850"/>
                <a:gd name="connsiteX172" fmla="*/ 1795499 w 12192000"/>
                <a:gd name="connsiteY172" fmla="*/ 711225 h 1608850"/>
                <a:gd name="connsiteX173" fmla="*/ 1800819 w 12192000"/>
                <a:gd name="connsiteY173" fmla="*/ 711225 h 1608850"/>
                <a:gd name="connsiteX174" fmla="*/ 1849459 w 12192000"/>
                <a:gd name="connsiteY174" fmla="*/ 706902 h 1608850"/>
                <a:gd name="connsiteX175" fmla="*/ 1849459 w 12192000"/>
                <a:gd name="connsiteY175" fmla="*/ 708253 h 1608850"/>
                <a:gd name="connsiteX176" fmla="*/ 1849459 w 12192000"/>
                <a:gd name="connsiteY176" fmla="*/ 717710 h 1608850"/>
                <a:gd name="connsiteX177" fmla="*/ 1850219 w 12192000"/>
                <a:gd name="connsiteY177" fmla="*/ 717710 h 1608850"/>
                <a:gd name="connsiteX178" fmla="*/ 1855541 w 12192000"/>
                <a:gd name="connsiteY178" fmla="*/ 717710 h 1608850"/>
                <a:gd name="connsiteX179" fmla="*/ 1855541 w 12192000"/>
                <a:gd name="connsiteY179" fmla="*/ 719872 h 1608850"/>
                <a:gd name="connsiteX180" fmla="*/ 1855541 w 12192000"/>
                <a:gd name="connsiteY180" fmla="*/ 735005 h 1608850"/>
                <a:gd name="connsiteX181" fmla="*/ 1857567 w 12192000"/>
                <a:gd name="connsiteY181" fmla="*/ 733654 h 1608850"/>
                <a:gd name="connsiteX182" fmla="*/ 1871753 w 12192000"/>
                <a:gd name="connsiteY182" fmla="*/ 724196 h 1608850"/>
                <a:gd name="connsiteX183" fmla="*/ 1877833 w 12192000"/>
                <a:gd name="connsiteY183" fmla="*/ 683122 h 1608850"/>
                <a:gd name="connsiteX184" fmla="*/ 1878593 w 12192000"/>
                <a:gd name="connsiteY184" fmla="*/ 682852 h 1608850"/>
                <a:gd name="connsiteX185" fmla="*/ 1883913 w 12192000"/>
                <a:gd name="connsiteY185" fmla="*/ 680960 h 1608850"/>
                <a:gd name="connsiteX186" fmla="*/ 1885941 w 12192000"/>
                <a:gd name="connsiteY186" fmla="*/ 611783 h 1608850"/>
                <a:gd name="connsiteX187" fmla="*/ 1887967 w 12192000"/>
                <a:gd name="connsiteY187" fmla="*/ 680960 h 1608850"/>
                <a:gd name="connsiteX188" fmla="*/ 1888727 w 12192000"/>
                <a:gd name="connsiteY188" fmla="*/ 681230 h 1608850"/>
                <a:gd name="connsiteX189" fmla="*/ 1894047 w 12192000"/>
                <a:gd name="connsiteY189" fmla="*/ 683122 h 1608850"/>
                <a:gd name="connsiteX190" fmla="*/ 1894047 w 12192000"/>
                <a:gd name="connsiteY190" fmla="*/ 596651 h 1608850"/>
                <a:gd name="connsiteX191" fmla="*/ 1898101 w 12192000"/>
                <a:gd name="connsiteY191" fmla="*/ 564224 h 1608850"/>
                <a:gd name="connsiteX192" fmla="*/ 1936607 w 12192000"/>
                <a:gd name="connsiteY192" fmla="*/ 564224 h 1608850"/>
                <a:gd name="connsiteX193" fmla="*/ 1936607 w 12192000"/>
                <a:gd name="connsiteY193" fmla="*/ 596651 h 1608850"/>
                <a:gd name="connsiteX194" fmla="*/ 1937367 w 12192000"/>
                <a:gd name="connsiteY194" fmla="*/ 596651 h 1608850"/>
                <a:gd name="connsiteX195" fmla="*/ 1942687 w 12192000"/>
                <a:gd name="connsiteY195" fmla="*/ 596651 h 1608850"/>
                <a:gd name="connsiteX196" fmla="*/ 1942687 w 12192000"/>
                <a:gd name="connsiteY196" fmla="*/ 514503 h 1608850"/>
                <a:gd name="connsiteX197" fmla="*/ 1944461 w 12192000"/>
                <a:gd name="connsiteY197" fmla="*/ 514503 h 1608850"/>
                <a:gd name="connsiteX198" fmla="*/ 1956875 w 12192000"/>
                <a:gd name="connsiteY198" fmla="*/ 514503 h 1608850"/>
                <a:gd name="connsiteX199" fmla="*/ 1956875 w 12192000"/>
                <a:gd name="connsiteY199" fmla="*/ 512612 h 1608850"/>
                <a:gd name="connsiteX200" fmla="*/ 1956875 w 12192000"/>
                <a:gd name="connsiteY200" fmla="*/ 499371 h 1608850"/>
                <a:gd name="connsiteX201" fmla="*/ 1979169 w 12192000"/>
                <a:gd name="connsiteY201" fmla="*/ 499371 h 1608850"/>
                <a:gd name="connsiteX202" fmla="*/ 1979169 w 12192000"/>
                <a:gd name="connsiteY202" fmla="*/ 498290 h 1608850"/>
                <a:gd name="connsiteX203" fmla="*/ 1979169 w 12192000"/>
                <a:gd name="connsiteY203" fmla="*/ 490724 h 1608850"/>
                <a:gd name="connsiteX204" fmla="*/ 1980941 w 12192000"/>
                <a:gd name="connsiteY204" fmla="*/ 490724 h 1608850"/>
                <a:gd name="connsiteX205" fmla="*/ 1993355 w 12192000"/>
                <a:gd name="connsiteY205" fmla="*/ 490724 h 1608850"/>
                <a:gd name="connsiteX206" fmla="*/ 1993355 w 12192000"/>
                <a:gd name="connsiteY206" fmla="*/ 491805 h 1608850"/>
                <a:gd name="connsiteX207" fmla="*/ 1993355 w 12192000"/>
                <a:gd name="connsiteY207" fmla="*/ 499371 h 1608850"/>
                <a:gd name="connsiteX208" fmla="*/ 1994115 w 12192000"/>
                <a:gd name="connsiteY208" fmla="*/ 499371 h 1608850"/>
                <a:gd name="connsiteX209" fmla="*/ 1999435 w 12192000"/>
                <a:gd name="connsiteY209" fmla="*/ 499371 h 1608850"/>
                <a:gd name="connsiteX210" fmla="*/ 2009569 w 12192000"/>
                <a:gd name="connsiteY210" fmla="*/ 495047 h 1608850"/>
                <a:gd name="connsiteX211" fmla="*/ 2013621 w 12192000"/>
                <a:gd name="connsiteY211" fmla="*/ 498290 h 1608850"/>
                <a:gd name="connsiteX212" fmla="*/ 2013621 w 12192000"/>
                <a:gd name="connsiteY212" fmla="*/ 490724 h 1608850"/>
                <a:gd name="connsiteX213" fmla="*/ 2015901 w 12192000"/>
                <a:gd name="connsiteY213" fmla="*/ 490724 h 1608850"/>
                <a:gd name="connsiteX214" fmla="*/ 2031863 w 12192000"/>
                <a:gd name="connsiteY214" fmla="*/ 490724 h 1608850"/>
                <a:gd name="connsiteX215" fmla="*/ 2031863 w 12192000"/>
                <a:gd name="connsiteY215" fmla="*/ 491805 h 1608850"/>
                <a:gd name="connsiteX216" fmla="*/ 2031863 w 12192000"/>
                <a:gd name="connsiteY216" fmla="*/ 499371 h 1608850"/>
                <a:gd name="connsiteX217" fmla="*/ 2062263 w 12192000"/>
                <a:gd name="connsiteY217" fmla="*/ 499371 h 1608850"/>
                <a:gd name="connsiteX218" fmla="*/ 2062263 w 12192000"/>
                <a:gd name="connsiteY218" fmla="*/ 500992 h 1608850"/>
                <a:gd name="connsiteX219" fmla="*/ 2062263 w 12192000"/>
                <a:gd name="connsiteY219" fmla="*/ 512342 h 1608850"/>
                <a:gd name="connsiteX220" fmla="*/ 2088609 w 12192000"/>
                <a:gd name="connsiteY220" fmla="*/ 512342 h 1608850"/>
                <a:gd name="connsiteX221" fmla="*/ 2088609 w 12192000"/>
                <a:gd name="connsiteY221" fmla="*/ 542606 h 1608850"/>
                <a:gd name="connsiteX222" fmla="*/ 2089369 w 12192000"/>
                <a:gd name="connsiteY222" fmla="*/ 542606 h 1608850"/>
                <a:gd name="connsiteX223" fmla="*/ 2094689 w 12192000"/>
                <a:gd name="connsiteY223" fmla="*/ 542606 h 1608850"/>
                <a:gd name="connsiteX224" fmla="*/ 2094689 w 12192000"/>
                <a:gd name="connsiteY224" fmla="*/ 543687 h 1608850"/>
                <a:gd name="connsiteX225" fmla="*/ 2094689 w 12192000"/>
                <a:gd name="connsiteY225" fmla="*/ 551254 h 1608850"/>
                <a:gd name="connsiteX226" fmla="*/ 2098743 w 12192000"/>
                <a:gd name="connsiteY226" fmla="*/ 581518 h 1608850"/>
                <a:gd name="connsiteX227" fmla="*/ 2099503 w 12192000"/>
                <a:gd name="connsiteY227" fmla="*/ 581518 h 1608850"/>
                <a:gd name="connsiteX228" fmla="*/ 2104823 w 12192000"/>
                <a:gd name="connsiteY228" fmla="*/ 581518 h 1608850"/>
                <a:gd name="connsiteX229" fmla="*/ 2104823 w 12192000"/>
                <a:gd name="connsiteY229" fmla="*/ 582329 h 1608850"/>
                <a:gd name="connsiteX230" fmla="*/ 2104823 w 12192000"/>
                <a:gd name="connsiteY230" fmla="*/ 588004 h 1608850"/>
                <a:gd name="connsiteX231" fmla="*/ 2105837 w 12192000"/>
                <a:gd name="connsiteY231" fmla="*/ 588004 h 1608850"/>
                <a:gd name="connsiteX232" fmla="*/ 2112929 w 12192000"/>
                <a:gd name="connsiteY232" fmla="*/ 588004 h 1608850"/>
                <a:gd name="connsiteX233" fmla="*/ 2112929 w 12192000"/>
                <a:gd name="connsiteY233" fmla="*/ 618269 h 1608850"/>
                <a:gd name="connsiteX234" fmla="*/ 2114957 w 12192000"/>
                <a:gd name="connsiteY234" fmla="*/ 618269 h 1608850"/>
                <a:gd name="connsiteX235" fmla="*/ 2129143 w 12192000"/>
                <a:gd name="connsiteY235" fmla="*/ 618269 h 1608850"/>
                <a:gd name="connsiteX236" fmla="*/ 2129143 w 12192000"/>
                <a:gd name="connsiteY236" fmla="*/ 642048 h 1608850"/>
                <a:gd name="connsiteX237" fmla="*/ 2131171 w 12192000"/>
                <a:gd name="connsiteY237" fmla="*/ 643669 h 1608850"/>
                <a:gd name="connsiteX238" fmla="*/ 2131171 w 12192000"/>
                <a:gd name="connsiteY238" fmla="*/ 655019 h 1608850"/>
                <a:gd name="connsiteX239" fmla="*/ 2131931 w 12192000"/>
                <a:gd name="connsiteY239" fmla="*/ 655019 h 1608850"/>
                <a:gd name="connsiteX240" fmla="*/ 2137251 w 12192000"/>
                <a:gd name="connsiteY240" fmla="*/ 655019 h 1608850"/>
                <a:gd name="connsiteX241" fmla="*/ 2137251 w 12192000"/>
                <a:gd name="connsiteY241" fmla="*/ 678798 h 1608850"/>
                <a:gd name="connsiteX242" fmla="*/ 2138517 w 12192000"/>
                <a:gd name="connsiteY242" fmla="*/ 678798 h 1608850"/>
                <a:gd name="connsiteX243" fmla="*/ 2147383 w 12192000"/>
                <a:gd name="connsiteY243" fmla="*/ 678798 h 1608850"/>
                <a:gd name="connsiteX244" fmla="*/ 2149411 w 12192000"/>
                <a:gd name="connsiteY244" fmla="*/ 682852 h 1608850"/>
                <a:gd name="connsiteX245" fmla="*/ 2149411 w 12192000"/>
                <a:gd name="connsiteY245" fmla="*/ 696093 h 1608850"/>
                <a:gd name="connsiteX246" fmla="*/ 2150931 w 12192000"/>
                <a:gd name="connsiteY246" fmla="*/ 694201 h 1608850"/>
                <a:gd name="connsiteX247" fmla="*/ 2161571 w 12192000"/>
                <a:gd name="connsiteY247" fmla="*/ 680960 h 1608850"/>
                <a:gd name="connsiteX248" fmla="*/ 2189945 w 12192000"/>
                <a:gd name="connsiteY248" fmla="*/ 680960 h 1608850"/>
                <a:gd name="connsiteX249" fmla="*/ 2189945 w 12192000"/>
                <a:gd name="connsiteY249" fmla="*/ 767431 h 1608850"/>
                <a:gd name="connsiteX250" fmla="*/ 2190705 w 12192000"/>
                <a:gd name="connsiteY250" fmla="*/ 767431 h 1608850"/>
                <a:gd name="connsiteX251" fmla="*/ 2196025 w 12192000"/>
                <a:gd name="connsiteY251" fmla="*/ 767431 h 1608850"/>
                <a:gd name="connsiteX252" fmla="*/ 2196785 w 12192000"/>
                <a:gd name="connsiteY252" fmla="*/ 766080 h 1608850"/>
                <a:gd name="connsiteX253" fmla="*/ 2202105 w 12192000"/>
                <a:gd name="connsiteY253" fmla="*/ 756622 h 1608850"/>
                <a:gd name="connsiteX254" fmla="*/ 2202105 w 12192000"/>
                <a:gd name="connsiteY254" fmla="*/ 758514 h 1608850"/>
                <a:gd name="connsiteX255" fmla="*/ 2202105 w 12192000"/>
                <a:gd name="connsiteY255" fmla="*/ 771755 h 1608850"/>
                <a:gd name="connsiteX256" fmla="*/ 2206157 w 12192000"/>
                <a:gd name="connsiteY256" fmla="*/ 726358 h 1608850"/>
                <a:gd name="connsiteX257" fmla="*/ 2206917 w 12192000"/>
                <a:gd name="connsiteY257" fmla="*/ 726358 h 1608850"/>
                <a:gd name="connsiteX258" fmla="*/ 2212237 w 12192000"/>
                <a:gd name="connsiteY258" fmla="*/ 726358 h 1608850"/>
                <a:gd name="connsiteX259" fmla="*/ 2212237 w 12192000"/>
                <a:gd name="connsiteY259" fmla="*/ 661504 h 1608850"/>
                <a:gd name="connsiteX260" fmla="*/ 2213251 w 12192000"/>
                <a:gd name="connsiteY260" fmla="*/ 661504 h 1608850"/>
                <a:gd name="connsiteX261" fmla="*/ 2220345 w 12192000"/>
                <a:gd name="connsiteY261" fmla="*/ 661504 h 1608850"/>
                <a:gd name="connsiteX262" fmla="*/ 2232505 w 12192000"/>
                <a:gd name="connsiteY262" fmla="*/ 618269 h 1608850"/>
                <a:gd name="connsiteX263" fmla="*/ 2233771 w 12192000"/>
                <a:gd name="connsiteY263" fmla="*/ 618269 h 1608850"/>
                <a:gd name="connsiteX264" fmla="*/ 2242639 w 12192000"/>
                <a:gd name="connsiteY264" fmla="*/ 618269 h 1608850"/>
                <a:gd name="connsiteX265" fmla="*/ 2252771 w 12192000"/>
                <a:gd name="connsiteY265" fmla="*/ 661504 h 1608850"/>
                <a:gd name="connsiteX266" fmla="*/ 2253785 w 12192000"/>
                <a:gd name="connsiteY266" fmla="*/ 661504 h 1608850"/>
                <a:gd name="connsiteX267" fmla="*/ 2260879 w 12192000"/>
                <a:gd name="connsiteY267" fmla="*/ 661504 h 1608850"/>
                <a:gd name="connsiteX268" fmla="*/ 2260879 w 12192000"/>
                <a:gd name="connsiteY268" fmla="*/ 700416 h 1608850"/>
                <a:gd name="connsiteX269" fmla="*/ 2262651 w 12192000"/>
                <a:gd name="connsiteY269" fmla="*/ 700416 h 1608850"/>
                <a:gd name="connsiteX270" fmla="*/ 2275065 w 12192000"/>
                <a:gd name="connsiteY270" fmla="*/ 700416 h 1608850"/>
                <a:gd name="connsiteX271" fmla="*/ 2275065 w 12192000"/>
                <a:gd name="connsiteY271" fmla="*/ 702578 h 1608850"/>
                <a:gd name="connsiteX272" fmla="*/ 2275065 w 12192000"/>
                <a:gd name="connsiteY272" fmla="*/ 717710 h 1608850"/>
                <a:gd name="connsiteX273" fmla="*/ 2279119 w 12192000"/>
                <a:gd name="connsiteY273" fmla="*/ 715549 h 1608850"/>
                <a:gd name="connsiteX274" fmla="*/ 2279119 w 12192000"/>
                <a:gd name="connsiteY274" fmla="*/ 700416 h 1608850"/>
                <a:gd name="connsiteX275" fmla="*/ 2280639 w 12192000"/>
                <a:gd name="connsiteY275" fmla="*/ 700416 h 1608850"/>
                <a:gd name="connsiteX276" fmla="*/ 2291279 w 12192000"/>
                <a:gd name="connsiteY276" fmla="*/ 700416 h 1608850"/>
                <a:gd name="connsiteX277" fmla="*/ 2291279 w 12192000"/>
                <a:gd name="connsiteY277" fmla="*/ 702037 h 1608850"/>
                <a:gd name="connsiteX278" fmla="*/ 2291279 w 12192000"/>
                <a:gd name="connsiteY278" fmla="*/ 713387 h 1608850"/>
                <a:gd name="connsiteX279" fmla="*/ 2321680 w 12192000"/>
                <a:gd name="connsiteY279" fmla="*/ 713387 h 1608850"/>
                <a:gd name="connsiteX280" fmla="*/ 2321680 w 12192000"/>
                <a:gd name="connsiteY280" fmla="*/ 676637 h 1608850"/>
                <a:gd name="connsiteX281" fmla="*/ 2322945 w 12192000"/>
                <a:gd name="connsiteY281" fmla="*/ 676637 h 1608850"/>
                <a:gd name="connsiteX282" fmla="*/ 2331813 w 12192000"/>
                <a:gd name="connsiteY282" fmla="*/ 676637 h 1608850"/>
                <a:gd name="connsiteX283" fmla="*/ 2331813 w 12192000"/>
                <a:gd name="connsiteY283" fmla="*/ 698254 h 1608850"/>
                <a:gd name="connsiteX284" fmla="*/ 2333840 w 12192000"/>
                <a:gd name="connsiteY284" fmla="*/ 665828 h 1608850"/>
                <a:gd name="connsiteX285" fmla="*/ 2356133 w 12192000"/>
                <a:gd name="connsiteY285" fmla="*/ 665828 h 1608850"/>
                <a:gd name="connsiteX286" fmla="*/ 2356133 w 12192000"/>
                <a:gd name="connsiteY286" fmla="*/ 664206 h 1608850"/>
                <a:gd name="connsiteX287" fmla="*/ 2356133 w 12192000"/>
                <a:gd name="connsiteY287" fmla="*/ 652857 h 1608850"/>
                <a:gd name="connsiteX288" fmla="*/ 2356893 w 12192000"/>
                <a:gd name="connsiteY288" fmla="*/ 652857 h 1608850"/>
                <a:gd name="connsiteX289" fmla="*/ 2362213 w 12192000"/>
                <a:gd name="connsiteY289" fmla="*/ 652857 h 1608850"/>
                <a:gd name="connsiteX290" fmla="*/ 2362213 w 12192000"/>
                <a:gd name="connsiteY290" fmla="*/ 650966 h 1608850"/>
                <a:gd name="connsiteX291" fmla="*/ 2362213 w 12192000"/>
                <a:gd name="connsiteY291" fmla="*/ 637725 h 1608850"/>
                <a:gd name="connsiteX292" fmla="*/ 2366267 w 12192000"/>
                <a:gd name="connsiteY292" fmla="*/ 644210 h 1608850"/>
                <a:gd name="connsiteX293" fmla="*/ 2368547 w 12192000"/>
                <a:gd name="connsiteY293" fmla="*/ 644210 h 1608850"/>
                <a:gd name="connsiteX294" fmla="*/ 2384507 w 12192000"/>
                <a:gd name="connsiteY294" fmla="*/ 644210 h 1608850"/>
                <a:gd name="connsiteX295" fmla="*/ 2384507 w 12192000"/>
                <a:gd name="connsiteY295" fmla="*/ 643399 h 1608850"/>
                <a:gd name="connsiteX296" fmla="*/ 2384507 w 12192000"/>
                <a:gd name="connsiteY296" fmla="*/ 637725 h 1608850"/>
                <a:gd name="connsiteX297" fmla="*/ 2385267 w 12192000"/>
                <a:gd name="connsiteY297" fmla="*/ 637725 h 1608850"/>
                <a:gd name="connsiteX298" fmla="*/ 2390587 w 12192000"/>
                <a:gd name="connsiteY298" fmla="*/ 637725 h 1608850"/>
                <a:gd name="connsiteX299" fmla="*/ 2390587 w 12192000"/>
                <a:gd name="connsiteY299" fmla="*/ 639076 h 1608850"/>
                <a:gd name="connsiteX300" fmla="*/ 2390587 w 12192000"/>
                <a:gd name="connsiteY300" fmla="*/ 648534 h 1608850"/>
                <a:gd name="connsiteX301" fmla="*/ 2429093 w 12192000"/>
                <a:gd name="connsiteY301" fmla="*/ 648534 h 1608850"/>
                <a:gd name="connsiteX302" fmla="*/ 2429093 w 12192000"/>
                <a:gd name="connsiteY302" fmla="*/ 786887 h 1608850"/>
                <a:gd name="connsiteX303" fmla="*/ 2430613 w 12192000"/>
                <a:gd name="connsiteY303" fmla="*/ 786887 h 1608850"/>
                <a:gd name="connsiteX304" fmla="*/ 2441254 w 12192000"/>
                <a:gd name="connsiteY304" fmla="*/ 786887 h 1608850"/>
                <a:gd name="connsiteX305" fmla="*/ 2441254 w 12192000"/>
                <a:gd name="connsiteY305" fmla="*/ 773917 h 1608850"/>
                <a:gd name="connsiteX306" fmla="*/ 2445307 w 12192000"/>
                <a:gd name="connsiteY306" fmla="*/ 773917 h 1608850"/>
                <a:gd name="connsiteX307" fmla="*/ 2445307 w 12192000"/>
                <a:gd name="connsiteY307" fmla="*/ 786887 h 1608850"/>
                <a:gd name="connsiteX308" fmla="*/ 2475707 w 12192000"/>
                <a:gd name="connsiteY308" fmla="*/ 786887 h 1608850"/>
                <a:gd name="connsiteX309" fmla="*/ 2475707 w 12192000"/>
                <a:gd name="connsiteY309" fmla="*/ 756622 h 1608850"/>
                <a:gd name="connsiteX310" fmla="*/ 2487867 w 12192000"/>
                <a:gd name="connsiteY310" fmla="*/ 756622 h 1608850"/>
                <a:gd name="connsiteX311" fmla="*/ 2500027 w 12192000"/>
                <a:gd name="connsiteY311" fmla="*/ 754461 h 1608850"/>
                <a:gd name="connsiteX312" fmla="*/ 2504082 w 12192000"/>
                <a:gd name="connsiteY312" fmla="*/ 756622 h 1608850"/>
                <a:gd name="connsiteX313" fmla="*/ 2514215 w 12192000"/>
                <a:gd name="connsiteY313" fmla="*/ 756622 h 1608850"/>
                <a:gd name="connsiteX314" fmla="*/ 2514215 w 12192000"/>
                <a:gd name="connsiteY314" fmla="*/ 786887 h 1608850"/>
                <a:gd name="connsiteX315" fmla="*/ 2522321 w 12192000"/>
                <a:gd name="connsiteY315" fmla="*/ 786887 h 1608850"/>
                <a:gd name="connsiteX316" fmla="*/ 2522321 w 12192000"/>
                <a:gd name="connsiteY316" fmla="*/ 804182 h 1608850"/>
                <a:gd name="connsiteX317" fmla="*/ 2531658 w 12192000"/>
                <a:gd name="connsiteY317" fmla="*/ 805087 h 1608850"/>
                <a:gd name="connsiteX318" fmla="*/ 2544615 w 12192000"/>
                <a:gd name="connsiteY318" fmla="*/ 805087 h 1608850"/>
                <a:gd name="connsiteX319" fmla="*/ 2544615 w 12192000"/>
                <a:gd name="connsiteY319" fmla="*/ 789049 h 1608850"/>
                <a:gd name="connsiteX320" fmla="*/ 2612571 w 12192000"/>
                <a:gd name="connsiteY320" fmla="*/ 789049 h 1608850"/>
                <a:gd name="connsiteX321" fmla="*/ 2612571 w 12192000"/>
                <a:gd name="connsiteY321" fmla="*/ 703796 h 1608850"/>
                <a:gd name="connsiteX322" fmla="*/ 2684579 w 12192000"/>
                <a:gd name="connsiteY322" fmla="*/ 703796 h 1608850"/>
                <a:gd name="connsiteX323" fmla="*/ 2684579 w 12192000"/>
                <a:gd name="connsiteY323" fmla="*/ 782564 h 1608850"/>
                <a:gd name="connsiteX324" fmla="*/ 2686483 w 12192000"/>
                <a:gd name="connsiteY324" fmla="*/ 782564 h 1608850"/>
                <a:gd name="connsiteX325" fmla="*/ 2687725 w 12192000"/>
                <a:gd name="connsiteY325" fmla="*/ 805087 h 1608850"/>
                <a:gd name="connsiteX326" fmla="*/ 2697401 w 12192000"/>
                <a:gd name="connsiteY326" fmla="*/ 805087 h 1608850"/>
                <a:gd name="connsiteX327" fmla="*/ 2698643 w 12192000"/>
                <a:gd name="connsiteY327" fmla="*/ 782564 h 1608850"/>
                <a:gd name="connsiteX328" fmla="*/ 2704723 w 12192000"/>
                <a:gd name="connsiteY328" fmla="*/ 782564 h 1608850"/>
                <a:gd name="connsiteX329" fmla="*/ 2705965 w 12192000"/>
                <a:gd name="connsiteY329" fmla="*/ 805087 h 1608850"/>
                <a:gd name="connsiteX330" fmla="*/ 2756588 w 12192000"/>
                <a:gd name="connsiteY330" fmla="*/ 805087 h 1608850"/>
                <a:gd name="connsiteX331" fmla="*/ 2756588 w 12192000"/>
                <a:gd name="connsiteY331" fmla="*/ 642059 h 1608850"/>
                <a:gd name="connsiteX332" fmla="*/ 2953915 w 12192000"/>
                <a:gd name="connsiteY332" fmla="*/ 642059 h 1608850"/>
                <a:gd name="connsiteX333" fmla="*/ 2953915 w 12192000"/>
                <a:gd name="connsiteY333" fmla="*/ 805087 h 1608850"/>
                <a:gd name="connsiteX334" fmla="*/ 2972611 w 12192000"/>
                <a:gd name="connsiteY334" fmla="*/ 805087 h 1608850"/>
                <a:gd name="connsiteX335" fmla="*/ 2972611 w 12192000"/>
                <a:gd name="connsiteY335" fmla="*/ 722394 h 1608850"/>
                <a:gd name="connsiteX336" fmla="*/ 3067731 w 12192000"/>
                <a:gd name="connsiteY336" fmla="*/ 722394 h 1608850"/>
                <a:gd name="connsiteX337" fmla="*/ 3079662 w 12192000"/>
                <a:gd name="connsiteY337" fmla="*/ 404253 h 1608850"/>
                <a:gd name="connsiteX338" fmla="*/ 3067502 w 12192000"/>
                <a:gd name="connsiteY338" fmla="*/ 382635 h 1608850"/>
                <a:gd name="connsiteX339" fmla="*/ 3061422 w 12192000"/>
                <a:gd name="connsiteY339" fmla="*/ 378311 h 1608850"/>
                <a:gd name="connsiteX340" fmla="*/ 3069529 w 12192000"/>
                <a:gd name="connsiteY340" fmla="*/ 354532 h 1608850"/>
                <a:gd name="connsiteX341" fmla="*/ 3069529 w 12192000"/>
                <a:gd name="connsiteY341" fmla="*/ 337238 h 1608850"/>
                <a:gd name="connsiteX342" fmla="*/ 3083715 w 12192000"/>
                <a:gd name="connsiteY342" fmla="*/ 337238 h 1608850"/>
                <a:gd name="connsiteX343" fmla="*/ 3083715 w 12192000"/>
                <a:gd name="connsiteY343" fmla="*/ 315620 h 1608850"/>
                <a:gd name="connsiteX344" fmla="*/ 3085742 w 12192000"/>
                <a:gd name="connsiteY344" fmla="*/ 311296 h 1608850"/>
                <a:gd name="connsiteX345" fmla="*/ 3085742 w 12192000"/>
                <a:gd name="connsiteY345" fmla="*/ 233472 h 1608850"/>
                <a:gd name="connsiteX346" fmla="*/ 3083715 w 12192000"/>
                <a:gd name="connsiteY346" fmla="*/ 226987 h 1608850"/>
                <a:gd name="connsiteX347" fmla="*/ 3089795 w 12192000"/>
                <a:gd name="connsiteY347" fmla="*/ 220501 h 1608850"/>
                <a:gd name="connsiteX348" fmla="*/ 3089795 w 12192000"/>
                <a:gd name="connsiteY348" fmla="*/ 162133 h 1608850"/>
                <a:gd name="connsiteX349" fmla="*/ 3091822 w 12192000"/>
                <a:gd name="connsiteY349" fmla="*/ 157810 h 1608850"/>
                <a:gd name="connsiteX350" fmla="*/ 3091822 w 12192000"/>
                <a:gd name="connsiteY350" fmla="*/ 101604 h 1608850"/>
                <a:gd name="connsiteX351" fmla="*/ 3093849 w 12192000"/>
                <a:gd name="connsiteY351" fmla="*/ 82148 h 1608850"/>
                <a:gd name="connsiteX352" fmla="*/ 3097902 w 12192000"/>
                <a:gd name="connsiteY352" fmla="*/ 99442 h 1608850"/>
                <a:gd name="connsiteX353" fmla="*/ 3099929 w 12192000"/>
                <a:gd name="connsiteY353" fmla="*/ 157810 h 1608850"/>
                <a:gd name="connsiteX354" fmla="*/ 3101955 w 12192000"/>
                <a:gd name="connsiteY354" fmla="*/ 220501 h 1608850"/>
                <a:gd name="connsiteX355" fmla="*/ 3108035 w 12192000"/>
                <a:gd name="connsiteY355" fmla="*/ 226987 h 1608850"/>
                <a:gd name="connsiteX356" fmla="*/ 3106009 w 12192000"/>
                <a:gd name="connsiteY356" fmla="*/ 233472 h 1608850"/>
                <a:gd name="connsiteX357" fmla="*/ 3106009 w 12192000"/>
                <a:gd name="connsiteY357" fmla="*/ 311296 h 1608850"/>
                <a:gd name="connsiteX358" fmla="*/ 3108035 w 12192000"/>
                <a:gd name="connsiteY358" fmla="*/ 315620 h 1608850"/>
                <a:gd name="connsiteX359" fmla="*/ 3108035 w 12192000"/>
                <a:gd name="connsiteY359" fmla="*/ 337238 h 1608850"/>
                <a:gd name="connsiteX360" fmla="*/ 3122222 w 12192000"/>
                <a:gd name="connsiteY360" fmla="*/ 337238 h 1608850"/>
                <a:gd name="connsiteX361" fmla="*/ 3122222 w 12192000"/>
                <a:gd name="connsiteY361" fmla="*/ 354532 h 1608850"/>
                <a:gd name="connsiteX362" fmla="*/ 3130330 w 12192000"/>
                <a:gd name="connsiteY362" fmla="*/ 378311 h 1608850"/>
                <a:gd name="connsiteX363" fmla="*/ 3124250 w 12192000"/>
                <a:gd name="connsiteY363" fmla="*/ 382635 h 1608850"/>
                <a:gd name="connsiteX364" fmla="*/ 3112089 w 12192000"/>
                <a:gd name="connsiteY364" fmla="*/ 404253 h 1608850"/>
                <a:gd name="connsiteX365" fmla="*/ 3120195 w 12192000"/>
                <a:gd name="connsiteY365" fmla="*/ 657181 h 1608850"/>
                <a:gd name="connsiteX366" fmla="*/ 3185050 w 12192000"/>
                <a:gd name="connsiteY366" fmla="*/ 657181 h 1608850"/>
                <a:gd name="connsiteX367" fmla="*/ 3185050 w 12192000"/>
                <a:gd name="connsiteY367" fmla="*/ 732843 h 1608850"/>
                <a:gd name="connsiteX368" fmla="*/ 3193157 w 12192000"/>
                <a:gd name="connsiteY368" fmla="*/ 732843 h 1608850"/>
                <a:gd name="connsiteX369" fmla="*/ 3195183 w 12192000"/>
                <a:gd name="connsiteY369" fmla="*/ 726358 h 1608850"/>
                <a:gd name="connsiteX370" fmla="*/ 3201263 w 12192000"/>
                <a:gd name="connsiteY370" fmla="*/ 726358 h 1608850"/>
                <a:gd name="connsiteX371" fmla="*/ 3203291 w 12192000"/>
                <a:gd name="connsiteY371" fmla="*/ 735005 h 1608850"/>
                <a:gd name="connsiteX372" fmla="*/ 3215451 w 12192000"/>
                <a:gd name="connsiteY372" fmla="*/ 735005 h 1608850"/>
                <a:gd name="connsiteX373" fmla="*/ 3215451 w 12192000"/>
                <a:gd name="connsiteY373" fmla="*/ 728519 h 1608850"/>
                <a:gd name="connsiteX374" fmla="*/ 3237744 w 12192000"/>
                <a:gd name="connsiteY374" fmla="*/ 728519 h 1608850"/>
                <a:gd name="connsiteX375" fmla="*/ 3237744 w 12192000"/>
                <a:gd name="connsiteY375" fmla="*/ 735005 h 1608850"/>
                <a:gd name="connsiteX376" fmla="*/ 3258011 w 12192000"/>
                <a:gd name="connsiteY376" fmla="*/ 735005 h 1608850"/>
                <a:gd name="connsiteX377" fmla="*/ 3258011 w 12192000"/>
                <a:gd name="connsiteY377" fmla="*/ 780402 h 1608850"/>
                <a:gd name="connsiteX378" fmla="*/ 3272198 w 12192000"/>
                <a:gd name="connsiteY378" fmla="*/ 780402 h 1608850"/>
                <a:gd name="connsiteX379" fmla="*/ 3272198 w 12192000"/>
                <a:gd name="connsiteY379" fmla="*/ 767431 h 1608850"/>
                <a:gd name="connsiteX380" fmla="*/ 3288412 w 12192000"/>
                <a:gd name="connsiteY380" fmla="*/ 767431 h 1608850"/>
                <a:gd name="connsiteX381" fmla="*/ 3288412 w 12192000"/>
                <a:gd name="connsiteY381" fmla="*/ 588004 h 1608850"/>
                <a:gd name="connsiteX382" fmla="*/ 3294492 w 12192000"/>
                <a:gd name="connsiteY382" fmla="*/ 581518 h 1608850"/>
                <a:gd name="connsiteX383" fmla="*/ 3367453 w 12192000"/>
                <a:gd name="connsiteY383" fmla="*/ 581518 h 1608850"/>
                <a:gd name="connsiteX384" fmla="*/ 3367453 w 12192000"/>
                <a:gd name="connsiteY384" fmla="*/ 590166 h 1608850"/>
                <a:gd name="connsiteX385" fmla="*/ 3377586 w 12192000"/>
                <a:gd name="connsiteY385" fmla="*/ 590166 h 1608850"/>
                <a:gd name="connsiteX386" fmla="*/ 3377586 w 12192000"/>
                <a:gd name="connsiteY386" fmla="*/ 704740 h 1608850"/>
                <a:gd name="connsiteX387" fmla="*/ 3399879 w 12192000"/>
                <a:gd name="connsiteY387" fmla="*/ 704740 h 1608850"/>
                <a:gd name="connsiteX388" fmla="*/ 3399879 w 12192000"/>
                <a:gd name="connsiteY388" fmla="*/ 637725 h 1608850"/>
                <a:gd name="connsiteX389" fmla="*/ 3426227 w 12192000"/>
                <a:gd name="connsiteY389" fmla="*/ 637725 h 1608850"/>
                <a:gd name="connsiteX390" fmla="*/ 3430279 w 12192000"/>
                <a:gd name="connsiteY390" fmla="*/ 633401 h 1608850"/>
                <a:gd name="connsiteX391" fmla="*/ 3438387 w 12192000"/>
                <a:gd name="connsiteY391" fmla="*/ 633401 h 1608850"/>
                <a:gd name="connsiteX392" fmla="*/ 3442439 w 12192000"/>
                <a:gd name="connsiteY392" fmla="*/ 637725 h 1608850"/>
                <a:gd name="connsiteX393" fmla="*/ 3464734 w 12192000"/>
                <a:gd name="connsiteY393" fmla="*/ 637725 h 1608850"/>
                <a:gd name="connsiteX394" fmla="*/ 3464734 w 12192000"/>
                <a:gd name="connsiteY394" fmla="*/ 520989 h 1608850"/>
                <a:gd name="connsiteX395" fmla="*/ 3521481 w 12192000"/>
                <a:gd name="connsiteY395" fmla="*/ 510180 h 1608850"/>
                <a:gd name="connsiteX396" fmla="*/ 3521481 w 12192000"/>
                <a:gd name="connsiteY396" fmla="*/ 511261 h 1608850"/>
                <a:gd name="connsiteX397" fmla="*/ 3521481 w 12192000"/>
                <a:gd name="connsiteY397" fmla="*/ 518827 h 1608850"/>
                <a:gd name="connsiteX398" fmla="*/ 3547828 w 12192000"/>
                <a:gd name="connsiteY398" fmla="*/ 518827 h 1608850"/>
                <a:gd name="connsiteX399" fmla="*/ 3547828 w 12192000"/>
                <a:gd name="connsiteY399" fmla="*/ 773917 h 1608850"/>
                <a:gd name="connsiteX400" fmla="*/ 3570122 w 12192000"/>
                <a:gd name="connsiteY400" fmla="*/ 773917 h 1608850"/>
                <a:gd name="connsiteX401" fmla="*/ 3570122 w 12192000"/>
                <a:gd name="connsiteY401" fmla="*/ 769593 h 1608850"/>
                <a:gd name="connsiteX402" fmla="*/ 3582282 w 12192000"/>
                <a:gd name="connsiteY402" fmla="*/ 769593 h 1608850"/>
                <a:gd name="connsiteX403" fmla="*/ 3582282 w 12192000"/>
                <a:gd name="connsiteY403" fmla="*/ 773917 h 1608850"/>
                <a:gd name="connsiteX404" fmla="*/ 3606602 w 12192000"/>
                <a:gd name="connsiteY404" fmla="*/ 773917 h 1608850"/>
                <a:gd name="connsiteX405" fmla="*/ 3606602 w 12192000"/>
                <a:gd name="connsiteY405" fmla="*/ 760946 h 1608850"/>
                <a:gd name="connsiteX406" fmla="*/ 3634975 w 12192000"/>
                <a:gd name="connsiteY406" fmla="*/ 760946 h 1608850"/>
                <a:gd name="connsiteX407" fmla="*/ 3647135 w 12192000"/>
                <a:gd name="connsiteY407" fmla="*/ 756622 h 1608850"/>
                <a:gd name="connsiteX408" fmla="*/ 3667403 w 12192000"/>
                <a:gd name="connsiteY408" fmla="*/ 760946 h 1608850"/>
                <a:gd name="connsiteX409" fmla="*/ 3667403 w 12192000"/>
                <a:gd name="connsiteY409" fmla="*/ 743652 h 1608850"/>
                <a:gd name="connsiteX410" fmla="*/ 3675510 w 12192000"/>
                <a:gd name="connsiteY410" fmla="*/ 743652 h 1608850"/>
                <a:gd name="connsiteX411" fmla="*/ 3675510 w 12192000"/>
                <a:gd name="connsiteY411" fmla="*/ 730681 h 1608850"/>
                <a:gd name="connsiteX412" fmla="*/ 3732257 w 12192000"/>
                <a:gd name="connsiteY412" fmla="*/ 730681 h 1608850"/>
                <a:gd name="connsiteX413" fmla="*/ 3732257 w 12192000"/>
                <a:gd name="connsiteY413" fmla="*/ 700416 h 1608850"/>
                <a:gd name="connsiteX414" fmla="*/ 3750497 w 12192000"/>
                <a:gd name="connsiteY414" fmla="*/ 700416 h 1608850"/>
                <a:gd name="connsiteX415" fmla="*/ 3750497 w 12192000"/>
                <a:gd name="connsiteY415" fmla="*/ 693931 h 1608850"/>
                <a:gd name="connsiteX416" fmla="*/ 3762657 w 12192000"/>
                <a:gd name="connsiteY416" fmla="*/ 693931 h 1608850"/>
                <a:gd name="connsiteX417" fmla="*/ 3762657 w 12192000"/>
                <a:gd name="connsiteY417" fmla="*/ 700416 h 1608850"/>
                <a:gd name="connsiteX418" fmla="*/ 3778870 w 12192000"/>
                <a:gd name="connsiteY418" fmla="*/ 700416 h 1608850"/>
                <a:gd name="connsiteX419" fmla="*/ 3778870 w 12192000"/>
                <a:gd name="connsiteY419" fmla="*/ 750137 h 1608850"/>
                <a:gd name="connsiteX420" fmla="*/ 3789470 w 12192000"/>
                <a:gd name="connsiteY420" fmla="*/ 750137 h 1608850"/>
                <a:gd name="connsiteX421" fmla="*/ 3789470 w 12192000"/>
                <a:gd name="connsiteY421" fmla="*/ 586174 h 1608850"/>
                <a:gd name="connsiteX422" fmla="*/ 3791390 w 12192000"/>
                <a:gd name="connsiteY422" fmla="*/ 586174 h 1608850"/>
                <a:gd name="connsiteX423" fmla="*/ 3791390 w 12192000"/>
                <a:gd name="connsiteY423" fmla="*/ 723865 h 1608850"/>
                <a:gd name="connsiteX424" fmla="*/ 3791390 w 12192000"/>
                <a:gd name="connsiteY424" fmla="*/ 750137 h 1608850"/>
                <a:gd name="connsiteX425" fmla="*/ 3806350 w 12192000"/>
                <a:gd name="connsiteY425" fmla="*/ 750137 h 1608850"/>
                <a:gd name="connsiteX426" fmla="*/ 3806350 w 12192000"/>
                <a:gd name="connsiteY426" fmla="*/ 742023 h 1608850"/>
                <a:gd name="connsiteX427" fmla="*/ 3811298 w 12192000"/>
                <a:gd name="connsiteY427" fmla="*/ 742023 h 1608850"/>
                <a:gd name="connsiteX428" fmla="*/ 3811298 w 12192000"/>
                <a:gd name="connsiteY428" fmla="*/ 724196 h 1608850"/>
                <a:gd name="connsiteX429" fmla="*/ 3849805 w 12192000"/>
                <a:gd name="connsiteY429" fmla="*/ 724196 h 1608850"/>
                <a:gd name="connsiteX430" fmla="*/ 3849805 w 12192000"/>
                <a:gd name="connsiteY430" fmla="*/ 693931 h 1608850"/>
                <a:gd name="connsiteX431" fmla="*/ 3888823 w 12192000"/>
                <a:gd name="connsiteY431" fmla="*/ 693931 h 1608850"/>
                <a:gd name="connsiteX432" fmla="*/ 3888823 w 12192000"/>
                <a:gd name="connsiteY432" fmla="*/ 690579 h 1608850"/>
                <a:gd name="connsiteX433" fmla="*/ 3887708 w 12192000"/>
                <a:gd name="connsiteY433" fmla="*/ 690579 h 1608850"/>
                <a:gd name="connsiteX434" fmla="*/ 3879906 w 12192000"/>
                <a:gd name="connsiteY434" fmla="*/ 690579 h 1608850"/>
                <a:gd name="connsiteX435" fmla="*/ 3879906 w 12192000"/>
                <a:gd name="connsiteY435" fmla="*/ 689443 h 1608850"/>
                <a:gd name="connsiteX436" fmla="*/ 3879906 w 12192000"/>
                <a:gd name="connsiteY436" fmla="*/ 681500 h 1608850"/>
                <a:gd name="connsiteX437" fmla="*/ 3881022 w 12192000"/>
                <a:gd name="connsiteY437" fmla="*/ 681500 h 1608850"/>
                <a:gd name="connsiteX438" fmla="*/ 3888823 w 12192000"/>
                <a:gd name="connsiteY438" fmla="*/ 681500 h 1608850"/>
                <a:gd name="connsiteX439" fmla="*/ 3888823 w 12192000"/>
                <a:gd name="connsiteY439" fmla="*/ 679986 h 1608850"/>
                <a:gd name="connsiteX440" fmla="*/ 3888823 w 12192000"/>
                <a:gd name="connsiteY440" fmla="*/ 669395 h 1608850"/>
                <a:gd name="connsiteX441" fmla="*/ 3887708 w 12192000"/>
                <a:gd name="connsiteY441" fmla="*/ 669395 h 1608850"/>
                <a:gd name="connsiteX442" fmla="*/ 3879906 w 12192000"/>
                <a:gd name="connsiteY442" fmla="*/ 669395 h 1608850"/>
                <a:gd name="connsiteX443" fmla="*/ 3879906 w 12192000"/>
                <a:gd name="connsiteY443" fmla="*/ 667882 h 1608850"/>
                <a:gd name="connsiteX444" fmla="*/ 3879906 w 12192000"/>
                <a:gd name="connsiteY444" fmla="*/ 657290 h 1608850"/>
                <a:gd name="connsiteX445" fmla="*/ 3881022 w 12192000"/>
                <a:gd name="connsiteY445" fmla="*/ 657290 h 1608850"/>
                <a:gd name="connsiteX446" fmla="*/ 3888823 w 12192000"/>
                <a:gd name="connsiteY446" fmla="*/ 657290 h 1608850"/>
                <a:gd name="connsiteX447" fmla="*/ 3888823 w 12192000"/>
                <a:gd name="connsiteY447" fmla="*/ 656156 h 1608850"/>
                <a:gd name="connsiteX448" fmla="*/ 3888823 w 12192000"/>
                <a:gd name="connsiteY448" fmla="*/ 648212 h 1608850"/>
                <a:gd name="connsiteX449" fmla="*/ 3887708 w 12192000"/>
                <a:gd name="connsiteY449" fmla="*/ 648212 h 1608850"/>
                <a:gd name="connsiteX450" fmla="*/ 3879906 w 12192000"/>
                <a:gd name="connsiteY450" fmla="*/ 648212 h 1608850"/>
                <a:gd name="connsiteX451" fmla="*/ 3879906 w 12192000"/>
                <a:gd name="connsiteY451" fmla="*/ 646698 h 1608850"/>
                <a:gd name="connsiteX452" fmla="*/ 3879906 w 12192000"/>
                <a:gd name="connsiteY452" fmla="*/ 636107 h 1608850"/>
                <a:gd name="connsiteX453" fmla="*/ 3881022 w 12192000"/>
                <a:gd name="connsiteY453" fmla="*/ 636107 h 1608850"/>
                <a:gd name="connsiteX454" fmla="*/ 3888823 w 12192000"/>
                <a:gd name="connsiteY454" fmla="*/ 636107 h 1608850"/>
                <a:gd name="connsiteX455" fmla="*/ 3888823 w 12192000"/>
                <a:gd name="connsiteY455" fmla="*/ 634594 h 1608850"/>
                <a:gd name="connsiteX456" fmla="*/ 3888823 w 12192000"/>
                <a:gd name="connsiteY456" fmla="*/ 624002 h 1608850"/>
                <a:gd name="connsiteX457" fmla="*/ 3887708 w 12192000"/>
                <a:gd name="connsiteY457" fmla="*/ 624002 h 1608850"/>
                <a:gd name="connsiteX458" fmla="*/ 3879906 w 12192000"/>
                <a:gd name="connsiteY458" fmla="*/ 624002 h 1608850"/>
                <a:gd name="connsiteX459" fmla="*/ 3879906 w 12192000"/>
                <a:gd name="connsiteY459" fmla="*/ 622489 h 1608850"/>
                <a:gd name="connsiteX460" fmla="*/ 3879906 w 12192000"/>
                <a:gd name="connsiteY460" fmla="*/ 611898 h 1608850"/>
                <a:gd name="connsiteX461" fmla="*/ 3881022 w 12192000"/>
                <a:gd name="connsiteY461" fmla="*/ 611898 h 1608850"/>
                <a:gd name="connsiteX462" fmla="*/ 3888823 w 12192000"/>
                <a:gd name="connsiteY462" fmla="*/ 611898 h 1608850"/>
                <a:gd name="connsiteX463" fmla="*/ 3888823 w 12192000"/>
                <a:gd name="connsiteY463" fmla="*/ 610763 h 1608850"/>
                <a:gd name="connsiteX464" fmla="*/ 3888823 w 12192000"/>
                <a:gd name="connsiteY464" fmla="*/ 602819 h 1608850"/>
                <a:gd name="connsiteX465" fmla="*/ 3887708 w 12192000"/>
                <a:gd name="connsiteY465" fmla="*/ 602819 h 1608850"/>
                <a:gd name="connsiteX466" fmla="*/ 3879906 w 12192000"/>
                <a:gd name="connsiteY466" fmla="*/ 602819 h 1608850"/>
                <a:gd name="connsiteX467" fmla="*/ 3879906 w 12192000"/>
                <a:gd name="connsiteY467" fmla="*/ 601307 h 1608850"/>
                <a:gd name="connsiteX468" fmla="*/ 3879906 w 12192000"/>
                <a:gd name="connsiteY468" fmla="*/ 590714 h 1608850"/>
                <a:gd name="connsiteX469" fmla="*/ 3881022 w 12192000"/>
                <a:gd name="connsiteY469" fmla="*/ 590714 h 1608850"/>
                <a:gd name="connsiteX470" fmla="*/ 3888823 w 12192000"/>
                <a:gd name="connsiteY470" fmla="*/ 590714 h 1608850"/>
                <a:gd name="connsiteX471" fmla="*/ 3888823 w 12192000"/>
                <a:gd name="connsiteY471" fmla="*/ 589202 h 1608850"/>
                <a:gd name="connsiteX472" fmla="*/ 3888823 w 12192000"/>
                <a:gd name="connsiteY472" fmla="*/ 578610 h 1608850"/>
                <a:gd name="connsiteX473" fmla="*/ 3887708 w 12192000"/>
                <a:gd name="connsiteY473" fmla="*/ 578610 h 1608850"/>
                <a:gd name="connsiteX474" fmla="*/ 3879906 w 12192000"/>
                <a:gd name="connsiteY474" fmla="*/ 578610 h 1608850"/>
                <a:gd name="connsiteX475" fmla="*/ 3879906 w 12192000"/>
                <a:gd name="connsiteY475" fmla="*/ 577096 h 1608850"/>
                <a:gd name="connsiteX476" fmla="*/ 3879906 w 12192000"/>
                <a:gd name="connsiteY476" fmla="*/ 566505 h 1608850"/>
                <a:gd name="connsiteX477" fmla="*/ 3881022 w 12192000"/>
                <a:gd name="connsiteY477" fmla="*/ 566505 h 1608850"/>
                <a:gd name="connsiteX478" fmla="*/ 3888823 w 12192000"/>
                <a:gd name="connsiteY478" fmla="*/ 566505 h 1608850"/>
                <a:gd name="connsiteX479" fmla="*/ 3888823 w 12192000"/>
                <a:gd name="connsiteY479" fmla="*/ 565370 h 1608850"/>
                <a:gd name="connsiteX480" fmla="*/ 3888823 w 12192000"/>
                <a:gd name="connsiteY480" fmla="*/ 557427 h 1608850"/>
                <a:gd name="connsiteX481" fmla="*/ 3887708 w 12192000"/>
                <a:gd name="connsiteY481" fmla="*/ 557427 h 1608850"/>
                <a:gd name="connsiteX482" fmla="*/ 3879906 w 12192000"/>
                <a:gd name="connsiteY482" fmla="*/ 557427 h 1608850"/>
                <a:gd name="connsiteX483" fmla="*/ 3879906 w 12192000"/>
                <a:gd name="connsiteY483" fmla="*/ 555914 h 1608850"/>
                <a:gd name="connsiteX484" fmla="*/ 3879906 w 12192000"/>
                <a:gd name="connsiteY484" fmla="*/ 545322 h 1608850"/>
                <a:gd name="connsiteX485" fmla="*/ 3881022 w 12192000"/>
                <a:gd name="connsiteY485" fmla="*/ 545322 h 1608850"/>
                <a:gd name="connsiteX486" fmla="*/ 3888823 w 12192000"/>
                <a:gd name="connsiteY486" fmla="*/ 545322 h 1608850"/>
                <a:gd name="connsiteX487" fmla="*/ 3887708 w 12192000"/>
                <a:gd name="connsiteY487" fmla="*/ 543053 h 1608850"/>
                <a:gd name="connsiteX488" fmla="*/ 3879906 w 12192000"/>
                <a:gd name="connsiteY488" fmla="*/ 527166 h 1608850"/>
                <a:gd name="connsiteX489" fmla="*/ 3879906 w 12192000"/>
                <a:gd name="connsiteY489" fmla="*/ 478746 h 1608850"/>
                <a:gd name="connsiteX490" fmla="*/ 4029251 w 12192000"/>
                <a:gd name="connsiteY490" fmla="*/ 478746 h 1608850"/>
                <a:gd name="connsiteX491" fmla="*/ 4042623 w 12192000"/>
                <a:gd name="connsiteY491" fmla="*/ 505982 h 1608850"/>
                <a:gd name="connsiteX492" fmla="*/ 4042623 w 12192000"/>
                <a:gd name="connsiteY492" fmla="*/ 566505 h 1608850"/>
                <a:gd name="connsiteX493" fmla="*/ 4041510 w 12192000"/>
                <a:gd name="connsiteY493" fmla="*/ 566505 h 1608850"/>
                <a:gd name="connsiteX494" fmla="*/ 4033708 w 12192000"/>
                <a:gd name="connsiteY494" fmla="*/ 566505 h 1608850"/>
                <a:gd name="connsiteX495" fmla="*/ 4033708 w 12192000"/>
                <a:gd name="connsiteY495" fmla="*/ 568018 h 1608850"/>
                <a:gd name="connsiteX496" fmla="*/ 4033708 w 12192000"/>
                <a:gd name="connsiteY496" fmla="*/ 578610 h 1608850"/>
                <a:gd name="connsiteX497" fmla="*/ 4034823 w 12192000"/>
                <a:gd name="connsiteY497" fmla="*/ 578610 h 1608850"/>
                <a:gd name="connsiteX498" fmla="*/ 4042623 w 12192000"/>
                <a:gd name="connsiteY498" fmla="*/ 578610 h 1608850"/>
                <a:gd name="connsiteX499" fmla="*/ 4042623 w 12192000"/>
                <a:gd name="connsiteY499" fmla="*/ 580123 h 1608850"/>
                <a:gd name="connsiteX500" fmla="*/ 4042623 w 12192000"/>
                <a:gd name="connsiteY500" fmla="*/ 590714 h 1608850"/>
                <a:gd name="connsiteX501" fmla="*/ 4041510 w 12192000"/>
                <a:gd name="connsiteY501" fmla="*/ 590714 h 1608850"/>
                <a:gd name="connsiteX502" fmla="*/ 4033708 w 12192000"/>
                <a:gd name="connsiteY502" fmla="*/ 590714 h 1608850"/>
                <a:gd name="connsiteX503" fmla="*/ 4033708 w 12192000"/>
                <a:gd name="connsiteY503" fmla="*/ 592227 h 1608850"/>
                <a:gd name="connsiteX504" fmla="*/ 4033708 w 12192000"/>
                <a:gd name="connsiteY504" fmla="*/ 602819 h 1608850"/>
                <a:gd name="connsiteX505" fmla="*/ 4034823 w 12192000"/>
                <a:gd name="connsiteY505" fmla="*/ 602819 h 1608850"/>
                <a:gd name="connsiteX506" fmla="*/ 4042623 w 12192000"/>
                <a:gd name="connsiteY506" fmla="*/ 602819 h 1608850"/>
                <a:gd name="connsiteX507" fmla="*/ 4042623 w 12192000"/>
                <a:gd name="connsiteY507" fmla="*/ 603955 h 1608850"/>
                <a:gd name="connsiteX508" fmla="*/ 4042623 w 12192000"/>
                <a:gd name="connsiteY508" fmla="*/ 611898 h 1608850"/>
                <a:gd name="connsiteX509" fmla="*/ 4041510 w 12192000"/>
                <a:gd name="connsiteY509" fmla="*/ 611898 h 1608850"/>
                <a:gd name="connsiteX510" fmla="*/ 4033708 w 12192000"/>
                <a:gd name="connsiteY510" fmla="*/ 611898 h 1608850"/>
                <a:gd name="connsiteX511" fmla="*/ 4033708 w 12192000"/>
                <a:gd name="connsiteY511" fmla="*/ 613411 h 1608850"/>
                <a:gd name="connsiteX512" fmla="*/ 4033708 w 12192000"/>
                <a:gd name="connsiteY512" fmla="*/ 624002 h 1608850"/>
                <a:gd name="connsiteX513" fmla="*/ 4034823 w 12192000"/>
                <a:gd name="connsiteY513" fmla="*/ 624002 h 1608850"/>
                <a:gd name="connsiteX514" fmla="*/ 4042623 w 12192000"/>
                <a:gd name="connsiteY514" fmla="*/ 624002 h 1608850"/>
                <a:gd name="connsiteX515" fmla="*/ 4042623 w 12192000"/>
                <a:gd name="connsiteY515" fmla="*/ 625516 h 1608850"/>
                <a:gd name="connsiteX516" fmla="*/ 4042623 w 12192000"/>
                <a:gd name="connsiteY516" fmla="*/ 636107 h 1608850"/>
                <a:gd name="connsiteX517" fmla="*/ 4041510 w 12192000"/>
                <a:gd name="connsiteY517" fmla="*/ 636107 h 1608850"/>
                <a:gd name="connsiteX518" fmla="*/ 4033708 w 12192000"/>
                <a:gd name="connsiteY518" fmla="*/ 636107 h 1608850"/>
                <a:gd name="connsiteX519" fmla="*/ 4033708 w 12192000"/>
                <a:gd name="connsiteY519" fmla="*/ 637620 h 1608850"/>
                <a:gd name="connsiteX520" fmla="*/ 4033708 w 12192000"/>
                <a:gd name="connsiteY520" fmla="*/ 648212 h 1608850"/>
                <a:gd name="connsiteX521" fmla="*/ 4034823 w 12192000"/>
                <a:gd name="connsiteY521" fmla="*/ 648212 h 1608850"/>
                <a:gd name="connsiteX522" fmla="*/ 4042623 w 12192000"/>
                <a:gd name="connsiteY522" fmla="*/ 648212 h 1608850"/>
                <a:gd name="connsiteX523" fmla="*/ 4042623 w 12192000"/>
                <a:gd name="connsiteY523" fmla="*/ 649346 h 1608850"/>
                <a:gd name="connsiteX524" fmla="*/ 4042623 w 12192000"/>
                <a:gd name="connsiteY524" fmla="*/ 657290 h 1608850"/>
                <a:gd name="connsiteX525" fmla="*/ 4041510 w 12192000"/>
                <a:gd name="connsiteY525" fmla="*/ 657290 h 1608850"/>
                <a:gd name="connsiteX526" fmla="*/ 4033708 w 12192000"/>
                <a:gd name="connsiteY526" fmla="*/ 657290 h 1608850"/>
                <a:gd name="connsiteX527" fmla="*/ 4033708 w 12192000"/>
                <a:gd name="connsiteY527" fmla="*/ 658804 h 1608850"/>
                <a:gd name="connsiteX528" fmla="*/ 4033708 w 12192000"/>
                <a:gd name="connsiteY528" fmla="*/ 669395 h 1608850"/>
                <a:gd name="connsiteX529" fmla="*/ 4034823 w 12192000"/>
                <a:gd name="connsiteY529" fmla="*/ 669395 h 1608850"/>
                <a:gd name="connsiteX530" fmla="*/ 4042623 w 12192000"/>
                <a:gd name="connsiteY530" fmla="*/ 669395 h 1608850"/>
                <a:gd name="connsiteX531" fmla="*/ 4042623 w 12192000"/>
                <a:gd name="connsiteY531" fmla="*/ 670908 h 1608850"/>
                <a:gd name="connsiteX532" fmla="*/ 4042623 w 12192000"/>
                <a:gd name="connsiteY532" fmla="*/ 681500 h 1608850"/>
                <a:gd name="connsiteX533" fmla="*/ 4041510 w 12192000"/>
                <a:gd name="connsiteY533" fmla="*/ 681500 h 1608850"/>
                <a:gd name="connsiteX534" fmla="*/ 4033708 w 12192000"/>
                <a:gd name="connsiteY534" fmla="*/ 681500 h 1608850"/>
                <a:gd name="connsiteX535" fmla="*/ 4033708 w 12192000"/>
                <a:gd name="connsiteY535" fmla="*/ 682634 h 1608850"/>
                <a:gd name="connsiteX536" fmla="*/ 4033708 w 12192000"/>
                <a:gd name="connsiteY536" fmla="*/ 690579 h 1608850"/>
                <a:gd name="connsiteX537" fmla="*/ 4034823 w 12192000"/>
                <a:gd name="connsiteY537" fmla="*/ 690579 h 1608850"/>
                <a:gd name="connsiteX538" fmla="*/ 4042623 w 12192000"/>
                <a:gd name="connsiteY538" fmla="*/ 690579 h 1608850"/>
                <a:gd name="connsiteX539" fmla="*/ 4042623 w 12192000"/>
                <a:gd name="connsiteY539" fmla="*/ 692091 h 1608850"/>
                <a:gd name="connsiteX540" fmla="*/ 4042623 w 12192000"/>
                <a:gd name="connsiteY540" fmla="*/ 702682 h 1608850"/>
                <a:gd name="connsiteX541" fmla="*/ 4041510 w 12192000"/>
                <a:gd name="connsiteY541" fmla="*/ 702682 h 1608850"/>
                <a:gd name="connsiteX542" fmla="*/ 4033708 w 12192000"/>
                <a:gd name="connsiteY542" fmla="*/ 702682 h 1608850"/>
                <a:gd name="connsiteX543" fmla="*/ 4033708 w 12192000"/>
                <a:gd name="connsiteY543" fmla="*/ 704195 h 1608850"/>
                <a:gd name="connsiteX544" fmla="*/ 4033708 w 12192000"/>
                <a:gd name="connsiteY544" fmla="*/ 714788 h 1608850"/>
                <a:gd name="connsiteX545" fmla="*/ 4034823 w 12192000"/>
                <a:gd name="connsiteY545" fmla="*/ 714788 h 1608850"/>
                <a:gd name="connsiteX546" fmla="*/ 4042623 w 12192000"/>
                <a:gd name="connsiteY546" fmla="*/ 714788 h 1608850"/>
                <a:gd name="connsiteX547" fmla="*/ 4042623 w 12192000"/>
                <a:gd name="connsiteY547" fmla="*/ 716300 h 1608850"/>
                <a:gd name="connsiteX548" fmla="*/ 4042623 w 12192000"/>
                <a:gd name="connsiteY548" fmla="*/ 726892 h 1608850"/>
                <a:gd name="connsiteX549" fmla="*/ 4041510 w 12192000"/>
                <a:gd name="connsiteY549" fmla="*/ 726892 h 1608850"/>
                <a:gd name="connsiteX550" fmla="*/ 4033708 w 12192000"/>
                <a:gd name="connsiteY550" fmla="*/ 726892 h 1608850"/>
                <a:gd name="connsiteX551" fmla="*/ 4033708 w 12192000"/>
                <a:gd name="connsiteY551" fmla="*/ 728027 h 1608850"/>
                <a:gd name="connsiteX552" fmla="*/ 4033708 w 12192000"/>
                <a:gd name="connsiteY552" fmla="*/ 735970 h 1608850"/>
                <a:gd name="connsiteX553" fmla="*/ 4034823 w 12192000"/>
                <a:gd name="connsiteY553" fmla="*/ 735970 h 1608850"/>
                <a:gd name="connsiteX554" fmla="*/ 4042623 w 12192000"/>
                <a:gd name="connsiteY554" fmla="*/ 735970 h 1608850"/>
                <a:gd name="connsiteX555" fmla="*/ 4042623 w 12192000"/>
                <a:gd name="connsiteY555" fmla="*/ 737484 h 1608850"/>
                <a:gd name="connsiteX556" fmla="*/ 4042623 w 12192000"/>
                <a:gd name="connsiteY556" fmla="*/ 748075 h 1608850"/>
                <a:gd name="connsiteX557" fmla="*/ 4041510 w 12192000"/>
                <a:gd name="connsiteY557" fmla="*/ 748075 h 1608850"/>
                <a:gd name="connsiteX558" fmla="*/ 4033708 w 12192000"/>
                <a:gd name="connsiteY558" fmla="*/ 748075 h 1608850"/>
                <a:gd name="connsiteX559" fmla="*/ 4033708 w 12192000"/>
                <a:gd name="connsiteY559" fmla="*/ 749588 h 1608850"/>
                <a:gd name="connsiteX560" fmla="*/ 4033708 w 12192000"/>
                <a:gd name="connsiteY560" fmla="*/ 760181 h 1608850"/>
                <a:gd name="connsiteX561" fmla="*/ 4034823 w 12192000"/>
                <a:gd name="connsiteY561" fmla="*/ 760181 h 1608850"/>
                <a:gd name="connsiteX562" fmla="*/ 4042623 w 12192000"/>
                <a:gd name="connsiteY562" fmla="*/ 760181 h 1608850"/>
                <a:gd name="connsiteX563" fmla="*/ 4042623 w 12192000"/>
                <a:gd name="connsiteY563" fmla="*/ 761314 h 1608850"/>
                <a:gd name="connsiteX564" fmla="*/ 4042623 w 12192000"/>
                <a:gd name="connsiteY564" fmla="*/ 769258 h 1608850"/>
                <a:gd name="connsiteX565" fmla="*/ 4041510 w 12192000"/>
                <a:gd name="connsiteY565" fmla="*/ 769258 h 1608850"/>
                <a:gd name="connsiteX566" fmla="*/ 4033708 w 12192000"/>
                <a:gd name="connsiteY566" fmla="*/ 769258 h 1608850"/>
                <a:gd name="connsiteX567" fmla="*/ 4033708 w 12192000"/>
                <a:gd name="connsiteY567" fmla="*/ 770772 h 1608850"/>
                <a:gd name="connsiteX568" fmla="*/ 4033708 w 12192000"/>
                <a:gd name="connsiteY568" fmla="*/ 781363 h 1608850"/>
                <a:gd name="connsiteX569" fmla="*/ 4034823 w 12192000"/>
                <a:gd name="connsiteY569" fmla="*/ 781363 h 1608850"/>
                <a:gd name="connsiteX570" fmla="*/ 4042623 w 12192000"/>
                <a:gd name="connsiteY570" fmla="*/ 781363 h 1608850"/>
                <a:gd name="connsiteX571" fmla="*/ 4042623 w 12192000"/>
                <a:gd name="connsiteY571" fmla="*/ 782876 h 1608850"/>
                <a:gd name="connsiteX572" fmla="*/ 4042623 w 12192000"/>
                <a:gd name="connsiteY572" fmla="*/ 793468 h 1608850"/>
                <a:gd name="connsiteX573" fmla="*/ 4041510 w 12192000"/>
                <a:gd name="connsiteY573" fmla="*/ 793468 h 1608850"/>
                <a:gd name="connsiteX574" fmla="*/ 4033708 w 12192000"/>
                <a:gd name="connsiteY574" fmla="*/ 793468 h 1608850"/>
                <a:gd name="connsiteX575" fmla="*/ 4033708 w 12192000"/>
                <a:gd name="connsiteY575" fmla="*/ 794981 h 1608850"/>
                <a:gd name="connsiteX576" fmla="*/ 4033708 w 12192000"/>
                <a:gd name="connsiteY576" fmla="*/ 805572 h 1608850"/>
                <a:gd name="connsiteX577" fmla="*/ 4034823 w 12192000"/>
                <a:gd name="connsiteY577" fmla="*/ 805572 h 1608850"/>
                <a:gd name="connsiteX578" fmla="*/ 4042623 w 12192000"/>
                <a:gd name="connsiteY578" fmla="*/ 805572 h 1608850"/>
                <a:gd name="connsiteX579" fmla="*/ 4042623 w 12192000"/>
                <a:gd name="connsiteY579" fmla="*/ 806707 h 1608850"/>
                <a:gd name="connsiteX580" fmla="*/ 4042623 w 12192000"/>
                <a:gd name="connsiteY580" fmla="*/ 814651 h 1608850"/>
                <a:gd name="connsiteX581" fmla="*/ 4041510 w 12192000"/>
                <a:gd name="connsiteY581" fmla="*/ 814651 h 1608850"/>
                <a:gd name="connsiteX582" fmla="*/ 4033708 w 12192000"/>
                <a:gd name="connsiteY582" fmla="*/ 814651 h 1608850"/>
                <a:gd name="connsiteX583" fmla="*/ 4033708 w 12192000"/>
                <a:gd name="connsiteY583" fmla="*/ 816163 h 1608850"/>
                <a:gd name="connsiteX584" fmla="*/ 4033708 w 12192000"/>
                <a:gd name="connsiteY584" fmla="*/ 826756 h 1608850"/>
                <a:gd name="connsiteX585" fmla="*/ 4058227 w 12192000"/>
                <a:gd name="connsiteY585" fmla="*/ 853992 h 1608850"/>
                <a:gd name="connsiteX586" fmla="*/ 4057113 w 12192000"/>
                <a:gd name="connsiteY586" fmla="*/ 860044 h 1608850"/>
                <a:gd name="connsiteX587" fmla="*/ 4049311 w 12192000"/>
                <a:gd name="connsiteY587" fmla="*/ 860044 h 1608850"/>
                <a:gd name="connsiteX588" fmla="*/ 4049311 w 12192000"/>
                <a:gd name="connsiteY588" fmla="*/ 893331 h 1608850"/>
                <a:gd name="connsiteX589" fmla="*/ 4050427 w 12192000"/>
                <a:gd name="connsiteY589" fmla="*/ 893331 h 1608850"/>
                <a:gd name="connsiteX590" fmla="*/ 4058227 w 12192000"/>
                <a:gd name="connsiteY590" fmla="*/ 893331 h 1608850"/>
                <a:gd name="connsiteX591" fmla="*/ 4058227 w 12192000"/>
                <a:gd name="connsiteY591" fmla="*/ 891440 h 1608850"/>
                <a:gd name="connsiteX592" fmla="*/ 4058227 w 12192000"/>
                <a:gd name="connsiteY592" fmla="*/ 878201 h 1608850"/>
                <a:gd name="connsiteX593" fmla="*/ 4059342 w 12192000"/>
                <a:gd name="connsiteY593" fmla="*/ 877444 h 1608850"/>
                <a:gd name="connsiteX594" fmla="*/ 4067142 w 12192000"/>
                <a:gd name="connsiteY594" fmla="*/ 872149 h 1608850"/>
                <a:gd name="connsiteX595" fmla="*/ 4069094 w 12192000"/>
                <a:gd name="connsiteY595" fmla="*/ 872149 h 1608850"/>
                <a:gd name="connsiteX596" fmla="*/ 4082747 w 12192000"/>
                <a:gd name="connsiteY596" fmla="*/ 872149 h 1608850"/>
                <a:gd name="connsiteX597" fmla="*/ 4082747 w 12192000"/>
                <a:gd name="connsiteY597" fmla="*/ 873661 h 1608850"/>
                <a:gd name="connsiteX598" fmla="*/ 4082747 w 12192000"/>
                <a:gd name="connsiteY598" fmla="*/ 884253 h 1608850"/>
                <a:gd name="connsiteX599" fmla="*/ 4084419 w 12192000"/>
                <a:gd name="connsiteY599" fmla="*/ 884253 h 1608850"/>
                <a:gd name="connsiteX600" fmla="*/ 4096121 w 12192000"/>
                <a:gd name="connsiteY600" fmla="*/ 884253 h 1608850"/>
                <a:gd name="connsiteX601" fmla="*/ 4097235 w 12192000"/>
                <a:gd name="connsiteY601" fmla="*/ 890305 h 1608850"/>
                <a:gd name="connsiteX602" fmla="*/ 4105038 w 12192000"/>
                <a:gd name="connsiteY602" fmla="*/ 890305 h 1608850"/>
                <a:gd name="connsiteX603" fmla="*/ 4129555 w 12192000"/>
                <a:gd name="connsiteY603" fmla="*/ 932671 h 1608850"/>
                <a:gd name="connsiteX604" fmla="*/ 4129555 w 12192000"/>
                <a:gd name="connsiteY604" fmla="*/ 951821 h 1608850"/>
                <a:gd name="connsiteX605" fmla="*/ 4129555 w 12192000"/>
                <a:gd name="connsiteY605" fmla="*/ 970823 h 1608850"/>
                <a:gd name="connsiteX606" fmla="*/ 4138472 w 12192000"/>
                <a:gd name="connsiteY606" fmla="*/ 970823 h 1608850"/>
                <a:gd name="connsiteX607" fmla="*/ 4138472 w 12192000"/>
                <a:gd name="connsiteY607" fmla="*/ 956881 h 1608850"/>
                <a:gd name="connsiteX608" fmla="*/ 4139308 w 12192000"/>
                <a:gd name="connsiteY608" fmla="*/ 956881 h 1608850"/>
                <a:gd name="connsiteX609" fmla="*/ 4145159 w 12192000"/>
                <a:gd name="connsiteY609" fmla="*/ 956881 h 1608850"/>
                <a:gd name="connsiteX610" fmla="*/ 4145159 w 12192000"/>
                <a:gd name="connsiteY610" fmla="*/ 958394 h 1608850"/>
                <a:gd name="connsiteX611" fmla="*/ 4145159 w 12192000"/>
                <a:gd name="connsiteY611" fmla="*/ 968985 h 1608850"/>
                <a:gd name="connsiteX612" fmla="*/ 4154075 w 12192000"/>
                <a:gd name="connsiteY612" fmla="*/ 905436 h 1608850"/>
                <a:gd name="connsiteX613" fmla="*/ 4191968 w 12192000"/>
                <a:gd name="connsiteY613" fmla="*/ 905436 h 1608850"/>
                <a:gd name="connsiteX614" fmla="*/ 4191968 w 12192000"/>
                <a:gd name="connsiteY614" fmla="*/ 808599 h 1608850"/>
                <a:gd name="connsiteX615" fmla="*/ 4227631 w 12192000"/>
                <a:gd name="connsiteY615" fmla="*/ 808599 h 1608850"/>
                <a:gd name="connsiteX616" fmla="*/ 4227631 w 12192000"/>
                <a:gd name="connsiteY616" fmla="*/ 807464 h 1608850"/>
                <a:gd name="connsiteX617" fmla="*/ 4227631 w 12192000"/>
                <a:gd name="connsiteY617" fmla="*/ 799520 h 1608850"/>
                <a:gd name="connsiteX618" fmla="*/ 4249922 w 12192000"/>
                <a:gd name="connsiteY618" fmla="*/ 799520 h 1608850"/>
                <a:gd name="connsiteX619" fmla="*/ 4249922 w 12192000"/>
                <a:gd name="connsiteY619" fmla="*/ 748075 h 1608850"/>
                <a:gd name="connsiteX620" fmla="*/ 4245463 w 12192000"/>
                <a:gd name="connsiteY620" fmla="*/ 745805 h 1608850"/>
                <a:gd name="connsiteX621" fmla="*/ 4245463 w 12192000"/>
                <a:gd name="connsiteY621" fmla="*/ 729918 h 1608850"/>
                <a:gd name="connsiteX622" fmla="*/ 4249922 w 12192000"/>
                <a:gd name="connsiteY622" fmla="*/ 732945 h 1608850"/>
                <a:gd name="connsiteX623" fmla="*/ 4254381 w 12192000"/>
                <a:gd name="connsiteY623" fmla="*/ 702682 h 1608850"/>
                <a:gd name="connsiteX624" fmla="*/ 4258839 w 12192000"/>
                <a:gd name="connsiteY624" fmla="*/ 732945 h 1608850"/>
                <a:gd name="connsiteX625" fmla="*/ 4261346 w 12192000"/>
                <a:gd name="connsiteY625" fmla="*/ 728783 h 1608850"/>
                <a:gd name="connsiteX626" fmla="*/ 4263297 w 12192000"/>
                <a:gd name="connsiteY626" fmla="*/ 720840 h 1608850"/>
                <a:gd name="connsiteX627" fmla="*/ 4263853 w 12192000"/>
                <a:gd name="connsiteY627" fmla="*/ 719327 h 1608850"/>
                <a:gd name="connsiteX628" fmla="*/ 4267754 w 12192000"/>
                <a:gd name="connsiteY628" fmla="*/ 708734 h 1608850"/>
                <a:gd name="connsiteX629" fmla="*/ 4268311 w 12192000"/>
                <a:gd name="connsiteY629" fmla="*/ 707222 h 1608850"/>
                <a:gd name="connsiteX630" fmla="*/ 4272213 w 12192000"/>
                <a:gd name="connsiteY630" fmla="*/ 696631 h 1608850"/>
                <a:gd name="connsiteX631" fmla="*/ 4273605 w 12192000"/>
                <a:gd name="connsiteY631" fmla="*/ 695495 h 1608850"/>
                <a:gd name="connsiteX632" fmla="*/ 4283357 w 12192000"/>
                <a:gd name="connsiteY632" fmla="*/ 687552 h 1608850"/>
                <a:gd name="connsiteX633" fmla="*/ 4285030 w 12192000"/>
                <a:gd name="connsiteY633" fmla="*/ 686039 h 1608850"/>
                <a:gd name="connsiteX634" fmla="*/ 4296732 w 12192000"/>
                <a:gd name="connsiteY634" fmla="*/ 675447 h 1608850"/>
                <a:gd name="connsiteX635" fmla="*/ 4297568 w 12192000"/>
                <a:gd name="connsiteY635" fmla="*/ 673934 h 1608850"/>
                <a:gd name="connsiteX636" fmla="*/ 4303418 w 12192000"/>
                <a:gd name="connsiteY636" fmla="*/ 663343 h 1608850"/>
                <a:gd name="connsiteX637" fmla="*/ 4303976 w 12192000"/>
                <a:gd name="connsiteY637" fmla="*/ 660695 h 1608850"/>
                <a:gd name="connsiteX638" fmla="*/ 4307877 w 12192000"/>
                <a:gd name="connsiteY638" fmla="*/ 642159 h 1608850"/>
                <a:gd name="connsiteX639" fmla="*/ 4308435 w 12192000"/>
                <a:gd name="connsiteY639" fmla="*/ 644807 h 1608850"/>
                <a:gd name="connsiteX640" fmla="*/ 4312335 w 12192000"/>
                <a:gd name="connsiteY640" fmla="*/ 663343 h 1608850"/>
                <a:gd name="connsiteX641" fmla="*/ 4312893 w 12192000"/>
                <a:gd name="connsiteY641" fmla="*/ 664477 h 1608850"/>
                <a:gd name="connsiteX642" fmla="*/ 4316793 w 12192000"/>
                <a:gd name="connsiteY642" fmla="*/ 672421 h 1608850"/>
                <a:gd name="connsiteX643" fmla="*/ 4318186 w 12192000"/>
                <a:gd name="connsiteY643" fmla="*/ 673934 h 1608850"/>
                <a:gd name="connsiteX644" fmla="*/ 4327938 w 12192000"/>
                <a:gd name="connsiteY644" fmla="*/ 684525 h 1608850"/>
                <a:gd name="connsiteX645" fmla="*/ 4329054 w 12192000"/>
                <a:gd name="connsiteY645" fmla="*/ 686039 h 1608850"/>
                <a:gd name="connsiteX646" fmla="*/ 4336853 w 12192000"/>
                <a:gd name="connsiteY646" fmla="*/ 696631 h 1608850"/>
                <a:gd name="connsiteX647" fmla="*/ 4337969 w 12192000"/>
                <a:gd name="connsiteY647" fmla="*/ 698143 h 1608850"/>
                <a:gd name="connsiteX648" fmla="*/ 4345771 w 12192000"/>
                <a:gd name="connsiteY648" fmla="*/ 708734 h 1608850"/>
                <a:gd name="connsiteX649" fmla="*/ 4346049 w 12192000"/>
                <a:gd name="connsiteY649" fmla="*/ 710248 h 1608850"/>
                <a:gd name="connsiteX650" fmla="*/ 4347998 w 12192000"/>
                <a:gd name="connsiteY650" fmla="*/ 720840 h 1608850"/>
                <a:gd name="connsiteX651" fmla="*/ 4348277 w 12192000"/>
                <a:gd name="connsiteY651" fmla="*/ 722352 h 1608850"/>
                <a:gd name="connsiteX652" fmla="*/ 4350228 w 12192000"/>
                <a:gd name="connsiteY652" fmla="*/ 732945 h 1608850"/>
                <a:gd name="connsiteX653" fmla="*/ 4356914 w 12192000"/>
                <a:gd name="connsiteY653" fmla="*/ 702682 h 1608850"/>
                <a:gd name="connsiteX654" fmla="*/ 4361373 w 12192000"/>
                <a:gd name="connsiteY654" fmla="*/ 732945 h 1608850"/>
                <a:gd name="connsiteX655" fmla="*/ 4365830 w 12192000"/>
                <a:gd name="connsiteY655" fmla="*/ 735214 h 1608850"/>
                <a:gd name="connsiteX656" fmla="*/ 4365830 w 12192000"/>
                <a:gd name="connsiteY656" fmla="*/ 751102 h 1608850"/>
                <a:gd name="connsiteX657" fmla="*/ 4361373 w 12192000"/>
                <a:gd name="connsiteY657" fmla="*/ 793468 h 1608850"/>
                <a:gd name="connsiteX658" fmla="*/ 4362489 w 12192000"/>
                <a:gd name="connsiteY658" fmla="*/ 793468 h 1608850"/>
                <a:gd name="connsiteX659" fmla="*/ 4370289 w 12192000"/>
                <a:gd name="connsiteY659" fmla="*/ 793468 h 1608850"/>
                <a:gd name="connsiteX660" fmla="*/ 4371126 w 12192000"/>
                <a:gd name="connsiteY660" fmla="*/ 799520 h 1608850"/>
                <a:gd name="connsiteX661" fmla="*/ 4376976 w 12192000"/>
                <a:gd name="connsiteY661" fmla="*/ 799520 h 1608850"/>
                <a:gd name="connsiteX662" fmla="*/ 4376976 w 12192000"/>
                <a:gd name="connsiteY662" fmla="*/ 798007 h 1608850"/>
                <a:gd name="connsiteX663" fmla="*/ 4376976 w 12192000"/>
                <a:gd name="connsiteY663" fmla="*/ 787415 h 1608850"/>
                <a:gd name="connsiteX664" fmla="*/ 4379206 w 12192000"/>
                <a:gd name="connsiteY664" fmla="*/ 787415 h 1608850"/>
                <a:gd name="connsiteX665" fmla="*/ 4394808 w 12192000"/>
                <a:gd name="connsiteY665" fmla="*/ 787415 h 1608850"/>
                <a:gd name="connsiteX666" fmla="*/ 4394808 w 12192000"/>
                <a:gd name="connsiteY666" fmla="*/ 784767 h 1608850"/>
                <a:gd name="connsiteX667" fmla="*/ 4394808 w 12192000"/>
                <a:gd name="connsiteY667" fmla="*/ 766232 h 1608850"/>
                <a:gd name="connsiteX668" fmla="*/ 4432702 w 12192000"/>
                <a:gd name="connsiteY668" fmla="*/ 766232 h 1608850"/>
                <a:gd name="connsiteX669" fmla="*/ 4432702 w 12192000"/>
                <a:gd name="connsiteY669" fmla="*/ 768124 h 1608850"/>
                <a:gd name="connsiteX670" fmla="*/ 4432702 w 12192000"/>
                <a:gd name="connsiteY670" fmla="*/ 781363 h 1608850"/>
                <a:gd name="connsiteX671" fmla="*/ 4452762 w 12192000"/>
                <a:gd name="connsiteY671" fmla="*/ 781363 h 1608850"/>
                <a:gd name="connsiteX672" fmla="*/ 4452762 w 12192000"/>
                <a:gd name="connsiteY672" fmla="*/ 784390 h 1608850"/>
                <a:gd name="connsiteX673" fmla="*/ 4452762 w 12192000"/>
                <a:gd name="connsiteY673" fmla="*/ 805572 h 1608850"/>
                <a:gd name="connsiteX674" fmla="*/ 4448306 w 12192000"/>
                <a:gd name="connsiteY674" fmla="*/ 806707 h 1608850"/>
                <a:gd name="connsiteX675" fmla="*/ 4448306 w 12192000"/>
                <a:gd name="connsiteY675" fmla="*/ 814651 h 1608850"/>
                <a:gd name="connsiteX676" fmla="*/ 4452762 w 12192000"/>
                <a:gd name="connsiteY676" fmla="*/ 816921 h 1608850"/>
                <a:gd name="connsiteX677" fmla="*/ 4452762 w 12192000"/>
                <a:gd name="connsiteY677" fmla="*/ 832808 h 1608850"/>
                <a:gd name="connsiteX678" fmla="*/ 4448306 w 12192000"/>
                <a:gd name="connsiteY678" fmla="*/ 838860 h 1608850"/>
                <a:gd name="connsiteX679" fmla="*/ 4448306 w 12192000"/>
                <a:gd name="connsiteY679" fmla="*/ 911488 h 1608850"/>
                <a:gd name="connsiteX680" fmla="*/ 4450255 w 12192000"/>
                <a:gd name="connsiteY680" fmla="*/ 911488 h 1608850"/>
                <a:gd name="connsiteX681" fmla="*/ 4463908 w 12192000"/>
                <a:gd name="connsiteY681" fmla="*/ 911488 h 1608850"/>
                <a:gd name="connsiteX682" fmla="*/ 4465579 w 12192000"/>
                <a:gd name="connsiteY682" fmla="*/ 917540 h 1608850"/>
                <a:gd name="connsiteX683" fmla="*/ 4477282 w 12192000"/>
                <a:gd name="connsiteY683" fmla="*/ 917540 h 1608850"/>
                <a:gd name="connsiteX684" fmla="*/ 4477282 w 12192000"/>
                <a:gd name="connsiteY684" fmla="*/ 920188 h 1608850"/>
                <a:gd name="connsiteX685" fmla="*/ 4477282 w 12192000"/>
                <a:gd name="connsiteY685" fmla="*/ 938724 h 1608850"/>
                <a:gd name="connsiteX686" fmla="*/ 4478955 w 12192000"/>
                <a:gd name="connsiteY686" fmla="*/ 938724 h 1608850"/>
                <a:gd name="connsiteX687" fmla="*/ 4490656 w 12192000"/>
                <a:gd name="connsiteY687" fmla="*/ 938724 h 1608850"/>
                <a:gd name="connsiteX688" fmla="*/ 4490656 w 12192000"/>
                <a:gd name="connsiteY688" fmla="*/ 936076 h 1608850"/>
                <a:gd name="connsiteX689" fmla="*/ 4490656 w 12192000"/>
                <a:gd name="connsiteY689" fmla="*/ 917540 h 1608850"/>
                <a:gd name="connsiteX690" fmla="*/ 4492605 w 12192000"/>
                <a:gd name="connsiteY690" fmla="*/ 916028 h 1608850"/>
                <a:gd name="connsiteX691" fmla="*/ 4506258 w 12192000"/>
                <a:gd name="connsiteY691" fmla="*/ 905436 h 1608850"/>
                <a:gd name="connsiteX692" fmla="*/ 4506258 w 12192000"/>
                <a:gd name="connsiteY692" fmla="*/ 878201 h 1608850"/>
                <a:gd name="connsiteX693" fmla="*/ 4501802 w 12192000"/>
                <a:gd name="connsiteY693" fmla="*/ 847938 h 1608850"/>
                <a:gd name="connsiteX694" fmla="*/ 4502914 w 12192000"/>
                <a:gd name="connsiteY694" fmla="*/ 847938 h 1608850"/>
                <a:gd name="connsiteX695" fmla="*/ 4510717 w 12192000"/>
                <a:gd name="connsiteY695" fmla="*/ 847938 h 1608850"/>
                <a:gd name="connsiteX696" fmla="*/ 4530778 w 12192000"/>
                <a:gd name="connsiteY696" fmla="*/ 844913 h 1608850"/>
                <a:gd name="connsiteX697" fmla="*/ 4530778 w 12192000"/>
                <a:gd name="connsiteY697" fmla="*/ 843399 h 1608850"/>
                <a:gd name="connsiteX698" fmla="*/ 4530778 w 12192000"/>
                <a:gd name="connsiteY698" fmla="*/ 832808 h 1608850"/>
                <a:gd name="connsiteX699" fmla="*/ 4532451 w 12192000"/>
                <a:gd name="connsiteY699" fmla="*/ 832808 h 1608850"/>
                <a:gd name="connsiteX700" fmla="*/ 4544152 w 12192000"/>
                <a:gd name="connsiteY700" fmla="*/ 832808 h 1608850"/>
                <a:gd name="connsiteX701" fmla="*/ 4544152 w 12192000"/>
                <a:gd name="connsiteY701" fmla="*/ 681500 h 1608850"/>
                <a:gd name="connsiteX702" fmla="*/ 4545267 w 12192000"/>
                <a:gd name="connsiteY702" fmla="*/ 681500 h 1608850"/>
                <a:gd name="connsiteX703" fmla="*/ 4553068 w 12192000"/>
                <a:gd name="connsiteY703" fmla="*/ 681500 h 1608850"/>
                <a:gd name="connsiteX704" fmla="*/ 4553068 w 12192000"/>
                <a:gd name="connsiteY704" fmla="*/ 678473 h 1608850"/>
                <a:gd name="connsiteX705" fmla="*/ 4553068 w 12192000"/>
                <a:gd name="connsiteY705" fmla="*/ 657290 h 1608850"/>
                <a:gd name="connsiteX706" fmla="*/ 4555298 w 12192000"/>
                <a:gd name="connsiteY706" fmla="*/ 596766 h 1608850"/>
                <a:gd name="connsiteX707" fmla="*/ 4556412 w 12192000"/>
                <a:gd name="connsiteY707" fmla="*/ 596766 h 1608850"/>
                <a:gd name="connsiteX708" fmla="*/ 4564213 w 12192000"/>
                <a:gd name="connsiteY708" fmla="*/ 596766 h 1608850"/>
                <a:gd name="connsiteX709" fmla="*/ 4564213 w 12192000"/>
                <a:gd name="connsiteY709" fmla="*/ 598280 h 1608850"/>
                <a:gd name="connsiteX710" fmla="*/ 4564213 w 12192000"/>
                <a:gd name="connsiteY710" fmla="*/ 608871 h 1608850"/>
                <a:gd name="connsiteX711" fmla="*/ 4568671 w 12192000"/>
                <a:gd name="connsiteY711" fmla="*/ 605845 h 1608850"/>
                <a:gd name="connsiteX712" fmla="*/ 4568671 w 12192000"/>
                <a:gd name="connsiteY712" fmla="*/ 584662 h 1608850"/>
                <a:gd name="connsiteX713" fmla="*/ 4570065 w 12192000"/>
                <a:gd name="connsiteY713" fmla="*/ 583906 h 1608850"/>
                <a:gd name="connsiteX714" fmla="*/ 4579816 w 12192000"/>
                <a:gd name="connsiteY714" fmla="*/ 578610 h 1608850"/>
                <a:gd name="connsiteX715" fmla="*/ 4580930 w 12192000"/>
                <a:gd name="connsiteY715" fmla="*/ 579367 h 1608850"/>
                <a:gd name="connsiteX716" fmla="*/ 4588733 w 12192000"/>
                <a:gd name="connsiteY716" fmla="*/ 584662 h 1608850"/>
                <a:gd name="connsiteX717" fmla="*/ 4590404 w 12192000"/>
                <a:gd name="connsiteY717" fmla="*/ 584662 h 1608850"/>
                <a:gd name="connsiteX718" fmla="*/ 4602107 w 12192000"/>
                <a:gd name="connsiteY718" fmla="*/ 584662 h 1608850"/>
                <a:gd name="connsiteX719" fmla="*/ 4602107 w 12192000"/>
                <a:gd name="connsiteY719" fmla="*/ 545322 h 1608850"/>
                <a:gd name="connsiteX720" fmla="*/ 4603221 w 12192000"/>
                <a:gd name="connsiteY720" fmla="*/ 545322 h 1608850"/>
                <a:gd name="connsiteX721" fmla="*/ 4611021 w 12192000"/>
                <a:gd name="connsiteY721" fmla="*/ 545322 h 1608850"/>
                <a:gd name="connsiteX722" fmla="*/ 4612414 w 12192000"/>
                <a:gd name="connsiteY722" fmla="*/ 551375 h 1608850"/>
                <a:gd name="connsiteX723" fmla="*/ 4622169 w 12192000"/>
                <a:gd name="connsiteY723" fmla="*/ 551375 h 1608850"/>
                <a:gd name="connsiteX724" fmla="*/ 4623282 w 12192000"/>
                <a:gd name="connsiteY724" fmla="*/ 545322 h 1608850"/>
                <a:gd name="connsiteX725" fmla="*/ 4631084 w 12192000"/>
                <a:gd name="connsiteY725" fmla="*/ 545322 h 1608850"/>
                <a:gd name="connsiteX726" fmla="*/ 4631084 w 12192000"/>
                <a:gd name="connsiteY726" fmla="*/ 590714 h 1608850"/>
                <a:gd name="connsiteX727" fmla="*/ 4632477 w 12192000"/>
                <a:gd name="connsiteY727" fmla="*/ 592227 h 1608850"/>
                <a:gd name="connsiteX728" fmla="*/ 4642230 w 12192000"/>
                <a:gd name="connsiteY728" fmla="*/ 602819 h 1608850"/>
                <a:gd name="connsiteX729" fmla="*/ 4664518 w 12192000"/>
                <a:gd name="connsiteY729" fmla="*/ 611898 h 1608850"/>
                <a:gd name="connsiteX730" fmla="*/ 4664518 w 12192000"/>
                <a:gd name="connsiteY730" fmla="*/ 610007 h 1608850"/>
                <a:gd name="connsiteX731" fmla="*/ 4664518 w 12192000"/>
                <a:gd name="connsiteY731" fmla="*/ 596766 h 1608850"/>
                <a:gd name="connsiteX732" fmla="*/ 4693496 w 12192000"/>
                <a:gd name="connsiteY732" fmla="*/ 584662 h 1608850"/>
                <a:gd name="connsiteX733" fmla="*/ 4693496 w 12192000"/>
                <a:gd name="connsiteY733" fmla="*/ 583150 h 1608850"/>
                <a:gd name="connsiteX734" fmla="*/ 4693496 w 12192000"/>
                <a:gd name="connsiteY734" fmla="*/ 572557 h 1608850"/>
                <a:gd name="connsiteX735" fmla="*/ 4694332 w 12192000"/>
                <a:gd name="connsiteY735" fmla="*/ 572557 h 1608850"/>
                <a:gd name="connsiteX736" fmla="*/ 4700182 w 12192000"/>
                <a:gd name="connsiteY736" fmla="*/ 572557 h 1608850"/>
                <a:gd name="connsiteX737" fmla="*/ 4700182 w 12192000"/>
                <a:gd name="connsiteY737" fmla="*/ 571423 h 1608850"/>
                <a:gd name="connsiteX738" fmla="*/ 4700182 w 12192000"/>
                <a:gd name="connsiteY738" fmla="*/ 563479 h 1608850"/>
                <a:gd name="connsiteX739" fmla="*/ 4702412 w 12192000"/>
                <a:gd name="connsiteY739" fmla="*/ 563479 h 1608850"/>
                <a:gd name="connsiteX740" fmla="*/ 4718014 w 12192000"/>
                <a:gd name="connsiteY740" fmla="*/ 563479 h 1608850"/>
                <a:gd name="connsiteX741" fmla="*/ 4718014 w 12192000"/>
                <a:gd name="connsiteY741" fmla="*/ 564614 h 1608850"/>
                <a:gd name="connsiteX742" fmla="*/ 4718014 w 12192000"/>
                <a:gd name="connsiteY742" fmla="*/ 572557 h 1608850"/>
                <a:gd name="connsiteX743" fmla="*/ 4719686 w 12192000"/>
                <a:gd name="connsiteY743" fmla="*/ 572557 h 1608850"/>
                <a:gd name="connsiteX744" fmla="*/ 4731390 w 12192000"/>
                <a:gd name="connsiteY744" fmla="*/ 572557 h 1608850"/>
                <a:gd name="connsiteX745" fmla="*/ 4731390 w 12192000"/>
                <a:gd name="connsiteY745" fmla="*/ 574828 h 1608850"/>
                <a:gd name="connsiteX746" fmla="*/ 4731390 w 12192000"/>
                <a:gd name="connsiteY746" fmla="*/ 590714 h 1608850"/>
                <a:gd name="connsiteX747" fmla="*/ 4755908 w 12192000"/>
                <a:gd name="connsiteY747" fmla="*/ 590714 h 1608850"/>
                <a:gd name="connsiteX748" fmla="*/ 4755908 w 12192000"/>
                <a:gd name="connsiteY748" fmla="*/ 589202 h 1608850"/>
                <a:gd name="connsiteX749" fmla="*/ 4755908 w 12192000"/>
                <a:gd name="connsiteY749" fmla="*/ 578610 h 1608850"/>
                <a:gd name="connsiteX750" fmla="*/ 4757302 w 12192000"/>
                <a:gd name="connsiteY750" fmla="*/ 578610 h 1608850"/>
                <a:gd name="connsiteX751" fmla="*/ 4767053 w 12192000"/>
                <a:gd name="connsiteY751" fmla="*/ 578610 h 1608850"/>
                <a:gd name="connsiteX752" fmla="*/ 4767053 w 12192000"/>
                <a:gd name="connsiteY752" fmla="*/ 577096 h 1608850"/>
                <a:gd name="connsiteX753" fmla="*/ 4767053 w 12192000"/>
                <a:gd name="connsiteY753" fmla="*/ 566505 h 1608850"/>
                <a:gd name="connsiteX754" fmla="*/ 4768725 w 12192000"/>
                <a:gd name="connsiteY754" fmla="*/ 566505 h 1608850"/>
                <a:gd name="connsiteX755" fmla="*/ 4780426 w 12192000"/>
                <a:gd name="connsiteY755" fmla="*/ 566505 h 1608850"/>
                <a:gd name="connsiteX756" fmla="*/ 4780426 w 12192000"/>
                <a:gd name="connsiteY756" fmla="*/ 568018 h 1608850"/>
                <a:gd name="connsiteX757" fmla="*/ 4780426 w 12192000"/>
                <a:gd name="connsiteY757" fmla="*/ 578610 h 1608850"/>
                <a:gd name="connsiteX758" fmla="*/ 4784886 w 12192000"/>
                <a:gd name="connsiteY758" fmla="*/ 505982 h 1608850"/>
                <a:gd name="connsiteX759" fmla="*/ 4885191 w 12192000"/>
                <a:gd name="connsiteY759" fmla="*/ 505982 h 1608850"/>
                <a:gd name="connsiteX760" fmla="*/ 4885191 w 12192000"/>
                <a:gd name="connsiteY760" fmla="*/ 602819 h 1608850"/>
                <a:gd name="connsiteX761" fmla="*/ 4887420 w 12192000"/>
                <a:gd name="connsiteY761" fmla="*/ 602819 h 1608850"/>
                <a:gd name="connsiteX762" fmla="*/ 4903022 w 12192000"/>
                <a:gd name="connsiteY762" fmla="*/ 602819 h 1608850"/>
                <a:gd name="connsiteX763" fmla="*/ 4903022 w 12192000"/>
                <a:gd name="connsiteY763" fmla="*/ 493877 h 1608850"/>
                <a:gd name="connsiteX764" fmla="*/ 4925313 w 12192000"/>
                <a:gd name="connsiteY764" fmla="*/ 478746 h 1608850"/>
                <a:gd name="connsiteX765" fmla="*/ 4954291 w 12192000"/>
                <a:gd name="connsiteY765" fmla="*/ 478746 h 1608850"/>
                <a:gd name="connsiteX766" fmla="*/ 4956242 w 12192000"/>
                <a:gd name="connsiteY766" fmla="*/ 476477 h 1608850"/>
                <a:gd name="connsiteX767" fmla="*/ 4969893 w 12192000"/>
                <a:gd name="connsiteY767" fmla="*/ 460589 h 1608850"/>
                <a:gd name="connsiteX768" fmla="*/ 5007787 w 12192000"/>
                <a:gd name="connsiteY768" fmla="*/ 460589 h 1608850"/>
                <a:gd name="connsiteX769" fmla="*/ 5007787 w 12192000"/>
                <a:gd name="connsiteY769" fmla="*/ 462859 h 1608850"/>
                <a:gd name="connsiteX770" fmla="*/ 5007787 w 12192000"/>
                <a:gd name="connsiteY770" fmla="*/ 478746 h 1608850"/>
                <a:gd name="connsiteX771" fmla="*/ 5045681 w 12192000"/>
                <a:gd name="connsiteY771" fmla="*/ 478746 h 1608850"/>
                <a:gd name="connsiteX772" fmla="*/ 5045681 w 12192000"/>
                <a:gd name="connsiteY772" fmla="*/ 596766 h 1608850"/>
                <a:gd name="connsiteX773" fmla="*/ 5047073 w 12192000"/>
                <a:gd name="connsiteY773" fmla="*/ 596766 h 1608850"/>
                <a:gd name="connsiteX774" fmla="*/ 5056825 w 12192000"/>
                <a:gd name="connsiteY774" fmla="*/ 596766 h 1608850"/>
                <a:gd name="connsiteX775" fmla="*/ 5056825 w 12192000"/>
                <a:gd name="connsiteY775" fmla="*/ 769258 h 1608850"/>
                <a:gd name="connsiteX776" fmla="*/ 5059053 w 12192000"/>
                <a:gd name="connsiteY776" fmla="*/ 769258 h 1608850"/>
                <a:gd name="connsiteX777" fmla="*/ 5074657 w 12192000"/>
                <a:gd name="connsiteY777" fmla="*/ 769258 h 1608850"/>
                <a:gd name="connsiteX778" fmla="*/ 5074657 w 12192000"/>
                <a:gd name="connsiteY778" fmla="*/ 657290 h 1608850"/>
                <a:gd name="connsiteX779" fmla="*/ 5075493 w 12192000"/>
                <a:gd name="connsiteY779" fmla="*/ 656533 h 1608850"/>
                <a:gd name="connsiteX780" fmla="*/ 5081344 w 12192000"/>
                <a:gd name="connsiteY780" fmla="*/ 651238 h 1608850"/>
                <a:gd name="connsiteX781" fmla="*/ 5085802 w 12192000"/>
                <a:gd name="connsiteY781" fmla="*/ 652750 h 1608850"/>
                <a:gd name="connsiteX782" fmla="*/ 5085802 w 12192000"/>
                <a:gd name="connsiteY782" fmla="*/ 663343 h 1608850"/>
                <a:gd name="connsiteX783" fmla="*/ 5088030 w 12192000"/>
                <a:gd name="connsiteY783" fmla="*/ 661829 h 1608850"/>
                <a:gd name="connsiteX784" fmla="*/ 5103634 w 12192000"/>
                <a:gd name="connsiteY784" fmla="*/ 651238 h 1608850"/>
                <a:gd name="connsiteX785" fmla="*/ 5105585 w 12192000"/>
                <a:gd name="connsiteY785" fmla="*/ 651238 h 1608850"/>
                <a:gd name="connsiteX786" fmla="*/ 5119237 w 12192000"/>
                <a:gd name="connsiteY786" fmla="*/ 651238 h 1608850"/>
                <a:gd name="connsiteX787" fmla="*/ 5119237 w 12192000"/>
                <a:gd name="connsiteY787" fmla="*/ 857017 h 1608850"/>
                <a:gd name="connsiteX788" fmla="*/ 5150444 w 12192000"/>
                <a:gd name="connsiteY788" fmla="*/ 863070 h 1608850"/>
                <a:gd name="connsiteX789" fmla="*/ 5150444 w 12192000"/>
                <a:gd name="connsiteY789" fmla="*/ 853992 h 1608850"/>
                <a:gd name="connsiteX790" fmla="*/ 5183878 w 12192000"/>
                <a:gd name="connsiteY790" fmla="*/ 853992 h 1608850"/>
                <a:gd name="connsiteX791" fmla="*/ 5183878 w 12192000"/>
                <a:gd name="connsiteY791" fmla="*/ 814651 h 1608850"/>
                <a:gd name="connsiteX792" fmla="*/ 5192794 w 12192000"/>
                <a:gd name="connsiteY792" fmla="*/ 814651 h 1608850"/>
                <a:gd name="connsiteX793" fmla="*/ 5192794 w 12192000"/>
                <a:gd name="connsiteY793" fmla="*/ 763206 h 1608850"/>
                <a:gd name="connsiteX794" fmla="*/ 5199482 w 12192000"/>
                <a:gd name="connsiteY794" fmla="*/ 763206 h 1608850"/>
                <a:gd name="connsiteX795" fmla="*/ 5199482 w 12192000"/>
                <a:gd name="connsiteY795" fmla="*/ 711761 h 1608850"/>
                <a:gd name="connsiteX796" fmla="*/ 5215086 w 12192000"/>
                <a:gd name="connsiteY796" fmla="*/ 711761 h 1608850"/>
                <a:gd name="connsiteX797" fmla="*/ 5264122 w 12192000"/>
                <a:gd name="connsiteY797" fmla="*/ 684525 h 1608850"/>
                <a:gd name="connsiteX798" fmla="*/ 5266352 w 12192000"/>
                <a:gd name="connsiteY798" fmla="*/ 657290 h 1608850"/>
                <a:gd name="connsiteX799" fmla="*/ 5270810 w 12192000"/>
                <a:gd name="connsiteY799" fmla="*/ 684525 h 1608850"/>
                <a:gd name="connsiteX800" fmla="*/ 5322078 w 12192000"/>
                <a:gd name="connsiteY800" fmla="*/ 720840 h 1608850"/>
                <a:gd name="connsiteX801" fmla="*/ 5322078 w 12192000"/>
                <a:gd name="connsiteY801" fmla="*/ 714788 h 1608850"/>
                <a:gd name="connsiteX802" fmla="*/ 5335452 w 12192000"/>
                <a:gd name="connsiteY802" fmla="*/ 714788 h 1608850"/>
                <a:gd name="connsiteX803" fmla="*/ 5335452 w 12192000"/>
                <a:gd name="connsiteY803" fmla="*/ 763206 h 1608850"/>
                <a:gd name="connsiteX804" fmla="*/ 5342138 w 12192000"/>
                <a:gd name="connsiteY804" fmla="*/ 763206 h 1608850"/>
                <a:gd name="connsiteX805" fmla="*/ 5342138 w 12192000"/>
                <a:gd name="connsiteY805" fmla="*/ 801467 h 1608850"/>
                <a:gd name="connsiteX806" fmla="*/ 5377917 w 12192000"/>
                <a:gd name="connsiteY806" fmla="*/ 790806 h 1608850"/>
                <a:gd name="connsiteX807" fmla="*/ 5478973 w 12192000"/>
                <a:gd name="connsiteY807" fmla="*/ 790806 h 1608850"/>
                <a:gd name="connsiteX808" fmla="*/ 5478973 w 12192000"/>
                <a:gd name="connsiteY808" fmla="*/ 596233 h 1608850"/>
                <a:gd name="connsiteX809" fmla="*/ 5507479 w 12192000"/>
                <a:gd name="connsiteY809" fmla="*/ 582720 h 1608850"/>
                <a:gd name="connsiteX810" fmla="*/ 5631857 w 12192000"/>
                <a:gd name="connsiteY810" fmla="*/ 561101 h 1608850"/>
                <a:gd name="connsiteX811" fmla="*/ 5675909 w 12192000"/>
                <a:gd name="connsiteY811" fmla="*/ 574613 h 1608850"/>
                <a:gd name="connsiteX812" fmla="*/ 5683682 w 12192000"/>
                <a:gd name="connsiteY812" fmla="*/ 582720 h 1608850"/>
                <a:gd name="connsiteX813" fmla="*/ 5683682 w 12192000"/>
                <a:gd name="connsiteY813" fmla="*/ 833084 h 1608850"/>
                <a:gd name="connsiteX814" fmla="*/ 5701821 w 12192000"/>
                <a:gd name="connsiteY814" fmla="*/ 873985 h 1608850"/>
                <a:gd name="connsiteX815" fmla="*/ 5701821 w 12192000"/>
                <a:gd name="connsiteY815" fmla="*/ 798914 h 1608850"/>
                <a:gd name="connsiteX816" fmla="*/ 5717369 w 12192000"/>
                <a:gd name="connsiteY816" fmla="*/ 798914 h 1608850"/>
                <a:gd name="connsiteX817" fmla="*/ 5717369 w 12192000"/>
                <a:gd name="connsiteY817" fmla="*/ 785402 h 1608850"/>
                <a:gd name="connsiteX818" fmla="*/ 5732917 w 12192000"/>
                <a:gd name="connsiteY818" fmla="*/ 777295 h 1608850"/>
                <a:gd name="connsiteX819" fmla="*/ 5745871 w 12192000"/>
                <a:gd name="connsiteY819" fmla="*/ 777295 h 1608850"/>
                <a:gd name="connsiteX820" fmla="*/ 5745871 w 12192000"/>
                <a:gd name="connsiteY820" fmla="*/ 763783 h 1608850"/>
                <a:gd name="connsiteX821" fmla="*/ 5756236 w 12192000"/>
                <a:gd name="connsiteY821" fmla="*/ 755675 h 1608850"/>
                <a:gd name="connsiteX822" fmla="*/ 5782151 w 12192000"/>
                <a:gd name="connsiteY822" fmla="*/ 755675 h 1608850"/>
                <a:gd name="connsiteX823" fmla="*/ 5782151 w 12192000"/>
                <a:gd name="connsiteY823" fmla="*/ 798914 h 1608850"/>
                <a:gd name="connsiteX824" fmla="*/ 5836566 w 12192000"/>
                <a:gd name="connsiteY824" fmla="*/ 798914 h 1608850"/>
                <a:gd name="connsiteX825" fmla="*/ 5836566 w 12192000"/>
                <a:gd name="connsiteY825" fmla="*/ 950250 h 1608850"/>
                <a:gd name="connsiteX826" fmla="*/ 5857295 w 12192000"/>
                <a:gd name="connsiteY826" fmla="*/ 950250 h 1608850"/>
                <a:gd name="connsiteX827" fmla="*/ 5878025 w 12192000"/>
                <a:gd name="connsiteY827" fmla="*/ 942143 h 1608850"/>
                <a:gd name="connsiteX828" fmla="*/ 5878025 w 12192000"/>
                <a:gd name="connsiteY828" fmla="*/ 931332 h 1608850"/>
                <a:gd name="connsiteX829" fmla="*/ 5870253 w 12192000"/>
                <a:gd name="connsiteY829" fmla="*/ 928630 h 1608850"/>
                <a:gd name="connsiteX830" fmla="*/ 5870253 w 12192000"/>
                <a:gd name="connsiteY830" fmla="*/ 920522 h 1608850"/>
                <a:gd name="connsiteX831" fmla="*/ 5878025 w 12192000"/>
                <a:gd name="connsiteY831" fmla="*/ 915118 h 1608850"/>
                <a:gd name="connsiteX832" fmla="*/ 5878025 w 12192000"/>
                <a:gd name="connsiteY832" fmla="*/ 855665 h 1608850"/>
                <a:gd name="connsiteX833" fmla="*/ 5870253 w 12192000"/>
                <a:gd name="connsiteY833" fmla="*/ 852962 h 1608850"/>
                <a:gd name="connsiteX834" fmla="*/ 5870253 w 12192000"/>
                <a:gd name="connsiteY834" fmla="*/ 844855 h 1608850"/>
                <a:gd name="connsiteX835" fmla="*/ 5878025 w 12192000"/>
                <a:gd name="connsiteY835" fmla="*/ 839450 h 1608850"/>
                <a:gd name="connsiteX836" fmla="*/ 5883208 w 12192000"/>
                <a:gd name="connsiteY836" fmla="*/ 834046 h 1608850"/>
                <a:gd name="connsiteX837" fmla="*/ 5883208 w 12192000"/>
                <a:gd name="connsiteY837" fmla="*/ 823236 h 1608850"/>
                <a:gd name="connsiteX838" fmla="*/ 5878025 w 12192000"/>
                <a:gd name="connsiteY838" fmla="*/ 823236 h 1608850"/>
                <a:gd name="connsiteX839" fmla="*/ 5878025 w 12192000"/>
                <a:gd name="connsiteY839" fmla="*/ 815128 h 1608850"/>
                <a:gd name="connsiteX840" fmla="*/ 5885800 w 12192000"/>
                <a:gd name="connsiteY840" fmla="*/ 809724 h 1608850"/>
                <a:gd name="connsiteX841" fmla="*/ 5927259 w 12192000"/>
                <a:gd name="connsiteY841" fmla="*/ 734056 h 1608850"/>
                <a:gd name="connsiteX842" fmla="*/ 5922077 w 12192000"/>
                <a:gd name="connsiteY842" fmla="*/ 731353 h 1608850"/>
                <a:gd name="connsiteX843" fmla="*/ 5922077 w 12192000"/>
                <a:gd name="connsiteY843" fmla="*/ 723246 h 1608850"/>
                <a:gd name="connsiteX844" fmla="*/ 5929850 w 12192000"/>
                <a:gd name="connsiteY844" fmla="*/ 720543 h 1608850"/>
                <a:gd name="connsiteX845" fmla="*/ 5929850 w 12192000"/>
                <a:gd name="connsiteY845" fmla="*/ 709734 h 1608850"/>
                <a:gd name="connsiteX846" fmla="*/ 5935033 w 12192000"/>
                <a:gd name="connsiteY846" fmla="*/ 709734 h 1608850"/>
                <a:gd name="connsiteX847" fmla="*/ 5935033 w 12192000"/>
                <a:gd name="connsiteY847" fmla="*/ 685412 h 1608850"/>
                <a:gd name="connsiteX848" fmla="*/ 5929850 w 12192000"/>
                <a:gd name="connsiteY848" fmla="*/ 685412 h 1608850"/>
                <a:gd name="connsiteX849" fmla="*/ 5929850 w 12192000"/>
                <a:gd name="connsiteY849" fmla="*/ 680008 h 1608850"/>
                <a:gd name="connsiteX850" fmla="*/ 5935033 w 12192000"/>
                <a:gd name="connsiteY850" fmla="*/ 677305 h 1608850"/>
                <a:gd name="connsiteX851" fmla="*/ 5947989 w 12192000"/>
                <a:gd name="connsiteY851" fmla="*/ 658388 h 1608850"/>
                <a:gd name="connsiteX852" fmla="*/ 5950579 w 12192000"/>
                <a:gd name="connsiteY852" fmla="*/ 647579 h 1608850"/>
                <a:gd name="connsiteX853" fmla="*/ 5950579 w 12192000"/>
                <a:gd name="connsiteY853" fmla="*/ 617852 h 1608850"/>
                <a:gd name="connsiteX854" fmla="*/ 5950904 w 12192000"/>
                <a:gd name="connsiteY854" fmla="*/ 616838 h 1608850"/>
                <a:gd name="connsiteX855" fmla="*/ 5953171 w 12192000"/>
                <a:gd name="connsiteY855" fmla="*/ 609745 h 1608850"/>
                <a:gd name="connsiteX856" fmla="*/ 5953495 w 12192000"/>
                <a:gd name="connsiteY856" fmla="*/ 610759 h 1608850"/>
                <a:gd name="connsiteX857" fmla="*/ 5955763 w 12192000"/>
                <a:gd name="connsiteY857" fmla="*/ 617852 h 1608850"/>
                <a:gd name="connsiteX858" fmla="*/ 5958354 w 12192000"/>
                <a:gd name="connsiteY858" fmla="*/ 647579 h 1608850"/>
                <a:gd name="connsiteX859" fmla="*/ 5958354 w 12192000"/>
                <a:gd name="connsiteY859" fmla="*/ 655686 h 1608850"/>
                <a:gd name="connsiteX860" fmla="*/ 5971311 w 12192000"/>
                <a:gd name="connsiteY860" fmla="*/ 677305 h 1608850"/>
                <a:gd name="connsiteX861" fmla="*/ 5976494 w 12192000"/>
                <a:gd name="connsiteY861" fmla="*/ 680008 h 1608850"/>
                <a:gd name="connsiteX862" fmla="*/ 5976494 w 12192000"/>
                <a:gd name="connsiteY862" fmla="*/ 685412 h 1608850"/>
                <a:gd name="connsiteX863" fmla="*/ 5973903 w 12192000"/>
                <a:gd name="connsiteY863" fmla="*/ 709734 h 1608850"/>
                <a:gd name="connsiteX864" fmla="*/ 5979084 w 12192000"/>
                <a:gd name="connsiteY864" fmla="*/ 720543 h 1608850"/>
                <a:gd name="connsiteX865" fmla="*/ 5984268 w 12192000"/>
                <a:gd name="connsiteY865" fmla="*/ 723246 h 1608850"/>
                <a:gd name="connsiteX866" fmla="*/ 5984268 w 12192000"/>
                <a:gd name="connsiteY866" fmla="*/ 731353 h 1608850"/>
                <a:gd name="connsiteX867" fmla="*/ 5979084 w 12192000"/>
                <a:gd name="connsiteY867" fmla="*/ 734056 h 1608850"/>
                <a:gd name="connsiteX868" fmla="*/ 5999269 w 12192000"/>
                <a:gd name="connsiteY868" fmla="*/ 755105 h 1608850"/>
                <a:gd name="connsiteX869" fmla="*/ 5999269 w 12192000"/>
                <a:gd name="connsiteY869" fmla="*/ 627662 h 1608850"/>
                <a:gd name="connsiteX870" fmla="*/ 5999299 w 12192000"/>
                <a:gd name="connsiteY870" fmla="*/ 627662 h 1608850"/>
                <a:gd name="connsiteX871" fmla="*/ 6037948 w 12192000"/>
                <a:gd name="connsiteY871" fmla="*/ 627662 h 1608850"/>
                <a:gd name="connsiteX872" fmla="*/ 6037948 w 12192000"/>
                <a:gd name="connsiteY872" fmla="*/ 626311 h 1608850"/>
                <a:gd name="connsiteX873" fmla="*/ 6037948 w 12192000"/>
                <a:gd name="connsiteY873" fmla="*/ 616853 h 1608850"/>
                <a:gd name="connsiteX874" fmla="*/ 6038962 w 12192000"/>
                <a:gd name="connsiteY874" fmla="*/ 616853 h 1608850"/>
                <a:gd name="connsiteX875" fmla="*/ 6046055 w 12192000"/>
                <a:gd name="connsiteY875" fmla="*/ 616853 h 1608850"/>
                <a:gd name="connsiteX876" fmla="*/ 6046055 w 12192000"/>
                <a:gd name="connsiteY876" fmla="*/ 614962 h 1608850"/>
                <a:gd name="connsiteX877" fmla="*/ 6046055 w 12192000"/>
                <a:gd name="connsiteY877" fmla="*/ 601721 h 1608850"/>
                <a:gd name="connsiteX878" fmla="*/ 6046815 w 12192000"/>
                <a:gd name="connsiteY878" fmla="*/ 601721 h 1608850"/>
                <a:gd name="connsiteX879" fmla="*/ 6052135 w 12192000"/>
                <a:gd name="connsiteY879" fmla="*/ 601721 h 1608850"/>
                <a:gd name="connsiteX880" fmla="*/ 6052135 w 12192000"/>
                <a:gd name="connsiteY880" fmla="*/ 600640 h 1608850"/>
                <a:gd name="connsiteX881" fmla="*/ 6052135 w 12192000"/>
                <a:gd name="connsiteY881" fmla="*/ 593073 h 1608850"/>
                <a:gd name="connsiteX882" fmla="*/ 6054163 w 12192000"/>
                <a:gd name="connsiteY882" fmla="*/ 593073 h 1608850"/>
                <a:gd name="connsiteX883" fmla="*/ 6068350 w 12192000"/>
                <a:gd name="connsiteY883" fmla="*/ 593073 h 1608850"/>
                <a:gd name="connsiteX884" fmla="*/ 6068350 w 12192000"/>
                <a:gd name="connsiteY884" fmla="*/ 594154 h 1608850"/>
                <a:gd name="connsiteX885" fmla="*/ 6068350 w 12192000"/>
                <a:gd name="connsiteY885" fmla="*/ 601721 h 1608850"/>
                <a:gd name="connsiteX886" fmla="*/ 6090642 w 12192000"/>
                <a:gd name="connsiteY886" fmla="*/ 601721 h 1608850"/>
                <a:gd name="connsiteX887" fmla="*/ 6090642 w 12192000"/>
                <a:gd name="connsiteY887" fmla="*/ 599829 h 1608850"/>
                <a:gd name="connsiteX888" fmla="*/ 6090642 w 12192000"/>
                <a:gd name="connsiteY888" fmla="*/ 586588 h 1608850"/>
                <a:gd name="connsiteX889" fmla="*/ 6092416 w 12192000"/>
                <a:gd name="connsiteY889" fmla="*/ 586588 h 1608850"/>
                <a:gd name="connsiteX890" fmla="*/ 6104829 w 12192000"/>
                <a:gd name="connsiteY890" fmla="*/ 586588 h 1608850"/>
                <a:gd name="connsiteX891" fmla="*/ 6104829 w 12192000"/>
                <a:gd name="connsiteY891" fmla="*/ 610368 h 1608850"/>
                <a:gd name="connsiteX892" fmla="*/ 6105843 w 12192000"/>
                <a:gd name="connsiteY892" fmla="*/ 610368 h 1608850"/>
                <a:gd name="connsiteX893" fmla="*/ 6112936 w 12192000"/>
                <a:gd name="connsiteY893" fmla="*/ 610368 h 1608850"/>
                <a:gd name="connsiteX894" fmla="*/ 6112936 w 12192000"/>
                <a:gd name="connsiteY894" fmla="*/ 609287 h 1608850"/>
                <a:gd name="connsiteX895" fmla="*/ 6112936 w 12192000"/>
                <a:gd name="connsiteY895" fmla="*/ 601721 h 1608850"/>
                <a:gd name="connsiteX896" fmla="*/ 6114709 w 12192000"/>
                <a:gd name="connsiteY896" fmla="*/ 601721 h 1608850"/>
                <a:gd name="connsiteX897" fmla="*/ 6127123 w 12192000"/>
                <a:gd name="connsiteY897" fmla="*/ 601721 h 1608850"/>
                <a:gd name="connsiteX898" fmla="*/ 6127123 w 12192000"/>
                <a:gd name="connsiteY898" fmla="*/ 627662 h 1608850"/>
                <a:gd name="connsiteX899" fmla="*/ 6129150 w 12192000"/>
                <a:gd name="connsiteY899" fmla="*/ 627662 h 1608850"/>
                <a:gd name="connsiteX900" fmla="*/ 6143336 w 12192000"/>
                <a:gd name="connsiteY900" fmla="*/ 627662 h 1608850"/>
                <a:gd name="connsiteX901" fmla="*/ 6143336 w 12192000"/>
                <a:gd name="connsiteY901" fmla="*/ 629283 h 1608850"/>
                <a:gd name="connsiteX902" fmla="*/ 6143336 w 12192000"/>
                <a:gd name="connsiteY902" fmla="*/ 640633 h 1608850"/>
                <a:gd name="connsiteX903" fmla="*/ 6144096 w 12192000"/>
                <a:gd name="connsiteY903" fmla="*/ 640633 h 1608850"/>
                <a:gd name="connsiteX904" fmla="*/ 6149417 w 12192000"/>
                <a:gd name="connsiteY904" fmla="*/ 640633 h 1608850"/>
                <a:gd name="connsiteX905" fmla="*/ 6149417 w 12192000"/>
                <a:gd name="connsiteY905" fmla="*/ 639822 h 1608850"/>
                <a:gd name="connsiteX906" fmla="*/ 6149417 w 12192000"/>
                <a:gd name="connsiteY906" fmla="*/ 634147 h 1608850"/>
                <a:gd name="connsiteX907" fmla="*/ 6179817 w 12192000"/>
                <a:gd name="connsiteY907" fmla="*/ 634147 h 1608850"/>
                <a:gd name="connsiteX908" fmla="*/ 6179817 w 12192000"/>
                <a:gd name="connsiteY908" fmla="*/ 657927 h 1608850"/>
                <a:gd name="connsiteX909" fmla="*/ 6180830 w 12192000"/>
                <a:gd name="connsiteY909" fmla="*/ 657927 h 1608850"/>
                <a:gd name="connsiteX910" fmla="*/ 6187924 w 12192000"/>
                <a:gd name="connsiteY910" fmla="*/ 657927 h 1608850"/>
                <a:gd name="connsiteX911" fmla="*/ 6187924 w 12192000"/>
                <a:gd name="connsiteY911" fmla="*/ 659008 h 1608850"/>
                <a:gd name="connsiteX912" fmla="*/ 6187924 w 12192000"/>
                <a:gd name="connsiteY912" fmla="*/ 666574 h 1608850"/>
                <a:gd name="connsiteX913" fmla="*/ 6188684 w 12192000"/>
                <a:gd name="connsiteY913" fmla="*/ 666574 h 1608850"/>
                <a:gd name="connsiteX914" fmla="*/ 6194004 w 12192000"/>
                <a:gd name="connsiteY914" fmla="*/ 666574 h 1608850"/>
                <a:gd name="connsiteX915" fmla="*/ 6194004 w 12192000"/>
                <a:gd name="connsiteY915" fmla="*/ 664412 h 1608850"/>
                <a:gd name="connsiteX916" fmla="*/ 6194004 w 12192000"/>
                <a:gd name="connsiteY916" fmla="*/ 649280 h 1608850"/>
                <a:gd name="connsiteX917" fmla="*/ 6195017 w 12192000"/>
                <a:gd name="connsiteY917" fmla="*/ 649280 h 1608850"/>
                <a:gd name="connsiteX918" fmla="*/ 6202111 w 12192000"/>
                <a:gd name="connsiteY918" fmla="*/ 649280 h 1608850"/>
                <a:gd name="connsiteX919" fmla="*/ 6202111 w 12192000"/>
                <a:gd name="connsiteY919" fmla="*/ 650361 h 1608850"/>
                <a:gd name="connsiteX920" fmla="*/ 6202111 w 12192000"/>
                <a:gd name="connsiteY920" fmla="*/ 657927 h 1608850"/>
                <a:gd name="connsiteX921" fmla="*/ 6207431 w 12192000"/>
                <a:gd name="connsiteY921" fmla="*/ 655934 h 1608850"/>
                <a:gd name="connsiteX922" fmla="*/ 6208191 w 12192000"/>
                <a:gd name="connsiteY922" fmla="*/ 654954 h 1608850"/>
                <a:gd name="connsiteX923" fmla="*/ 6208191 w 12192000"/>
                <a:gd name="connsiteY923" fmla="*/ 649280 h 1608850"/>
                <a:gd name="connsiteX924" fmla="*/ 6246698 w 12192000"/>
                <a:gd name="connsiteY924" fmla="*/ 649280 h 1608850"/>
                <a:gd name="connsiteX925" fmla="*/ 6246698 w 12192000"/>
                <a:gd name="connsiteY925" fmla="*/ 673059 h 1608850"/>
                <a:gd name="connsiteX926" fmla="*/ 6248724 w 12192000"/>
                <a:gd name="connsiteY926" fmla="*/ 673059 h 1608850"/>
                <a:gd name="connsiteX927" fmla="*/ 6262911 w 12192000"/>
                <a:gd name="connsiteY927" fmla="*/ 673059 h 1608850"/>
                <a:gd name="connsiteX928" fmla="*/ 6262911 w 12192000"/>
                <a:gd name="connsiteY928" fmla="*/ 674140 h 1608850"/>
                <a:gd name="connsiteX929" fmla="*/ 6262911 w 12192000"/>
                <a:gd name="connsiteY929" fmla="*/ 681706 h 1608850"/>
                <a:gd name="connsiteX930" fmla="*/ 6264685 w 12192000"/>
                <a:gd name="connsiteY930" fmla="*/ 681706 h 1608850"/>
                <a:gd name="connsiteX931" fmla="*/ 6277098 w 12192000"/>
                <a:gd name="connsiteY931" fmla="*/ 681706 h 1608850"/>
                <a:gd name="connsiteX932" fmla="*/ 6277098 w 12192000"/>
                <a:gd name="connsiteY932" fmla="*/ 657927 h 1608850"/>
                <a:gd name="connsiteX933" fmla="*/ 6278111 w 12192000"/>
                <a:gd name="connsiteY933" fmla="*/ 657927 h 1608850"/>
                <a:gd name="connsiteX934" fmla="*/ 6285205 w 12192000"/>
                <a:gd name="connsiteY934" fmla="*/ 657927 h 1608850"/>
                <a:gd name="connsiteX935" fmla="*/ 6285205 w 12192000"/>
                <a:gd name="connsiteY935" fmla="*/ 625500 h 1608850"/>
                <a:gd name="connsiteX936" fmla="*/ 6286218 w 12192000"/>
                <a:gd name="connsiteY936" fmla="*/ 625500 h 1608850"/>
                <a:gd name="connsiteX937" fmla="*/ 6293312 w 12192000"/>
                <a:gd name="connsiteY937" fmla="*/ 625500 h 1608850"/>
                <a:gd name="connsiteX938" fmla="*/ 6293312 w 12192000"/>
                <a:gd name="connsiteY938" fmla="*/ 623609 h 1608850"/>
                <a:gd name="connsiteX939" fmla="*/ 6293312 w 12192000"/>
                <a:gd name="connsiteY939" fmla="*/ 610368 h 1608850"/>
                <a:gd name="connsiteX940" fmla="*/ 6292045 w 12192000"/>
                <a:gd name="connsiteY940" fmla="*/ 608746 h 1608850"/>
                <a:gd name="connsiteX941" fmla="*/ 6297365 w 12192000"/>
                <a:gd name="connsiteY941" fmla="*/ 597397 h 1608850"/>
                <a:gd name="connsiteX942" fmla="*/ 6305472 w 12192000"/>
                <a:gd name="connsiteY942" fmla="*/ 625500 h 1608850"/>
                <a:gd name="connsiteX943" fmla="*/ 6306232 w 12192000"/>
                <a:gd name="connsiteY943" fmla="*/ 625500 h 1608850"/>
                <a:gd name="connsiteX944" fmla="*/ 6311552 w 12192000"/>
                <a:gd name="connsiteY944" fmla="*/ 625500 h 1608850"/>
                <a:gd name="connsiteX945" fmla="*/ 6311552 w 12192000"/>
                <a:gd name="connsiteY945" fmla="*/ 519573 h 1608850"/>
                <a:gd name="connsiteX946" fmla="*/ 6313072 w 12192000"/>
                <a:gd name="connsiteY946" fmla="*/ 519573 h 1608850"/>
                <a:gd name="connsiteX947" fmla="*/ 6323712 w 12192000"/>
                <a:gd name="connsiteY947" fmla="*/ 519573 h 1608850"/>
                <a:gd name="connsiteX948" fmla="*/ 6323712 w 12192000"/>
                <a:gd name="connsiteY948" fmla="*/ 472014 h 1608850"/>
                <a:gd name="connsiteX949" fmla="*/ 6350059 w 12192000"/>
                <a:gd name="connsiteY949" fmla="*/ 472014 h 1608850"/>
                <a:gd name="connsiteX950" fmla="*/ 6350059 w 12192000"/>
                <a:gd name="connsiteY950" fmla="*/ 450396 h 1608850"/>
                <a:gd name="connsiteX951" fmla="*/ 6384513 w 12192000"/>
                <a:gd name="connsiteY951" fmla="*/ 450396 h 1608850"/>
                <a:gd name="connsiteX952" fmla="*/ 6384513 w 12192000"/>
                <a:gd name="connsiteY952" fmla="*/ 452828 h 1608850"/>
                <a:gd name="connsiteX953" fmla="*/ 6384513 w 12192000"/>
                <a:gd name="connsiteY953" fmla="*/ 469852 h 1608850"/>
                <a:gd name="connsiteX954" fmla="*/ 6386793 w 12192000"/>
                <a:gd name="connsiteY954" fmla="*/ 469852 h 1608850"/>
                <a:gd name="connsiteX955" fmla="*/ 6402753 w 12192000"/>
                <a:gd name="connsiteY955" fmla="*/ 469852 h 1608850"/>
                <a:gd name="connsiteX956" fmla="*/ 6402753 w 12192000"/>
                <a:gd name="connsiteY956" fmla="*/ 517411 h 1608850"/>
                <a:gd name="connsiteX957" fmla="*/ 6403766 w 12192000"/>
                <a:gd name="connsiteY957" fmla="*/ 517411 h 1608850"/>
                <a:gd name="connsiteX958" fmla="*/ 6410860 w 12192000"/>
                <a:gd name="connsiteY958" fmla="*/ 517411 h 1608850"/>
                <a:gd name="connsiteX959" fmla="*/ 6425047 w 12192000"/>
                <a:gd name="connsiteY959" fmla="*/ 521735 h 1608850"/>
                <a:gd name="connsiteX960" fmla="*/ 6425047 w 12192000"/>
                <a:gd name="connsiteY960" fmla="*/ 560647 h 1608850"/>
                <a:gd name="connsiteX961" fmla="*/ 6426060 w 12192000"/>
                <a:gd name="connsiteY961" fmla="*/ 560647 h 1608850"/>
                <a:gd name="connsiteX962" fmla="*/ 6433153 w 12192000"/>
                <a:gd name="connsiteY962" fmla="*/ 560647 h 1608850"/>
                <a:gd name="connsiteX963" fmla="*/ 6433153 w 12192000"/>
                <a:gd name="connsiteY963" fmla="*/ 562268 h 1608850"/>
                <a:gd name="connsiteX964" fmla="*/ 6433153 w 12192000"/>
                <a:gd name="connsiteY964" fmla="*/ 573617 h 1608850"/>
                <a:gd name="connsiteX965" fmla="*/ 6435180 w 12192000"/>
                <a:gd name="connsiteY965" fmla="*/ 573617 h 1608850"/>
                <a:gd name="connsiteX966" fmla="*/ 6449367 w 12192000"/>
                <a:gd name="connsiteY966" fmla="*/ 573617 h 1608850"/>
                <a:gd name="connsiteX967" fmla="*/ 6455447 w 12192000"/>
                <a:gd name="connsiteY967" fmla="*/ 580103 h 1608850"/>
                <a:gd name="connsiteX968" fmla="*/ 6455447 w 12192000"/>
                <a:gd name="connsiteY968" fmla="*/ 601721 h 1608850"/>
                <a:gd name="connsiteX969" fmla="*/ 6457727 w 12192000"/>
                <a:gd name="connsiteY969" fmla="*/ 601721 h 1608850"/>
                <a:gd name="connsiteX970" fmla="*/ 6473687 w 12192000"/>
                <a:gd name="connsiteY970" fmla="*/ 601721 h 1608850"/>
                <a:gd name="connsiteX971" fmla="*/ 6473687 w 12192000"/>
                <a:gd name="connsiteY971" fmla="*/ 602801 h 1608850"/>
                <a:gd name="connsiteX972" fmla="*/ 6473687 w 12192000"/>
                <a:gd name="connsiteY972" fmla="*/ 610368 h 1608850"/>
                <a:gd name="connsiteX973" fmla="*/ 6474954 w 12192000"/>
                <a:gd name="connsiteY973" fmla="*/ 610368 h 1608850"/>
                <a:gd name="connsiteX974" fmla="*/ 6483821 w 12192000"/>
                <a:gd name="connsiteY974" fmla="*/ 610368 h 1608850"/>
                <a:gd name="connsiteX975" fmla="*/ 6483821 w 12192000"/>
                <a:gd name="connsiteY975" fmla="*/ 612529 h 1608850"/>
                <a:gd name="connsiteX976" fmla="*/ 6483821 w 12192000"/>
                <a:gd name="connsiteY976" fmla="*/ 627662 h 1608850"/>
                <a:gd name="connsiteX977" fmla="*/ 6487874 w 12192000"/>
                <a:gd name="connsiteY977" fmla="*/ 625770 h 1608850"/>
                <a:gd name="connsiteX978" fmla="*/ 6487874 w 12192000"/>
                <a:gd name="connsiteY978" fmla="*/ 612529 h 1608850"/>
                <a:gd name="connsiteX979" fmla="*/ 6488887 w 12192000"/>
                <a:gd name="connsiteY979" fmla="*/ 612529 h 1608850"/>
                <a:gd name="connsiteX980" fmla="*/ 6495981 w 12192000"/>
                <a:gd name="connsiteY980" fmla="*/ 612529 h 1608850"/>
                <a:gd name="connsiteX981" fmla="*/ 6495981 w 12192000"/>
                <a:gd name="connsiteY981" fmla="*/ 614151 h 1608850"/>
                <a:gd name="connsiteX982" fmla="*/ 6495981 w 12192000"/>
                <a:gd name="connsiteY982" fmla="*/ 625500 h 1608850"/>
                <a:gd name="connsiteX983" fmla="*/ 6496741 w 12192000"/>
                <a:gd name="connsiteY983" fmla="*/ 625500 h 1608850"/>
                <a:gd name="connsiteX984" fmla="*/ 6502061 w 12192000"/>
                <a:gd name="connsiteY984" fmla="*/ 625500 h 1608850"/>
                <a:gd name="connsiteX985" fmla="*/ 6550701 w 12192000"/>
                <a:gd name="connsiteY985" fmla="*/ 621177 h 1608850"/>
                <a:gd name="connsiteX986" fmla="*/ 6550701 w 12192000"/>
                <a:gd name="connsiteY986" fmla="*/ 622528 h 1608850"/>
                <a:gd name="connsiteX987" fmla="*/ 6550701 w 12192000"/>
                <a:gd name="connsiteY987" fmla="*/ 631985 h 1608850"/>
                <a:gd name="connsiteX988" fmla="*/ 6551461 w 12192000"/>
                <a:gd name="connsiteY988" fmla="*/ 631985 h 1608850"/>
                <a:gd name="connsiteX989" fmla="*/ 6556782 w 12192000"/>
                <a:gd name="connsiteY989" fmla="*/ 631985 h 1608850"/>
                <a:gd name="connsiteX990" fmla="*/ 6556782 w 12192000"/>
                <a:gd name="connsiteY990" fmla="*/ 634147 h 1608850"/>
                <a:gd name="connsiteX991" fmla="*/ 6556782 w 12192000"/>
                <a:gd name="connsiteY991" fmla="*/ 649280 h 1608850"/>
                <a:gd name="connsiteX992" fmla="*/ 6558808 w 12192000"/>
                <a:gd name="connsiteY992" fmla="*/ 647929 h 1608850"/>
                <a:gd name="connsiteX993" fmla="*/ 6572995 w 12192000"/>
                <a:gd name="connsiteY993" fmla="*/ 638471 h 1608850"/>
                <a:gd name="connsiteX994" fmla="*/ 6579075 w 12192000"/>
                <a:gd name="connsiteY994" fmla="*/ 597397 h 1608850"/>
                <a:gd name="connsiteX995" fmla="*/ 6579835 w 12192000"/>
                <a:gd name="connsiteY995" fmla="*/ 597127 h 1608850"/>
                <a:gd name="connsiteX996" fmla="*/ 6585155 w 12192000"/>
                <a:gd name="connsiteY996" fmla="*/ 595235 h 1608850"/>
                <a:gd name="connsiteX997" fmla="*/ 6587182 w 12192000"/>
                <a:gd name="connsiteY997" fmla="*/ 526058 h 1608850"/>
                <a:gd name="connsiteX998" fmla="*/ 6589209 w 12192000"/>
                <a:gd name="connsiteY998" fmla="*/ 595235 h 1608850"/>
                <a:gd name="connsiteX999" fmla="*/ 6589969 w 12192000"/>
                <a:gd name="connsiteY999" fmla="*/ 595505 h 1608850"/>
                <a:gd name="connsiteX1000" fmla="*/ 6595289 w 12192000"/>
                <a:gd name="connsiteY1000" fmla="*/ 597397 h 1608850"/>
                <a:gd name="connsiteX1001" fmla="*/ 6595289 w 12192000"/>
                <a:gd name="connsiteY1001" fmla="*/ 510926 h 1608850"/>
                <a:gd name="connsiteX1002" fmla="*/ 6599342 w 12192000"/>
                <a:gd name="connsiteY1002" fmla="*/ 478499 h 1608850"/>
                <a:gd name="connsiteX1003" fmla="*/ 6637849 w 12192000"/>
                <a:gd name="connsiteY1003" fmla="*/ 478499 h 1608850"/>
                <a:gd name="connsiteX1004" fmla="*/ 6637849 w 12192000"/>
                <a:gd name="connsiteY1004" fmla="*/ 510926 h 1608850"/>
                <a:gd name="connsiteX1005" fmla="*/ 6638609 w 12192000"/>
                <a:gd name="connsiteY1005" fmla="*/ 510926 h 1608850"/>
                <a:gd name="connsiteX1006" fmla="*/ 6643929 w 12192000"/>
                <a:gd name="connsiteY1006" fmla="*/ 510926 h 1608850"/>
                <a:gd name="connsiteX1007" fmla="*/ 6643929 w 12192000"/>
                <a:gd name="connsiteY1007" fmla="*/ 428778 h 1608850"/>
                <a:gd name="connsiteX1008" fmla="*/ 6645703 w 12192000"/>
                <a:gd name="connsiteY1008" fmla="*/ 428778 h 1608850"/>
                <a:gd name="connsiteX1009" fmla="*/ 6658116 w 12192000"/>
                <a:gd name="connsiteY1009" fmla="*/ 428778 h 1608850"/>
                <a:gd name="connsiteX1010" fmla="*/ 6658116 w 12192000"/>
                <a:gd name="connsiteY1010" fmla="*/ 426887 h 1608850"/>
                <a:gd name="connsiteX1011" fmla="*/ 6658116 w 12192000"/>
                <a:gd name="connsiteY1011" fmla="*/ 413646 h 1608850"/>
                <a:gd name="connsiteX1012" fmla="*/ 6680410 w 12192000"/>
                <a:gd name="connsiteY1012" fmla="*/ 413646 h 1608850"/>
                <a:gd name="connsiteX1013" fmla="*/ 6680410 w 12192000"/>
                <a:gd name="connsiteY1013" fmla="*/ 412565 h 1608850"/>
                <a:gd name="connsiteX1014" fmla="*/ 6680410 w 12192000"/>
                <a:gd name="connsiteY1014" fmla="*/ 404999 h 1608850"/>
                <a:gd name="connsiteX1015" fmla="*/ 6682183 w 12192000"/>
                <a:gd name="connsiteY1015" fmla="*/ 404999 h 1608850"/>
                <a:gd name="connsiteX1016" fmla="*/ 6694597 w 12192000"/>
                <a:gd name="connsiteY1016" fmla="*/ 404999 h 1608850"/>
                <a:gd name="connsiteX1017" fmla="*/ 6694597 w 12192000"/>
                <a:gd name="connsiteY1017" fmla="*/ 406080 h 1608850"/>
                <a:gd name="connsiteX1018" fmla="*/ 6694597 w 12192000"/>
                <a:gd name="connsiteY1018" fmla="*/ 413646 h 1608850"/>
                <a:gd name="connsiteX1019" fmla="*/ 6695357 w 12192000"/>
                <a:gd name="connsiteY1019" fmla="*/ 413646 h 1608850"/>
                <a:gd name="connsiteX1020" fmla="*/ 6700677 w 12192000"/>
                <a:gd name="connsiteY1020" fmla="*/ 413646 h 1608850"/>
                <a:gd name="connsiteX1021" fmla="*/ 6710810 w 12192000"/>
                <a:gd name="connsiteY1021" fmla="*/ 409322 h 1608850"/>
                <a:gd name="connsiteX1022" fmla="*/ 6714863 w 12192000"/>
                <a:gd name="connsiteY1022" fmla="*/ 412565 h 1608850"/>
                <a:gd name="connsiteX1023" fmla="*/ 6714863 w 12192000"/>
                <a:gd name="connsiteY1023" fmla="*/ 404999 h 1608850"/>
                <a:gd name="connsiteX1024" fmla="*/ 6717143 w 12192000"/>
                <a:gd name="connsiteY1024" fmla="*/ 404999 h 1608850"/>
                <a:gd name="connsiteX1025" fmla="*/ 6733104 w 12192000"/>
                <a:gd name="connsiteY1025" fmla="*/ 404999 h 1608850"/>
                <a:gd name="connsiteX1026" fmla="*/ 6733104 w 12192000"/>
                <a:gd name="connsiteY1026" fmla="*/ 406080 h 1608850"/>
                <a:gd name="connsiteX1027" fmla="*/ 6733104 w 12192000"/>
                <a:gd name="connsiteY1027" fmla="*/ 413646 h 1608850"/>
                <a:gd name="connsiteX1028" fmla="*/ 6763504 w 12192000"/>
                <a:gd name="connsiteY1028" fmla="*/ 413646 h 1608850"/>
                <a:gd name="connsiteX1029" fmla="*/ 6763504 w 12192000"/>
                <a:gd name="connsiteY1029" fmla="*/ 415267 h 1608850"/>
                <a:gd name="connsiteX1030" fmla="*/ 6763504 w 12192000"/>
                <a:gd name="connsiteY1030" fmla="*/ 426617 h 1608850"/>
                <a:gd name="connsiteX1031" fmla="*/ 6789851 w 12192000"/>
                <a:gd name="connsiteY1031" fmla="*/ 426617 h 1608850"/>
                <a:gd name="connsiteX1032" fmla="*/ 6789851 w 12192000"/>
                <a:gd name="connsiteY1032" fmla="*/ 456881 h 1608850"/>
                <a:gd name="connsiteX1033" fmla="*/ 6790611 w 12192000"/>
                <a:gd name="connsiteY1033" fmla="*/ 456881 h 1608850"/>
                <a:gd name="connsiteX1034" fmla="*/ 6795931 w 12192000"/>
                <a:gd name="connsiteY1034" fmla="*/ 456881 h 1608850"/>
                <a:gd name="connsiteX1035" fmla="*/ 6795931 w 12192000"/>
                <a:gd name="connsiteY1035" fmla="*/ 457962 h 1608850"/>
                <a:gd name="connsiteX1036" fmla="*/ 6795931 w 12192000"/>
                <a:gd name="connsiteY1036" fmla="*/ 465529 h 1608850"/>
                <a:gd name="connsiteX1037" fmla="*/ 6799985 w 12192000"/>
                <a:gd name="connsiteY1037" fmla="*/ 495793 h 1608850"/>
                <a:gd name="connsiteX1038" fmla="*/ 6800745 w 12192000"/>
                <a:gd name="connsiteY1038" fmla="*/ 495793 h 1608850"/>
                <a:gd name="connsiteX1039" fmla="*/ 6806065 w 12192000"/>
                <a:gd name="connsiteY1039" fmla="*/ 495793 h 1608850"/>
                <a:gd name="connsiteX1040" fmla="*/ 6806065 w 12192000"/>
                <a:gd name="connsiteY1040" fmla="*/ 496604 h 1608850"/>
                <a:gd name="connsiteX1041" fmla="*/ 6806065 w 12192000"/>
                <a:gd name="connsiteY1041" fmla="*/ 502279 h 1608850"/>
                <a:gd name="connsiteX1042" fmla="*/ 6807078 w 12192000"/>
                <a:gd name="connsiteY1042" fmla="*/ 502279 h 1608850"/>
                <a:gd name="connsiteX1043" fmla="*/ 6814171 w 12192000"/>
                <a:gd name="connsiteY1043" fmla="*/ 502279 h 1608850"/>
                <a:gd name="connsiteX1044" fmla="*/ 6814171 w 12192000"/>
                <a:gd name="connsiteY1044" fmla="*/ 532544 h 1608850"/>
                <a:gd name="connsiteX1045" fmla="*/ 6816198 w 12192000"/>
                <a:gd name="connsiteY1045" fmla="*/ 532544 h 1608850"/>
                <a:gd name="connsiteX1046" fmla="*/ 6830385 w 12192000"/>
                <a:gd name="connsiteY1046" fmla="*/ 532544 h 1608850"/>
                <a:gd name="connsiteX1047" fmla="*/ 6830385 w 12192000"/>
                <a:gd name="connsiteY1047" fmla="*/ 556323 h 1608850"/>
                <a:gd name="connsiteX1048" fmla="*/ 6832412 w 12192000"/>
                <a:gd name="connsiteY1048" fmla="*/ 557944 h 1608850"/>
                <a:gd name="connsiteX1049" fmla="*/ 6832412 w 12192000"/>
                <a:gd name="connsiteY1049" fmla="*/ 569294 h 1608850"/>
                <a:gd name="connsiteX1050" fmla="*/ 6833172 w 12192000"/>
                <a:gd name="connsiteY1050" fmla="*/ 569294 h 1608850"/>
                <a:gd name="connsiteX1051" fmla="*/ 6838492 w 12192000"/>
                <a:gd name="connsiteY1051" fmla="*/ 569294 h 1608850"/>
                <a:gd name="connsiteX1052" fmla="*/ 6838492 w 12192000"/>
                <a:gd name="connsiteY1052" fmla="*/ 593073 h 1608850"/>
                <a:gd name="connsiteX1053" fmla="*/ 6839758 w 12192000"/>
                <a:gd name="connsiteY1053" fmla="*/ 593073 h 1608850"/>
                <a:gd name="connsiteX1054" fmla="*/ 6848625 w 12192000"/>
                <a:gd name="connsiteY1054" fmla="*/ 593073 h 1608850"/>
                <a:gd name="connsiteX1055" fmla="*/ 6850652 w 12192000"/>
                <a:gd name="connsiteY1055" fmla="*/ 597127 h 1608850"/>
                <a:gd name="connsiteX1056" fmla="*/ 6850652 w 12192000"/>
                <a:gd name="connsiteY1056" fmla="*/ 610368 h 1608850"/>
                <a:gd name="connsiteX1057" fmla="*/ 6852172 w 12192000"/>
                <a:gd name="connsiteY1057" fmla="*/ 608476 h 1608850"/>
                <a:gd name="connsiteX1058" fmla="*/ 6862812 w 12192000"/>
                <a:gd name="connsiteY1058" fmla="*/ 595235 h 1608850"/>
                <a:gd name="connsiteX1059" fmla="*/ 6891186 w 12192000"/>
                <a:gd name="connsiteY1059" fmla="*/ 595235 h 1608850"/>
                <a:gd name="connsiteX1060" fmla="*/ 6891186 w 12192000"/>
                <a:gd name="connsiteY1060" fmla="*/ 681706 h 1608850"/>
                <a:gd name="connsiteX1061" fmla="*/ 6891946 w 12192000"/>
                <a:gd name="connsiteY1061" fmla="*/ 681706 h 1608850"/>
                <a:gd name="connsiteX1062" fmla="*/ 6897266 w 12192000"/>
                <a:gd name="connsiteY1062" fmla="*/ 681706 h 1608850"/>
                <a:gd name="connsiteX1063" fmla="*/ 6898026 w 12192000"/>
                <a:gd name="connsiteY1063" fmla="*/ 680355 h 1608850"/>
                <a:gd name="connsiteX1064" fmla="*/ 6903346 w 12192000"/>
                <a:gd name="connsiteY1064" fmla="*/ 670897 h 1608850"/>
                <a:gd name="connsiteX1065" fmla="*/ 6903346 w 12192000"/>
                <a:gd name="connsiteY1065" fmla="*/ 672789 h 1608850"/>
                <a:gd name="connsiteX1066" fmla="*/ 6903346 w 12192000"/>
                <a:gd name="connsiteY1066" fmla="*/ 686030 h 1608850"/>
                <a:gd name="connsiteX1067" fmla="*/ 6907399 w 12192000"/>
                <a:gd name="connsiteY1067" fmla="*/ 640633 h 1608850"/>
                <a:gd name="connsiteX1068" fmla="*/ 6908159 w 12192000"/>
                <a:gd name="connsiteY1068" fmla="*/ 640633 h 1608850"/>
                <a:gd name="connsiteX1069" fmla="*/ 6913479 w 12192000"/>
                <a:gd name="connsiteY1069" fmla="*/ 640633 h 1608850"/>
                <a:gd name="connsiteX1070" fmla="*/ 6913479 w 12192000"/>
                <a:gd name="connsiteY1070" fmla="*/ 575779 h 1608850"/>
                <a:gd name="connsiteX1071" fmla="*/ 6914493 w 12192000"/>
                <a:gd name="connsiteY1071" fmla="*/ 575779 h 1608850"/>
                <a:gd name="connsiteX1072" fmla="*/ 6921586 w 12192000"/>
                <a:gd name="connsiteY1072" fmla="*/ 575779 h 1608850"/>
                <a:gd name="connsiteX1073" fmla="*/ 6933746 w 12192000"/>
                <a:gd name="connsiteY1073" fmla="*/ 532544 h 1608850"/>
                <a:gd name="connsiteX1074" fmla="*/ 6935013 w 12192000"/>
                <a:gd name="connsiteY1074" fmla="*/ 532544 h 1608850"/>
                <a:gd name="connsiteX1075" fmla="*/ 6943880 w 12192000"/>
                <a:gd name="connsiteY1075" fmla="*/ 532544 h 1608850"/>
                <a:gd name="connsiteX1076" fmla="*/ 6954013 w 12192000"/>
                <a:gd name="connsiteY1076" fmla="*/ 575779 h 1608850"/>
                <a:gd name="connsiteX1077" fmla="*/ 6955026 w 12192000"/>
                <a:gd name="connsiteY1077" fmla="*/ 575779 h 1608850"/>
                <a:gd name="connsiteX1078" fmla="*/ 6962120 w 12192000"/>
                <a:gd name="connsiteY1078" fmla="*/ 575779 h 1608850"/>
                <a:gd name="connsiteX1079" fmla="*/ 6962120 w 12192000"/>
                <a:gd name="connsiteY1079" fmla="*/ 614691 h 1608850"/>
                <a:gd name="connsiteX1080" fmla="*/ 6963893 w 12192000"/>
                <a:gd name="connsiteY1080" fmla="*/ 614691 h 1608850"/>
                <a:gd name="connsiteX1081" fmla="*/ 6976307 w 12192000"/>
                <a:gd name="connsiteY1081" fmla="*/ 614691 h 1608850"/>
                <a:gd name="connsiteX1082" fmla="*/ 6976307 w 12192000"/>
                <a:gd name="connsiteY1082" fmla="*/ 616853 h 1608850"/>
                <a:gd name="connsiteX1083" fmla="*/ 6976307 w 12192000"/>
                <a:gd name="connsiteY1083" fmla="*/ 631985 h 1608850"/>
                <a:gd name="connsiteX1084" fmla="*/ 6980360 w 12192000"/>
                <a:gd name="connsiteY1084" fmla="*/ 629824 h 1608850"/>
                <a:gd name="connsiteX1085" fmla="*/ 6980360 w 12192000"/>
                <a:gd name="connsiteY1085" fmla="*/ 614691 h 1608850"/>
                <a:gd name="connsiteX1086" fmla="*/ 6981880 w 12192000"/>
                <a:gd name="connsiteY1086" fmla="*/ 614691 h 1608850"/>
                <a:gd name="connsiteX1087" fmla="*/ 6992520 w 12192000"/>
                <a:gd name="connsiteY1087" fmla="*/ 614691 h 1608850"/>
                <a:gd name="connsiteX1088" fmla="*/ 6992520 w 12192000"/>
                <a:gd name="connsiteY1088" fmla="*/ 616312 h 1608850"/>
                <a:gd name="connsiteX1089" fmla="*/ 6992520 w 12192000"/>
                <a:gd name="connsiteY1089" fmla="*/ 627662 h 1608850"/>
                <a:gd name="connsiteX1090" fmla="*/ 7022921 w 12192000"/>
                <a:gd name="connsiteY1090" fmla="*/ 627662 h 1608850"/>
                <a:gd name="connsiteX1091" fmla="*/ 7022921 w 12192000"/>
                <a:gd name="connsiteY1091" fmla="*/ 590912 h 1608850"/>
                <a:gd name="connsiteX1092" fmla="*/ 7024187 w 12192000"/>
                <a:gd name="connsiteY1092" fmla="*/ 590912 h 1608850"/>
                <a:gd name="connsiteX1093" fmla="*/ 7033054 w 12192000"/>
                <a:gd name="connsiteY1093" fmla="*/ 590912 h 1608850"/>
                <a:gd name="connsiteX1094" fmla="*/ 7033054 w 12192000"/>
                <a:gd name="connsiteY1094" fmla="*/ 612529 h 1608850"/>
                <a:gd name="connsiteX1095" fmla="*/ 7035081 w 12192000"/>
                <a:gd name="connsiteY1095" fmla="*/ 580103 h 1608850"/>
                <a:gd name="connsiteX1096" fmla="*/ 7057374 w 12192000"/>
                <a:gd name="connsiteY1096" fmla="*/ 580103 h 1608850"/>
                <a:gd name="connsiteX1097" fmla="*/ 7057374 w 12192000"/>
                <a:gd name="connsiteY1097" fmla="*/ 578481 h 1608850"/>
                <a:gd name="connsiteX1098" fmla="*/ 7057374 w 12192000"/>
                <a:gd name="connsiteY1098" fmla="*/ 567132 h 1608850"/>
                <a:gd name="connsiteX1099" fmla="*/ 7058134 w 12192000"/>
                <a:gd name="connsiteY1099" fmla="*/ 567132 h 1608850"/>
                <a:gd name="connsiteX1100" fmla="*/ 7063454 w 12192000"/>
                <a:gd name="connsiteY1100" fmla="*/ 567132 h 1608850"/>
                <a:gd name="connsiteX1101" fmla="*/ 7063454 w 12192000"/>
                <a:gd name="connsiteY1101" fmla="*/ 565241 h 1608850"/>
                <a:gd name="connsiteX1102" fmla="*/ 7063454 w 12192000"/>
                <a:gd name="connsiteY1102" fmla="*/ 552000 h 1608850"/>
                <a:gd name="connsiteX1103" fmla="*/ 7067508 w 12192000"/>
                <a:gd name="connsiteY1103" fmla="*/ 558485 h 1608850"/>
                <a:gd name="connsiteX1104" fmla="*/ 7069788 w 12192000"/>
                <a:gd name="connsiteY1104" fmla="*/ 558485 h 1608850"/>
                <a:gd name="connsiteX1105" fmla="*/ 7085748 w 12192000"/>
                <a:gd name="connsiteY1105" fmla="*/ 558485 h 1608850"/>
                <a:gd name="connsiteX1106" fmla="*/ 7085748 w 12192000"/>
                <a:gd name="connsiteY1106" fmla="*/ 557674 h 1608850"/>
                <a:gd name="connsiteX1107" fmla="*/ 7085748 w 12192000"/>
                <a:gd name="connsiteY1107" fmla="*/ 552000 h 1608850"/>
                <a:gd name="connsiteX1108" fmla="*/ 7086508 w 12192000"/>
                <a:gd name="connsiteY1108" fmla="*/ 552000 h 1608850"/>
                <a:gd name="connsiteX1109" fmla="*/ 7091828 w 12192000"/>
                <a:gd name="connsiteY1109" fmla="*/ 552000 h 1608850"/>
                <a:gd name="connsiteX1110" fmla="*/ 7091828 w 12192000"/>
                <a:gd name="connsiteY1110" fmla="*/ 553351 h 1608850"/>
                <a:gd name="connsiteX1111" fmla="*/ 7091828 w 12192000"/>
                <a:gd name="connsiteY1111" fmla="*/ 562809 h 1608850"/>
                <a:gd name="connsiteX1112" fmla="*/ 7130335 w 12192000"/>
                <a:gd name="connsiteY1112" fmla="*/ 562809 h 1608850"/>
                <a:gd name="connsiteX1113" fmla="*/ 7130335 w 12192000"/>
                <a:gd name="connsiteY1113" fmla="*/ 701162 h 1608850"/>
                <a:gd name="connsiteX1114" fmla="*/ 7131855 w 12192000"/>
                <a:gd name="connsiteY1114" fmla="*/ 701162 h 1608850"/>
                <a:gd name="connsiteX1115" fmla="*/ 7142495 w 12192000"/>
                <a:gd name="connsiteY1115" fmla="*/ 701162 h 1608850"/>
                <a:gd name="connsiteX1116" fmla="*/ 7142495 w 12192000"/>
                <a:gd name="connsiteY1116" fmla="*/ 688192 h 1608850"/>
                <a:gd name="connsiteX1117" fmla="*/ 7146549 w 12192000"/>
                <a:gd name="connsiteY1117" fmla="*/ 688192 h 1608850"/>
                <a:gd name="connsiteX1118" fmla="*/ 7146549 w 12192000"/>
                <a:gd name="connsiteY1118" fmla="*/ 701162 h 1608850"/>
                <a:gd name="connsiteX1119" fmla="*/ 7176949 w 12192000"/>
                <a:gd name="connsiteY1119" fmla="*/ 701162 h 1608850"/>
                <a:gd name="connsiteX1120" fmla="*/ 7176949 w 12192000"/>
                <a:gd name="connsiteY1120" fmla="*/ 670897 h 1608850"/>
                <a:gd name="connsiteX1121" fmla="*/ 7189109 w 12192000"/>
                <a:gd name="connsiteY1121" fmla="*/ 670897 h 1608850"/>
                <a:gd name="connsiteX1122" fmla="*/ 7201269 w 12192000"/>
                <a:gd name="connsiteY1122" fmla="*/ 668736 h 1608850"/>
                <a:gd name="connsiteX1123" fmla="*/ 7205323 w 12192000"/>
                <a:gd name="connsiteY1123" fmla="*/ 670897 h 1608850"/>
                <a:gd name="connsiteX1124" fmla="*/ 7215456 w 12192000"/>
                <a:gd name="connsiteY1124" fmla="*/ 670897 h 1608850"/>
                <a:gd name="connsiteX1125" fmla="*/ 7215456 w 12192000"/>
                <a:gd name="connsiteY1125" fmla="*/ 701162 h 1608850"/>
                <a:gd name="connsiteX1126" fmla="*/ 7223563 w 12192000"/>
                <a:gd name="connsiteY1126" fmla="*/ 701162 h 1608850"/>
                <a:gd name="connsiteX1127" fmla="*/ 7223563 w 12192000"/>
                <a:gd name="connsiteY1127" fmla="*/ 718457 h 1608850"/>
                <a:gd name="connsiteX1128" fmla="*/ 7232899 w 12192000"/>
                <a:gd name="connsiteY1128" fmla="*/ 719362 h 1608850"/>
                <a:gd name="connsiteX1129" fmla="*/ 7245857 w 12192000"/>
                <a:gd name="connsiteY1129" fmla="*/ 719362 h 1608850"/>
                <a:gd name="connsiteX1130" fmla="*/ 7245857 w 12192000"/>
                <a:gd name="connsiteY1130" fmla="*/ 703324 h 1608850"/>
                <a:gd name="connsiteX1131" fmla="*/ 7313813 w 12192000"/>
                <a:gd name="connsiteY1131" fmla="*/ 703324 h 1608850"/>
                <a:gd name="connsiteX1132" fmla="*/ 7313813 w 12192000"/>
                <a:gd name="connsiteY1132" fmla="*/ 618071 h 1608850"/>
                <a:gd name="connsiteX1133" fmla="*/ 7385821 w 12192000"/>
                <a:gd name="connsiteY1133" fmla="*/ 618071 h 1608850"/>
                <a:gd name="connsiteX1134" fmla="*/ 7385821 w 12192000"/>
                <a:gd name="connsiteY1134" fmla="*/ 696839 h 1608850"/>
                <a:gd name="connsiteX1135" fmla="*/ 7387725 w 12192000"/>
                <a:gd name="connsiteY1135" fmla="*/ 696839 h 1608850"/>
                <a:gd name="connsiteX1136" fmla="*/ 7388967 w 12192000"/>
                <a:gd name="connsiteY1136" fmla="*/ 719362 h 1608850"/>
                <a:gd name="connsiteX1137" fmla="*/ 7398643 w 12192000"/>
                <a:gd name="connsiteY1137" fmla="*/ 719362 h 1608850"/>
                <a:gd name="connsiteX1138" fmla="*/ 7399885 w 12192000"/>
                <a:gd name="connsiteY1138" fmla="*/ 696839 h 1608850"/>
                <a:gd name="connsiteX1139" fmla="*/ 7405965 w 12192000"/>
                <a:gd name="connsiteY1139" fmla="*/ 696839 h 1608850"/>
                <a:gd name="connsiteX1140" fmla="*/ 7407207 w 12192000"/>
                <a:gd name="connsiteY1140" fmla="*/ 719362 h 1608850"/>
                <a:gd name="connsiteX1141" fmla="*/ 7457829 w 12192000"/>
                <a:gd name="connsiteY1141" fmla="*/ 719362 h 1608850"/>
                <a:gd name="connsiteX1142" fmla="*/ 7457829 w 12192000"/>
                <a:gd name="connsiteY1142" fmla="*/ 556334 h 1608850"/>
                <a:gd name="connsiteX1143" fmla="*/ 7655156 w 12192000"/>
                <a:gd name="connsiteY1143" fmla="*/ 556334 h 1608850"/>
                <a:gd name="connsiteX1144" fmla="*/ 7655156 w 12192000"/>
                <a:gd name="connsiteY1144" fmla="*/ 719362 h 1608850"/>
                <a:gd name="connsiteX1145" fmla="*/ 7673853 w 12192000"/>
                <a:gd name="connsiteY1145" fmla="*/ 719362 h 1608850"/>
                <a:gd name="connsiteX1146" fmla="*/ 7673853 w 12192000"/>
                <a:gd name="connsiteY1146" fmla="*/ 636669 h 1608850"/>
                <a:gd name="connsiteX1147" fmla="*/ 7768973 w 12192000"/>
                <a:gd name="connsiteY1147" fmla="*/ 636669 h 1608850"/>
                <a:gd name="connsiteX1148" fmla="*/ 7773382 w 12192000"/>
                <a:gd name="connsiteY1148" fmla="*/ 519115 h 1608850"/>
                <a:gd name="connsiteX1149" fmla="*/ 7819759 w 12192000"/>
                <a:gd name="connsiteY1149" fmla="*/ 519115 h 1608850"/>
                <a:gd name="connsiteX1150" fmla="*/ 7821437 w 12192000"/>
                <a:gd name="connsiteY1150" fmla="*/ 571456 h 1608850"/>
                <a:gd name="connsiteX1151" fmla="*/ 7886292 w 12192000"/>
                <a:gd name="connsiteY1151" fmla="*/ 571456 h 1608850"/>
                <a:gd name="connsiteX1152" fmla="*/ 7886292 w 12192000"/>
                <a:gd name="connsiteY1152" fmla="*/ 647118 h 1608850"/>
                <a:gd name="connsiteX1153" fmla="*/ 7894398 w 12192000"/>
                <a:gd name="connsiteY1153" fmla="*/ 647118 h 1608850"/>
                <a:gd name="connsiteX1154" fmla="*/ 7896425 w 12192000"/>
                <a:gd name="connsiteY1154" fmla="*/ 640633 h 1608850"/>
                <a:gd name="connsiteX1155" fmla="*/ 7902505 w 12192000"/>
                <a:gd name="connsiteY1155" fmla="*/ 640633 h 1608850"/>
                <a:gd name="connsiteX1156" fmla="*/ 7904533 w 12192000"/>
                <a:gd name="connsiteY1156" fmla="*/ 649280 h 1608850"/>
                <a:gd name="connsiteX1157" fmla="*/ 7916693 w 12192000"/>
                <a:gd name="connsiteY1157" fmla="*/ 649280 h 1608850"/>
                <a:gd name="connsiteX1158" fmla="*/ 7916693 w 12192000"/>
                <a:gd name="connsiteY1158" fmla="*/ 642794 h 1608850"/>
                <a:gd name="connsiteX1159" fmla="*/ 7938985 w 12192000"/>
                <a:gd name="connsiteY1159" fmla="*/ 642794 h 1608850"/>
                <a:gd name="connsiteX1160" fmla="*/ 7938985 w 12192000"/>
                <a:gd name="connsiteY1160" fmla="*/ 649280 h 1608850"/>
                <a:gd name="connsiteX1161" fmla="*/ 7959253 w 12192000"/>
                <a:gd name="connsiteY1161" fmla="*/ 649280 h 1608850"/>
                <a:gd name="connsiteX1162" fmla="*/ 7959253 w 12192000"/>
                <a:gd name="connsiteY1162" fmla="*/ 694677 h 1608850"/>
                <a:gd name="connsiteX1163" fmla="*/ 7973440 w 12192000"/>
                <a:gd name="connsiteY1163" fmla="*/ 694677 h 1608850"/>
                <a:gd name="connsiteX1164" fmla="*/ 7973440 w 12192000"/>
                <a:gd name="connsiteY1164" fmla="*/ 681706 h 1608850"/>
                <a:gd name="connsiteX1165" fmla="*/ 7989653 w 12192000"/>
                <a:gd name="connsiteY1165" fmla="*/ 681706 h 1608850"/>
                <a:gd name="connsiteX1166" fmla="*/ 7989653 w 12192000"/>
                <a:gd name="connsiteY1166" fmla="*/ 502279 h 1608850"/>
                <a:gd name="connsiteX1167" fmla="*/ 7995733 w 12192000"/>
                <a:gd name="connsiteY1167" fmla="*/ 495793 h 1608850"/>
                <a:gd name="connsiteX1168" fmla="*/ 8068694 w 12192000"/>
                <a:gd name="connsiteY1168" fmla="*/ 495793 h 1608850"/>
                <a:gd name="connsiteX1169" fmla="*/ 8068694 w 12192000"/>
                <a:gd name="connsiteY1169" fmla="*/ 504441 h 1608850"/>
                <a:gd name="connsiteX1170" fmla="*/ 8078828 w 12192000"/>
                <a:gd name="connsiteY1170" fmla="*/ 504441 h 1608850"/>
                <a:gd name="connsiteX1171" fmla="*/ 8078828 w 12192000"/>
                <a:gd name="connsiteY1171" fmla="*/ 619015 h 1608850"/>
                <a:gd name="connsiteX1172" fmla="*/ 8101121 w 12192000"/>
                <a:gd name="connsiteY1172" fmla="*/ 619015 h 1608850"/>
                <a:gd name="connsiteX1173" fmla="*/ 8101121 w 12192000"/>
                <a:gd name="connsiteY1173" fmla="*/ 552000 h 1608850"/>
                <a:gd name="connsiteX1174" fmla="*/ 8127469 w 12192000"/>
                <a:gd name="connsiteY1174" fmla="*/ 552000 h 1608850"/>
                <a:gd name="connsiteX1175" fmla="*/ 8131521 w 12192000"/>
                <a:gd name="connsiteY1175" fmla="*/ 547676 h 1608850"/>
                <a:gd name="connsiteX1176" fmla="*/ 8139629 w 12192000"/>
                <a:gd name="connsiteY1176" fmla="*/ 547676 h 1608850"/>
                <a:gd name="connsiteX1177" fmla="*/ 8143681 w 12192000"/>
                <a:gd name="connsiteY1177" fmla="*/ 552000 h 1608850"/>
                <a:gd name="connsiteX1178" fmla="*/ 8165976 w 12192000"/>
                <a:gd name="connsiteY1178" fmla="*/ 552000 h 1608850"/>
                <a:gd name="connsiteX1179" fmla="*/ 8165976 w 12192000"/>
                <a:gd name="connsiteY1179" fmla="*/ 435264 h 1608850"/>
                <a:gd name="connsiteX1180" fmla="*/ 8222722 w 12192000"/>
                <a:gd name="connsiteY1180" fmla="*/ 424455 h 1608850"/>
                <a:gd name="connsiteX1181" fmla="*/ 8222722 w 12192000"/>
                <a:gd name="connsiteY1181" fmla="*/ 425536 h 1608850"/>
                <a:gd name="connsiteX1182" fmla="*/ 8222722 w 12192000"/>
                <a:gd name="connsiteY1182" fmla="*/ 433102 h 1608850"/>
                <a:gd name="connsiteX1183" fmla="*/ 8249069 w 12192000"/>
                <a:gd name="connsiteY1183" fmla="*/ 433102 h 1608850"/>
                <a:gd name="connsiteX1184" fmla="*/ 8249069 w 12192000"/>
                <a:gd name="connsiteY1184" fmla="*/ 688192 h 1608850"/>
                <a:gd name="connsiteX1185" fmla="*/ 8271364 w 12192000"/>
                <a:gd name="connsiteY1185" fmla="*/ 688192 h 1608850"/>
                <a:gd name="connsiteX1186" fmla="*/ 8271364 w 12192000"/>
                <a:gd name="connsiteY1186" fmla="*/ 683868 h 1608850"/>
                <a:gd name="connsiteX1187" fmla="*/ 8283524 w 12192000"/>
                <a:gd name="connsiteY1187" fmla="*/ 683868 h 1608850"/>
                <a:gd name="connsiteX1188" fmla="*/ 8283524 w 12192000"/>
                <a:gd name="connsiteY1188" fmla="*/ 688192 h 1608850"/>
                <a:gd name="connsiteX1189" fmla="*/ 8307844 w 12192000"/>
                <a:gd name="connsiteY1189" fmla="*/ 688192 h 1608850"/>
                <a:gd name="connsiteX1190" fmla="*/ 8307844 w 12192000"/>
                <a:gd name="connsiteY1190" fmla="*/ 675221 h 1608850"/>
                <a:gd name="connsiteX1191" fmla="*/ 8336217 w 12192000"/>
                <a:gd name="connsiteY1191" fmla="*/ 675221 h 1608850"/>
                <a:gd name="connsiteX1192" fmla="*/ 8348377 w 12192000"/>
                <a:gd name="connsiteY1192" fmla="*/ 670897 h 1608850"/>
                <a:gd name="connsiteX1193" fmla="*/ 8368645 w 12192000"/>
                <a:gd name="connsiteY1193" fmla="*/ 675221 h 1608850"/>
                <a:gd name="connsiteX1194" fmla="*/ 8368645 w 12192000"/>
                <a:gd name="connsiteY1194" fmla="*/ 657927 h 1608850"/>
                <a:gd name="connsiteX1195" fmla="*/ 8376752 w 12192000"/>
                <a:gd name="connsiteY1195" fmla="*/ 657927 h 1608850"/>
                <a:gd name="connsiteX1196" fmla="*/ 8376752 w 12192000"/>
                <a:gd name="connsiteY1196" fmla="*/ 644956 h 1608850"/>
                <a:gd name="connsiteX1197" fmla="*/ 8433498 w 12192000"/>
                <a:gd name="connsiteY1197" fmla="*/ 644956 h 1608850"/>
                <a:gd name="connsiteX1198" fmla="*/ 8433498 w 12192000"/>
                <a:gd name="connsiteY1198" fmla="*/ 614691 h 1608850"/>
                <a:gd name="connsiteX1199" fmla="*/ 8451738 w 12192000"/>
                <a:gd name="connsiteY1199" fmla="*/ 614691 h 1608850"/>
                <a:gd name="connsiteX1200" fmla="*/ 8451738 w 12192000"/>
                <a:gd name="connsiteY1200" fmla="*/ 608206 h 1608850"/>
                <a:gd name="connsiteX1201" fmla="*/ 8463898 w 12192000"/>
                <a:gd name="connsiteY1201" fmla="*/ 608206 h 1608850"/>
                <a:gd name="connsiteX1202" fmla="*/ 8463898 w 12192000"/>
                <a:gd name="connsiteY1202" fmla="*/ 614691 h 1608850"/>
                <a:gd name="connsiteX1203" fmla="*/ 8480112 w 12192000"/>
                <a:gd name="connsiteY1203" fmla="*/ 614691 h 1608850"/>
                <a:gd name="connsiteX1204" fmla="*/ 8480112 w 12192000"/>
                <a:gd name="connsiteY1204" fmla="*/ 664412 h 1608850"/>
                <a:gd name="connsiteX1205" fmla="*/ 8512540 w 12192000"/>
                <a:gd name="connsiteY1205" fmla="*/ 664412 h 1608850"/>
                <a:gd name="connsiteX1206" fmla="*/ 8512540 w 12192000"/>
                <a:gd name="connsiteY1206" fmla="*/ 638471 h 1608850"/>
                <a:gd name="connsiteX1207" fmla="*/ 8551046 w 12192000"/>
                <a:gd name="connsiteY1207" fmla="*/ 638471 h 1608850"/>
                <a:gd name="connsiteX1208" fmla="*/ 8551046 w 12192000"/>
                <a:gd name="connsiteY1208" fmla="*/ 608206 h 1608850"/>
                <a:gd name="connsiteX1209" fmla="*/ 8599688 w 12192000"/>
                <a:gd name="connsiteY1209" fmla="*/ 608206 h 1608850"/>
                <a:gd name="connsiteX1210" fmla="*/ 8599688 w 12192000"/>
                <a:gd name="connsiteY1210" fmla="*/ 719362 h 1608850"/>
                <a:gd name="connsiteX1211" fmla="*/ 8599688 w 12192000"/>
                <a:gd name="connsiteY1211" fmla="*/ 733141 h 1608850"/>
                <a:gd name="connsiteX1212" fmla="*/ 8665562 w 12192000"/>
                <a:gd name="connsiteY1212" fmla="*/ 733141 h 1608850"/>
                <a:gd name="connsiteX1213" fmla="*/ 8665562 w 12192000"/>
                <a:gd name="connsiteY1213" fmla="*/ 838913 h 1608850"/>
                <a:gd name="connsiteX1214" fmla="*/ 8665562 w 12192000"/>
                <a:gd name="connsiteY1214" fmla="*/ 862160 h 1608850"/>
                <a:gd name="connsiteX1215" fmla="*/ 8680522 w 12192000"/>
                <a:gd name="connsiteY1215" fmla="*/ 862160 h 1608850"/>
                <a:gd name="connsiteX1216" fmla="*/ 8680522 w 12192000"/>
                <a:gd name="connsiteY1216" fmla="*/ 860998 h 1608850"/>
                <a:gd name="connsiteX1217" fmla="*/ 8680522 w 12192000"/>
                <a:gd name="connsiteY1217" fmla="*/ 852862 h 1608850"/>
                <a:gd name="connsiteX1218" fmla="*/ 8725102 w 12192000"/>
                <a:gd name="connsiteY1218" fmla="*/ 852862 h 1608850"/>
                <a:gd name="connsiteX1219" fmla="*/ 8725102 w 12192000"/>
                <a:gd name="connsiteY1219" fmla="*/ 855477 h 1608850"/>
                <a:gd name="connsiteX1220" fmla="*/ 8725102 w 12192000"/>
                <a:gd name="connsiteY1220" fmla="*/ 861131 h 1608850"/>
                <a:gd name="connsiteX1221" fmla="*/ 8733569 w 12192000"/>
                <a:gd name="connsiteY1221" fmla="*/ 852574 h 1608850"/>
                <a:gd name="connsiteX1222" fmla="*/ 8729111 w 12192000"/>
                <a:gd name="connsiteY1222" fmla="*/ 850249 h 1608850"/>
                <a:gd name="connsiteX1223" fmla="*/ 8729111 w 12192000"/>
                <a:gd name="connsiteY1223" fmla="*/ 843275 h 1608850"/>
                <a:gd name="connsiteX1224" fmla="*/ 8735797 w 12192000"/>
                <a:gd name="connsiteY1224" fmla="*/ 840950 h 1608850"/>
                <a:gd name="connsiteX1225" fmla="*/ 8735797 w 12192000"/>
                <a:gd name="connsiteY1225" fmla="*/ 831652 h 1608850"/>
                <a:gd name="connsiteX1226" fmla="*/ 8740256 w 12192000"/>
                <a:gd name="connsiteY1226" fmla="*/ 831652 h 1608850"/>
                <a:gd name="connsiteX1227" fmla="*/ 8740256 w 12192000"/>
                <a:gd name="connsiteY1227" fmla="*/ 810730 h 1608850"/>
                <a:gd name="connsiteX1228" fmla="*/ 8735797 w 12192000"/>
                <a:gd name="connsiteY1228" fmla="*/ 810730 h 1608850"/>
                <a:gd name="connsiteX1229" fmla="*/ 8735797 w 12192000"/>
                <a:gd name="connsiteY1229" fmla="*/ 806081 h 1608850"/>
                <a:gd name="connsiteX1230" fmla="*/ 8740256 w 12192000"/>
                <a:gd name="connsiteY1230" fmla="*/ 803756 h 1608850"/>
                <a:gd name="connsiteX1231" fmla="*/ 8751401 w 12192000"/>
                <a:gd name="connsiteY1231" fmla="*/ 787483 h 1608850"/>
                <a:gd name="connsiteX1232" fmla="*/ 8753629 w 12192000"/>
                <a:gd name="connsiteY1232" fmla="*/ 778185 h 1608850"/>
                <a:gd name="connsiteX1233" fmla="*/ 8753629 w 12192000"/>
                <a:gd name="connsiteY1233" fmla="*/ 752614 h 1608850"/>
                <a:gd name="connsiteX1234" fmla="*/ 8753909 w 12192000"/>
                <a:gd name="connsiteY1234" fmla="*/ 751742 h 1608850"/>
                <a:gd name="connsiteX1235" fmla="*/ 8755767 w 12192000"/>
                <a:gd name="connsiteY1235" fmla="*/ 745928 h 1608850"/>
                <a:gd name="connsiteX1236" fmla="*/ 8754080 w 12192000"/>
                <a:gd name="connsiteY1236" fmla="*/ 745928 h 1608850"/>
                <a:gd name="connsiteX1237" fmla="*/ 8754080 w 12192000"/>
                <a:gd name="connsiteY1237" fmla="*/ 744766 h 1608850"/>
                <a:gd name="connsiteX1238" fmla="*/ 8754080 w 12192000"/>
                <a:gd name="connsiteY1238" fmla="*/ 736629 h 1608850"/>
                <a:gd name="connsiteX1239" fmla="*/ 8755194 w 12192000"/>
                <a:gd name="connsiteY1239" fmla="*/ 736629 h 1608850"/>
                <a:gd name="connsiteX1240" fmla="*/ 8762996 w 12192000"/>
                <a:gd name="connsiteY1240" fmla="*/ 736629 h 1608850"/>
                <a:gd name="connsiteX1241" fmla="*/ 8762996 w 12192000"/>
                <a:gd name="connsiteY1241" fmla="*/ 735467 h 1608850"/>
                <a:gd name="connsiteX1242" fmla="*/ 8762996 w 12192000"/>
                <a:gd name="connsiteY1242" fmla="*/ 727331 h 1608850"/>
                <a:gd name="connsiteX1243" fmla="*/ 8761881 w 12192000"/>
                <a:gd name="connsiteY1243" fmla="*/ 727331 h 1608850"/>
                <a:gd name="connsiteX1244" fmla="*/ 8754080 w 12192000"/>
                <a:gd name="connsiteY1244" fmla="*/ 727331 h 1608850"/>
                <a:gd name="connsiteX1245" fmla="*/ 8754080 w 12192000"/>
                <a:gd name="connsiteY1245" fmla="*/ 726168 h 1608850"/>
                <a:gd name="connsiteX1246" fmla="*/ 8754080 w 12192000"/>
                <a:gd name="connsiteY1246" fmla="*/ 718032 h 1608850"/>
                <a:gd name="connsiteX1247" fmla="*/ 8755194 w 12192000"/>
                <a:gd name="connsiteY1247" fmla="*/ 718032 h 1608850"/>
                <a:gd name="connsiteX1248" fmla="*/ 8762996 w 12192000"/>
                <a:gd name="connsiteY1248" fmla="*/ 718032 h 1608850"/>
                <a:gd name="connsiteX1249" fmla="*/ 8762996 w 12192000"/>
                <a:gd name="connsiteY1249" fmla="*/ 717160 h 1608850"/>
                <a:gd name="connsiteX1250" fmla="*/ 8762996 w 12192000"/>
                <a:gd name="connsiteY1250" fmla="*/ 711058 h 1608850"/>
                <a:gd name="connsiteX1251" fmla="*/ 8761881 w 12192000"/>
                <a:gd name="connsiteY1251" fmla="*/ 711058 h 1608850"/>
                <a:gd name="connsiteX1252" fmla="*/ 8754080 w 12192000"/>
                <a:gd name="connsiteY1252" fmla="*/ 711058 h 1608850"/>
                <a:gd name="connsiteX1253" fmla="*/ 8754080 w 12192000"/>
                <a:gd name="connsiteY1253" fmla="*/ 709896 h 1608850"/>
                <a:gd name="connsiteX1254" fmla="*/ 8754080 w 12192000"/>
                <a:gd name="connsiteY1254" fmla="*/ 701759 h 1608850"/>
                <a:gd name="connsiteX1255" fmla="*/ 8755194 w 12192000"/>
                <a:gd name="connsiteY1255" fmla="*/ 701759 h 1608850"/>
                <a:gd name="connsiteX1256" fmla="*/ 8762996 w 12192000"/>
                <a:gd name="connsiteY1256" fmla="*/ 701759 h 1608850"/>
                <a:gd name="connsiteX1257" fmla="*/ 8761881 w 12192000"/>
                <a:gd name="connsiteY1257" fmla="*/ 700016 h 1608850"/>
                <a:gd name="connsiteX1258" fmla="*/ 8754080 w 12192000"/>
                <a:gd name="connsiteY1258" fmla="*/ 687812 h 1608850"/>
                <a:gd name="connsiteX1259" fmla="*/ 8754080 w 12192000"/>
                <a:gd name="connsiteY1259" fmla="*/ 650617 h 1608850"/>
                <a:gd name="connsiteX1260" fmla="*/ 8903424 w 12192000"/>
                <a:gd name="connsiteY1260" fmla="*/ 650617 h 1608850"/>
                <a:gd name="connsiteX1261" fmla="*/ 8905096 w 12192000"/>
                <a:gd name="connsiteY1261" fmla="*/ 653232 h 1608850"/>
                <a:gd name="connsiteX1262" fmla="*/ 8908543 w 12192000"/>
                <a:gd name="connsiteY1262" fmla="*/ 658626 h 1608850"/>
                <a:gd name="connsiteX1263" fmla="*/ 8908543 w 12192000"/>
                <a:gd name="connsiteY1263" fmla="*/ 647687 h 1608850"/>
                <a:gd name="connsiteX1264" fmla="*/ 8908543 w 12192000"/>
                <a:gd name="connsiteY1264" fmla="*/ 607460 h 1608850"/>
                <a:gd name="connsiteX1265" fmla="*/ 8910570 w 12192000"/>
                <a:gd name="connsiteY1265" fmla="*/ 607460 h 1608850"/>
                <a:gd name="connsiteX1266" fmla="*/ 8924757 w 12192000"/>
                <a:gd name="connsiteY1266" fmla="*/ 607460 h 1608850"/>
                <a:gd name="connsiteX1267" fmla="*/ 8924757 w 12192000"/>
                <a:gd name="connsiteY1267" fmla="*/ 515723 h 1608850"/>
                <a:gd name="connsiteX1268" fmla="*/ 8924757 w 12192000"/>
                <a:gd name="connsiteY1268" fmla="*/ 490724 h 1608850"/>
                <a:gd name="connsiteX1269" fmla="*/ 9078786 w 12192000"/>
                <a:gd name="connsiteY1269" fmla="*/ 490724 h 1608850"/>
                <a:gd name="connsiteX1270" fmla="*/ 9078786 w 12192000"/>
                <a:gd name="connsiteY1270" fmla="*/ 506306 h 1608850"/>
                <a:gd name="connsiteX1271" fmla="*/ 9078786 w 12192000"/>
                <a:gd name="connsiteY1271" fmla="*/ 611783 h 1608850"/>
                <a:gd name="connsiteX1272" fmla="*/ 9080306 w 12192000"/>
                <a:gd name="connsiteY1272" fmla="*/ 611513 h 1608850"/>
                <a:gd name="connsiteX1273" fmla="*/ 9090946 w 12192000"/>
                <a:gd name="connsiteY1273" fmla="*/ 609622 h 1608850"/>
                <a:gd name="connsiteX1274" fmla="*/ 9088919 w 12192000"/>
                <a:gd name="connsiteY1274" fmla="*/ 698254 h 1608850"/>
                <a:gd name="connsiteX1275" fmla="*/ 9090439 w 12192000"/>
                <a:gd name="connsiteY1275" fmla="*/ 698525 h 1608850"/>
                <a:gd name="connsiteX1276" fmla="*/ 9101079 w 12192000"/>
                <a:gd name="connsiteY1276" fmla="*/ 700416 h 1608850"/>
                <a:gd name="connsiteX1277" fmla="*/ 9101332 w 12192000"/>
                <a:gd name="connsiteY1277" fmla="*/ 701227 h 1608850"/>
                <a:gd name="connsiteX1278" fmla="*/ 9103106 w 12192000"/>
                <a:gd name="connsiteY1278" fmla="*/ 706902 h 1608850"/>
                <a:gd name="connsiteX1279" fmla="*/ 9103866 w 12192000"/>
                <a:gd name="connsiteY1279" fmla="*/ 704470 h 1608850"/>
                <a:gd name="connsiteX1280" fmla="*/ 9109186 w 12192000"/>
                <a:gd name="connsiteY1280" fmla="*/ 687446 h 1608850"/>
                <a:gd name="connsiteX1281" fmla="*/ 9110959 w 12192000"/>
                <a:gd name="connsiteY1281" fmla="*/ 687446 h 1608850"/>
                <a:gd name="connsiteX1282" fmla="*/ 9123373 w 12192000"/>
                <a:gd name="connsiteY1282" fmla="*/ 687446 h 1608850"/>
                <a:gd name="connsiteX1283" fmla="*/ 9123373 w 12192000"/>
                <a:gd name="connsiteY1283" fmla="*/ 719872 h 1608850"/>
                <a:gd name="connsiteX1284" fmla="*/ 9124386 w 12192000"/>
                <a:gd name="connsiteY1284" fmla="*/ 720413 h 1608850"/>
                <a:gd name="connsiteX1285" fmla="*/ 9131480 w 12192000"/>
                <a:gd name="connsiteY1285" fmla="*/ 724196 h 1608850"/>
                <a:gd name="connsiteX1286" fmla="*/ 9131480 w 12192000"/>
                <a:gd name="connsiteY1286" fmla="*/ 725547 h 1608850"/>
                <a:gd name="connsiteX1287" fmla="*/ 9131480 w 12192000"/>
                <a:gd name="connsiteY1287" fmla="*/ 735005 h 1608850"/>
                <a:gd name="connsiteX1288" fmla="*/ 9176067 w 12192000"/>
                <a:gd name="connsiteY1288" fmla="*/ 735005 h 1608850"/>
                <a:gd name="connsiteX1289" fmla="*/ 9176067 w 12192000"/>
                <a:gd name="connsiteY1289" fmla="*/ 736086 h 1608850"/>
                <a:gd name="connsiteX1290" fmla="*/ 9176067 w 12192000"/>
                <a:gd name="connsiteY1290" fmla="*/ 743652 h 1608850"/>
                <a:gd name="connsiteX1291" fmla="*/ 9178093 w 12192000"/>
                <a:gd name="connsiteY1291" fmla="*/ 743652 h 1608850"/>
                <a:gd name="connsiteX1292" fmla="*/ 9192280 w 12192000"/>
                <a:gd name="connsiteY1292" fmla="*/ 743652 h 1608850"/>
                <a:gd name="connsiteX1293" fmla="*/ 9192280 w 12192000"/>
                <a:gd name="connsiteY1293" fmla="*/ 713387 h 1608850"/>
                <a:gd name="connsiteX1294" fmla="*/ 9236867 w 12192000"/>
                <a:gd name="connsiteY1294" fmla="*/ 713387 h 1608850"/>
                <a:gd name="connsiteX1295" fmla="*/ 9236867 w 12192000"/>
                <a:gd name="connsiteY1295" fmla="*/ 712036 h 1608850"/>
                <a:gd name="connsiteX1296" fmla="*/ 9236867 w 12192000"/>
                <a:gd name="connsiteY1296" fmla="*/ 702578 h 1608850"/>
                <a:gd name="connsiteX1297" fmla="*/ 9237881 w 12192000"/>
                <a:gd name="connsiteY1297" fmla="*/ 702578 h 1608850"/>
                <a:gd name="connsiteX1298" fmla="*/ 9244974 w 12192000"/>
                <a:gd name="connsiteY1298" fmla="*/ 702578 h 1608850"/>
                <a:gd name="connsiteX1299" fmla="*/ 9244974 w 12192000"/>
                <a:gd name="connsiteY1299" fmla="*/ 700687 h 1608850"/>
                <a:gd name="connsiteX1300" fmla="*/ 9244974 w 12192000"/>
                <a:gd name="connsiteY1300" fmla="*/ 687446 h 1608850"/>
                <a:gd name="connsiteX1301" fmla="*/ 9245734 w 12192000"/>
                <a:gd name="connsiteY1301" fmla="*/ 687446 h 1608850"/>
                <a:gd name="connsiteX1302" fmla="*/ 9251054 w 12192000"/>
                <a:gd name="connsiteY1302" fmla="*/ 687446 h 1608850"/>
                <a:gd name="connsiteX1303" fmla="*/ 9251054 w 12192000"/>
                <a:gd name="connsiteY1303" fmla="*/ 686365 h 1608850"/>
                <a:gd name="connsiteX1304" fmla="*/ 9251054 w 12192000"/>
                <a:gd name="connsiteY1304" fmla="*/ 678798 h 1608850"/>
                <a:gd name="connsiteX1305" fmla="*/ 9253081 w 12192000"/>
                <a:gd name="connsiteY1305" fmla="*/ 678798 h 1608850"/>
                <a:gd name="connsiteX1306" fmla="*/ 9267268 w 12192000"/>
                <a:gd name="connsiteY1306" fmla="*/ 678798 h 1608850"/>
                <a:gd name="connsiteX1307" fmla="*/ 9267268 w 12192000"/>
                <a:gd name="connsiteY1307" fmla="*/ 679879 h 1608850"/>
                <a:gd name="connsiteX1308" fmla="*/ 9267268 w 12192000"/>
                <a:gd name="connsiteY1308" fmla="*/ 687446 h 1608850"/>
                <a:gd name="connsiteX1309" fmla="*/ 9289561 w 12192000"/>
                <a:gd name="connsiteY1309" fmla="*/ 687446 h 1608850"/>
                <a:gd name="connsiteX1310" fmla="*/ 9289561 w 12192000"/>
                <a:gd name="connsiteY1310" fmla="*/ 685554 h 1608850"/>
                <a:gd name="connsiteX1311" fmla="*/ 9289561 w 12192000"/>
                <a:gd name="connsiteY1311" fmla="*/ 672313 h 1608850"/>
                <a:gd name="connsiteX1312" fmla="*/ 9291335 w 12192000"/>
                <a:gd name="connsiteY1312" fmla="*/ 672313 h 1608850"/>
                <a:gd name="connsiteX1313" fmla="*/ 9303748 w 12192000"/>
                <a:gd name="connsiteY1313" fmla="*/ 672313 h 1608850"/>
                <a:gd name="connsiteX1314" fmla="*/ 9303748 w 12192000"/>
                <a:gd name="connsiteY1314" fmla="*/ 696093 h 1608850"/>
                <a:gd name="connsiteX1315" fmla="*/ 9304762 w 12192000"/>
                <a:gd name="connsiteY1315" fmla="*/ 696093 h 1608850"/>
                <a:gd name="connsiteX1316" fmla="*/ 9311855 w 12192000"/>
                <a:gd name="connsiteY1316" fmla="*/ 696093 h 1608850"/>
                <a:gd name="connsiteX1317" fmla="*/ 9311855 w 12192000"/>
                <a:gd name="connsiteY1317" fmla="*/ 695012 h 1608850"/>
                <a:gd name="connsiteX1318" fmla="*/ 9311855 w 12192000"/>
                <a:gd name="connsiteY1318" fmla="*/ 687446 h 1608850"/>
                <a:gd name="connsiteX1319" fmla="*/ 9313628 w 12192000"/>
                <a:gd name="connsiteY1319" fmla="*/ 687446 h 1608850"/>
                <a:gd name="connsiteX1320" fmla="*/ 9326042 w 12192000"/>
                <a:gd name="connsiteY1320" fmla="*/ 687446 h 1608850"/>
                <a:gd name="connsiteX1321" fmla="*/ 9326042 w 12192000"/>
                <a:gd name="connsiteY1321" fmla="*/ 713387 h 1608850"/>
                <a:gd name="connsiteX1322" fmla="*/ 9328069 w 12192000"/>
                <a:gd name="connsiteY1322" fmla="*/ 713387 h 1608850"/>
                <a:gd name="connsiteX1323" fmla="*/ 9342255 w 12192000"/>
                <a:gd name="connsiteY1323" fmla="*/ 713387 h 1608850"/>
                <a:gd name="connsiteX1324" fmla="*/ 9342255 w 12192000"/>
                <a:gd name="connsiteY1324" fmla="*/ 715008 h 1608850"/>
                <a:gd name="connsiteX1325" fmla="*/ 9342255 w 12192000"/>
                <a:gd name="connsiteY1325" fmla="*/ 726358 h 1608850"/>
                <a:gd name="connsiteX1326" fmla="*/ 9343015 w 12192000"/>
                <a:gd name="connsiteY1326" fmla="*/ 726358 h 1608850"/>
                <a:gd name="connsiteX1327" fmla="*/ 9348336 w 12192000"/>
                <a:gd name="connsiteY1327" fmla="*/ 726358 h 1608850"/>
                <a:gd name="connsiteX1328" fmla="*/ 9348336 w 12192000"/>
                <a:gd name="connsiteY1328" fmla="*/ 725547 h 1608850"/>
                <a:gd name="connsiteX1329" fmla="*/ 9348336 w 12192000"/>
                <a:gd name="connsiteY1329" fmla="*/ 719872 h 1608850"/>
                <a:gd name="connsiteX1330" fmla="*/ 9378736 w 12192000"/>
                <a:gd name="connsiteY1330" fmla="*/ 719872 h 1608850"/>
                <a:gd name="connsiteX1331" fmla="*/ 9378736 w 12192000"/>
                <a:gd name="connsiteY1331" fmla="*/ 743652 h 1608850"/>
                <a:gd name="connsiteX1332" fmla="*/ 9379749 w 12192000"/>
                <a:gd name="connsiteY1332" fmla="*/ 743652 h 1608850"/>
                <a:gd name="connsiteX1333" fmla="*/ 9386843 w 12192000"/>
                <a:gd name="connsiteY1333" fmla="*/ 743652 h 1608850"/>
                <a:gd name="connsiteX1334" fmla="*/ 9386843 w 12192000"/>
                <a:gd name="connsiteY1334" fmla="*/ 744733 h 1608850"/>
                <a:gd name="connsiteX1335" fmla="*/ 9386843 w 12192000"/>
                <a:gd name="connsiteY1335" fmla="*/ 752299 h 1608850"/>
                <a:gd name="connsiteX1336" fmla="*/ 9387603 w 12192000"/>
                <a:gd name="connsiteY1336" fmla="*/ 752299 h 1608850"/>
                <a:gd name="connsiteX1337" fmla="*/ 9392923 w 12192000"/>
                <a:gd name="connsiteY1337" fmla="*/ 752299 h 1608850"/>
                <a:gd name="connsiteX1338" fmla="*/ 9392923 w 12192000"/>
                <a:gd name="connsiteY1338" fmla="*/ 750137 h 1608850"/>
                <a:gd name="connsiteX1339" fmla="*/ 9392923 w 12192000"/>
                <a:gd name="connsiteY1339" fmla="*/ 735005 h 1608850"/>
                <a:gd name="connsiteX1340" fmla="*/ 9393936 w 12192000"/>
                <a:gd name="connsiteY1340" fmla="*/ 735005 h 1608850"/>
                <a:gd name="connsiteX1341" fmla="*/ 9401030 w 12192000"/>
                <a:gd name="connsiteY1341" fmla="*/ 735005 h 1608850"/>
                <a:gd name="connsiteX1342" fmla="*/ 9401030 w 12192000"/>
                <a:gd name="connsiteY1342" fmla="*/ 736086 h 1608850"/>
                <a:gd name="connsiteX1343" fmla="*/ 9401030 w 12192000"/>
                <a:gd name="connsiteY1343" fmla="*/ 743652 h 1608850"/>
                <a:gd name="connsiteX1344" fmla="*/ 9406350 w 12192000"/>
                <a:gd name="connsiteY1344" fmla="*/ 741659 h 1608850"/>
                <a:gd name="connsiteX1345" fmla="*/ 9407110 w 12192000"/>
                <a:gd name="connsiteY1345" fmla="*/ 740679 h 1608850"/>
                <a:gd name="connsiteX1346" fmla="*/ 9407110 w 12192000"/>
                <a:gd name="connsiteY1346" fmla="*/ 735005 h 1608850"/>
                <a:gd name="connsiteX1347" fmla="*/ 9445617 w 12192000"/>
                <a:gd name="connsiteY1347" fmla="*/ 735005 h 1608850"/>
                <a:gd name="connsiteX1348" fmla="*/ 9445617 w 12192000"/>
                <a:gd name="connsiteY1348" fmla="*/ 758784 h 1608850"/>
                <a:gd name="connsiteX1349" fmla="*/ 9447643 w 12192000"/>
                <a:gd name="connsiteY1349" fmla="*/ 758784 h 1608850"/>
                <a:gd name="connsiteX1350" fmla="*/ 9461830 w 12192000"/>
                <a:gd name="connsiteY1350" fmla="*/ 758784 h 1608850"/>
                <a:gd name="connsiteX1351" fmla="*/ 9461830 w 12192000"/>
                <a:gd name="connsiteY1351" fmla="*/ 759865 h 1608850"/>
                <a:gd name="connsiteX1352" fmla="*/ 9461830 w 12192000"/>
                <a:gd name="connsiteY1352" fmla="*/ 767431 h 1608850"/>
                <a:gd name="connsiteX1353" fmla="*/ 9463604 w 12192000"/>
                <a:gd name="connsiteY1353" fmla="*/ 767431 h 1608850"/>
                <a:gd name="connsiteX1354" fmla="*/ 9476017 w 12192000"/>
                <a:gd name="connsiteY1354" fmla="*/ 767431 h 1608850"/>
                <a:gd name="connsiteX1355" fmla="*/ 9476017 w 12192000"/>
                <a:gd name="connsiteY1355" fmla="*/ 743652 h 1608850"/>
                <a:gd name="connsiteX1356" fmla="*/ 9477030 w 12192000"/>
                <a:gd name="connsiteY1356" fmla="*/ 743652 h 1608850"/>
                <a:gd name="connsiteX1357" fmla="*/ 9484124 w 12192000"/>
                <a:gd name="connsiteY1357" fmla="*/ 743652 h 1608850"/>
                <a:gd name="connsiteX1358" fmla="*/ 9484124 w 12192000"/>
                <a:gd name="connsiteY1358" fmla="*/ 711225 h 1608850"/>
                <a:gd name="connsiteX1359" fmla="*/ 9485137 w 12192000"/>
                <a:gd name="connsiteY1359" fmla="*/ 711225 h 1608850"/>
                <a:gd name="connsiteX1360" fmla="*/ 9492231 w 12192000"/>
                <a:gd name="connsiteY1360" fmla="*/ 711225 h 1608850"/>
                <a:gd name="connsiteX1361" fmla="*/ 9492231 w 12192000"/>
                <a:gd name="connsiteY1361" fmla="*/ 709334 h 1608850"/>
                <a:gd name="connsiteX1362" fmla="*/ 9492231 w 12192000"/>
                <a:gd name="connsiteY1362" fmla="*/ 696093 h 1608850"/>
                <a:gd name="connsiteX1363" fmla="*/ 9490964 w 12192000"/>
                <a:gd name="connsiteY1363" fmla="*/ 694471 h 1608850"/>
                <a:gd name="connsiteX1364" fmla="*/ 9496284 w 12192000"/>
                <a:gd name="connsiteY1364" fmla="*/ 683122 h 1608850"/>
                <a:gd name="connsiteX1365" fmla="*/ 9504391 w 12192000"/>
                <a:gd name="connsiteY1365" fmla="*/ 711225 h 1608850"/>
                <a:gd name="connsiteX1366" fmla="*/ 9505151 w 12192000"/>
                <a:gd name="connsiteY1366" fmla="*/ 711225 h 1608850"/>
                <a:gd name="connsiteX1367" fmla="*/ 9510471 w 12192000"/>
                <a:gd name="connsiteY1367" fmla="*/ 711225 h 1608850"/>
                <a:gd name="connsiteX1368" fmla="*/ 9510471 w 12192000"/>
                <a:gd name="connsiteY1368" fmla="*/ 605298 h 1608850"/>
                <a:gd name="connsiteX1369" fmla="*/ 9511991 w 12192000"/>
                <a:gd name="connsiteY1369" fmla="*/ 605298 h 1608850"/>
                <a:gd name="connsiteX1370" fmla="*/ 9522631 w 12192000"/>
                <a:gd name="connsiteY1370" fmla="*/ 605298 h 1608850"/>
                <a:gd name="connsiteX1371" fmla="*/ 9522631 w 12192000"/>
                <a:gd name="connsiteY1371" fmla="*/ 557739 h 1608850"/>
                <a:gd name="connsiteX1372" fmla="*/ 9548978 w 12192000"/>
                <a:gd name="connsiteY1372" fmla="*/ 557739 h 1608850"/>
                <a:gd name="connsiteX1373" fmla="*/ 9548978 w 12192000"/>
                <a:gd name="connsiteY1373" fmla="*/ 536121 h 1608850"/>
                <a:gd name="connsiteX1374" fmla="*/ 9583432 w 12192000"/>
                <a:gd name="connsiteY1374" fmla="*/ 536121 h 1608850"/>
                <a:gd name="connsiteX1375" fmla="*/ 9583432 w 12192000"/>
                <a:gd name="connsiteY1375" fmla="*/ 538553 h 1608850"/>
                <a:gd name="connsiteX1376" fmla="*/ 9583432 w 12192000"/>
                <a:gd name="connsiteY1376" fmla="*/ 555577 h 1608850"/>
                <a:gd name="connsiteX1377" fmla="*/ 9585712 w 12192000"/>
                <a:gd name="connsiteY1377" fmla="*/ 555577 h 1608850"/>
                <a:gd name="connsiteX1378" fmla="*/ 9601672 w 12192000"/>
                <a:gd name="connsiteY1378" fmla="*/ 555577 h 1608850"/>
                <a:gd name="connsiteX1379" fmla="*/ 9601672 w 12192000"/>
                <a:gd name="connsiteY1379" fmla="*/ 603136 h 1608850"/>
                <a:gd name="connsiteX1380" fmla="*/ 9602685 w 12192000"/>
                <a:gd name="connsiteY1380" fmla="*/ 603136 h 1608850"/>
                <a:gd name="connsiteX1381" fmla="*/ 9609779 w 12192000"/>
                <a:gd name="connsiteY1381" fmla="*/ 603136 h 1608850"/>
                <a:gd name="connsiteX1382" fmla="*/ 9623966 w 12192000"/>
                <a:gd name="connsiteY1382" fmla="*/ 607460 h 1608850"/>
                <a:gd name="connsiteX1383" fmla="*/ 9623966 w 12192000"/>
                <a:gd name="connsiteY1383" fmla="*/ 646372 h 1608850"/>
                <a:gd name="connsiteX1384" fmla="*/ 9624979 w 12192000"/>
                <a:gd name="connsiteY1384" fmla="*/ 646372 h 1608850"/>
                <a:gd name="connsiteX1385" fmla="*/ 9632072 w 12192000"/>
                <a:gd name="connsiteY1385" fmla="*/ 646372 h 1608850"/>
                <a:gd name="connsiteX1386" fmla="*/ 9632072 w 12192000"/>
                <a:gd name="connsiteY1386" fmla="*/ 647993 h 1608850"/>
                <a:gd name="connsiteX1387" fmla="*/ 9632072 w 12192000"/>
                <a:gd name="connsiteY1387" fmla="*/ 659342 h 1608850"/>
                <a:gd name="connsiteX1388" fmla="*/ 9634099 w 12192000"/>
                <a:gd name="connsiteY1388" fmla="*/ 659342 h 1608850"/>
                <a:gd name="connsiteX1389" fmla="*/ 9648286 w 12192000"/>
                <a:gd name="connsiteY1389" fmla="*/ 659342 h 1608850"/>
                <a:gd name="connsiteX1390" fmla="*/ 9654366 w 12192000"/>
                <a:gd name="connsiteY1390" fmla="*/ 665828 h 1608850"/>
                <a:gd name="connsiteX1391" fmla="*/ 9654366 w 12192000"/>
                <a:gd name="connsiteY1391" fmla="*/ 687446 h 1608850"/>
                <a:gd name="connsiteX1392" fmla="*/ 9656646 w 12192000"/>
                <a:gd name="connsiteY1392" fmla="*/ 687446 h 1608850"/>
                <a:gd name="connsiteX1393" fmla="*/ 9672606 w 12192000"/>
                <a:gd name="connsiteY1393" fmla="*/ 687446 h 1608850"/>
                <a:gd name="connsiteX1394" fmla="*/ 9672606 w 12192000"/>
                <a:gd name="connsiteY1394" fmla="*/ 688526 h 1608850"/>
                <a:gd name="connsiteX1395" fmla="*/ 9672606 w 12192000"/>
                <a:gd name="connsiteY1395" fmla="*/ 696093 h 1608850"/>
                <a:gd name="connsiteX1396" fmla="*/ 9673873 w 12192000"/>
                <a:gd name="connsiteY1396" fmla="*/ 696093 h 1608850"/>
                <a:gd name="connsiteX1397" fmla="*/ 9682740 w 12192000"/>
                <a:gd name="connsiteY1397" fmla="*/ 696093 h 1608850"/>
                <a:gd name="connsiteX1398" fmla="*/ 9682740 w 12192000"/>
                <a:gd name="connsiteY1398" fmla="*/ 698254 h 1608850"/>
                <a:gd name="connsiteX1399" fmla="*/ 9682740 w 12192000"/>
                <a:gd name="connsiteY1399" fmla="*/ 713387 h 1608850"/>
                <a:gd name="connsiteX1400" fmla="*/ 9686793 w 12192000"/>
                <a:gd name="connsiteY1400" fmla="*/ 711495 h 1608850"/>
                <a:gd name="connsiteX1401" fmla="*/ 9686793 w 12192000"/>
                <a:gd name="connsiteY1401" fmla="*/ 698254 h 1608850"/>
                <a:gd name="connsiteX1402" fmla="*/ 9687806 w 12192000"/>
                <a:gd name="connsiteY1402" fmla="*/ 698254 h 1608850"/>
                <a:gd name="connsiteX1403" fmla="*/ 9694900 w 12192000"/>
                <a:gd name="connsiteY1403" fmla="*/ 698254 h 1608850"/>
                <a:gd name="connsiteX1404" fmla="*/ 9694900 w 12192000"/>
                <a:gd name="connsiteY1404" fmla="*/ 699876 h 1608850"/>
                <a:gd name="connsiteX1405" fmla="*/ 9694900 w 12192000"/>
                <a:gd name="connsiteY1405" fmla="*/ 711225 h 1608850"/>
                <a:gd name="connsiteX1406" fmla="*/ 9695660 w 12192000"/>
                <a:gd name="connsiteY1406" fmla="*/ 711225 h 1608850"/>
                <a:gd name="connsiteX1407" fmla="*/ 9700980 w 12192000"/>
                <a:gd name="connsiteY1407" fmla="*/ 711225 h 1608850"/>
                <a:gd name="connsiteX1408" fmla="*/ 9749620 w 12192000"/>
                <a:gd name="connsiteY1408" fmla="*/ 706902 h 1608850"/>
                <a:gd name="connsiteX1409" fmla="*/ 9749620 w 12192000"/>
                <a:gd name="connsiteY1409" fmla="*/ 708253 h 1608850"/>
                <a:gd name="connsiteX1410" fmla="*/ 9749620 w 12192000"/>
                <a:gd name="connsiteY1410" fmla="*/ 717710 h 1608850"/>
                <a:gd name="connsiteX1411" fmla="*/ 9750380 w 12192000"/>
                <a:gd name="connsiteY1411" fmla="*/ 717710 h 1608850"/>
                <a:gd name="connsiteX1412" fmla="*/ 9755702 w 12192000"/>
                <a:gd name="connsiteY1412" fmla="*/ 717710 h 1608850"/>
                <a:gd name="connsiteX1413" fmla="*/ 9755702 w 12192000"/>
                <a:gd name="connsiteY1413" fmla="*/ 719872 h 1608850"/>
                <a:gd name="connsiteX1414" fmla="*/ 9755702 w 12192000"/>
                <a:gd name="connsiteY1414" fmla="*/ 735005 h 1608850"/>
                <a:gd name="connsiteX1415" fmla="*/ 9757728 w 12192000"/>
                <a:gd name="connsiteY1415" fmla="*/ 733654 h 1608850"/>
                <a:gd name="connsiteX1416" fmla="*/ 9771914 w 12192000"/>
                <a:gd name="connsiteY1416" fmla="*/ 724196 h 1608850"/>
                <a:gd name="connsiteX1417" fmla="*/ 9777994 w 12192000"/>
                <a:gd name="connsiteY1417" fmla="*/ 683122 h 1608850"/>
                <a:gd name="connsiteX1418" fmla="*/ 9778754 w 12192000"/>
                <a:gd name="connsiteY1418" fmla="*/ 682852 h 1608850"/>
                <a:gd name="connsiteX1419" fmla="*/ 9784074 w 12192000"/>
                <a:gd name="connsiteY1419" fmla="*/ 680960 h 1608850"/>
                <a:gd name="connsiteX1420" fmla="*/ 9786102 w 12192000"/>
                <a:gd name="connsiteY1420" fmla="*/ 611783 h 1608850"/>
                <a:gd name="connsiteX1421" fmla="*/ 9788128 w 12192000"/>
                <a:gd name="connsiteY1421" fmla="*/ 680960 h 1608850"/>
                <a:gd name="connsiteX1422" fmla="*/ 9788888 w 12192000"/>
                <a:gd name="connsiteY1422" fmla="*/ 681230 h 1608850"/>
                <a:gd name="connsiteX1423" fmla="*/ 9794208 w 12192000"/>
                <a:gd name="connsiteY1423" fmla="*/ 683122 h 1608850"/>
                <a:gd name="connsiteX1424" fmla="*/ 9794208 w 12192000"/>
                <a:gd name="connsiteY1424" fmla="*/ 596651 h 1608850"/>
                <a:gd name="connsiteX1425" fmla="*/ 9798262 w 12192000"/>
                <a:gd name="connsiteY1425" fmla="*/ 564224 h 1608850"/>
                <a:gd name="connsiteX1426" fmla="*/ 9836768 w 12192000"/>
                <a:gd name="connsiteY1426" fmla="*/ 564224 h 1608850"/>
                <a:gd name="connsiteX1427" fmla="*/ 9836768 w 12192000"/>
                <a:gd name="connsiteY1427" fmla="*/ 596651 h 1608850"/>
                <a:gd name="connsiteX1428" fmla="*/ 9837528 w 12192000"/>
                <a:gd name="connsiteY1428" fmla="*/ 596651 h 1608850"/>
                <a:gd name="connsiteX1429" fmla="*/ 9842848 w 12192000"/>
                <a:gd name="connsiteY1429" fmla="*/ 596651 h 1608850"/>
                <a:gd name="connsiteX1430" fmla="*/ 9842848 w 12192000"/>
                <a:gd name="connsiteY1430" fmla="*/ 514503 h 1608850"/>
                <a:gd name="connsiteX1431" fmla="*/ 9844622 w 12192000"/>
                <a:gd name="connsiteY1431" fmla="*/ 514503 h 1608850"/>
                <a:gd name="connsiteX1432" fmla="*/ 9857036 w 12192000"/>
                <a:gd name="connsiteY1432" fmla="*/ 514503 h 1608850"/>
                <a:gd name="connsiteX1433" fmla="*/ 9857036 w 12192000"/>
                <a:gd name="connsiteY1433" fmla="*/ 512612 h 1608850"/>
                <a:gd name="connsiteX1434" fmla="*/ 9857036 w 12192000"/>
                <a:gd name="connsiteY1434" fmla="*/ 499371 h 1608850"/>
                <a:gd name="connsiteX1435" fmla="*/ 9879330 w 12192000"/>
                <a:gd name="connsiteY1435" fmla="*/ 499371 h 1608850"/>
                <a:gd name="connsiteX1436" fmla="*/ 9879330 w 12192000"/>
                <a:gd name="connsiteY1436" fmla="*/ 498290 h 1608850"/>
                <a:gd name="connsiteX1437" fmla="*/ 9879330 w 12192000"/>
                <a:gd name="connsiteY1437" fmla="*/ 490724 h 1608850"/>
                <a:gd name="connsiteX1438" fmla="*/ 9881102 w 12192000"/>
                <a:gd name="connsiteY1438" fmla="*/ 490724 h 1608850"/>
                <a:gd name="connsiteX1439" fmla="*/ 9893516 w 12192000"/>
                <a:gd name="connsiteY1439" fmla="*/ 490724 h 1608850"/>
                <a:gd name="connsiteX1440" fmla="*/ 9893516 w 12192000"/>
                <a:gd name="connsiteY1440" fmla="*/ 491805 h 1608850"/>
                <a:gd name="connsiteX1441" fmla="*/ 9893516 w 12192000"/>
                <a:gd name="connsiteY1441" fmla="*/ 499371 h 1608850"/>
                <a:gd name="connsiteX1442" fmla="*/ 9894276 w 12192000"/>
                <a:gd name="connsiteY1442" fmla="*/ 499371 h 1608850"/>
                <a:gd name="connsiteX1443" fmla="*/ 9899596 w 12192000"/>
                <a:gd name="connsiteY1443" fmla="*/ 499371 h 1608850"/>
                <a:gd name="connsiteX1444" fmla="*/ 9909730 w 12192000"/>
                <a:gd name="connsiteY1444" fmla="*/ 495047 h 1608850"/>
                <a:gd name="connsiteX1445" fmla="*/ 9913782 w 12192000"/>
                <a:gd name="connsiteY1445" fmla="*/ 498290 h 1608850"/>
                <a:gd name="connsiteX1446" fmla="*/ 9913782 w 12192000"/>
                <a:gd name="connsiteY1446" fmla="*/ 490724 h 1608850"/>
                <a:gd name="connsiteX1447" fmla="*/ 9916062 w 12192000"/>
                <a:gd name="connsiteY1447" fmla="*/ 490724 h 1608850"/>
                <a:gd name="connsiteX1448" fmla="*/ 9932024 w 12192000"/>
                <a:gd name="connsiteY1448" fmla="*/ 490724 h 1608850"/>
                <a:gd name="connsiteX1449" fmla="*/ 9932024 w 12192000"/>
                <a:gd name="connsiteY1449" fmla="*/ 491805 h 1608850"/>
                <a:gd name="connsiteX1450" fmla="*/ 9932024 w 12192000"/>
                <a:gd name="connsiteY1450" fmla="*/ 499371 h 1608850"/>
                <a:gd name="connsiteX1451" fmla="*/ 9962424 w 12192000"/>
                <a:gd name="connsiteY1451" fmla="*/ 499371 h 1608850"/>
                <a:gd name="connsiteX1452" fmla="*/ 9962424 w 12192000"/>
                <a:gd name="connsiteY1452" fmla="*/ 500992 h 1608850"/>
                <a:gd name="connsiteX1453" fmla="*/ 9962424 w 12192000"/>
                <a:gd name="connsiteY1453" fmla="*/ 512342 h 1608850"/>
                <a:gd name="connsiteX1454" fmla="*/ 9988770 w 12192000"/>
                <a:gd name="connsiteY1454" fmla="*/ 512342 h 1608850"/>
                <a:gd name="connsiteX1455" fmla="*/ 9988770 w 12192000"/>
                <a:gd name="connsiteY1455" fmla="*/ 542606 h 1608850"/>
                <a:gd name="connsiteX1456" fmla="*/ 9989530 w 12192000"/>
                <a:gd name="connsiteY1456" fmla="*/ 542606 h 1608850"/>
                <a:gd name="connsiteX1457" fmla="*/ 9994850 w 12192000"/>
                <a:gd name="connsiteY1457" fmla="*/ 542606 h 1608850"/>
                <a:gd name="connsiteX1458" fmla="*/ 9994850 w 12192000"/>
                <a:gd name="connsiteY1458" fmla="*/ 543687 h 1608850"/>
                <a:gd name="connsiteX1459" fmla="*/ 9994850 w 12192000"/>
                <a:gd name="connsiteY1459" fmla="*/ 551254 h 1608850"/>
                <a:gd name="connsiteX1460" fmla="*/ 9998904 w 12192000"/>
                <a:gd name="connsiteY1460" fmla="*/ 581518 h 1608850"/>
                <a:gd name="connsiteX1461" fmla="*/ 9999664 w 12192000"/>
                <a:gd name="connsiteY1461" fmla="*/ 581518 h 1608850"/>
                <a:gd name="connsiteX1462" fmla="*/ 10004984 w 12192000"/>
                <a:gd name="connsiteY1462" fmla="*/ 581518 h 1608850"/>
                <a:gd name="connsiteX1463" fmla="*/ 10004984 w 12192000"/>
                <a:gd name="connsiteY1463" fmla="*/ 582329 h 1608850"/>
                <a:gd name="connsiteX1464" fmla="*/ 10004984 w 12192000"/>
                <a:gd name="connsiteY1464" fmla="*/ 588004 h 1608850"/>
                <a:gd name="connsiteX1465" fmla="*/ 10005998 w 12192000"/>
                <a:gd name="connsiteY1465" fmla="*/ 588004 h 1608850"/>
                <a:gd name="connsiteX1466" fmla="*/ 10013090 w 12192000"/>
                <a:gd name="connsiteY1466" fmla="*/ 588004 h 1608850"/>
                <a:gd name="connsiteX1467" fmla="*/ 10013090 w 12192000"/>
                <a:gd name="connsiteY1467" fmla="*/ 618269 h 1608850"/>
                <a:gd name="connsiteX1468" fmla="*/ 10015118 w 12192000"/>
                <a:gd name="connsiteY1468" fmla="*/ 618269 h 1608850"/>
                <a:gd name="connsiteX1469" fmla="*/ 10029304 w 12192000"/>
                <a:gd name="connsiteY1469" fmla="*/ 618269 h 1608850"/>
                <a:gd name="connsiteX1470" fmla="*/ 10029304 w 12192000"/>
                <a:gd name="connsiteY1470" fmla="*/ 642048 h 1608850"/>
                <a:gd name="connsiteX1471" fmla="*/ 10031332 w 12192000"/>
                <a:gd name="connsiteY1471" fmla="*/ 643669 h 1608850"/>
                <a:gd name="connsiteX1472" fmla="*/ 10031332 w 12192000"/>
                <a:gd name="connsiteY1472" fmla="*/ 655019 h 1608850"/>
                <a:gd name="connsiteX1473" fmla="*/ 10032092 w 12192000"/>
                <a:gd name="connsiteY1473" fmla="*/ 655019 h 1608850"/>
                <a:gd name="connsiteX1474" fmla="*/ 10037412 w 12192000"/>
                <a:gd name="connsiteY1474" fmla="*/ 655019 h 1608850"/>
                <a:gd name="connsiteX1475" fmla="*/ 10037412 w 12192000"/>
                <a:gd name="connsiteY1475" fmla="*/ 678798 h 1608850"/>
                <a:gd name="connsiteX1476" fmla="*/ 10038678 w 12192000"/>
                <a:gd name="connsiteY1476" fmla="*/ 678798 h 1608850"/>
                <a:gd name="connsiteX1477" fmla="*/ 10047544 w 12192000"/>
                <a:gd name="connsiteY1477" fmla="*/ 678798 h 1608850"/>
                <a:gd name="connsiteX1478" fmla="*/ 10049572 w 12192000"/>
                <a:gd name="connsiteY1478" fmla="*/ 682852 h 1608850"/>
                <a:gd name="connsiteX1479" fmla="*/ 10049572 w 12192000"/>
                <a:gd name="connsiteY1479" fmla="*/ 696093 h 1608850"/>
                <a:gd name="connsiteX1480" fmla="*/ 10051092 w 12192000"/>
                <a:gd name="connsiteY1480" fmla="*/ 694201 h 1608850"/>
                <a:gd name="connsiteX1481" fmla="*/ 10061732 w 12192000"/>
                <a:gd name="connsiteY1481" fmla="*/ 680960 h 1608850"/>
                <a:gd name="connsiteX1482" fmla="*/ 10090106 w 12192000"/>
                <a:gd name="connsiteY1482" fmla="*/ 680960 h 1608850"/>
                <a:gd name="connsiteX1483" fmla="*/ 10090106 w 12192000"/>
                <a:gd name="connsiteY1483" fmla="*/ 767431 h 1608850"/>
                <a:gd name="connsiteX1484" fmla="*/ 10090866 w 12192000"/>
                <a:gd name="connsiteY1484" fmla="*/ 767431 h 1608850"/>
                <a:gd name="connsiteX1485" fmla="*/ 10096186 w 12192000"/>
                <a:gd name="connsiteY1485" fmla="*/ 767431 h 1608850"/>
                <a:gd name="connsiteX1486" fmla="*/ 10096946 w 12192000"/>
                <a:gd name="connsiteY1486" fmla="*/ 766080 h 1608850"/>
                <a:gd name="connsiteX1487" fmla="*/ 10102266 w 12192000"/>
                <a:gd name="connsiteY1487" fmla="*/ 756622 h 1608850"/>
                <a:gd name="connsiteX1488" fmla="*/ 10102266 w 12192000"/>
                <a:gd name="connsiteY1488" fmla="*/ 758514 h 1608850"/>
                <a:gd name="connsiteX1489" fmla="*/ 10102266 w 12192000"/>
                <a:gd name="connsiteY1489" fmla="*/ 771755 h 1608850"/>
                <a:gd name="connsiteX1490" fmla="*/ 10106318 w 12192000"/>
                <a:gd name="connsiteY1490" fmla="*/ 726358 h 1608850"/>
                <a:gd name="connsiteX1491" fmla="*/ 10107078 w 12192000"/>
                <a:gd name="connsiteY1491" fmla="*/ 726358 h 1608850"/>
                <a:gd name="connsiteX1492" fmla="*/ 10112398 w 12192000"/>
                <a:gd name="connsiteY1492" fmla="*/ 726358 h 1608850"/>
                <a:gd name="connsiteX1493" fmla="*/ 10112398 w 12192000"/>
                <a:gd name="connsiteY1493" fmla="*/ 661504 h 1608850"/>
                <a:gd name="connsiteX1494" fmla="*/ 10113412 w 12192000"/>
                <a:gd name="connsiteY1494" fmla="*/ 661504 h 1608850"/>
                <a:gd name="connsiteX1495" fmla="*/ 10120506 w 12192000"/>
                <a:gd name="connsiteY1495" fmla="*/ 661504 h 1608850"/>
                <a:gd name="connsiteX1496" fmla="*/ 10132666 w 12192000"/>
                <a:gd name="connsiteY1496" fmla="*/ 618269 h 1608850"/>
                <a:gd name="connsiteX1497" fmla="*/ 10133932 w 12192000"/>
                <a:gd name="connsiteY1497" fmla="*/ 618269 h 1608850"/>
                <a:gd name="connsiteX1498" fmla="*/ 10142800 w 12192000"/>
                <a:gd name="connsiteY1498" fmla="*/ 618269 h 1608850"/>
                <a:gd name="connsiteX1499" fmla="*/ 10152932 w 12192000"/>
                <a:gd name="connsiteY1499" fmla="*/ 661504 h 1608850"/>
                <a:gd name="connsiteX1500" fmla="*/ 10153946 w 12192000"/>
                <a:gd name="connsiteY1500" fmla="*/ 661504 h 1608850"/>
                <a:gd name="connsiteX1501" fmla="*/ 10161040 w 12192000"/>
                <a:gd name="connsiteY1501" fmla="*/ 661504 h 1608850"/>
                <a:gd name="connsiteX1502" fmla="*/ 10161040 w 12192000"/>
                <a:gd name="connsiteY1502" fmla="*/ 700416 h 1608850"/>
                <a:gd name="connsiteX1503" fmla="*/ 10162812 w 12192000"/>
                <a:gd name="connsiteY1503" fmla="*/ 700416 h 1608850"/>
                <a:gd name="connsiteX1504" fmla="*/ 10175226 w 12192000"/>
                <a:gd name="connsiteY1504" fmla="*/ 700416 h 1608850"/>
                <a:gd name="connsiteX1505" fmla="*/ 10175226 w 12192000"/>
                <a:gd name="connsiteY1505" fmla="*/ 702578 h 1608850"/>
                <a:gd name="connsiteX1506" fmla="*/ 10175226 w 12192000"/>
                <a:gd name="connsiteY1506" fmla="*/ 717710 h 1608850"/>
                <a:gd name="connsiteX1507" fmla="*/ 10179280 w 12192000"/>
                <a:gd name="connsiteY1507" fmla="*/ 715549 h 1608850"/>
                <a:gd name="connsiteX1508" fmla="*/ 10179280 w 12192000"/>
                <a:gd name="connsiteY1508" fmla="*/ 700416 h 1608850"/>
                <a:gd name="connsiteX1509" fmla="*/ 10180800 w 12192000"/>
                <a:gd name="connsiteY1509" fmla="*/ 700416 h 1608850"/>
                <a:gd name="connsiteX1510" fmla="*/ 10191440 w 12192000"/>
                <a:gd name="connsiteY1510" fmla="*/ 700416 h 1608850"/>
                <a:gd name="connsiteX1511" fmla="*/ 10191440 w 12192000"/>
                <a:gd name="connsiteY1511" fmla="*/ 702037 h 1608850"/>
                <a:gd name="connsiteX1512" fmla="*/ 10191440 w 12192000"/>
                <a:gd name="connsiteY1512" fmla="*/ 713387 h 1608850"/>
                <a:gd name="connsiteX1513" fmla="*/ 10221840 w 12192000"/>
                <a:gd name="connsiteY1513" fmla="*/ 713387 h 1608850"/>
                <a:gd name="connsiteX1514" fmla="*/ 10221840 w 12192000"/>
                <a:gd name="connsiteY1514" fmla="*/ 676637 h 1608850"/>
                <a:gd name="connsiteX1515" fmla="*/ 10223106 w 12192000"/>
                <a:gd name="connsiteY1515" fmla="*/ 676637 h 1608850"/>
                <a:gd name="connsiteX1516" fmla="*/ 10231974 w 12192000"/>
                <a:gd name="connsiteY1516" fmla="*/ 676637 h 1608850"/>
                <a:gd name="connsiteX1517" fmla="*/ 10231974 w 12192000"/>
                <a:gd name="connsiteY1517" fmla="*/ 698254 h 1608850"/>
                <a:gd name="connsiteX1518" fmla="*/ 10234000 w 12192000"/>
                <a:gd name="connsiteY1518" fmla="*/ 665828 h 1608850"/>
                <a:gd name="connsiteX1519" fmla="*/ 10256294 w 12192000"/>
                <a:gd name="connsiteY1519" fmla="*/ 665828 h 1608850"/>
                <a:gd name="connsiteX1520" fmla="*/ 10256294 w 12192000"/>
                <a:gd name="connsiteY1520" fmla="*/ 664206 h 1608850"/>
                <a:gd name="connsiteX1521" fmla="*/ 10256294 w 12192000"/>
                <a:gd name="connsiteY1521" fmla="*/ 652857 h 1608850"/>
                <a:gd name="connsiteX1522" fmla="*/ 10257054 w 12192000"/>
                <a:gd name="connsiteY1522" fmla="*/ 652857 h 1608850"/>
                <a:gd name="connsiteX1523" fmla="*/ 10262374 w 12192000"/>
                <a:gd name="connsiteY1523" fmla="*/ 652857 h 1608850"/>
                <a:gd name="connsiteX1524" fmla="*/ 10262374 w 12192000"/>
                <a:gd name="connsiteY1524" fmla="*/ 650966 h 1608850"/>
                <a:gd name="connsiteX1525" fmla="*/ 10262374 w 12192000"/>
                <a:gd name="connsiteY1525" fmla="*/ 637725 h 1608850"/>
                <a:gd name="connsiteX1526" fmla="*/ 10266428 w 12192000"/>
                <a:gd name="connsiteY1526" fmla="*/ 644210 h 1608850"/>
                <a:gd name="connsiteX1527" fmla="*/ 10268708 w 12192000"/>
                <a:gd name="connsiteY1527" fmla="*/ 644210 h 1608850"/>
                <a:gd name="connsiteX1528" fmla="*/ 10284668 w 12192000"/>
                <a:gd name="connsiteY1528" fmla="*/ 644210 h 1608850"/>
                <a:gd name="connsiteX1529" fmla="*/ 10284668 w 12192000"/>
                <a:gd name="connsiteY1529" fmla="*/ 643399 h 1608850"/>
                <a:gd name="connsiteX1530" fmla="*/ 10284668 w 12192000"/>
                <a:gd name="connsiteY1530" fmla="*/ 637725 h 1608850"/>
                <a:gd name="connsiteX1531" fmla="*/ 10285428 w 12192000"/>
                <a:gd name="connsiteY1531" fmla="*/ 637725 h 1608850"/>
                <a:gd name="connsiteX1532" fmla="*/ 10290748 w 12192000"/>
                <a:gd name="connsiteY1532" fmla="*/ 637725 h 1608850"/>
                <a:gd name="connsiteX1533" fmla="*/ 10290748 w 12192000"/>
                <a:gd name="connsiteY1533" fmla="*/ 639076 h 1608850"/>
                <a:gd name="connsiteX1534" fmla="*/ 10290748 w 12192000"/>
                <a:gd name="connsiteY1534" fmla="*/ 648534 h 1608850"/>
                <a:gd name="connsiteX1535" fmla="*/ 10329254 w 12192000"/>
                <a:gd name="connsiteY1535" fmla="*/ 648534 h 1608850"/>
                <a:gd name="connsiteX1536" fmla="*/ 10329254 w 12192000"/>
                <a:gd name="connsiteY1536" fmla="*/ 786887 h 1608850"/>
                <a:gd name="connsiteX1537" fmla="*/ 10330774 w 12192000"/>
                <a:gd name="connsiteY1537" fmla="*/ 786887 h 1608850"/>
                <a:gd name="connsiteX1538" fmla="*/ 10341414 w 12192000"/>
                <a:gd name="connsiteY1538" fmla="*/ 786887 h 1608850"/>
                <a:gd name="connsiteX1539" fmla="*/ 10341414 w 12192000"/>
                <a:gd name="connsiteY1539" fmla="*/ 773917 h 1608850"/>
                <a:gd name="connsiteX1540" fmla="*/ 10345468 w 12192000"/>
                <a:gd name="connsiteY1540" fmla="*/ 773917 h 1608850"/>
                <a:gd name="connsiteX1541" fmla="*/ 10345468 w 12192000"/>
                <a:gd name="connsiteY1541" fmla="*/ 786887 h 1608850"/>
                <a:gd name="connsiteX1542" fmla="*/ 10375868 w 12192000"/>
                <a:gd name="connsiteY1542" fmla="*/ 786887 h 1608850"/>
                <a:gd name="connsiteX1543" fmla="*/ 10375868 w 12192000"/>
                <a:gd name="connsiteY1543" fmla="*/ 756622 h 1608850"/>
                <a:gd name="connsiteX1544" fmla="*/ 10388028 w 12192000"/>
                <a:gd name="connsiteY1544" fmla="*/ 756622 h 1608850"/>
                <a:gd name="connsiteX1545" fmla="*/ 10400188 w 12192000"/>
                <a:gd name="connsiteY1545" fmla="*/ 754461 h 1608850"/>
                <a:gd name="connsiteX1546" fmla="*/ 10404242 w 12192000"/>
                <a:gd name="connsiteY1546" fmla="*/ 756622 h 1608850"/>
                <a:gd name="connsiteX1547" fmla="*/ 10414376 w 12192000"/>
                <a:gd name="connsiteY1547" fmla="*/ 756622 h 1608850"/>
                <a:gd name="connsiteX1548" fmla="*/ 10414376 w 12192000"/>
                <a:gd name="connsiteY1548" fmla="*/ 786887 h 1608850"/>
                <a:gd name="connsiteX1549" fmla="*/ 10422482 w 12192000"/>
                <a:gd name="connsiteY1549" fmla="*/ 786887 h 1608850"/>
                <a:gd name="connsiteX1550" fmla="*/ 10422482 w 12192000"/>
                <a:gd name="connsiteY1550" fmla="*/ 804182 h 1608850"/>
                <a:gd name="connsiteX1551" fmla="*/ 10431818 w 12192000"/>
                <a:gd name="connsiteY1551" fmla="*/ 805087 h 1608850"/>
                <a:gd name="connsiteX1552" fmla="*/ 10444776 w 12192000"/>
                <a:gd name="connsiteY1552" fmla="*/ 805087 h 1608850"/>
                <a:gd name="connsiteX1553" fmla="*/ 10444776 w 12192000"/>
                <a:gd name="connsiteY1553" fmla="*/ 789049 h 1608850"/>
                <a:gd name="connsiteX1554" fmla="*/ 10512732 w 12192000"/>
                <a:gd name="connsiteY1554" fmla="*/ 789049 h 1608850"/>
                <a:gd name="connsiteX1555" fmla="*/ 10512732 w 12192000"/>
                <a:gd name="connsiteY1555" fmla="*/ 703796 h 1608850"/>
                <a:gd name="connsiteX1556" fmla="*/ 10584740 w 12192000"/>
                <a:gd name="connsiteY1556" fmla="*/ 703796 h 1608850"/>
                <a:gd name="connsiteX1557" fmla="*/ 10584740 w 12192000"/>
                <a:gd name="connsiteY1557" fmla="*/ 782564 h 1608850"/>
                <a:gd name="connsiteX1558" fmla="*/ 10586644 w 12192000"/>
                <a:gd name="connsiteY1558" fmla="*/ 782564 h 1608850"/>
                <a:gd name="connsiteX1559" fmla="*/ 10587886 w 12192000"/>
                <a:gd name="connsiteY1559" fmla="*/ 805087 h 1608850"/>
                <a:gd name="connsiteX1560" fmla="*/ 10597562 w 12192000"/>
                <a:gd name="connsiteY1560" fmla="*/ 805087 h 1608850"/>
                <a:gd name="connsiteX1561" fmla="*/ 10598804 w 12192000"/>
                <a:gd name="connsiteY1561" fmla="*/ 782564 h 1608850"/>
                <a:gd name="connsiteX1562" fmla="*/ 10604884 w 12192000"/>
                <a:gd name="connsiteY1562" fmla="*/ 782564 h 1608850"/>
                <a:gd name="connsiteX1563" fmla="*/ 10606126 w 12192000"/>
                <a:gd name="connsiteY1563" fmla="*/ 805087 h 1608850"/>
                <a:gd name="connsiteX1564" fmla="*/ 10656748 w 12192000"/>
                <a:gd name="connsiteY1564" fmla="*/ 805087 h 1608850"/>
                <a:gd name="connsiteX1565" fmla="*/ 10656748 w 12192000"/>
                <a:gd name="connsiteY1565" fmla="*/ 642059 h 1608850"/>
                <a:gd name="connsiteX1566" fmla="*/ 10854076 w 12192000"/>
                <a:gd name="connsiteY1566" fmla="*/ 642059 h 1608850"/>
                <a:gd name="connsiteX1567" fmla="*/ 10854076 w 12192000"/>
                <a:gd name="connsiteY1567" fmla="*/ 805087 h 1608850"/>
                <a:gd name="connsiteX1568" fmla="*/ 10872772 w 12192000"/>
                <a:gd name="connsiteY1568" fmla="*/ 805087 h 1608850"/>
                <a:gd name="connsiteX1569" fmla="*/ 10872772 w 12192000"/>
                <a:gd name="connsiteY1569" fmla="*/ 722394 h 1608850"/>
                <a:gd name="connsiteX1570" fmla="*/ 10967892 w 12192000"/>
                <a:gd name="connsiteY1570" fmla="*/ 722394 h 1608850"/>
                <a:gd name="connsiteX1571" fmla="*/ 10979823 w 12192000"/>
                <a:gd name="connsiteY1571" fmla="*/ 404253 h 1608850"/>
                <a:gd name="connsiteX1572" fmla="*/ 10967663 w 12192000"/>
                <a:gd name="connsiteY1572" fmla="*/ 382635 h 1608850"/>
                <a:gd name="connsiteX1573" fmla="*/ 10961583 w 12192000"/>
                <a:gd name="connsiteY1573" fmla="*/ 378311 h 1608850"/>
                <a:gd name="connsiteX1574" fmla="*/ 10969690 w 12192000"/>
                <a:gd name="connsiteY1574" fmla="*/ 354532 h 1608850"/>
                <a:gd name="connsiteX1575" fmla="*/ 10969690 w 12192000"/>
                <a:gd name="connsiteY1575" fmla="*/ 337238 h 1608850"/>
                <a:gd name="connsiteX1576" fmla="*/ 10983876 w 12192000"/>
                <a:gd name="connsiteY1576" fmla="*/ 337238 h 1608850"/>
                <a:gd name="connsiteX1577" fmla="*/ 10983876 w 12192000"/>
                <a:gd name="connsiteY1577" fmla="*/ 315620 h 1608850"/>
                <a:gd name="connsiteX1578" fmla="*/ 10985903 w 12192000"/>
                <a:gd name="connsiteY1578" fmla="*/ 311296 h 1608850"/>
                <a:gd name="connsiteX1579" fmla="*/ 10985903 w 12192000"/>
                <a:gd name="connsiteY1579" fmla="*/ 233472 h 1608850"/>
                <a:gd name="connsiteX1580" fmla="*/ 10983876 w 12192000"/>
                <a:gd name="connsiteY1580" fmla="*/ 226987 h 1608850"/>
                <a:gd name="connsiteX1581" fmla="*/ 10989956 w 12192000"/>
                <a:gd name="connsiteY1581" fmla="*/ 220501 h 1608850"/>
                <a:gd name="connsiteX1582" fmla="*/ 10989956 w 12192000"/>
                <a:gd name="connsiteY1582" fmla="*/ 162133 h 1608850"/>
                <a:gd name="connsiteX1583" fmla="*/ 10991983 w 12192000"/>
                <a:gd name="connsiteY1583" fmla="*/ 157810 h 1608850"/>
                <a:gd name="connsiteX1584" fmla="*/ 10991983 w 12192000"/>
                <a:gd name="connsiteY1584" fmla="*/ 101604 h 1608850"/>
                <a:gd name="connsiteX1585" fmla="*/ 10994010 w 12192000"/>
                <a:gd name="connsiteY1585" fmla="*/ 82148 h 1608850"/>
                <a:gd name="connsiteX1586" fmla="*/ 10998063 w 12192000"/>
                <a:gd name="connsiteY1586" fmla="*/ 99442 h 1608850"/>
                <a:gd name="connsiteX1587" fmla="*/ 11000090 w 12192000"/>
                <a:gd name="connsiteY1587" fmla="*/ 157810 h 1608850"/>
                <a:gd name="connsiteX1588" fmla="*/ 11002116 w 12192000"/>
                <a:gd name="connsiteY1588" fmla="*/ 220501 h 1608850"/>
                <a:gd name="connsiteX1589" fmla="*/ 11008196 w 12192000"/>
                <a:gd name="connsiteY1589" fmla="*/ 226987 h 1608850"/>
                <a:gd name="connsiteX1590" fmla="*/ 11006170 w 12192000"/>
                <a:gd name="connsiteY1590" fmla="*/ 233472 h 1608850"/>
                <a:gd name="connsiteX1591" fmla="*/ 11006170 w 12192000"/>
                <a:gd name="connsiteY1591" fmla="*/ 311296 h 1608850"/>
                <a:gd name="connsiteX1592" fmla="*/ 11008196 w 12192000"/>
                <a:gd name="connsiteY1592" fmla="*/ 315620 h 1608850"/>
                <a:gd name="connsiteX1593" fmla="*/ 11008196 w 12192000"/>
                <a:gd name="connsiteY1593" fmla="*/ 337238 h 1608850"/>
                <a:gd name="connsiteX1594" fmla="*/ 11022383 w 12192000"/>
                <a:gd name="connsiteY1594" fmla="*/ 337238 h 1608850"/>
                <a:gd name="connsiteX1595" fmla="*/ 11022383 w 12192000"/>
                <a:gd name="connsiteY1595" fmla="*/ 354532 h 1608850"/>
                <a:gd name="connsiteX1596" fmla="*/ 11030491 w 12192000"/>
                <a:gd name="connsiteY1596" fmla="*/ 378311 h 1608850"/>
                <a:gd name="connsiteX1597" fmla="*/ 11024411 w 12192000"/>
                <a:gd name="connsiteY1597" fmla="*/ 382635 h 1608850"/>
                <a:gd name="connsiteX1598" fmla="*/ 11012250 w 12192000"/>
                <a:gd name="connsiteY1598" fmla="*/ 404253 h 1608850"/>
                <a:gd name="connsiteX1599" fmla="*/ 11020356 w 12192000"/>
                <a:gd name="connsiteY1599" fmla="*/ 657181 h 1608850"/>
                <a:gd name="connsiteX1600" fmla="*/ 11085211 w 12192000"/>
                <a:gd name="connsiteY1600" fmla="*/ 657181 h 1608850"/>
                <a:gd name="connsiteX1601" fmla="*/ 11085211 w 12192000"/>
                <a:gd name="connsiteY1601" fmla="*/ 732843 h 1608850"/>
                <a:gd name="connsiteX1602" fmla="*/ 11093318 w 12192000"/>
                <a:gd name="connsiteY1602" fmla="*/ 732843 h 1608850"/>
                <a:gd name="connsiteX1603" fmla="*/ 11095344 w 12192000"/>
                <a:gd name="connsiteY1603" fmla="*/ 726358 h 1608850"/>
                <a:gd name="connsiteX1604" fmla="*/ 11101424 w 12192000"/>
                <a:gd name="connsiteY1604" fmla="*/ 726358 h 1608850"/>
                <a:gd name="connsiteX1605" fmla="*/ 11103452 w 12192000"/>
                <a:gd name="connsiteY1605" fmla="*/ 735005 h 1608850"/>
                <a:gd name="connsiteX1606" fmla="*/ 11115612 w 12192000"/>
                <a:gd name="connsiteY1606" fmla="*/ 735005 h 1608850"/>
                <a:gd name="connsiteX1607" fmla="*/ 11115612 w 12192000"/>
                <a:gd name="connsiteY1607" fmla="*/ 728519 h 1608850"/>
                <a:gd name="connsiteX1608" fmla="*/ 11137904 w 12192000"/>
                <a:gd name="connsiteY1608" fmla="*/ 728519 h 1608850"/>
                <a:gd name="connsiteX1609" fmla="*/ 11137904 w 12192000"/>
                <a:gd name="connsiteY1609" fmla="*/ 735005 h 1608850"/>
                <a:gd name="connsiteX1610" fmla="*/ 11158172 w 12192000"/>
                <a:gd name="connsiteY1610" fmla="*/ 735005 h 1608850"/>
                <a:gd name="connsiteX1611" fmla="*/ 11158172 w 12192000"/>
                <a:gd name="connsiteY1611" fmla="*/ 780402 h 1608850"/>
                <a:gd name="connsiteX1612" fmla="*/ 11172359 w 12192000"/>
                <a:gd name="connsiteY1612" fmla="*/ 780402 h 1608850"/>
                <a:gd name="connsiteX1613" fmla="*/ 11172359 w 12192000"/>
                <a:gd name="connsiteY1613" fmla="*/ 767431 h 1608850"/>
                <a:gd name="connsiteX1614" fmla="*/ 11188572 w 12192000"/>
                <a:gd name="connsiteY1614" fmla="*/ 767431 h 1608850"/>
                <a:gd name="connsiteX1615" fmla="*/ 11188572 w 12192000"/>
                <a:gd name="connsiteY1615" fmla="*/ 588004 h 1608850"/>
                <a:gd name="connsiteX1616" fmla="*/ 11194652 w 12192000"/>
                <a:gd name="connsiteY1616" fmla="*/ 581518 h 1608850"/>
                <a:gd name="connsiteX1617" fmla="*/ 11267614 w 12192000"/>
                <a:gd name="connsiteY1617" fmla="*/ 581518 h 1608850"/>
                <a:gd name="connsiteX1618" fmla="*/ 11267614 w 12192000"/>
                <a:gd name="connsiteY1618" fmla="*/ 590166 h 1608850"/>
                <a:gd name="connsiteX1619" fmla="*/ 11277747 w 12192000"/>
                <a:gd name="connsiteY1619" fmla="*/ 590166 h 1608850"/>
                <a:gd name="connsiteX1620" fmla="*/ 11277747 w 12192000"/>
                <a:gd name="connsiteY1620" fmla="*/ 704740 h 1608850"/>
                <a:gd name="connsiteX1621" fmla="*/ 11300040 w 12192000"/>
                <a:gd name="connsiteY1621" fmla="*/ 704740 h 1608850"/>
                <a:gd name="connsiteX1622" fmla="*/ 11300040 w 12192000"/>
                <a:gd name="connsiteY1622" fmla="*/ 637725 h 1608850"/>
                <a:gd name="connsiteX1623" fmla="*/ 11326388 w 12192000"/>
                <a:gd name="connsiteY1623" fmla="*/ 637725 h 1608850"/>
                <a:gd name="connsiteX1624" fmla="*/ 11330440 w 12192000"/>
                <a:gd name="connsiteY1624" fmla="*/ 633401 h 1608850"/>
                <a:gd name="connsiteX1625" fmla="*/ 11338548 w 12192000"/>
                <a:gd name="connsiteY1625" fmla="*/ 633401 h 1608850"/>
                <a:gd name="connsiteX1626" fmla="*/ 11342600 w 12192000"/>
                <a:gd name="connsiteY1626" fmla="*/ 637725 h 1608850"/>
                <a:gd name="connsiteX1627" fmla="*/ 11364895 w 12192000"/>
                <a:gd name="connsiteY1627" fmla="*/ 637725 h 1608850"/>
                <a:gd name="connsiteX1628" fmla="*/ 11364895 w 12192000"/>
                <a:gd name="connsiteY1628" fmla="*/ 520989 h 1608850"/>
                <a:gd name="connsiteX1629" fmla="*/ 11421642 w 12192000"/>
                <a:gd name="connsiteY1629" fmla="*/ 510180 h 1608850"/>
                <a:gd name="connsiteX1630" fmla="*/ 11421642 w 12192000"/>
                <a:gd name="connsiteY1630" fmla="*/ 511261 h 1608850"/>
                <a:gd name="connsiteX1631" fmla="*/ 11421642 w 12192000"/>
                <a:gd name="connsiteY1631" fmla="*/ 518827 h 1608850"/>
                <a:gd name="connsiteX1632" fmla="*/ 11447988 w 12192000"/>
                <a:gd name="connsiteY1632" fmla="*/ 518827 h 1608850"/>
                <a:gd name="connsiteX1633" fmla="*/ 11447988 w 12192000"/>
                <a:gd name="connsiteY1633" fmla="*/ 773917 h 1608850"/>
                <a:gd name="connsiteX1634" fmla="*/ 11470283 w 12192000"/>
                <a:gd name="connsiteY1634" fmla="*/ 773917 h 1608850"/>
                <a:gd name="connsiteX1635" fmla="*/ 11470283 w 12192000"/>
                <a:gd name="connsiteY1635" fmla="*/ 769593 h 1608850"/>
                <a:gd name="connsiteX1636" fmla="*/ 11482443 w 12192000"/>
                <a:gd name="connsiteY1636" fmla="*/ 769593 h 1608850"/>
                <a:gd name="connsiteX1637" fmla="*/ 11482443 w 12192000"/>
                <a:gd name="connsiteY1637" fmla="*/ 773917 h 1608850"/>
                <a:gd name="connsiteX1638" fmla="*/ 11506763 w 12192000"/>
                <a:gd name="connsiteY1638" fmla="*/ 773917 h 1608850"/>
                <a:gd name="connsiteX1639" fmla="*/ 11506763 w 12192000"/>
                <a:gd name="connsiteY1639" fmla="*/ 760946 h 1608850"/>
                <a:gd name="connsiteX1640" fmla="*/ 11535136 w 12192000"/>
                <a:gd name="connsiteY1640" fmla="*/ 760946 h 1608850"/>
                <a:gd name="connsiteX1641" fmla="*/ 11547296 w 12192000"/>
                <a:gd name="connsiteY1641" fmla="*/ 756622 h 1608850"/>
                <a:gd name="connsiteX1642" fmla="*/ 11567564 w 12192000"/>
                <a:gd name="connsiteY1642" fmla="*/ 760946 h 1608850"/>
                <a:gd name="connsiteX1643" fmla="*/ 11567564 w 12192000"/>
                <a:gd name="connsiteY1643" fmla="*/ 743652 h 1608850"/>
                <a:gd name="connsiteX1644" fmla="*/ 11575671 w 12192000"/>
                <a:gd name="connsiteY1644" fmla="*/ 743652 h 1608850"/>
                <a:gd name="connsiteX1645" fmla="*/ 11575671 w 12192000"/>
                <a:gd name="connsiteY1645" fmla="*/ 730681 h 1608850"/>
                <a:gd name="connsiteX1646" fmla="*/ 11632418 w 12192000"/>
                <a:gd name="connsiteY1646" fmla="*/ 730681 h 1608850"/>
                <a:gd name="connsiteX1647" fmla="*/ 11632418 w 12192000"/>
                <a:gd name="connsiteY1647" fmla="*/ 700416 h 1608850"/>
                <a:gd name="connsiteX1648" fmla="*/ 11650658 w 12192000"/>
                <a:gd name="connsiteY1648" fmla="*/ 700416 h 1608850"/>
                <a:gd name="connsiteX1649" fmla="*/ 11650658 w 12192000"/>
                <a:gd name="connsiteY1649" fmla="*/ 693931 h 1608850"/>
                <a:gd name="connsiteX1650" fmla="*/ 11662818 w 12192000"/>
                <a:gd name="connsiteY1650" fmla="*/ 693931 h 1608850"/>
                <a:gd name="connsiteX1651" fmla="*/ 11662818 w 12192000"/>
                <a:gd name="connsiteY1651" fmla="*/ 700416 h 1608850"/>
                <a:gd name="connsiteX1652" fmla="*/ 11679031 w 12192000"/>
                <a:gd name="connsiteY1652" fmla="*/ 700416 h 1608850"/>
                <a:gd name="connsiteX1653" fmla="*/ 11679031 w 12192000"/>
                <a:gd name="connsiteY1653" fmla="*/ 750137 h 1608850"/>
                <a:gd name="connsiteX1654" fmla="*/ 11711459 w 12192000"/>
                <a:gd name="connsiteY1654" fmla="*/ 750137 h 1608850"/>
                <a:gd name="connsiteX1655" fmla="*/ 11711459 w 12192000"/>
                <a:gd name="connsiteY1655" fmla="*/ 724196 h 1608850"/>
                <a:gd name="connsiteX1656" fmla="*/ 11749966 w 12192000"/>
                <a:gd name="connsiteY1656" fmla="*/ 724196 h 1608850"/>
                <a:gd name="connsiteX1657" fmla="*/ 11749966 w 12192000"/>
                <a:gd name="connsiteY1657" fmla="*/ 693931 h 1608850"/>
                <a:gd name="connsiteX1658" fmla="*/ 11798607 w 12192000"/>
                <a:gd name="connsiteY1658" fmla="*/ 693931 h 1608850"/>
                <a:gd name="connsiteX1659" fmla="*/ 11798607 w 12192000"/>
                <a:gd name="connsiteY1659" fmla="*/ 805087 h 1608850"/>
                <a:gd name="connsiteX1660" fmla="*/ 11798607 w 12192000"/>
                <a:gd name="connsiteY1660" fmla="*/ 818866 h 1608850"/>
                <a:gd name="connsiteX1661" fmla="*/ 11864482 w 12192000"/>
                <a:gd name="connsiteY1661" fmla="*/ 818866 h 1608850"/>
                <a:gd name="connsiteX1662" fmla="*/ 11864482 w 12192000"/>
                <a:gd name="connsiteY1662" fmla="*/ 924638 h 1608850"/>
                <a:gd name="connsiteX1663" fmla="*/ 11864482 w 12192000"/>
                <a:gd name="connsiteY1663" fmla="*/ 947885 h 1608850"/>
                <a:gd name="connsiteX1664" fmla="*/ 11879442 w 12192000"/>
                <a:gd name="connsiteY1664" fmla="*/ 947885 h 1608850"/>
                <a:gd name="connsiteX1665" fmla="*/ 11879442 w 12192000"/>
                <a:gd name="connsiteY1665" fmla="*/ 946723 h 1608850"/>
                <a:gd name="connsiteX1666" fmla="*/ 11879442 w 12192000"/>
                <a:gd name="connsiteY1666" fmla="*/ 938587 h 1608850"/>
                <a:gd name="connsiteX1667" fmla="*/ 11924022 w 12192000"/>
                <a:gd name="connsiteY1667" fmla="*/ 938587 h 1608850"/>
                <a:gd name="connsiteX1668" fmla="*/ 11924022 w 12192000"/>
                <a:gd name="connsiteY1668" fmla="*/ 959508 h 1608850"/>
                <a:gd name="connsiteX1669" fmla="*/ 11926250 w 12192000"/>
                <a:gd name="connsiteY1669" fmla="*/ 960671 h 1608850"/>
                <a:gd name="connsiteX1670" fmla="*/ 11941854 w 12192000"/>
                <a:gd name="connsiteY1670" fmla="*/ 968807 h 1608850"/>
                <a:gd name="connsiteX1671" fmla="*/ 11941854 w 12192000"/>
                <a:gd name="connsiteY1671" fmla="*/ 999027 h 1608850"/>
                <a:gd name="connsiteX1672" fmla="*/ 11943247 w 12192000"/>
                <a:gd name="connsiteY1672" fmla="*/ 999609 h 1608850"/>
                <a:gd name="connsiteX1673" fmla="*/ 11952999 w 12192000"/>
                <a:gd name="connsiteY1673" fmla="*/ 1003677 h 1608850"/>
                <a:gd name="connsiteX1674" fmla="*/ 11952999 w 12192000"/>
                <a:gd name="connsiteY1674" fmla="*/ 1002515 h 1608850"/>
                <a:gd name="connsiteX1675" fmla="*/ 11952999 w 12192000"/>
                <a:gd name="connsiteY1675" fmla="*/ 994378 h 1608850"/>
                <a:gd name="connsiteX1676" fmla="*/ 11954114 w 12192000"/>
                <a:gd name="connsiteY1676" fmla="*/ 994378 h 1608850"/>
                <a:gd name="connsiteX1677" fmla="*/ 11961915 w 12192000"/>
                <a:gd name="connsiteY1677" fmla="*/ 994378 h 1608850"/>
                <a:gd name="connsiteX1678" fmla="*/ 11961915 w 12192000"/>
                <a:gd name="connsiteY1678" fmla="*/ 993506 h 1608850"/>
                <a:gd name="connsiteX1679" fmla="*/ 11961915 w 12192000"/>
                <a:gd name="connsiteY1679" fmla="*/ 987404 h 1608850"/>
                <a:gd name="connsiteX1680" fmla="*/ 11960800 w 12192000"/>
                <a:gd name="connsiteY1680" fmla="*/ 987404 h 1608850"/>
                <a:gd name="connsiteX1681" fmla="*/ 11952999 w 12192000"/>
                <a:gd name="connsiteY1681" fmla="*/ 987404 h 1608850"/>
                <a:gd name="connsiteX1682" fmla="*/ 11952999 w 12192000"/>
                <a:gd name="connsiteY1682" fmla="*/ 986242 h 1608850"/>
                <a:gd name="connsiteX1683" fmla="*/ 11952999 w 12192000"/>
                <a:gd name="connsiteY1683" fmla="*/ 978106 h 1608850"/>
                <a:gd name="connsiteX1684" fmla="*/ 11954114 w 12192000"/>
                <a:gd name="connsiteY1684" fmla="*/ 978106 h 1608850"/>
                <a:gd name="connsiteX1685" fmla="*/ 11961915 w 12192000"/>
                <a:gd name="connsiteY1685" fmla="*/ 978106 h 1608850"/>
                <a:gd name="connsiteX1686" fmla="*/ 11961915 w 12192000"/>
                <a:gd name="connsiteY1686" fmla="*/ 976943 h 1608850"/>
                <a:gd name="connsiteX1687" fmla="*/ 11961915 w 12192000"/>
                <a:gd name="connsiteY1687" fmla="*/ 968807 h 1608850"/>
                <a:gd name="connsiteX1688" fmla="*/ 11960800 w 12192000"/>
                <a:gd name="connsiteY1688" fmla="*/ 968807 h 1608850"/>
                <a:gd name="connsiteX1689" fmla="*/ 11952999 w 12192000"/>
                <a:gd name="connsiteY1689" fmla="*/ 968807 h 1608850"/>
                <a:gd name="connsiteX1690" fmla="*/ 11952999 w 12192000"/>
                <a:gd name="connsiteY1690" fmla="*/ 967645 h 1608850"/>
                <a:gd name="connsiteX1691" fmla="*/ 11952999 w 12192000"/>
                <a:gd name="connsiteY1691" fmla="*/ 959508 h 1608850"/>
                <a:gd name="connsiteX1692" fmla="*/ 11954114 w 12192000"/>
                <a:gd name="connsiteY1692" fmla="*/ 959508 h 1608850"/>
                <a:gd name="connsiteX1693" fmla="*/ 11961915 w 12192000"/>
                <a:gd name="connsiteY1693" fmla="*/ 959508 h 1608850"/>
                <a:gd name="connsiteX1694" fmla="*/ 11961915 w 12192000"/>
                <a:gd name="connsiteY1694" fmla="*/ 958637 h 1608850"/>
                <a:gd name="connsiteX1695" fmla="*/ 11961915 w 12192000"/>
                <a:gd name="connsiteY1695" fmla="*/ 952535 h 1608850"/>
                <a:gd name="connsiteX1696" fmla="*/ 11960800 w 12192000"/>
                <a:gd name="connsiteY1696" fmla="*/ 952535 h 1608850"/>
                <a:gd name="connsiteX1697" fmla="*/ 11952999 w 12192000"/>
                <a:gd name="connsiteY1697" fmla="*/ 952535 h 1608850"/>
                <a:gd name="connsiteX1698" fmla="*/ 11952999 w 12192000"/>
                <a:gd name="connsiteY1698" fmla="*/ 951372 h 1608850"/>
                <a:gd name="connsiteX1699" fmla="*/ 11952999 w 12192000"/>
                <a:gd name="connsiteY1699" fmla="*/ 943236 h 1608850"/>
                <a:gd name="connsiteX1700" fmla="*/ 11954114 w 12192000"/>
                <a:gd name="connsiteY1700" fmla="*/ 943236 h 1608850"/>
                <a:gd name="connsiteX1701" fmla="*/ 11961915 w 12192000"/>
                <a:gd name="connsiteY1701" fmla="*/ 943236 h 1608850"/>
                <a:gd name="connsiteX1702" fmla="*/ 11961915 w 12192000"/>
                <a:gd name="connsiteY1702" fmla="*/ 942074 h 1608850"/>
                <a:gd name="connsiteX1703" fmla="*/ 11961915 w 12192000"/>
                <a:gd name="connsiteY1703" fmla="*/ 933937 h 1608850"/>
                <a:gd name="connsiteX1704" fmla="*/ 11960800 w 12192000"/>
                <a:gd name="connsiteY1704" fmla="*/ 933937 h 1608850"/>
                <a:gd name="connsiteX1705" fmla="*/ 11952999 w 12192000"/>
                <a:gd name="connsiteY1705" fmla="*/ 933937 h 1608850"/>
                <a:gd name="connsiteX1706" fmla="*/ 11952999 w 12192000"/>
                <a:gd name="connsiteY1706" fmla="*/ 933066 h 1608850"/>
                <a:gd name="connsiteX1707" fmla="*/ 11952999 w 12192000"/>
                <a:gd name="connsiteY1707" fmla="*/ 926963 h 1608850"/>
                <a:gd name="connsiteX1708" fmla="*/ 11954114 w 12192000"/>
                <a:gd name="connsiteY1708" fmla="*/ 926963 h 1608850"/>
                <a:gd name="connsiteX1709" fmla="*/ 11961915 w 12192000"/>
                <a:gd name="connsiteY1709" fmla="*/ 926963 h 1608850"/>
                <a:gd name="connsiteX1710" fmla="*/ 11961915 w 12192000"/>
                <a:gd name="connsiteY1710" fmla="*/ 925801 h 1608850"/>
                <a:gd name="connsiteX1711" fmla="*/ 11961915 w 12192000"/>
                <a:gd name="connsiteY1711" fmla="*/ 917665 h 1608850"/>
                <a:gd name="connsiteX1712" fmla="*/ 11960800 w 12192000"/>
                <a:gd name="connsiteY1712" fmla="*/ 917665 h 1608850"/>
                <a:gd name="connsiteX1713" fmla="*/ 11952999 w 12192000"/>
                <a:gd name="connsiteY1713" fmla="*/ 917665 h 1608850"/>
                <a:gd name="connsiteX1714" fmla="*/ 11952999 w 12192000"/>
                <a:gd name="connsiteY1714" fmla="*/ 916503 h 1608850"/>
                <a:gd name="connsiteX1715" fmla="*/ 11952999 w 12192000"/>
                <a:gd name="connsiteY1715" fmla="*/ 908366 h 1608850"/>
                <a:gd name="connsiteX1716" fmla="*/ 11954114 w 12192000"/>
                <a:gd name="connsiteY1716" fmla="*/ 908366 h 1608850"/>
                <a:gd name="connsiteX1717" fmla="*/ 11961915 w 12192000"/>
                <a:gd name="connsiteY1717" fmla="*/ 908366 h 1608850"/>
                <a:gd name="connsiteX1718" fmla="*/ 11961915 w 12192000"/>
                <a:gd name="connsiteY1718" fmla="*/ 907204 h 1608850"/>
                <a:gd name="connsiteX1719" fmla="*/ 11961915 w 12192000"/>
                <a:gd name="connsiteY1719" fmla="*/ 899068 h 1608850"/>
                <a:gd name="connsiteX1720" fmla="*/ 11960800 w 12192000"/>
                <a:gd name="connsiteY1720" fmla="*/ 899068 h 1608850"/>
                <a:gd name="connsiteX1721" fmla="*/ 11952999 w 12192000"/>
                <a:gd name="connsiteY1721" fmla="*/ 899068 h 1608850"/>
                <a:gd name="connsiteX1722" fmla="*/ 11952999 w 12192000"/>
                <a:gd name="connsiteY1722" fmla="*/ 898196 h 1608850"/>
                <a:gd name="connsiteX1723" fmla="*/ 11952999 w 12192000"/>
                <a:gd name="connsiteY1723" fmla="*/ 892094 h 1608850"/>
                <a:gd name="connsiteX1724" fmla="*/ 11954114 w 12192000"/>
                <a:gd name="connsiteY1724" fmla="*/ 892094 h 1608850"/>
                <a:gd name="connsiteX1725" fmla="*/ 11961915 w 12192000"/>
                <a:gd name="connsiteY1725" fmla="*/ 892094 h 1608850"/>
                <a:gd name="connsiteX1726" fmla="*/ 11961915 w 12192000"/>
                <a:gd name="connsiteY1726" fmla="*/ 890931 h 1608850"/>
                <a:gd name="connsiteX1727" fmla="*/ 11961915 w 12192000"/>
                <a:gd name="connsiteY1727" fmla="*/ 882795 h 1608850"/>
                <a:gd name="connsiteX1728" fmla="*/ 11960800 w 12192000"/>
                <a:gd name="connsiteY1728" fmla="*/ 882795 h 1608850"/>
                <a:gd name="connsiteX1729" fmla="*/ 11952999 w 12192000"/>
                <a:gd name="connsiteY1729" fmla="*/ 882795 h 1608850"/>
                <a:gd name="connsiteX1730" fmla="*/ 11952999 w 12192000"/>
                <a:gd name="connsiteY1730" fmla="*/ 881633 h 1608850"/>
                <a:gd name="connsiteX1731" fmla="*/ 11952999 w 12192000"/>
                <a:gd name="connsiteY1731" fmla="*/ 873496 h 1608850"/>
                <a:gd name="connsiteX1732" fmla="*/ 11954114 w 12192000"/>
                <a:gd name="connsiteY1732" fmla="*/ 873496 h 1608850"/>
                <a:gd name="connsiteX1733" fmla="*/ 11961915 w 12192000"/>
                <a:gd name="connsiteY1733" fmla="*/ 873496 h 1608850"/>
                <a:gd name="connsiteX1734" fmla="*/ 11961915 w 12192000"/>
                <a:gd name="connsiteY1734" fmla="*/ 872625 h 1608850"/>
                <a:gd name="connsiteX1735" fmla="*/ 11961915 w 12192000"/>
                <a:gd name="connsiteY1735" fmla="*/ 866523 h 1608850"/>
                <a:gd name="connsiteX1736" fmla="*/ 11960800 w 12192000"/>
                <a:gd name="connsiteY1736" fmla="*/ 866523 h 1608850"/>
                <a:gd name="connsiteX1737" fmla="*/ 11952999 w 12192000"/>
                <a:gd name="connsiteY1737" fmla="*/ 866523 h 1608850"/>
                <a:gd name="connsiteX1738" fmla="*/ 11952999 w 12192000"/>
                <a:gd name="connsiteY1738" fmla="*/ 865360 h 1608850"/>
                <a:gd name="connsiteX1739" fmla="*/ 11952999 w 12192000"/>
                <a:gd name="connsiteY1739" fmla="*/ 857224 h 1608850"/>
                <a:gd name="connsiteX1740" fmla="*/ 11954114 w 12192000"/>
                <a:gd name="connsiteY1740" fmla="*/ 857224 h 1608850"/>
                <a:gd name="connsiteX1741" fmla="*/ 11961915 w 12192000"/>
                <a:gd name="connsiteY1741" fmla="*/ 857224 h 1608850"/>
                <a:gd name="connsiteX1742" fmla="*/ 11961915 w 12192000"/>
                <a:gd name="connsiteY1742" fmla="*/ 856062 h 1608850"/>
                <a:gd name="connsiteX1743" fmla="*/ 11961915 w 12192000"/>
                <a:gd name="connsiteY1743" fmla="*/ 847925 h 1608850"/>
                <a:gd name="connsiteX1744" fmla="*/ 11960800 w 12192000"/>
                <a:gd name="connsiteY1744" fmla="*/ 847925 h 1608850"/>
                <a:gd name="connsiteX1745" fmla="*/ 11952999 w 12192000"/>
                <a:gd name="connsiteY1745" fmla="*/ 847925 h 1608850"/>
                <a:gd name="connsiteX1746" fmla="*/ 11952999 w 12192000"/>
                <a:gd name="connsiteY1746" fmla="*/ 846763 h 1608850"/>
                <a:gd name="connsiteX1747" fmla="*/ 11952999 w 12192000"/>
                <a:gd name="connsiteY1747" fmla="*/ 838627 h 1608850"/>
                <a:gd name="connsiteX1748" fmla="*/ 11954114 w 12192000"/>
                <a:gd name="connsiteY1748" fmla="*/ 838627 h 1608850"/>
                <a:gd name="connsiteX1749" fmla="*/ 11961915 w 12192000"/>
                <a:gd name="connsiteY1749" fmla="*/ 838627 h 1608850"/>
                <a:gd name="connsiteX1750" fmla="*/ 11961915 w 12192000"/>
                <a:gd name="connsiteY1750" fmla="*/ 837755 h 1608850"/>
                <a:gd name="connsiteX1751" fmla="*/ 11961915 w 12192000"/>
                <a:gd name="connsiteY1751" fmla="*/ 831653 h 1608850"/>
                <a:gd name="connsiteX1752" fmla="*/ 11960800 w 12192000"/>
                <a:gd name="connsiteY1752" fmla="*/ 831653 h 1608850"/>
                <a:gd name="connsiteX1753" fmla="*/ 11952999 w 12192000"/>
                <a:gd name="connsiteY1753" fmla="*/ 831653 h 1608850"/>
                <a:gd name="connsiteX1754" fmla="*/ 11952999 w 12192000"/>
                <a:gd name="connsiteY1754" fmla="*/ 830491 h 1608850"/>
                <a:gd name="connsiteX1755" fmla="*/ 11952999 w 12192000"/>
                <a:gd name="connsiteY1755" fmla="*/ 822354 h 1608850"/>
                <a:gd name="connsiteX1756" fmla="*/ 11954114 w 12192000"/>
                <a:gd name="connsiteY1756" fmla="*/ 822354 h 1608850"/>
                <a:gd name="connsiteX1757" fmla="*/ 11961915 w 12192000"/>
                <a:gd name="connsiteY1757" fmla="*/ 822354 h 1608850"/>
                <a:gd name="connsiteX1758" fmla="*/ 11961915 w 12192000"/>
                <a:gd name="connsiteY1758" fmla="*/ 821192 h 1608850"/>
                <a:gd name="connsiteX1759" fmla="*/ 11961915 w 12192000"/>
                <a:gd name="connsiteY1759" fmla="*/ 813056 h 1608850"/>
                <a:gd name="connsiteX1760" fmla="*/ 11960800 w 12192000"/>
                <a:gd name="connsiteY1760" fmla="*/ 813056 h 1608850"/>
                <a:gd name="connsiteX1761" fmla="*/ 11952999 w 12192000"/>
                <a:gd name="connsiteY1761" fmla="*/ 813056 h 1608850"/>
                <a:gd name="connsiteX1762" fmla="*/ 11952999 w 12192000"/>
                <a:gd name="connsiteY1762" fmla="*/ 811893 h 1608850"/>
                <a:gd name="connsiteX1763" fmla="*/ 11952999 w 12192000"/>
                <a:gd name="connsiteY1763" fmla="*/ 803757 h 1608850"/>
                <a:gd name="connsiteX1764" fmla="*/ 11954114 w 12192000"/>
                <a:gd name="connsiteY1764" fmla="*/ 803757 h 1608850"/>
                <a:gd name="connsiteX1765" fmla="*/ 11961915 w 12192000"/>
                <a:gd name="connsiteY1765" fmla="*/ 803757 h 1608850"/>
                <a:gd name="connsiteX1766" fmla="*/ 11961915 w 12192000"/>
                <a:gd name="connsiteY1766" fmla="*/ 802885 h 1608850"/>
                <a:gd name="connsiteX1767" fmla="*/ 11961915 w 12192000"/>
                <a:gd name="connsiteY1767" fmla="*/ 796783 h 1608850"/>
                <a:gd name="connsiteX1768" fmla="*/ 11960800 w 12192000"/>
                <a:gd name="connsiteY1768" fmla="*/ 796783 h 1608850"/>
                <a:gd name="connsiteX1769" fmla="*/ 11952999 w 12192000"/>
                <a:gd name="connsiteY1769" fmla="*/ 796783 h 1608850"/>
                <a:gd name="connsiteX1770" fmla="*/ 11952999 w 12192000"/>
                <a:gd name="connsiteY1770" fmla="*/ 795621 h 1608850"/>
                <a:gd name="connsiteX1771" fmla="*/ 11952999 w 12192000"/>
                <a:gd name="connsiteY1771" fmla="*/ 787484 h 1608850"/>
                <a:gd name="connsiteX1772" fmla="*/ 11954114 w 12192000"/>
                <a:gd name="connsiteY1772" fmla="*/ 787484 h 1608850"/>
                <a:gd name="connsiteX1773" fmla="*/ 11961915 w 12192000"/>
                <a:gd name="connsiteY1773" fmla="*/ 787484 h 1608850"/>
                <a:gd name="connsiteX1774" fmla="*/ 11960800 w 12192000"/>
                <a:gd name="connsiteY1774" fmla="*/ 785741 h 1608850"/>
                <a:gd name="connsiteX1775" fmla="*/ 11952999 w 12192000"/>
                <a:gd name="connsiteY1775" fmla="*/ 773537 h 1608850"/>
                <a:gd name="connsiteX1776" fmla="*/ 11952999 w 12192000"/>
                <a:gd name="connsiteY1776" fmla="*/ 736342 h 1608850"/>
                <a:gd name="connsiteX1777" fmla="*/ 12102343 w 12192000"/>
                <a:gd name="connsiteY1777" fmla="*/ 736342 h 1608850"/>
                <a:gd name="connsiteX1778" fmla="*/ 12115716 w 12192000"/>
                <a:gd name="connsiteY1778" fmla="*/ 757264 h 1608850"/>
                <a:gd name="connsiteX1779" fmla="*/ 12115716 w 12192000"/>
                <a:gd name="connsiteY1779" fmla="*/ 803757 h 1608850"/>
                <a:gd name="connsiteX1780" fmla="*/ 12114602 w 12192000"/>
                <a:gd name="connsiteY1780" fmla="*/ 803757 h 1608850"/>
                <a:gd name="connsiteX1781" fmla="*/ 12106800 w 12192000"/>
                <a:gd name="connsiteY1781" fmla="*/ 803757 h 1608850"/>
                <a:gd name="connsiteX1782" fmla="*/ 12106800 w 12192000"/>
                <a:gd name="connsiteY1782" fmla="*/ 804919 h 1608850"/>
                <a:gd name="connsiteX1783" fmla="*/ 12106800 w 12192000"/>
                <a:gd name="connsiteY1783" fmla="*/ 813056 h 1608850"/>
                <a:gd name="connsiteX1784" fmla="*/ 12107915 w 12192000"/>
                <a:gd name="connsiteY1784" fmla="*/ 813056 h 1608850"/>
                <a:gd name="connsiteX1785" fmla="*/ 12115716 w 12192000"/>
                <a:gd name="connsiteY1785" fmla="*/ 813056 h 1608850"/>
                <a:gd name="connsiteX1786" fmla="*/ 12115716 w 12192000"/>
                <a:gd name="connsiteY1786" fmla="*/ 814218 h 1608850"/>
                <a:gd name="connsiteX1787" fmla="*/ 12115716 w 12192000"/>
                <a:gd name="connsiteY1787" fmla="*/ 822354 h 1608850"/>
                <a:gd name="connsiteX1788" fmla="*/ 12114602 w 12192000"/>
                <a:gd name="connsiteY1788" fmla="*/ 822354 h 1608850"/>
                <a:gd name="connsiteX1789" fmla="*/ 12106800 w 12192000"/>
                <a:gd name="connsiteY1789" fmla="*/ 822354 h 1608850"/>
                <a:gd name="connsiteX1790" fmla="*/ 12106800 w 12192000"/>
                <a:gd name="connsiteY1790" fmla="*/ 823516 h 1608850"/>
                <a:gd name="connsiteX1791" fmla="*/ 12106800 w 12192000"/>
                <a:gd name="connsiteY1791" fmla="*/ 831653 h 1608850"/>
                <a:gd name="connsiteX1792" fmla="*/ 12107915 w 12192000"/>
                <a:gd name="connsiteY1792" fmla="*/ 831653 h 1608850"/>
                <a:gd name="connsiteX1793" fmla="*/ 12115716 w 12192000"/>
                <a:gd name="connsiteY1793" fmla="*/ 831653 h 1608850"/>
                <a:gd name="connsiteX1794" fmla="*/ 12115716 w 12192000"/>
                <a:gd name="connsiteY1794" fmla="*/ 832525 h 1608850"/>
                <a:gd name="connsiteX1795" fmla="*/ 12115716 w 12192000"/>
                <a:gd name="connsiteY1795" fmla="*/ 838627 h 1608850"/>
                <a:gd name="connsiteX1796" fmla="*/ 12114602 w 12192000"/>
                <a:gd name="connsiteY1796" fmla="*/ 838627 h 1608850"/>
                <a:gd name="connsiteX1797" fmla="*/ 12106800 w 12192000"/>
                <a:gd name="connsiteY1797" fmla="*/ 838627 h 1608850"/>
                <a:gd name="connsiteX1798" fmla="*/ 12106800 w 12192000"/>
                <a:gd name="connsiteY1798" fmla="*/ 839789 h 1608850"/>
                <a:gd name="connsiteX1799" fmla="*/ 12106800 w 12192000"/>
                <a:gd name="connsiteY1799" fmla="*/ 847925 h 1608850"/>
                <a:gd name="connsiteX1800" fmla="*/ 12107915 w 12192000"/>
                <a:gd name="connsiteY1800" fmla="*/ 847925 h 1608850"/>
                <a:gd name="connsiteX1801" fmla="*/ 12115716 w 12192000"/>
                <a:gd name="connsiteY1801" fmla="*/ 847925 h 1608850"/>
                <a:gd name="connsiteX1802" fmla="*/ 12115716 w 12192000"/>
                <a:gd name="connsiteY1802" fmla="*/ 849088 h 1608850"/>
                <a:gd name="connsiteX1803" fmla="*/ 12115716 w 12192000"/>
                <a:gd name="connsiteY1803" fmla="*/ 857224 h 1608850"/>
                <a:gd name="connsiteX1804" fmla="*/ 12114602 w 12192000"/>
                <a:gd name="connsiteY1804" fmla="*/ 857224 h 1608850"/>
                <a:gd name="connsiteX1805" fmla="*/ 12106800 w 12192000"/>
                <a:gd name="connsiteY1805" fmla="*/ 857224 h 1608850"/>
                <a:gd name="connsiteX1806" fmla="*/ 12106800 w 12192000"/>
                <a:gd name="connsiteY1806" fmla="*/ 858386 h 1608850"/>
                <a:gd name="connsiteX1807" fmla="*/ 12106800 w 12192000"/>
                <a:gd name="connsiteY1807" fmla="*/ 866523 h 1608850"/>
                <a:gd name="connsiteX1808" fmla="*/ 12107915 w 12192000"/>
                <a:gd name="connsiteY1808" fmla="*/ 866523 h 1608850"/>
                <a:gd name="connsiteX1809" fmla="*/ 12115716 w 12192000"/>
                <a:gd name="connsiteY1809" fmla="*/ 866523 h 1608850"/>
                <a:gd name="connsiteX1810" fmla="*/ 12115716 w 12192000"/>
                <a:gd name="connsiteY1810" fmla="*/ 867394 h 1608850"/>
                <a:gd name="connsiteX1811" fmla="*/ 12115716 w 12192000"/>
                <a:gd name="connsiteY1811" fmla="*/ 873496 h 1608850"/>
                <a:gd name="connsiteX1812" fmla="*/ 12114602 w 12192000"/>
                <a:gd name="connsiteY1812" fmla="*/ 873496 h 1608850"/>
                <a:gd name="connsiteX1813" fmla="*/ 12106800 w 12192000"/>
                <a:gd name="connsiteY1813" fmla="*/ 873496 h 1608850"/>
                <a:gd name="connsiteX1814" fmla="*/ 12106800 w 12192000"/>
                <a:gd name="connsiteY1814" fmla="*/ 874659 h 1608850"/>
                <a:gd name="connsiteX1815" fmla="*/ 12106800 w 12192000"/>
                <a:gd name="connsiteY1815" fmla="*/ 882795 h 1608850"/>
                <a:gd name="connsiteX1816" fmla="*/ 12107915 w 12192000"/>
                <a:gd name="connsiteY1816" fmla="*/ 882795 h 1608850"/>
                <a:gd name="connsiteX1817" fmla="*/ 12115716 w 12192000"/>
                <a:gd name="connsiteY1817" fmla="*/ 882795 h 1608850"/>
                <a:gd name="connsiteX1818" fmla="*/ 12115716 w 12192000"/>
                <a:gd name="connsiteY1818" fmla="*/ 883957 h 1608850"/>
                <a:gd name="connsiteX1819" fmla="*/ 12115716 w 12192000"/>
                <a:gd name="connsiteY1819" fmla="*/ 892094 h 1608850"/>
                <a:gd name="connsiteX1820" fmla="*/ 12114602 w 12192000"/>
                <a:gd name="connsiteY1820" fmla="*/ 892094 h 1608850"/>
                <a:gd name="connsiteX1821" fmla="*/ 12106800 w 12192000"/>
                <a:gd name="connsiteY1821" fmla="*/ 892094 h 1608850"/>
                <a:gd name="connsiteX1822" fmla="*/ 12106800 w 12192000"/>
                <a:gd name="connsiteY1822" fmla="*/ 892965 h 1608850"/>
                <a:gd name="connsiteX1823" fmla="*/ 12106800 w 12192000"/>
                <a:gd name="connsiteY1823" fmla="*/ 899068 h 1608850"/>
                <a:gd name="connsiteX1824" fmla="*/ 12107915 w 12192000"/>
                <a:gd name="connsiteY1824" fmla="*/ 899068 h 1608850"/>
                <a:gd name="connsiteX1825" fmla="*/ 12115716 w 12192000"/>
                <a:gd name="connsiteY1825" fmla="*/ 899068 h 1608850"/>
                <a:gd name="connsiteX1826" fmla="*/ 12115716 w 12192000"/>
                <a:gd name="connsiteY1826" fmla="*/ 900230 h 1608850"/>
                <a:gd name="connsiteX1827" fmla="*/ 12115716 w 12192000"/>
                <a:gd name="connsiteY1827" fmla="*/ 908366 h 1608850"/>
                <a:gd name="connsiteX1828" fmla="*/ 12114602 w 12192000"/>
                <a:gd name="connsiteY1828" fmla="*/ 908366 h 1608850"/>
                <a:gd name="connsiteX1829" fmla="*/ 12106800 w 12192000"/>
                <a:gd name="connsiteY1829" fmla="*/ 908366 h 1608850"/>
                <a:gd name="connsiteX1830" fmla="*/ 12106800 w 12192000"/>
                <a:gd name="connsiteY1830" fmla="*/ 909528 h 1608850"/>
                <a:gd name="connsiteX1831" fmla="*/ 12106800 w 12192000"/>
                <a:gd name="connsiteY1831" fmla="*/ 917665 h 1608850"/>
                <a:gd name="connsiteX1832" fmla="*/ 12107915 w 12192000"/>
                <a:gd name="connsiteY1832" fmla="*/ 917665 h 1608850"/>
                <a:gd name="connsiteX1833" fmla="*/ 12115716 w 12192000"/>
                <a:gd name="connsiteY1833" fmla="*/ 917665 h 1608850"/>
                <a:gd name="connsiteX1834" fmla="*/ 12115716 w 12192000"/>
                <a:gd name="connsiteY1834" fmla="*/ 918827 h 1608850"/>
                <a:gd name="connsiteX1835" fmla="*/ 12115716 w 12192000"/>
                <a:gd name="connsiteY1835" fmla="*/ 926963 h 1608850"/>
                <a:gd name="connsiteX1836" fmla="*/ 12114602 w 12192000"/>
                <a:gd name="connsiteY1836" fmla="*/ 926963 h 1608850"/>
                <a:gd name="connsiteX1837" fmla="*/ 12106800 w 12192000"/>
                <a:gd name="connsiteY1837" fmla="*/ 926963 h 1608850"/>
                <a:gd name="connsiteX1838" fmla="*/ 12106800 w 12192000"/>
                <a:gd name="connsiteY1838" fmla="*/ 927835 h 1608850"/>
                <a:gd name="connsiteX1839" fmla="*/ 12106800 w 12192000"/>
                <a:gd name="connsiteY1839" fmla="*/ 933937 h 1608850"/>
                <a:gd name="connsiteX1840" fmla="*/ 12107915 w 12192000"/>
                <a:gd name="connsiteY1840" fmla="*/ 933937 h 1608850"/>
                <a:gd name="connsiteX1841" fmla="*/ 12115716 w 12192000"/>
                <a:gd name="connsiteY1841" fmla="*/ 933937 h 1608850"/>
                <a:gd name="connsiteX1842" fmla="*/ 12115716 w 12192000"/>
                <a:gd name="connsiteY1842" fmla="*/ 935100 h 1608850"/>
                <a:gd name="connsiteX1843" fmla="*/ 12115716 w 12192000"/>
                <a:gd name="connsiteY1843" fmla="*/ 943236 h 1608850"/>
                <a:gd name="connsiteX1844" fmla="*/ 12114602 w 12192000"/>
                <a:gd name="connsiteY1844" fmla="*/ 943236 h 1608850"/>
                <a:gd name="connsiteX1845" fmla="*/ 12106800 w 12192000"/>
                <a:gd name="connsiteY1845" fmla="*/ 943236 h 1608850"/>
                <a:gd name="connsiteX1846" fmla="*/ 12106800 w 12192000"/>
                <a:gd name="connsiteY1846" fmla="*/ 944398 h 1608850"/>
                <a:gd name="connsiteX1847" fmla="*/ 12106800 w 12192000"/>
                <a:gd name="connsiteY1847" fmla="*/ 952535 h 1608850"/>
                <a:gd name="connsiteX1848" fmla="*/ 12107915 w 12192000"/>
                <a:gd name="connsiteY1848" fmla="*/ 952535 h 1608850"/>
                <a:gd name="connsiteX1849" fmla="*/ 12115716 w 12192000"/>
                <a:gd name="connsiteY1849" fmla="*/ 952535 h 1608850"/>
                <a:gd name="connsiteX1850" fmla="*/ 12115716 w 12192000"/>
                <a:gd name="connsiteY1850" fmla="*/ 953406 h 1608850"/>
                <a:gd name="connsiteX1851" fmla="*/ 12115716 w 12192000"/>
                <a:gd name="connsiteY1851" fmla="*/ 959508 h 1608850"/>
                <a:gd name="connsiteX1852" fmla="*/ 12114602 w 12192000"/>
                <a:gd name="connsiteY1852" fmla="*/ 959508 h 1608850"/>
                <a:gd name="connsiteX1853" fmla="*/ 12106800 w 12192000"/>
                <a:gd name="connsiteY1853" fmla="*/ 959508 h 1608850"/>
                <a:gd name="connsiteX1854" fmla="*/ 12106800 w 12192000"/>
                <a:gd name="connsiteY1854" fmla="*/ 960671 h 1608850"/>
                <a:gd name="connsiteX1855" fmla="*/ 12106800 w 12192000"/>
                <a:gd name="connsiteY1855" fmla="*/ 968807 h 1608850"/>
                <a:gd name="connsiteX1856" fmla="*/ 12107915 w 12192000"/>
                <a:gd name="connsiteY1856" fmla="*/ 968807 h 1608850"/>
                <a:gd name="connsiteX1857" fmla="*/ 12115716 w 12192000"/>
                <a:gd name="connsiteY1857" fmla="*/ 968807 h 1608850"/>
                <a:gd name="connsiteX1858" fmla="*/ 12115716 w 12192000"/>
                <a:gd name="connsiteY1858" fmla="*/ 969969 h 1608850"/>
                <a:gd name="connsiteX1859" fmla="*/ 12115716 w 12192000"/>
                <a:gd name="connsiteY1859" fmla="*/ 978106 h 1608850"/>
                <a:gd name="connsiteX1860" fmla="*/ 12114602 w 12192000"/>
                <a:gd name="connsiteY1860" fmla="*/ 978106 h 1608850"/>
                <a:gd name="connsiteX1861" fmla="*/ 12106800 w 12192000"/>
                <a:gd name="connsiteY1861" fmla="*/ 978106 h 1608850"/>
                <a:gd name="connsiteX1862" fmla="*/ 12106800 w 12192000"/>
                <a:gd name="connsiteY1862" fmla="*/ 979268 h 1608850"/>
                <a:gd name="connsiteX1863" fmla="*/ 12106800 w 12192000"/>
                <a:gd name="connsiteY1863" fmla="*/ 987404 h 1608850"/>
                <a:gd name="connsiteX1864" fmla="*/ 12107915 w 12192000"/>
                <a:gd name="connsiteY1864" fmla="*/ 987404 h 1608850"/>
                <a:gd name="connsiteX1865" fmla="*/ 12115716 w 12192000"/>
                <a:gd name="connsiteY1865" fmla="*/ 987404 h 1608850"/>
                <a:gd name="connsiteX1866" fmla="*/ 12115716 w 12192000"/>
                <a:gd name="connsiteY1866" fmla="*/ 988276 h 1608850"/>
                <a:gd name="connsiteX1867" fmla="*/ 12115716 w 12192000"/>
                <a:gd name="connsiteY1867" fmla="*/ 994378 h 1608850"/>
                <a:gd name="connsiteX1868" fmla="*/ 12114602 w 12192000"/>
                <a:gd name="connsiteY1868" fmla="*/ 994378 h 1608850"/>
                <a:gd name="connsiteX1869" fmla="*/ 12106800 w 12192000"/>
                <a:gd name="connsiteY1869" fmla="*/ 994378 h 1608850"/>
                <a:gd name="connsiteX1870" fmla="*/ 12106800 w 12192000"/>
                <a:gd name="connsiteY1870" fmla="*/ 995540 h 1608850"/>
                <a:gd name="connsiteX1871" fmla="*/ 12106800 w 12192000"/>
                <a:gd name="connsiteY1871" fmla="*/ 1003677 h 1608850"/>
                <a:gd name="connsiteX1872" fmla="*/ 12131319 w 12192000"/>
                <a:gd name="connsiteY1872" fmla="*/ 1024599 h 1608850"/>
                <a:gd name="connsiteX1873" fmla="*/ 12130206 w 12192000"/>
                <a:gd name="connsiteY1873" fmla="*/ 1029248 h 1608850"/>
                <a:gd name="connsiteX1874" fmla="*/ 12122403 w 12192000"/>
                <a:gd name="connsiteY1874" fmla="*/ 1029248 h 1608850"/>
                <a:gd name="connsiteX1875" fmla="*/ 12122403 w 12192000"/>
                <a:gd name="connsiteY1875" fmla="*/ 1040036 h 1608850"/>
                <a:gd name="connsiteX1876" fmla="*/ 12122403 w 12192000"/>
                <a:gd name="connsiteY1876" fmla="*/ 1046874 h 1608850"/>
                <a:gd name="connsiteX1877" fmla="*/ 12131319 w 12192000"/>
                <a:gd name="connsiteY1877" fmla="*/ 1046874 h 1608850"/>
                <a:gd name="connsiteX1878" fmla="*/ 12131319 w 12192000"/>
                <a:gd name="connsiteY1878" fmla="*/ 1043196 h 1608850"/>
                <a:gd name="connsiteX1879" fmla="*/ 12132434 w 12192000"/>
                <a:gd name="connsiteY1879" fmla="*/ 1042615 h 1608850"/>
                <a:gd name="connsiteX1880" fmla="*/ 12140235 w 12192000"/>
                <a:gd name="connsiteY1880" fmla="*/ 1038547 h 1608850"/>
                <a:gd name="connsiteX1881" fmla="*/ 12142186 w 12192000"/>
                <a:gd name="connsiteY1881" fmla="*/ 1038547 h 1608850"/>
                <a:gd name="connsiteX1882" fmla="*/ 12155839 w 12192000"/>
                <a:gd name="connsiteY1882" fmla="*/ 1038547 h 1608850"/>
                <a:gd name="connsiteX1883" fmla="*/ 12155839 w 12192000"/>
                <a:gd name="connsiteY1883" fmla="*/ 1039709 h 1608850"/>
                <a:gd name="connsiteX1884" fmla="*/ 12155839 w 12192000"/>
                <a:gd name="connsiteY1884" fmla="*/ 1046874 h 1608850"/>
                <a:gd name="connsiteX1885" fmla="*/ 12192000 w 12192000"/>
                <a:gd name="connsiteY1885" fmla="*/ 1046874 h 1608850"/>
                <a:gd name="connsiteX1886" fmla="*/ 12192000 w 12192000"/>
                <a:gd name="connsiteY1886" fmla="*/ 1070905 h 1608850"/>
                <a:gd name="connsiteX1887" fmla="*/ 12192000 w 12192000"/>
                <a:gd name="connsiteY1887" fmla="*/ 1121663 h 1608850"/>
                <a:gd name="connsiteX1888" fmla="*/ 12192000 w 12192000"/>
                <a:gd name="connsiteY1888" fmla="*/ 1608850 h 1608850"/>
                <a:gd name="connsiteX1889" fmla="*/ 0 w 12192000"/>
                <a:gd name="connsiteY1889" fmla="*/ 1608850 h 1608850"/>
                <a:gd name="connsiteX1890" fmla="*/ 0 w 12192000"/>
                <a:gd name="connsiteY1890" fmla="*/ 1046874 h 1608850"/>
                <a:gd name="connsiteX1891" fmla="*/ 65773 w 12192000"/>
                <a:gd name="connsiteY1891" fmla="*/ 1046874 h 1608850"/>
                <a:gd name="connsiteX1892" fmla="*/ 82231 w 12192000"/>
                <a:gd name="connsiteY1892" fmla="*/ 1045519 h 1608850"/>
                <a:gd name="connsiteX1893" fmla="*/ 82231 w 12192000"/>
                <a:gd name="connsiteY1893" fmla="*/ 1012974 h 1608850"/>
                <a:gd name="connsiteX1894" fmla="*/ 126811 w 12192000"/>
                <a:gd name="connsiteY1894" fmla="*/ 1012974 h 1608850"/>
                <a:gd name="connsiteX1895" fmla="*/ 126811 w 12192000"/>
                <a:gd name="connsiteY1895" fmla="*/ 994377 h 1608850"/>
                <a:gd name="connsiteX1896" fmla="*/ 220430 w 12192000"/>
                <a:gd name="connsiteY1896" fmla="*/ 994377 h 1608850"/>
                <a:gd name="connsiteX1897" fmla="*/ 220430 w 12192000"/>
                <a:gd name="connsiteY1897" fmla="*/ 1006000 h 1608850"/>
                <a:gd name="connsiteX1898" fmla="*/ 280612 w 12192000"/>
                <a:gd name="connsiteY1898" fmla="*/ 1006000 h 1608850"/>
                <a:gd name="connsiteX1899" fmla="*/ 280612 w 12192000"/>
                <a:gd name="connsiteY1899" fmla="*/ 1012974 h 1608850"/>
                <a:gd name="connsiteX1900" fmla="*/ 298444 w 12192000"/>
                <a:gd name="connsiteY1900" fmla="*/ 1012974 h 1608850"/>
                <a:gd name="connsiteX1901" fmla="*/ 298444 w 12192000"/>
                <a:gd name="connsiteY1901" fmla="*/ 1019948 h 1608850"/>
                <a:gd name="connsiteX1902" fmla="*/ 314048 w 12192000"/>
                <a:gd name="connsiteY1902" fmla="*/ 1019948 h 1608850"/>
                <a:gd name="connsiteX1903" fmla="*/ 314048 w 12192000"/>
                <a:gd name="connsiteY1903" fmla="*/ 915339 h 1608850"/>
                <a:gd name="connsiteX1904" fmla="*/ 360858 w 12192000"/>
                <a:gd name="connsiteY1904" fmla="*/ 901391 h 1608850"/>
                <a:gd name="connsiteX1905" fmla="*/ 447789 w 12192000"/>
                <a:gd name="connsiteY1905" fmla="*/ 901391 h 1608850"/>
                <a:gd name="connsiteX1906" fmla="*/ 447789 w 12192000"/>
                <a:gd name="connsiteY1906" fmla="*/ 734017 h 1608850"/>
                <a:gd name="connsiteX1907" fmla="*/ 472308 w 12192000"/>
                <a:gd name="connsiteY1907" fmla="*/ 722393 h 1608850"/>
                <a:gd name="connsiteX1908" fmla="*/ 579301 w 12192000"/>
                <a:gd name="connsiteY1908" fmla="*/ 703796 h 1608850"/>
                <a:gd name="connsiteX1909" fmla="*/ 617194 w 12192000"/>
                <a:gd name="connsiteY1909" fmla="*/ 715419 h 1608850"/>
                <a:gd name="connsiteX1910" fmla="*/ 623881 w 12192000"/>
                <a:gd name="connsiteY1910" fmla="*/ 722393 h 1608850"/>
                <a:gd name="connsiteX1911" fmla="*/ 623881 w 12192000"/>
                <a:gd name="connsiteY1911" fmla="*/ 1033896 h 1608850"/>
                <a:gd name="connsiteX1912" fmla="*/ 639484 w 12192000"/>
                <a:gd name="connsiteY1912" fmla="*/ 1033896 h 1608850"/>
                <a:gd name="connsiteX1913" fmla="*/ 639484 w 12192000"/>
                <a:gd name="connsiteY1913" fmla="*/ 908365 h 1608850"/>
                <a:gd name="connsiteX1914" fmla="*/ 652858 w 12192000"/>
                <a:gd name="connsiteY1914" fmla="*/ 908365 h 1608850"/>
                <a:gd name="connsiteX1915" fmla="*/ 652858 w 12192000"/>
                <a:gd name="connsiteY1915" fmla="*/ 896742 h 1608850"/>
                <a:gd name="connsiteX1916" fmla="*/ 666232 w 12192000"/>
                <a:gd name="connsiteY1916" fmla="*/ 889768 h 1608850"/>
                <a:gd name="connsiteX1917" fmla="*/ 677377 w 12192000"/>
                <a:gd name="connsiteY1917" fmla="*/ 889768 h 1608850"/>
                <a:gd name="connsiteX1918" fmla="*/ 677377 w 12192000"/>
                <a:gd name="connsiteY1918" fmla="*/ 878145 h 1608850"/>
                <a:gd name="connsiteX1919" fmla="*/ 686293 w 12192000"/>
                <a:gd name="connsiteY1919" fmla="*/ 871171 h 1608850"/>
                <a:gd name="connsiteX1920" fmla="*/ 708584 w 12192000"/>
                <a:gd name="connsiteY1920" fmla="*/ 871171 h 1608850"/>
                <a:gd name="connsiteX1921" fmla="*/ 708584 w 12192000"/>
                <a:gd name="connsiteY1921" fmla="*/ 908365 h 1608850"/>
                <a:gd name="connsiteX1922" fmla="*/ 755393 w 12192000"/>
                <a:gd name="connsiteY1922" fmla="*/ 908365 h 1608850"/>
                <a:gd name="connsiteX1923" fmla="*/ 755393 w 12192000"/>
                <a:gd name="connsiteY1923" fmla="*/ 1038546 h 1608850"/>
                <a:gd name="connsiteX1924" fmla="*/ 773225 w 12192000"/>
                <a:gd name="connsiteY1924" fmla="*/ 1038546 h 1608850"/>
                <a:gd name="connsiteX1925" fmla="*/ 791057 w 12192000"/>
                <a:gd name="connsiteY1925" fmla="*/ 1031572 h 1608850"/>
                <a:gd name="connsiteX1926" fmla="*/ 791057 w 12192000"/>
                <a:gd name="connsiteY1926" fmla="*/ 1022273 h 1608850"/>
                <a:gd name="connsiteX1927" fmla="*/ 784370 w 12192000"/>
                <a:gd name="connsiteY1927" fmla="*/ 1019948 h 1608850"/>
                <a:gd name="connsiteX1928" fmla="*/ 784370 w 12192000"/>
                <a:gd name="connsiteY1928" fmla="*/ 1012974 h 1608850"/>
                <a:gd name="connsiteX1929" fmla="*/ 791057 w 12192000"/>
                <a:gd name="connsiteY1929" fmla="*/ 1008325 h 1608850"/>
                <a:gd name="connsiteX1930" fmla="*/ 791057 w 12192000"/>
                <a:gd name="connsiteY1930" fmla="*/ 957183 h 1608850"/>
                <a:gd name="connsiteX1931" fmla="*/ 784370 w 12192000"/>
                <a:gd name="connsiteY1931" fmla="*/ 954858 h 1608850"/>
                <a:gd name="connsiteX1932" fmla="*/ 784370 w 12192000"/>
                <a:gd name="connsiteY1932" fmla="*/ 947884 h 1608850"/>
                <a:gd name="connsiteX1933" fmla="*/ 791057 w 12192000"/>
                <a:gd name="connsiteY1933" fmla="*/ 943235 h 1608850"/>
                <a:gd name="connsiteX1934" fmla="*/ 795515 w 12192000"/>
                <a:gd name="connsiteY1934" fmla="*/ 938586 h 1608850"/>
                <a:gd name="connsiteX1935" fmla="*/ 795515 w 12192000"/>
                <a:gd name="connsiteY1935" fmla="*/ 929287 h 1608850"/>
                <a:gd name="connsiteX1936" fmla="*/ 791057 w 12192000"/>
                <a:gd name="connsiteY1936" fmla="*/ 929287 h 1608850"/>
                <a:gd name="connsiteX1937" fmla="*/ 791057 w 12192000"/>
                <a:gd name="connsiteY1937" fmla="*/ 922313 h 1608850"/>
                <a:gd name="connsiteX1938" fmla="*/ 797744 w 12192000"/>
                <a:gd name="connsiteY1938" fmla="*/ 917664 h 1608850"/>
                <a:gd name="connsiteX1939" fmla="*/ 833408 w 12192000"/>
                <a:gd name="connsiteY1939" fmla="*/ 852574 h 1608850"/>
                <a:gd name="connsiteX1940" fmla="*/ 828950 w 12192000"/>
                <a:gd name="connsiteY1940" fmla="*/ 850249 h 1608850"/>
                <a:gd name="connsiteX1941" fmla="*/ 828950 w 12192000"/>
                <a:gd name="connsiteY1941" fmla="*/ 843275 h 1608850"/>
                <a:gd name="connsiteX1942" fmla="*/ 835637 w 12192000"/>
                <a:gd name="connsiteY1942" fmla="*/ 840950 h 1608850"/>
                <a:gd name="connsiteX1943" fmla="*/ 835637 w 12192000"/>
                <a:gd name="connsiteY1943" fmla="*/ 831652 h 1608850"/>
                <a:gd name="connsiteX1944" fmla="*/ 840095 w 12192000"/>
                <a:gd name="connsiteY1944" fmla="*/ 831652 h 1608850"/>
                <a:gd name="connsiteX1945" fmla="*/ 840095 w 12192000"/>
                <a:gd name="connsiteY1945" fmla="*/ 810730 h 1608850"/>
                <a:gd name="connsiteX1946" fmla="*/ 835637 w 12192000"/>
                <a:gd name="connsiteY1946" fmla="*/ 810730 h 1608850"/>
                <a:gd name="connsiteX1947" fmla="*/ 835637 w 12192000"/>
                <a:gd name="connsiteY1947" fmla="*/ 806081 h 1608850"/>
                <a:gd name="connsiteX1948" fmla="*/ 840095 w 12192000"/>
                <a:gd name="connsiteY1948" fmla="*/ 803756 h 1608850"/>
                <a:gd name="connsiteX1949" fmla="*/ 851240 w 12192000"/>
                <a:gd name="connsiteY1949" fmla="*/ 787483 h 1608850"/>
                <a:gd name="connsiteX1950" fmla="*/ 853469 w 12192000"/>
                <a:gd name="connsiteY1950" fmla="*/ 778185 h 1608850"/>
                <a:gd name="connsiteX1951" fmla="*/ 853469 w 12192000"/>
                <a:gd name="connsiteY1951" fmla="*/ 752614 h 1608850"/>
                <a:gd name="connsiteX1952" fmla="*/ 853748 w 12192000"/>
                <a:gd name="connsiteY1952" fmla="*/ 751742 h 1608850"/>
                <a:gd name="connsiteX1953" fmla="*/ 855698 w 12192000"/>
                <a:gd name="connsiteY1953" fmla="*/ 745640 h 1608850"/>
                <a:gd name="connsiteX1954" fmla="*/ 855977 w 12192000"/>
                <a:gd name="connsiteY1954" fmla="*/ 746512 h 1608850"/>
                <a:gd name="connsiteX1955" fmla="*/ 857927 w 12192000"/>
                <a:gd name="connsiteY1955" fmla="*/ 752614 h 1608850"/>
                <a:gd name="connsiteX1956" fmla="*/ 860156 w 12192000"/>
                <a:gd name="connsiteY1956" fmla="*/ 778185 h 1608850"/>
                <a:gd name="connsiteX1957" fmla="*/ 860156 w 12192000"/>
                <a:gd name="connsiteY1957" fmla="*/ 785159 h 1608850"/>
                <a:gd name="connsiteX1958" fmla="*/ 871302 w 12192000"/>
                <a:gd name="connsiteY1958" fmla="*/ 803756 h 1608850"/>
                <a:gd name="connsiteX1959" fmla="*/ 875760 w 12192000"/>
                <a:gd name="connsiteY1959" fmla="*/ 806081 h 1608850"/>
                <a:gd name="connsiteX1960" fmla="*/ 875760 w 12192000"/>
                <a:gd name="connsiteY1960" fmla="*/ 810730 h 1608850"/>
                <a:gd name="connsiteX1961" fmla="*/ 873531 w 12192000"/>
                <a:gd name="connsiteY1961" fmla="*/ 831652 h 1608850"/>
                <a:gd name="connsiteX1962" fmla="*/ 877989 w 12192000"/>
                <a:gd name="connsiteY1962" fmla="*/ 840950 h 1608850"/>
                <a:gd name="connsiteX1963" fmla="*/ 882447 w 12192000"/>
                <a:gd name="connsiteY1963" fmla="*/ 843275 h 1608850"/>
                <a:gd name="connsiteX1964" fmla="*/ 882447 w 12192000"/>
                <a:gd name="connsiteY1964" fmla="*/ 850249 h 1608850"/>
                <a:gd name="connsiteX1965" fmla="*/ 877989 w 12192000"/>
                <a:gd name="connsiteY1965" fmla="*/ 852574 h 1608850"/>
                <a:gd name="connsiteX1966" fmla="*/ 904180 w 12192000"/>
                <a:gd name="connsiteY1966" fmla="*/ 879888 h 1608850"/>
                <a:gd name="connsiteX1967" fmla="*/ 913070 w 12192000"/>
                <a:gd name="connsiteY1967" fmla="*/ 915339 h 1608850"/>
                <a:gd name="connsiteX1968" fmla="*/ 944859 w 12192000"/>
                <a:gd name="connsiteY1968" fmla="*/ 915339 h 1608850"/>
                <a:gd name="connsiteX1969" fmla="*/ 944859 w 12192000"/>
                <a:gd name="connsiteY1969" fmla="*/ 886329 h 1608850"/>
                <a:gd name="connsiteX1970" fmla="*/ 939475 w 12192000"/>
                <a:gd name="connsiteY1970" fmla="*/ 886329 h 1608850"/>
                <a:gd name="connsiteX1971" fmla="*/ 939475 w 12192000"/>
                <a:gd name="connsiteY1971" fmla="*/ 724196 h 1608850"/>
                <a:gd name="connsiteX1972" fmla="*/ 959742 w 12192000"/>
                <a:gd name="connsiteY1972" fmla="*/ 724196 h 1608850"/>
                <a:gd name="connsiteX1973" fmla="*/ 960249 w 12192000"/>
                <a:gd name="connsiteY1973" fmla="*/ 723115 h 1608850"/>
                <a:gd name="connsiteX1974" fmla="*/ 963795 w 12192000"/>
                <a:gd name="connsiteY1974" fmla="*/ 715549 h 1608850"/>
                <a:gd name="connsiteX1975" fmla="*/ 965569 w 12192000"/>
                <a:gd name="connsiteY1975" fmla="*/ 715819 h 1608850"/>
                <a:gd name="connsiteX1976" fmla="*/ 977982 w 12192000"/>
                <a:gd name="connsiteY1976" fmla="*/ 717710 h 1608850"/>
                <a:gd name="connsiteX1977" fmla="*/ 978489 w 12192000"/>
                <a:gd name="connsiteY1977" fmla="*/ 719062 h 1608850"/>
                <a:gd name="connsiteX1978" fmla="*/ 982035 w 12192000"/>
                <a:gd name="connsiteY1978" fmla="*/ 728519 h 1608850"/>
                <a:gd name="connsiteX1979" fmla="*/ 1008382 w 12192000"/>
                <a:gd name="connsiteY1979" fmla="*/ 730681 h 1608850"/>
                <a:gd name="connsiteX1980" fmla="*/ 1008382 w 12192000"/>
                <a:gd name="connsiteY1980" fmla="*/ 607460 h 1608850"/>
                <a:gd name="connsiteX1981" fmla="*/ 1010409 w 12192000"/>
                <a:gd name="connsiteY1981" fmla="*/ 607460 h 1608850"/>
                <a:gd name="connsiteX1982" fmla="*/ 1024597 w 12192000"/>
                <a:gd name="connsiteY1982" fmla="*/ 607460 h 1608850"/>
                <a:gd name="connsiteX1983" fmla="*/ 1024597 w 12192000"/>
                <a:gd name="connsiteY1983" fmla="*/ 471268 h 1608850"/>
                <a:gd name="connsiteX1984" fmla="*/ 1026369 w 12192000"/>
                <a:gd name="connsiteY1984" fmla="*/ 471268 h 1608850"/>
                <a:gd name="connsiteX1985" fmla="*/ 1038783 w 12192000"/>
                <a:gd name="connsiteY1985" fmla="*/ 471268 h 1608850"/>
                <a:gd name="connsiteX1986" fmla="*/ 1038783 w 12192000"/>
                <a:gd name="connsiteY1986" fmla="*/ 356694 h 1608850"/>
                <a:gd name="connsiteX1987" fmla="*/ 1042837 w 12192000"/>
                <a:gd name="connsiteY1987" fmla="*/ 328590 h 1608850"/>
                <a:gd name="connsiteX1988" fmla="*/ 1044863 w 12192000"/>
                <a:gd name="connsiteY1988" fmla="*/ 328590 h 1608850"/>
                <a:gd name="connsiteX1989" fmla="*/ 1059050 w 12192000"/>
                <a:gd name="connsiteY1989" fmla="*/ 328590 h 1608850"/>
                <a:gd name="connsiteX1990" fmla="*/ 1095531 w 12192000"/>
                <a:gd name="connsiteY1990" fmla="*/ 246443 h 1608850"/>
                <a:gd name="connsiteX1991" fmla="*/ 1099585 w 12192000"/>
                <a:gd name="connsiteY1991" fmla="*/ 0 h 160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</a:cxnLst>
              <a:rect l="l" t="t" r="r" b="b"/>
              <a:pathLst>
                <a:path w="12192000" h="1608850">
                  <a:moveTo>
                    <a:pt x="8760317" y="780798"/>
                  </a:moveTo>
                  <a:lnTo>
                    <a:pt x="8760317" y="785159"/>
                  </a:lnTo>
                  <a:lnTo>
                    <a:pt x="8761882" y="787771"/>
                  </a:lnTo>
                  <a:lnTo>
                    <a:pt x="8762996" y="787771"/>
                  </a:lnTo>
                  <a:cubicBezTo>
                    <a:pt x="8762996" y="787771"/>
                    <a:pt x="8762996" y="787771"/>
                    <a:pt x="8762996" y="786900"/>
                  </a:cubicBezTo>
                  <a:lnTo>
                    <a:pt x="8762996" y="780798"/>
                  </a:lnTo>
                  <a:cubicBezTo>
                    <a:pt x="8762996" y="780798"/>
                    <a:pt x="8762996" y="780798"/>
                    <a:pt x="8761881" y="780798"/>
                  </a:cubicBezTo>
                  <a:close/>
                  <a:moveTo>
                    <a:pt x="8758924" y="762200"/>
                  </a:moveTo>
                  <a:lnTo>
                    <a:pt x="8759734" y="771499"/>
                  </a:lnTo>
                  <a:lnTo>
                    <a:pt x="8762996" y="771499"/>
                  </a:lnTo>
                  <a:cubicBezTo>
                    <a:pt x="8762996" y="771499"/>
                    <a:pt x="8762996" y="771499"/>
                    <a:pt x="8762996" y="770337"/>
                  </a:cubicBezTo>
                  <a:lnTo>
                    <a:pt x="8762996" y="762200"/>
                  </a:lnTo>
                  <a:cubicBezTo>
                    <a:pt x="8762996" y="762200"/>
                    <a:pt x="8762996" y="762200"/>
                    <a:pt x="8761881" y="762200"/>
                  </a:cubicBezTo>
                  <a:close/>
                  <a:moveTo>
                    <a:pt x="8755951" y="745928"/>
                  </a:moveTo>
                  <a:lnTo>
                    <a:pt x="8756137" y="746512"/>
                  </a:lnTo>
                  <a:lnTo>
                    <a:pt x="8758088" y="752614"/>
                  </a:lnTo>
                  <a:lnTo>
                    <a:pt x="8758113" y="752902"/>
                  </a:lnTo>
                  <a:lnTo>
                    <a:pt x="8762996" y="752902"/>
                  </a:lnTo>
                  <a:cubicBezTo>
                    <a:pt x="8762996" y="752902"/>
                    <a:pt x="8762996" y="752902"/>
                    <a:pt x="8762996" y="752030"/>
                  </a:cubicBezTo>
                  <a:lnTo>
                    <a:pt x="8762996" y="745928"/>
                  </a:lnTo>
                  <a:cubicBezTo>
                    <a:pt x="8762996" y="745928"/>
                    <a:pt x="8762996" y="745928"/>
                    <a:pt x="8761881" y="745928"/>
                  </a:cubicBezTo>
                  <a:close/>
                  <a:moveTo>
                    <a:pt x="8907881" y="718032"/>
                  </a:moveTo>
                  <a:cubicBezTo>
                    <a:pt x="8907881" y="718032"/>
                    <a:pt x="8907881" y="718032"/>
                    <a:pt x="8907881" y="719194"/>
                  </a:cubicBezTo>
                  <a:lnTo>
                    <a:pt x="8907881" y="727331"/>
                  </a:lnTo>
                  <a:lnTo>
                    <a:pt x="8908543" y="727331"/>
                  </a:lnTo>
                  <a:lnTo>
                    <a:pt x="8908543" y="718032"/>
                  </a:lnTo>
                  <a:close/>
                  <a:moveTo>
                    <a:pt x="1099585" y="0"/>
                  </a:moveTo>
                  <a:cubicBezTo>
                    <a:pt x="1099585" y="18"/>
                    <a:pt x="1099601" y="2040"/>
                    <a:pt x="1101611" y="246443"/>
                  </a:cubicBezTo>
                  <a:cubicBezTo>
                    <a:pt x="1101623" y="246467"/>
                    <a:pt x="1102267" y="247808"/>
                    <a:pt x="1140117" y="326429"/>
                  </a:cubicBezTo>
                  <a:cubicBezTo>
                    <a:pt x="1140125" y="326429"/>
                    <a:pt x="1140236" y="326429"/>
                    <a:pt x="1142145" y="326429"/>
                  </a:cubicBezTo>
                  <a:lnTo>
                    <a:pt x="1156331" y="326429"/>
                  </a:lnTo>
                  <a:cubicBezTo>
                    <a:pt x="1156331" y="326443"/>
                    <a:pt x="1156331" y="327005"/>
                    <a:pt x="1156331" y="350208"/>
                  </a:cubicBezTo>
                  <a:cubicBezTo>
                    <a:pt x="1156333" y="350214"/>
                    <a:pt x="1156371" y="350272"/>
                    <a:pt x="1156839" y="351019"/>
                  </a:cubicBezTo>
                  <a:lnTo>
                    <a:pt x="1160385" y="356694"/>
                  </a:lnTo>
                  <a:cubicBezTo>
                    <a:pt x="1160385" y="356714"/>
                    <a:pt x="1160385" y="358229"/>
                    <a:pt x="1160385" y="471268"/>
                  </a:cubicBezTo>
                  <a:cubicBezTo>
                    <a:pt x="1160393" y="471268"/>
                    <a:pt x="1160533" y="471268"/>
                    <a:pt x="1162664" y="471268"/>
                  </a:cubicBezTo>
                  <a:lnTo>
                    <a:pt x="1178625" y="471268"/>
                  </a:lnTo>
                  <a:cubicBezTo>
                    <a:pt x="1178625" y="471288"/>
                    <a:pt x="1178625" y="472923"/>
                    <a:pt x="1178625" y="611783"/>
                  </a:cubicBezTo>
                  <a:cubicBezTo>
                    <a:pt x="1178635" y="611782"/>
                    <a:pt x="1178747" y="611761"/>
                    <a:pt x="1180145" y="611513"/>
                  </a:cubicBezTo>
                  <a:lnTo>
                    <a:pt x="1190785" y="609622"/>
                  </a:lnTo>
                  <a:cubicBezTo>
                    <a:pt x="1190785" y="609644"/>
                    <a:pt x="1190755" y="610978"/>
                    <a:pt x="1188759" y="698254"/>
                  </a:cubicBezTo>
                  <a:cubicBezTo>
                    <a:pt x="1188769" y="698256"/>
                    <a:pt x="1188879" y="698276"/>
                    <a:pt x="1190279" y="698525"/>
                  </a:cubicBezTo>
                  <a:lnTo>
                    <a:pt x="1200919" y="700416"/>
                  </a:lnTo>
                  <a:cubicBezTo>
                    <a:pt x="1200921" y="700423"/>
                    <a:pt x="1200941" y="700487"/>
                    <a:pt x="1201171" y="701227"/>
                  </a:cubicBezTo>
                  <a:lnTo>
                    <a:pt x="1202945" y="706902"/>
                  </a:lnTo>
                  <a:cubicBezTo>
                    <a:pt x="1202947" y="706893"/>
                    <a:pt x="1202993" y="706750"/>
                    <a:pt x="1203705" y="704470"/>
                  </a:cubicBezTo>
                  <a:lnTo>
                    <a:pt x="1209025" y="687446"/>
                  </a:lnTo>
                  <a:cubicBezTo>
                    <a:pt x="1209032" y="687446"/>
                    <a:pt x="1209133" y="687446"/>
                    <a:pt x="1210799" y="687446"/>
                  </a:cubicBezTo>
                  <a:lnTo>
                    <a:pt x="1223212" y="687446"/>
                  </a:lnTo>
                  <a:cubicBezTo>
                    <a:pt x="1223212" y="687463"/>
                    <a:pt x="1223212" y="688156"/>
                    <a:pt x="1223212" y="719872"/>
                  </a:cubicBezTo>
                  <a:cubicBezTo>
                    <a:pt x="1223219" y="719877"/>
                    <a:pt x="1223295" y="719917"/>
                    <a:pt x="1224225" y="720413"/>
                  </a:cubicBezTo>
                  <a:lnTo>
                    <a:pt x="1231319" y="724196"/>
                  </a:lnTo>
                  <a:cubicBezTo>
                    <a:pt x="1231319" y="724205"/>
                    <a:pt x="1231319" y="724306"/>
                    <a:pt x="1231319" y="725547"/>
                  </a:cubicBezTo>
                  <a:lnTo>
                    <a:pt x="1231319" y="735005"/>
                  </a:lnTo>
                  <a:cubicBezTo>
                    <a:pt x="1231339" y="735005"/>
                    <a:pt x="1232247" y="735005"/>
                    <a:pt x="1275907" y="735005"/>
                  </a:cubicBezTo>
                  <a:cubicBezTo>
                    <a:pt x="1275907" y="735013"/>
                    <a:pt x="1275907" y="735096"/>
                    <a:pt x="1275907" y="736086"/>
                  </a:cubicBezTo>
                  <a:lnTo>
                    <a:pt x="1275907" y="743652"/>
                  </a:lnTo>
                  <a:cubicBezTo>
                    <a:pt x="1275915" y="743652"/>
                    <a:pt x="1276037" y="743652"/>
                    <a:pt x="1277933" y="743652"/>
                  </a:cubicBezTo>
                  <a:lnTo>
                    <a:pt x="1292119" y="743652"/>
                  </a:lnTo>
                  <a:cubicBezTo>
                    <a:pt x="1292119" y="743634"/>
                    <a:pt x="1292119" y="742905"/>
                    <a:pt x="1292119" y="713387"/>
                  </a:cubicBezTo>
                  <a:cubicBezTo>
                    <a:pt x="1292141" y="713387"/>
                    <a:pt x="1293071" y="713387"/>
                    <a:pt x="1336706" y="713387"/>
                  </a:cubicBezTo>
                  <a:cubicBezTo>
                    <a:pt x="1336706" y="713379"/>
                    <a:pt x="1336706" y="713282"/>
                    <a:pt x="1336706" y="712036"/>
                  </a:cubicBezTo>
                  <a:lnTo>
                    <a:pt x="1336706" y="702578"/>
                  </a:lnTo>
                  <a:cubicBezTo>
                    <a:pt x="1336713" y="702578"/>
                    <a:pt x="1336787" y="702578"/>
                    <a:pt x="1337721" y="702578"/>
                  </a:cubicBezTo>
                  <a:lnTo>
                    <a:pt x="1344813" y="702578"/>
                  </a:lnTo>
                  <a:cubicBezTo>
                    <a:pt x="1344813" y="702571"/>
                    <a:pt x="1344813" y="702458"/>
                    <a:pt x="1344813" y="700687"/>
                  </a:cubicBezTo>
                  <a:lnTo>
                    <a:pt x="1344813" y="687446"/>
                  </a:lnTo>
                  <a:cubicBezTo>
                    <a:pt x="1344823" y="687446"/>
                    <a:pt x="1344895" y="687446"/>
                    <a:pt x="1345573" y="687446"/>
                  </a:cubicBezTo>
                  <a:lnTo>
                    <a:pt x="1350893" y="687446"/>
                  </a:lnTo>
                  <a:cubicBezTo>
                    <a:pt x="1350893" y="687439"/>
                    <a:pt x="1350893" y="687354"/>
                    <a:pt x="1350893" y="686365"/>
                  </a:cubicBezTo>
                  <a:lnTo>
                    <a:pt x="1350893" y="678798"/>
                  </a:lnTo>
                  <a:cubicBezTo>
                    <a:pt x="1350901" y="678798"/>
                    <a:pt x="1351025" y="678798"/>
                    <a:pt x="1352921" y="678798"/>
                  </a:cubicBezTo>
                  <a:lnTo>
                    <a:pt x="1367107" y="678798"/>
                  </a:lnTo>
                  <a:cubicBezTo>
                    <a:pt x="1367107" y="678805"/>
                    <a:pt x="1367107" y="678882"/>
                    <a:pt x="1367107" y="679879"/>
                  </a:cubicBezTo>
                  <a:lnTo>
                    <a:pt x="1367107" y="687446"/>
                  </a:lnTo>
                  <a:cubicBezTo>
                    <a:pt x="1367119" y="687446"/>
                    <a:pt x="1367619" y="687446"/>
                    <a:pt x="1389401" y="687446"/>
                  </a:cubicBezTo>
                  <a:cubicBezTo>
                    <a:pt x="1389401" y="687438"/>
                    <a:pt x="1389401" y="687324"/>
                    <a:pt x="1389401" y="685554"/>
                  </a:cubicBezTo>
                  <a:lnTo>
                    <a:pt x="1389401" y="672313"/>
                  </a:lnTo>
                  <a:cubicBezTo>
                    <a:pt x="1389407" y="672313"/>
                    <a:pt x="1389503" y="672313"/>
                    <a:pt x="1391174" y="672313"/>
                  </a:cubicBezTo>
                  <a:lnTo>
                    <a:pt x="1403587" y="672313"/>
                  </a:lnTo>
                  <a:cubicBezTo>
                    <a:pt x="1403587" y="672325"/>
                    <a:pt x="1403587" y="672839"/>
                    <a:pt x="1403587" y="696093"/>
                  </a:cubicBezTo>
                  <a:cubicBezTo>
                    <a:pt x="1403595" y="696093"/>
                    <a:pt x="1403675" y="696093"/>
                    <a:pt x="1404601" y="696093"/>
                  </a:cubicBezTo>
                  <a:lnTo>
                    <a:pt x="1411695" y="696093"/>
                  </a:lnTo>
                  <a:cubicBezTo>
                    <a:pt x="1411695" y="696087"/>
                    <a:pt x="1411695" y="696006"/>
                    <a:pt x="1411695" y="695012"/>
                  </a:cubicBezTo>
                  <a:lnTo>
                    <a:pt x="1411695" y="687446"/>
                  </a:lnTo>
                  <a:cubicBezTo>
                    <a:pt x="1411703" y="687446"/>
                    <a:pt x="1411821" y="687446"/>
                    <a:pt x="1413467" y="687446"/>
                  </a:cubicBezTo>
                  <a:lnTo>
                    <a:pt x="1425881" y="687446"/>
                  </a:lnTo>
                  <a:cubicBezTo>
                    <a:pt x="1425881" y="687459"/>
                    <a:pt x="1425881" y="688018"/>
                    <a:pt x="1425881" y="713387"/>
                  </a:cubicBezTo>
                  <a:cubicBezTo>
                    <a:pt x="1425889" y="713387"/>
                    <a:pt x="1426007" y="713387"/>
                    <a:pt x="1427909" y="713387"/>
                  </a:cubicBezTo>
                  <a:lnTo>
                    <a:pt x="1442095" y="713387"/>
                  </a:lnTo>
                  <a:cubicBezTo>
                    <a:pt x="1442095" y="713398"/>
                    <a:pt x="1442095" y="713513"/>
                    <a:pt x="1442095" y="715008"/>
                  </a:cubicBezTo>
                  <a:lnTo>
                    <a:pt x="1442095" y="726358"/>
                  </a:lnTo>
                  <a:cubicBezTo>
                    <a:pt x="1442103" y="726358"/>
                    <a:pt x="1442173" y="726358"/>
                    <a:pt x="1442855" y="726358"/>
                  </a:cubicBezTo>
                  <a:lnTo>
                    <a:pt x="1448175" y="726358"/>
                  </a:lnTo>
                  <a:cubicBezTo>
                    <a:pt x="1448175" y="726350"/>
                    <a:pt x="1448175" y="726274"/>
                    <a:pt x="1448175" y="725547"/>
                  </a:cubicBezTo>
                  <a:lnTo>
                    <a:pt x="1448175" y="719872"/>
                  </a:lnTo>
                  <a:cubicBezTo>
                    <a:pt x="1448193" y="719872"/>
                    <a:pt x="1448911" y="719872"/>
                    <a:pt x="1478575" y="719872"/>
                  </a:cubicBezTo>
                  <a:cubicBezTo>
                    <a:pt x="1478575" y="719886"/>
                    <a:pt x="1478575" y="720449"/>
                    <a:pt x="1478575" y="743652"/>
                  </a:cubicBezTo>
                  <a:cubicBezTo>
                    <a:pt x="1478583" y="743652"/>
                    <a:pt x="1478661" y="743652"/>
                    <a:pt x="1479589" y="743652"/>
                  </a:cubicBezTo>
                  <a:lnTo>
                    <a:pt x="1486683" y="743652"/>
                  </a:lnTo>
                  <a:cubicBezTo>
                    <a:pt x="1486683" y="743659"/>
                    <a:pt x="1486683" y="743732"/>
                    <a:pt x="1486683" y="744733"/>
                  </a:cubicBezTo>
                  <a:lnTo>
                    <a:pt x="1486683" y="752299"/>
                  </a:lnTo>
                  <a:cubicBezTo>
                    <a:pt x="1486691" y="752299"/>
                    <a:pt x="1486765" y="752299"/>
                    <a:pt x="1487443" y="752299"/>
                  </a:cubicBezTo>
                  <a:lnTo>
                    <a:pt x="1492763" y="752299"/>
                  </a:lnTo>
                  <a:cubicBezTo>
                    <a:pt x="1492763" y="752292"/>
                    <a:pt x="1492763" y="752172"/>
                    <a:pt x="1492763" y="750137"/>
                  </a:cubicBezTo>
                  <a:lnTo>
                    <a:pt x="1492763" y="735005"/>
                  </a:lnTo>
                  <a:cubicBezTo>
                    <a:pt x="1492769" y="735005"/>
                    <a:pt x="1492847" y="735005"/>
                    <a:pt x="1493775" y="735005"/>
                  </a:cubicBezTo>
                  <a:lnTo>
                    <a:pt x="1500869" y="735005"/>
                  </a:lnTo>
                  <a:cubicBezTo>
                    <a:pt x="1500869" y="735013"/>
                    <a:pt x="1500869" y="735096"/>
                    <a:pt x="1500869" y="736086"/>
                  </a:cubicBezTo>
                  <a:lnTo>
                    <a:pt x="1500869" y="743652"/>
                  </a:lnTo>
                  <a:lnTo>
                    <a:pt x="1506189" y="741659"/>
                  </a:lnTo>
                  <a:cubicBezTo>
                    <a:pt x="1506949" y="741287"/>
                    <a:pt x="1506949" y="741085"/>
                    <a:pt x="1506949" y="740679"/>
                  </a:cubicBezTo>
                  <a:lnTo>
                    <a:pt x="1506949" y="735005"/>
                  </a:lnTo>
                  <a:cubicBezTo>
                    <a:pt x="1506966" y="735005"/>
                    <a:pt x="1507767" y="735005"/>
                    <a:pt x="1545457" y="735005"/>
                  </a:cubicBezTo>
                  <a:cubicBezTo>
                    <a:pt x="1545457" y="735019"/>
                    <a:pt x="1545457" y="735566"/>
                    <a:pt x="1545457" y="758784"/>
                  </a:cubicBezTo>
                  <a:cubicBezTo>
                    <a:pt x="1545464" y="758784"/>
                    <a:pt x="1545583" y="758784"/>
                    <a:pt x="1547483" y="758784"/>
                  </a:cubicBezTo>
                  <a:lnTo>
                    <a:pt x="1561669" y="758784"/>
                  </a:lnTo>
                  <a:cubicBezTo>
                    <a:pt x="1561669" y="758792"/>
                    <a:pt x="1561669" y="758874"/>
                    <a:pt x="1561669" y="759865"/>
                  </a:cubicBezTo>
                  <a:lnTo>
                    <a:pt x="1561669" y="767431"/>
                  </a:lnTo>
                  <a:cubicBezTo>
                    <a:pt x="1561679" y="767431"/>
                    <a:pt x="1561801" y="767431"/>
                    <a:pt x="1563443" y="767431"/>
                  </a:cubicBezTo>
                  <a:lnTo>
                    <a:pt x="1575857" y="767431"/>
                  </a:lnTo>
                  <a:cubicBezTo>
                    <a:pt x="1575857" y="767419"/>
                    <a:pt x="1575857" y="766908"/>
                    <a:pt x="1575857" y="743652"/>
                  </a:cubicBezTo>
                  <a:cubicBezTo>
                    <a:pt x="1575863" y="743652"/>
                    <a:pt x="1575941" y="743652"/>
                    <a:pt x="1576869" y="743652"/>
                  </a:cubicBezTo>
                  <a:lnTo>
                    <a:pt x="1583963" y="743652"/>
                  </a:lnTo>
                  <a:cubicBezTo>
                    <a:pt x="1583963" y="743633"/>
                    <a:pt x="1583963" y="742862"/>
                    <a:pt x="1583963" y="711225"/>
                  </a:cubicBezTo>
                  <a:cubicBezTo>
                    <a:pt x="1583971" y="711225"/>
                    <a:pt x="1584047" y="711225"/>
                    <a:pt x="1584977" y="711225"/>
                  </a:cubicBezTo>
                  <a:lnTo>
                    <a:pt x="1592071" y="711225"/>
                  </a:lnTo>
                  <a:cubicBezTo>
                    <a:pt x="1592071" y="711219"/>
                    <a:pt x="1592071" y="711110"/>
                    <a:pt x="1592071" y="709334"/>
                  </a:cubicBezTo>
                  <a:lnTo>
                    <a:pt x="1592071" y="696093"/>
                  </a:lnTo>
                  <a:cubicBezTo>
                    <a:pt x="1590043" y="696093"/>
                    <a:pt x="1590043" y="696093"/>
                    <a:pt x="1590803" y="694471"/>
                  </a:cubicBezTo>
                  <a:lnTo>
                    <a:pt x="1596123" y="683122"/>
                  </a:lnTo>
                  <a:cubicBezTo>
                    <a:pt x="1596129" y="683139"/>
                    <a:pt x="1596323" y="683813"/>
                    <a:pt x="1604231" y="711225"/>
                  </a:cubicBezTo>
                  <a:cubicBezTo>
                    <a:pt x="1604239" y="711225"/>
                    <a:pt x="1604311" y="711225"/>
                    <a:pt x="1604991" y="711225"/>
                  </a:cubicBezTo>
                  <a:lnTo>
                    <a:pt x="1610311" y="711225"/>
                  </a:lnTo>
                  <a:cubicBezTo>
                    <a:pt x="1610311" y="711212"/>
                    <a:pt x="1610311" y="710033"/>
                    <a:pt x="1610311" y="605298"/>
                  </a:cubicBezTo>
                  <a:cubicBezTo>
                    <a:pt x="1610321" y="605298"/>
                    <a:pt x="1610435" y="605298"/>
                    <a:pt x="1611831" y="605298"/>
                  </a:cubicBezTo>
                  <a:lnTo>
                    <a:pt x="1622471" y="605298"/>
                  </a:lnTo>
                  <a:cubicBezTo>
                    <a:pt x="1622471" y="605276"/>
                    <a:pt x="1622471" y="604266"/>
                    <a:pt x="1622471" y="557739"/>
                  </a:cubicBezTo>
                  <a:cubicBezTo>
                    <a:pt x="1622487" y="557739"/>
                    <a:pt x="1623113" y="557739"/>
                    <a:pt x="1648817" y="557739"/>
                  </a:cubicBezTo>
                  <a:cubicBezTo>
                    <a:pt x="1648817" y="557727"/>
                    <a:pt x="1648817" y="557217"/>
                    <a:pt x="1648817" y="536121"/>
                  </a:cubicBezTo>
                  <a:cubicBezTo>
                    <a:pt x="1648837" y="536121"/>
                    <a:pt x="1649625" y="536121"/>
                    <a:pt x="1683271" y="536121"/>
                  </a:cubicBezTo>
                  <a:cubicBezTo>
                    <a:pt x="1683271" y="536129"/>
                    <a:pt x="1683271" y="536259"/>
                    <a:pt x="1683271" y="538553"/>
                  </a:cubicBezTo>
                  <a:lnTo>
                    <a:pt x="1683271" y="555577"/>
                  </a:lnTo>
                  <a:cubicBezTo>
                    <a:pt x="1683281" y="555577"/>
                    <a:pt x="1683411" y="555577"/>
                    <a:pt x="1685551" y="555577"/>
                  </a:cubicBezTo>
                  <a:lnTo>
                    <a:pt x="1701511" y="555577"/>
                  </a:lnTo>
                  <a:cubicBezTo>
                    <a:pt x="1701511" y="555595"/>
                    <a:pt x="1701511" y="556489"/>
                    <a:pt x="1701511" y="603136"/>
                  </a:cubicBezTo>
                  <a:cubicBezTo>
                    <a:pt x="1701517" y="603136"/>
                    <a:pt x="1701593" y="603136"/>
                    <a:pt x="1702525" y="603136"/>
                  </a:cubicBezTo>
                  <a:lnTo>
                    <a:pt x="1709619" y="603136"/>
                  </a:lnTo>
                  <a:lnTo>
                    <a:pt x="1723805" y="607460"/>
                  </a:lnTo>
                  <a:cubicBezTo>
                    <a:pt x="1723805" y="607470"/>
                    <a:pt x="1723805" y="608120"/>
                    <a:pt x="1723805" y="646372"/>
                  </a:cubicBezTo>
                  <a:cubicBezTo>
                    <a:pt x="1723811" y="646372"/>
                    <a:pt x="1723887" y="646372"/>
                    <a:pt x="1724819" y="646372"/>
                  </a:cubicBezTo>
                  <a:lnTo>
                    <a:pt x="1731911" y="646372"/>
                  </a:lnTo>
                  <a:cubicBezTo>
                    <a:pt x="1731911" y="646382"/>
                    <a:pt x="1731911" y="646488"/>
                    <a:pt x="1731911" y="647993"/>
                  </a:cubicBezTo>
                  <a:lnTo>
                    <a:pt x="1731911" y="659342"/>
                  </a:lnTo>
                  <a:cubicBezTo>
                    <a:pt x="1731919" y="659342"/>
                    <a:pt x="1732043" y="659342"/>
                    <a:pt x="1733939" y="659342"/>
                  </a:cubicBezTo>
                  <a:lnTo>
                    <a:pt x="1748125" y="659342"/>
                  </a:lnTo>
                  <a:lnTo>
                    <a:pt x="1754205" y="665828"/>
                  </a:lnTo>
                  <a:cubicBezTo>
                    <a:pt x="1754205" y="665840"/>
                    <a:pt x="1754205" y="666326"/>
                    <a:pt x="1754205" y="687446"/>
                  </a:cubicBezTo>
                  <a:cubicBezTo>
                    <a:pt x="1754214" y="687446"/>
                    <a:pt x="1754345" y="687446"/>
                    <a:pt x="1756485" y="687446"/>
                  </a:cubicBezTo>
                  <a:lnTo>
                    <a:pt x="1772445" y="687446"/>
                  </a:lnTo>
                  <a:cubicBezTo>
                    <a:pt x="1772445" y="687453"/>
                    <a:pt x="1772445" y="687533"/>
                    <a:pt x="1772445" y="688526"/>
                  </a:cubicBezTo>
                  <a:lnTo>
                    <a:pt x="1772445" y="696093"/>
                  </a:lnTo>
                  <a:cubicBezTo>
                    <a:pt x="1772455" y="696093"/>
                    <a:pt x="1772553" y="696093"/>
                    <a:pt x="1773713" y="696093"/>
                  </a:cubicBezTo>
                  <a:lnTo>
                    <a:pt x="1782579" y="696093"/>
                  </a:lnTo>
                  <a:cubicBezTo>
                    <a:pt x="1782579" y="696102"/>
                    <a:pt x="1782579" y="696231"/>
                    <a:pt x="1782579" y="698254"/>
                  </a:cubicBezTo>
                  <a:lnTo>
                    <a:pt x="1782579" y="713387"/>
                  </a:lnTo>
                  <a:cubicBezTo>
                    <a:pt x="1786633" y="713387"/>
                    <a:pt x="1786633" y="713387"/>
                    <a:pt x="1786633" y="711495"/>
                  </a:cubicBezTo>
                  <a:lnTo>
                    <a:pt x="1786633" y="698254"/>
                  </a:lnTo>
                  <a:cubicBezTo>
                    <a:pt x="1786639" y="698254"/>
                    <a:pt x="1786716" y="698254"/>
                    <a:pt x="1787645" y="698254"/>
                  </a:cubicBezTo>
                  <a:lnTo>
                    <a:pt x="1794739" y="698254"/>
                  </a:lnTo>
                  <a:cubicBezTo>
                    <a:pt x="1794739" y="698265"/>
                    <a:pt x="1794739" y="698384"/>
                    <a:pt x="1794739" y="699876"/>
                  </a:cubicBezTo>
                  <a:lnTo>
                    <a:pt x="1794739" y="711225"/>
                  </a:lnTo>
                  <a:cubicBezTo>
                    <a:pt x="1794749" y="711225"/>
                    <a:pt x="1794821" y="711225"/>
                    <a:pt x="1795499" y="711225"/>
                  </a:cubicBezTo>
                  <a:lnTo>
                    <a:pt x="1800819" y="711225"/>
                  </a:lnTo>
                  <a:cubicBezTo>
                    <a:pt x="1800819" y="706902"/>
                    <a:pt x="1800819" y="706902"/>
                    <a:pt x="1849459" y="706902"/>
                  </a:cubicBezTo>
                  <a:cubicBezTo>
                    <a:pt x="1849459" y="706911"/>
                    <a:pt x="1849459" y="707012"/>
                    <a:pt x="1849459" y="708253"/>
                  </a:cubicBezTo>
                  <a:lnTo>
                    <a:pt x="1849459" y="717710"/>
                  </a:lnTo>
                  <a:cubicBezTo>
                    <a:pt x="1849467" y="717710"/>
                    <a:pt x="1849543" y="717710"/>
                    <a:pt x="1850219" y="717710"/>
                  </a:cubicBezTo>
                  <a:lnTo>
                    <a:pt x="1855541" y="717710"/>
                  </a:lnTo>
                  <a:cubicBezTo>
                    <a:pt x="1855541" y="717719"/>
                    <a:pt x="1855541" y="717841"/>
                    <a:pt x="1855541" y="719872"/>
                  </a:cubicBezTo>
                  <a:lnTo>
                    <a:pt x="1855541" y="735005"/>
                  </a:lnTo>
                  <a:cubicBezTo>
                    <a:pt x="1855549" y="735001"/>
                    <a:pt x="1855665" y="734923"/>
                    <a:pt x="1857567" y="733654"/>
                  </a:cubicBezTo>
                  <a:lnTo>
                    <a:pt x="1871753" y="724196"/>
                  </a:lnTo>
                  <a:cubicBezTo>
                    <a:pt x="1871755" y="724177"/>
                    <a:pt x="1871887" y="723302"/>
                    <a:pt x="1877833" y="683122"/>
                  </a:cubicBezTo>
                  <a:cubicBezTo>
                    <a:pt x="1877843" y="683120"/>
                    <a:pt x="1877911" y="683094"/>
                    <a:pt x="1878593" y="682852"/>
                  </a:cubicBezTo>
                  <a:lnTo>
                    <a:pt x="1883913" y="680960"/>
                  </a:lnTo>
                  <a:cubicBezTo>
                    <a:pt x="1883913" y="680944"/>
                    <a:pt x="1883947" y="679883"/>
                    <a:pt x="1885941" y="611783"/>
                  </a:cubicBezTo>
                  <a:cubicBezTo>
                    <a:pt x="1885941" y="611801"/>
                    <a:pt x="1885973" y="612892"/>
                    <a:pt x="1887967" y="680960"/>
                  </a:cubicBezTo>
                  <a:cubicBezTo>
                    <a:pt x="1887977" y="680963"/>
                    <a:pt x="1888047" y="680988"/>
                    <a:pt x="1888727" y="681230"/>
                  </a:cubicBezTo>
                  <a:lnTo>
                    <a:pt x="1894047" y="683122"/>
                  </a:lnTo>
                  <a:cubicBezTo>
                    <a:pt x="1894047" y="683102"/>
                    <a:pt x="1894047" y="681769"/>
                    <a:pt x="1894047" y="596651"/>
                  </a:cubicBezTo>
                  <a:cubicBezTo>
                    <a:pt x="1898101" y="596651"/>
                    <a:pt x="1898101" y="596651"/>
                    <a:pt x="1898101" y="564224"/>
                  </a:cubicBezTo>
                  <a:cubicBezTo>
                    <a:pt x="1898113" y="564224"/>
                    <a:pt x="1898799" y="564224"/>
                    <a:pt x="1936607" y="564224"/>
                  </a:cubicBezTo>
                  <a:cubicBezTo>
                    <a:pt x="1936607" y="564241"/>
                    <a:pt x="1936607" y="564959"/>
                    <a:pt x="1936607" y="596651"/>
                  </a:cubicBezTo>
                  <a:cubicBezTo>
                    <a:pt x="1936617" y="596651"/>
                    <a:pt x="1936689" y="596651"/>
                    <a:pt x="1937367" y="596651"/>
                  </a:cubicBezTo>
                  <a:lnTo>
                    <a:pt x="1942687" y="596651"/>
                  </a:lnTo>
                  <a:cubicBezTo>
                    <a:pt x="1942687" y="596630"/>
                    <a:pt x="1942687" y="595324"/>
                    <a:pt x="1942687" y="514503"/>
                  </a:cubicBezTo>
                  <a:cubicBezTo>
                    <a:pt x="1942693" y="514503"/>
                    <a:pt x="1942793" y="514503"/>
                    <a:pt x="1944461" y="514503"/>
                  </a:cubicBezTo>
                  <a:lnTo>
                    <a:pt x="1956875" y="514503"/>
                  </a:lnTo>
                  <a:cubicBezTo>
                    <a:pt x="1956875" y="514496"/>
                    <a:pt x="1956875" y="514385"/>
                    <a:pt x="1956875" y="512612"/>
                  </a:cubicBezTo>
                  <a:lnTo>
                    <a:pt x="1956875" y="499371"/>
                  </a:lnTo>
                  <a:cubicBezTo>
                    <a:pt x="1956885" y="499371"/>
                    <a:pt x="1957383" y="499371"/>
                    <a:pt x="1979169" y="499371"/>
                  </a:cubicBezTo>
                  <a:cubicBezTo>
                    <a:pt x="1979169" y="499364"/>
                    <a:pt x="1979169" y="499283"/>
                    <a:pt x="1979169" y="498290"/>
                  </a:cubicBezTo>
                  <a:lnTo>
                    <a:pt x="1979169" y="490724"/>
                  </a:lnTo>
                  <a:cubicBezTo>
                    <a:pt x="1979175" y="490724"/>
                    <a:pt x="1979285" y="490724"/>
                    <a:pt x="1980941" y="490724"/>
                  </a:cubicBezTo>
                  <a:lnTo>
                    <a:pt x="1993355" y="490724"/>
                  </a:lnTo>
                  <a:cubicBezTo>
                    <a:pt x="1993355" y="490732"/>
                    <a:pt x="1993355" y="490811"/>
                    <a:pt x="1993355" y="491805"/>
                  </a:cubicBezTo>
                  <a:lnTo>
                    <a:pt x="1993355" y="499371"/>
                  </a:lnTo>
                  <a:cubicBezTo>
                    <a:pt x="1993365" y="499371"/>
                    <a:pt x="1993437" y="499371"/>
                    <a:pt x="1994115" y="499371"/>
                  </a:cubicBezTo>
                  <a:lnTo>
                    <a:pt x="1999435" y="499371"/>
                  </a:lnTo>
                  <a:lnTo>
                    <a:pt x="2009569" y="495047"/>
                  </a:lnTo>
                  <a:lnTo>
                    <a:pt x="2013621" y="498290"/>
                  </a:lnTo>
                  <a:lnTo>
                    <a:pt x="2013621" y="490724"/>
                  </a:lnTo>
                  <a:cubicBezTo>
                    <a:pt x="2013631" y="490724"/>
                    <a:pt x="2013767" y="490724"/>
                    <a:pt x="2015901" y="490724"/>
                  </a:cubicBezTo>
                  <a:lnTo>
                    <a:pt x="2031863" y="490724"/>
                  </a:lnTo>
                  <a:cubicBezTo>
                    <a:pt x="2031863" y="490732"/>
                    <a:pt x="2031863" y="490811"/>
                    <a:pt x="2031863" y="491805"/>
                  </a:cubicBezTo>
                  <a:lnTo>
                    <a:pt x="2031863" y="499371"/>
                  </a:lnTo>
                  <a:cubicBezTo>
                    <a:pt x="2031881" y="499371"/>
                    <a:pt x="2032617" y="499371"/>
                    <a:pt x="2062263" y="499371"/>
                  </a:cubicBezTo>
                  <a:cubicBezTo>
                    <a:pt x="2062263" y="499381"/>
                    <a:pt x="2062263" y="499490"/>
                    <a:pt x="2062263" y="500992"/>
                  </a:cubicBezTo>
                  <a:lnTo>
                    <a:pt x="2062263" y="512342"/>
                  </a:lnTo>
                  <a:cubicBezTo>
                    <a:pt x="2062279" y="512342"/>
                    <a:pt x="2062919" y="512342"/>
                    <a:pt x="2088609" y="512342"/>
                  </a:cubicBezTo>
                  <a:cubicBezTo>
                    <a:pt x="2088609" y="512358"/>
                    <a:pt x="2088609" y="513038"/>
                    <a:pt x="2088609" y="542606"/>
                  </a:cubicBezTo>
                  <a:cubicBezTo>
                    <a:pt x="2088619" y="542606"/>
                    <a:pt x="2088691" y="542606"/>
                    <a:pt x="2089369" y="542606"/>
                  </a:cubicBezTo>
                  <a:lnTo>
                    <a:pt x="2094689" y="542606"/>
                  </a:lnTo>
                  <a:cubicBezTo>
                    <a:pt x="2094689" y="542613"/>
                    <a:pt x="2094689" y="542699"/>
                    <a:pt x="2094689" y="543687"/>
                  </a:cubicBezTo>
                  <a:lnTo>
                    <a:pt x="2094689" y="551254"/>
                  </a:lnTo>
                  <a:cubicBezTo>
                    <a:pt x="2098743" y="551254"/>
                    <a:pt x="2098743" y="551254"/>
                    <a:pt x="2098743" y="581518"/>
                  </a:cubicBezTo>
                  <a:cubicBezTo>
                    <a:pt x="2098753" y="581518"/>
                    <a:pt x="2098827" y="581518"/>
                    <a:pt x="2099503" y="581518"/>
                  </a:cubicBezTo>
                  <a:lnTo>
                    <a:pt x="2104823" y="581518"/>
                  </a:lnTo>
                  <a:cubicBezTo>
                    <a:pt x="2104823" y="581527"/>
                    <a:pt x="2104823" y="581594"/>
                    <a:pt x="2104823" y="582329"/>
                  </a:cubicBezTo>
                  <a:lnTo>
                    <a:pt x="2104823" y="588004"/>
                  </a:lnTo>
                  <a:cubicBezTo>
                    <a:pt x="2104829" y="588004"/>
                    <a:pt x="2104907" y="588004"/>
                    <a:pt x="2105837" y="588004"/>
                  </a:cubicBezTo>
                  <a:lnTo>
                    <a:pt x="2112929" y="588004"/>
                  </a:lnTo>
                  <a:cubicBezTo>
                    <a:pt x="2112929" y="588021"/>
                    <a:pt x="2112929" y="588734"/>
                    <a:pt x="2112929" y="618269"/>
                  </a:cubicBezTo>
                  <a:cubicBezTo>
                    <a:pt x="2112937" y="618269"/>
                    <a:pt x="2113057" y="618269"/>
                    <a:pt x="2114957" y="618269"/>
                  </a:cubicBezTo>
                  <a:lnTo>
                    <a:pt x="2129143" y="618269"/>
                  </a:lnTo>
                  <a:cubicBezTo>
                    <a:pt x="2129143" y="618285"/>
                    <a:pt x="2129143" y="618865"/>
                    <a:pt x="2129143" y="642048"/>
                  </a:cubicBezTo>
                  <a:cubicBezTo>
                    <a:pt x="2131171" y="642048"/>
                    <a:pt x="2131171" y="642048"/>
                    <a:pt x="2131171" y="643669"/>
                  </a:cubicBezTo>
                  <a:lnTo>
                    <a:pt x="2131171" y="655019"/>
                  </a:lnTo>
                  <a:cubicBezTo>
                    <a:pt x="2131179" y="655019"/>
                    <a:pt x="2131249" y="655019"/>
                    <a:pt x="2131931" y="655019"/>
                  </a:cubicBezTo>
                  <a:lnTo>
                    <a:pt x="2137251" y="655019"/>
                  </a:lnTo>
                  <a:cubicBezTo>
                    <a:pt x="2137251" y="655033"/>
                    <a:pt x="2137251" y="655596"/>
                    <a:pt x="2137251" y="678798"/>
                  </a:cubicBezTo>
                  <a:cubicBezTo>
                    <a:pt x="2137259" y="678798"/>
                    <a:pt x="2137357" y="678798"/>
                    <a:pt x="2138517" y="678798"/>
                  </a:cubicBezTo>
                  <a:lnTo>
                    <a:pt x="2147383" y="678798"/>
                  </a:lnTo>
                  <a:cubicBezTo>
                    <a:pt x="2149411" y="680960"/>
                    <a:pt x="2149411" y="680960"/>
                    <a:pt x="2149411" y="682852"/>
                  </a:cubicBezTo>
                  <a:lnTo>
                    <a:pt x="2149411" y="696093"/>
                  </a:lnTo>
                  <a:cubicBezTo>
                    <a:pt x="2149415" y="696086"/>
                    <a:pt x="2149503" y="695979"/>
                    <a:pt x="2150931" y="694201"/>
                  </a:cubicBezTo>
                  <a:lnTo>
                    <a:pt x="2161571" y="680960"/>
                  </a:lnTo>
                  <a:cubicBezTo>
                    <a:pt x="2161585" y="680960"/>
                    <a:pt x="2162225" y="680960"/>
                    <a:pt x="2189945" y="680960"/>
                  </a:cubicBezTo>
                  <a:cubicBezTo>
                    <a:pt x="2189945" y="680985"/>
                    <a:pt x="2189945" y="682386"/>
                    <a:pt x="2189945" y="767431"/>
                  </a:cubicBezTo>
                  <a:cubicBezTo>
                    <a:pt x="2189953" y="767431"/>
                    <a:pt x="2190029" y="767431"/>
                    <a:pt x="2190705" y="767431"/>
                  </a:cubicBezTo>
                  <a:lnTo>
                    <a:pt x="2196025" y="767431"/>
                  </a:lnTo>
                  <a:cubicBezTo>
                    <a:pt x="2196029" y="767423"/>
                    <a:pt x="2196087" y="767323"/>
                    <a:pt x="2196785" y="766080"/>
                  </a:cubicBezTo>
                  <a:lnTo>
                    <a:pt x="2202105" y="756622"/>
                  </a:lnTo>
                  <a:cubicBezTo>
                    <a:pt x="2202105" y="756629"/>
                    <a:pt x="2202105" y="756728"/>
                    <a:pt x="2202105" y="758514"/>
                  </a:cubicBezTo>
                  <a:lnTo>
                    <a:pt x="2202105" y="771755"/>
                  </a:lnTo>
                  <a:cubicBezTo>
                    <a:pt x="2206157" y="771755"/>
                    <a:pt x="2206157" y="771755"/>
                    <a:pt x="2206157" y="726358"/>
                  </a:cubicBezTo>
                  <a:cubicBezTo>
                    <a:pt x="2206167" y="726358"/>
                    <a:pt x="2206237" y="726358"/>
                    <a:pt x="2206917" y="726358"/>
                  </a:cubicBezTo>
                  <a:lnTo>
                    <a:pt x="2212237" y="726358"/>
                  </a:lnTo>
                  <a:cubicBezTo>
                    <a:pt x="2212237" y="726343"/>
                    <a:pt x="2212237" y="725343"/>
                    <a:pt x="2212237" y="661504"/>
                  </a:cubicBezTo>
                  <a:cubicBezTo>
                    <a:pt x="2212245" y="661504"/>
                    <a:pt x="2212325" y="661504"/>
                    <a:pt x="2213251" y="661504"/>
                  </a:cubicBezTo>
                  <a:lnTo>
                    <a:pt x="2220345" y="661504"/>
                  </a:lnTo>
                  <a:cubicBezTo>
                    <a:pt x="2220351" y="661483"/>
                    <a:pt x="2220615" y="660543"/>
                    <a:pt x="2232505" y="618269"/>
                  </a:cubicBezTo>
                  <a:cubicBezTo>
                    <a:pt x="2232514" y="618269"/>
                    <a:pt x="2232611" y="618269"/>
                    <a:pt x="2233771" y="618269"/>
                  </a:cubicBezTo>
                  <a:lnTo>
                    <a:pt x="2242639" y="618269"/>
                  </a:lnTo>
                  <a:cubicBezTo>
                    <a:pt x="2242644" y="618292"/>
                    <a:pt x="2242869" y="619258"/>
                    <a:pt x="2252771" y="661504"/>
                  </a:cubicBezTo>
                  <a:cubicBezTo>
                    <a:pt x="2252777" y="661504"/>
                    <a:pt x="2252851" y="661504"/>
                    <a:pt x="2253785" y="661504"/>
                  </a:cubicBezTo>
                  <a:lnTo>
                    <a:pt x="2260879" y="661504"/>
                  </a:lnTo>
                  <a:cubicBezTo>
                    <a:pt x="2260879" y="661515"/>
                    <a:pt x="2260879" y="662182"/>
                    <a:pt x="2260879" y="700416"/>
                  </a:cubicBezTo>
                  <a:cubicBezTo>
                    <a:pt x="2260885" y="700416"/>
                    <a:pt x="2260985" y="700416"/>
                    <a:pt x="2262651" y="700416"/>
                  </a:cubicBezTo>
                  <a:lnTo>
                    <a:pt x="2275065" y="700416"/>
                  </a:lnTo>
                  <a:cubicBezTo>
                    <a:pt x="2275065" y="700424"/>
                    <a:pt x="2275065" y="700546"/>
                    <a:pt x="2275065" y="702578"/>
                  </a:cubicBezTo>
                  <a:lnTo>
                    <a:pt x="2275065" y="717710"/>
                  </a:lnTo>
                  <a:cubicBezTo>
                    <a:pt x="2279119" y="717710"/>
                    <a:pt x="2279119" y="717710"/>
                    <a:pt x="2279119" y="715549"/>
                  </a:cubicBezTo>
                  <a:lnTo>
                    <a:pt x="2279119" y="700416"/>
                  </a:lnTo>
                  <a:cubicBezTo>
                    <a:pt x="2279129" y="700416"/>
                    <a:pt x="2279241" y="700416"/>
                    <a:pt x="2280639" y="700416"/>
                  </a:cubicBezTo>
                  <a:lnTo>
                    <a:pt x="2291279" y="700416"/>
                  </a:lnTo>
                  <a:cubicBezTo>
                    <a:pt x="2291279" y="700426"/>
                    <a:pt x="2291279" y="700543"/>
                    <a:pt x="2291279" y="702037"/>
                  </a:cubicBezTo>
                  <a:lnTo>
                    <a:pt x="2291279" y="713387"/>
                  </a:lnTo>
                  <a:cubicBezTo>
                    <a:pt x="2291295" y="713387"/>
                    <a:pt x="2292003" y="713387"/>
                    <a:pt x="2321680" y="713387"/>
                  </a:cubicBezTo>
                  <a:cubicBezTo>
                    <a:pt x="2321680" y="713370"/>
                    <a:pt x="2321680" y="712599"/>
                    <a:pt x="2321680" y="676637"/>
                  </a:cubicBezTo>
                  <a:cubicBezTo>
                    <a:pt x="2321687" y="676637"/>
                    <a:pt x="2321781" y="676637"/>
                    <a:pt x="2322945" y="676637"/>
                  </a:cubicBezTo>
                  <a:lnTo>
                    <a:pt x="2331813" y="676637"/>
                  </a:lnTo>
                  <a:cubicBezTo>
                    <a:pt x="2331813" y="676648"/>
                    <a:pt x="2331813" y="677142"/>
                    <a:pt x="2331813" y="698254"/>
                  </a:cubicBezTo>
                  <a:cubicBezTo>
                    <a:pt x="2333840" y="698254"/>
                    <a:pt x="2333840" y="698254"/>
                    <a:pt x="2333840" y="665828"/>
                  </a:cubicBezTo>
                  <a:cubicBezTo>
                    <a:pt x="2333853" y="665828"/>
                    <a:pt x="2334395" y="665828"/>
                    <a:pt x="2356133" y="665828"/>
                  </a:cubicBezTo>
                  <a:cubicBezTo>
                    <a:pt x="2356133" y="665818"/>
                    <a:pt x="2356133" y="665698"/>
                    <a:pt x="2356133" y="664206"/>
                  </a:cubicBezTo>
                  <a:lnTo>
                    <a:pt x="2356133" y="652857"/>
                  </a:lnTo>
                  <a:cubicBezTo>
                    <a:pt x="2356141" y="652857"/>
                    <a:pt x="2356215" y="652857"/>
                    <a:pt x="2356893" y="652857"/>
                  </a:cubicBezTo>
                  <a:lnTo>
                    <a:pt x="2362213" y="652857"/>
                  </a:lnTo>
                  <a:cubicBezTo>
                    <a:pt x="2362213" y="652851"/>
                    <a:pt x="2362213" y="652738"/>
                    <a:pt x="2362213" y="650966"/>
                  </a:cubicBezTo>
                  <a:lnTo>
                    <a:pt x="2362213" y="637725"/>
                  </a:lnTo>
                  <a:lnTo>
                    <a:pt x="2366267" y="644210"/>
                  </a:lnTo>
                  <a:cubicBezTo>
                    <a:pt x="2366275" y="644210"/>
                    <a:pt x="2366403" y="644210"/>
                    <a:pt x="2368547" y="644210"/>
                  </a:cubicBezTo>
                  <a:lnTo>
                    <a:pt x="2384507" y="644210"/>
                  </a:lnTo>
                  <a:cubicBezTo>
                    <a:pt x="2384507" y="644202"/>
                    <a:pt x="2384507" y="644134"/>
                    <a:pt x="2384507" y="643399"/>
                  </a:cubicBezTo>
                  <a:lnTo>
                    <a:pt x="2384507" y="637725"/>
                  </a:lnTo>
                  <a:cubicBezTo>
                    <a:pt x="2384516" y="637725"/>
                    <a:pt x="2384590" y="637725"/>
                    <a:pt x="2385267" y="637725"/>
                  </a:cubicBezTo>
                  <a:lnTo>
                    <a:pt x="2390587" y="637725"/>
                  </a:lnTo>
                  <a:cubicBezTo>
                    <a:pt x="2390587" y="637734"/>
                    <a:pt x="2390587" y="637834"/>
                    <a:pt x="2390587" y="639076"/>
                  </a:cubicBezTo>
                  <a:lnTo>
                    <a:pt x="2390587" y="648534"/>
                  </a:lnTo>
                  <a:cubicBezTo>
                    <a:pt x="2390601" y="648534"/>
                    <a:pt x="2391335" y="648534"/>
                    <a:pt x="2429093" y="648534"/>
                  </a:cubicBezTo>
                  <a:cubicBezTo>
                    <a:pt x="2429093" y="648552"/>
                    <a:pt x="2429093" y="650062"/>
                    <a:pt x="2429093" y="786887"/>
                  </a:cubicBezTo>
                  <a:cubicBezTo>
                    <a:pt x="2429104" y="786887"/>
                    <a:pt x="2429219" y="786887"/>
                    <a:pt x="2430613" y="786887"/>
                  </a:cubicBezTo>
                  <a:lnTo>
                    <a:pt x="2441254" y="786887"/>
                  </a:lnTo>
                  <a:cubicBezTo>
                    <a:pt x="2441254" y="782564"/>
                    <a:pt x="2441254" y="778240"/>
                    <a:pt x="2441254" y="773917"/>
                  </a:cubicBezTo>
                  <a:cubicBezTo>
                    <a:pt x="2443281" y="773917"/>
                    <a:pt x="2443281" y="773917"/>
                    <a:pt x="2445307" y="773917"/>
                  </a:cubicBezTo>
                  <a:cubicBezTo>
                    <a:pt x="2445307" y="778240"/>
                    <a:pt x="2445307" y="782564"/>
                    <a:pt x="2445307" y="786887"/>
                  </a:cubicBezTo>
                  <a:cubicBezTo>
                    <a:pt x="2455441" y="786887"/>
                    <a:pt x="2465575" y="786887"/>
                    <a:pt x="2475707" y="786887"/>
                  </a:cubicBezTo>
                  <a:cubicBezTo>
                    <a:pt x="2475707" y="776078"/>
                    <a:pt x="2475707" y="767431"/>
                    <a:pt x="2475707" y="756622"/>
                  </a:cubicBezTo>
                  <a:cubicBezTo>
                    <a:pt x="2479762" y="756622"/>
                    <a:pt x="2483815" y="756622"/>
                    <a:pt x="2487867" y="756622"/>
                  </a:cubicBezTo>
                  <a:lnTo>
                    <a:pt x="2500027" y="754461"/>
                  </a:lnTo>
                  <a:cubicBezTo>
                    <a:pt x="2502055" y="754461"/>
                    <a:pt x="2502055" y="756622"/>
                    <a:pt x="2504082" y="756622"/>
                  </a:cubicBezTo>
                  <a:lnTo>
                    <a:pt x="2514215" y="756622"/>
                  </a:lnTo>
                  <a:cubicBezTo>
                    <a:pt x="2514215" y="767431"/>
                    <a:pt x="2514215" y="778240"/>
                    <a:pt x="2514215" y="786887"/>
                  </a:cubicBezTo>
                  <a:cubicBezTo>
                    <a:pt x="2516242" y="786887"/>
                    <a:pt x="2518269" y="786887"/>
                    <a:pt x="2522321" y="786887"/>
                  </a:cubicBezTo>
                  <a:cubicBezTo>
                    <a:pt x="2522321" y="793373"/>
                    <a:pt x="2522321" y="799858"/>
                    <a:pt x="2522321" y="804182"/>
                  </a:cubicBezTo>
                  <a:lnTo>
                    <a:pt x="2531658" y="805087"/>
                  </a:lnTo>
                  <a:lnTo>
                    <a:pt x="2544615" y="805087"/>
                  </a:lnTo>
                  <a:cubicBezTo>
                    <a:pt x="2544615" y="799278"/>
                    <a:pt x="2544615" y="795106"/>
                    <a:pt x="2544615" y="789049"/>
                  </a:cubicBezTo>
                  <a:lnTo>
                    <a:pt x="2612571" y="789049"/>
                  </a:lnTo>
                  <a:lnTo>
                    <a:pt x="2612571" y="703796"/>
                  </a:lnTo>
                  <a:lnTo>
                    <a:pt x="2684579" y="703796"/>
                  </a:lnTo>
                  <a:lnTo>
                    <a:pt x="2684579" y="782564"/>
                  </a:lnTo>
                  <a:cubicBezTo>
                    <a:pt x="2685215" y="782564"/>
                    <a:pt x="2685849" y="782564"/>
                    <a:pt x="2686483" y="782564"/>
                  </a:cubicBezTo>
                  <a:lnTo>
                    <a:pt x="2687725" y="805087"/>
                  </a:lnTo>
                  <a:lnTo>
                    <a:pt x="2697401" y="805087"/>
                  </a:lnTo>
                  <a:cubicBezTo>
                    <a:pt x="2697937" y="797873"/>
                    <a:pt x="2698643" y="790219"/>
                    <a:pt x="2698643" y="782564"/>
                  </a:cubicBezTo>
                  <a:cubicBezTo>
                    <a:pt x="2700671" y="782564"/>
                    <a:pt x="2702697" y="782564"/>
                    <a:pt x="2704723" y="782564"/>
                  </a:cubicBezTo>
                  <a:lnTo>
                    <a:pt x="2705965" y="805087"/>
                  </a:lnTo>
                  <a:lnTo>
                    <a:pt x="2756588" y="805087"/>
                  </a:lnTo>
                  <a:lnTo>
                    <a:pt x="2756588" y="642059"/>
                  </a:lnTo>
                  <a:lnTo>
                    <a:pt x="2953915" y="642059"/>
                  </a:lnTo>
                  <a:lnTo>
                    <a:pt x="2953915" y="805087"/>
                  </a:lnTo>
                  <a:lnTo>
                    <a:pt x="2972611" y="805087"/>
                  </a:lnTo>
                  <a:lnTo>
                    <a:pt x="2972611" y="722394"/>
                  </a:lnTo>
                  <a:lnTo>
                    <a:pt x="3067731" y="722394"/>
                  </a:lnTo>
                  <a:cubicBezTo>
                    <a:pt x="3071806" y="616373"/>
                    <a:pt x="3075185" y="510899"/>
                    <a:pt x="3079662" y="404253"/>
                  </a:cubicBezTo>
                  <a:cubicBezTo>
                    <a:pt x="3069529" y="404253"/>
                    <a:pt x="3045209" y="391282"/>
                    <a:pt x="3067502" y="382635"/>
                  </a:cubicBezTo>
                  <a:cubicBezTo>
                    <a:pt x="3065474" y="380473"/>
                    <a:pt x="3063449" y="378311"/>
                    <a:pt x="3061422" y="378311"/>
                  </a:cubicBezTo>
                  <a:cubicBezTo>
                    <a:pt x="3061422" y="365341"/>
                    <a:pt x="3059394" y="363179"/>
                    <a:pt x="3069529" y="354532"/>
                  </a:cubicBezTo>
                  <a:cubicBezTo>
                    <a:pt x="3069529" y="350208"/>
                    <a:pt x="3069529" y="343723"/>
                    <a:pt x="3069529" y="337238"/>
                  </a:cubicBezTo>
                  <a:cubicBezTo>
                    <a:pt x="3073582" y="337238"/>
                    <a:pt x="3077635" y="337238"/>
                    <a:pt x="3083715" y="337238"/>
                  </a:cubicBezTo>
                  <a:cubicBezTo>
                    <a:pt x="3083715" y="328590"/>
                    <a:pt x="3083715" y="322105"/>
                    <a:pt x="3083715" y="315620"/>
                  </a:cubicBezTo>
                  <a:cubicBezTo>
                    <a:pt x="3083715" y="313458"/>
                    <a:pt x="3085742" y="313458"/>
                    <a:pt x="3085742" y="311296"/>
                  </a:cubicBezTo>
                  <a:cubicBezTo>
                    <a:pt x="3085742" y="285355"/>
                    <a:pt x="3085742" y="259414"/>
                    <a:pt x="3085742" y="233472"/>
                  </a:cubicBezTo>
                  <a:cubicBezTo>
                    <a:pt x="3085742" y="231310"/>
                    <a:pt x="3083715" y="229149"/>
                    <a:pt x="3083715" y="226987"/>
                  </a:cubicBezTo>
                  <a:cubicBezTo>
                    <a:pt x="3085742" y="224825"/>
                    <a:pt x="3087769" y="222663"/>
                    <a:pt x="3089795" y="220501"/>
                  </a:cubicBezTo>
                  <a:cubicBezTo>
                    <a:pt x="3089795" y="201045"/>
                    <a:pt x="3089795" y="181589"/>
                    <a:pt x="3089795" y="162133"/>
                  </a:cubicBezTo>
                  <a:cubicBezTo>
                    <a:pt x="3089795" y="159972"/>
                    <a:pt x="3089795" y="159972"/>
                    <a:pt x="3091822" y="157810"/>
                  </a:cubicBezTo>
                  <a:cubicBezTo>
                    <a:pt x="3091822" y="140516"/>
                    <a:pt x="3091822" y="121060"/>
                    <a:pt x="3091822" y="101604"/>
                  </a:cubicBezTo>
                  <a:cubicBezTo>
                    <a:pt x="3093849" y="92957"/>
                    <a:pt x="3093849" y="88633"/>
                    <a:pt x="3093849" y="82148"/>
                  </a:cubicBezTo>
                  <a:cubicBezTo>
                    <a:pt x="3097902" y="88633"/>
                    <a:pt x="3097902" y="92957"/>
                    <a:pt x="3097902" y="99442"/>
                  </a:cubicBezTo>
                  <a:cubicBezTo>
                    <a:pt x="3099929" y="121060"/>
                    <a:pt x="3099929" y="140516"/>
                    <a:pt x="3099929" y="157810"/>
                  </a:cubicBezTo>
                  <a:cubicBezTo>
                    <a:pt x="3101955" y="181589"/>
                    <a:pt x="3101955" y="201045"/>
                    <a:pt x="3101955" y="220501"/>
                  </a:cubicBezTo>
                  <a:cubicBezTo>
                    <a:pt x="3103982" y="222663"/>
                    <a:pt x="3106009" y="224825"/>
                    <a:pt x="3108035" y="226987"/>
                  </a:cubicBezTo>
                  <a:cubicBezTo>
                    <a:pt x="3108035" y="229149"/>
                    <a:pt x="3106009" y="231310"/>
                    <a:pt x="3106009" y="233472"/>
                  </a:cubicBezTo>
                  <a:cubicBezTo>
                    <a:pt x="3106009" y="259414"/>
                    <a:pt x="3106009" y="285355"/>
                    <a:pt x="3106009" y="311296"/>
                  </a:cubicBezTo>
                  <a:cubicBezTo>
                    <a:pt x="3106009" y="313458"/>
                    <a:pt x="3108035" y="313458"/>
                    <a:pt x="3108035" y="315620"/>
                  </a:cubicBezTo>
                  <a:cubicBezTo>
                    <a:pt x="3108035" y="322105"/>
                    <a:pt x="3108035" y="328590"/>
                    <a:pt x="3108035" y="337238"/>
                  </a:cubicBezTo>
                  <a:cubicBezTo>
                    <a:pt x="3112089" y="337238"/>
                    <a:pt x="3118169" y="337238"/>
                    <a:pt x="3122222" y="337238"/>
                  </a:cubicBezTo>
                  <a:cubicBezTo>
                    <a:pt x="3122222" y="343723"/>
                    <a:pt x="3122222" y="350208"/>
                    <a:pt x="3122222" y="354532"/>
                  </a:cubicBezTo>
                  <a:cubicBezTo>
                    <a:pt x="3130330" y="363179"/>
                    <a:pt x="3130330" y="363179"/>
                    <a:pt x="3130330" y="378311"/>
                  </a:cubicBezTo>
                  <a:cubicBezTo>
                    <a:pt x="3128302" y="378311"/>
                    <a:pt x="3126275" y="380473"/>
                    <a:pt x="3124250" y="382635"/>
                  </a:cubicBezTo>
                  <a:cubicBezTo>
                    <a:pt x="3144515" y="393444"/>
                    <a:pt x="3120195" y="402091"/>
                    <a:pt x="3112089" y="404253"/>
                  </a:cubicBezTo>
                  <a:cubicBezTo>
                    <a:pt x="3114115" y="488562"/>
                    <a:pt x="3118169" y="572871"/>
                    <a:pt x="3120195" y="657181"/>
                  </a:cubicBezTo>
                  <a:cubicBezTo>
                    <a:pt x="3142490" y="657181"/>
                    <a:pt x="3164782" y="657181"/>
                    <a:pt x="3185050" y="657181"/>
                  </a:cubicBezTo>
                  <a:cubicBezTo>
                    <a:pt x="3185050" y="683122"/>
                    <a:pt x="3185050" y="709063"/>
                    <a:pt x="3185050" y="732843"/>
                  </a:cubicBezTo>
                  <a:cubicBezTo>
                    <a:pt x="3189103" y="732843"/>
                    <a:pt x="3191130" y="732843"/>
                    <a:pt x="3193157" y="732843"/>
                  </a:cubicBezTo>
                  <a:cubicBezTo>
                    <a:pt x="3193157" y="730681"/>
                    <a:pt x="3195183" y="728519"/>
                    <a:pt x="3195183" y="726358"/>
                  </a:cubicBezTo>
                  <a:cubicBezTo>
                    <a:pt x="3197210" y="726358"/>
                    <a:pt x="3199237" y="726358"/>
                    <a:pt x="3201263" y="726358"/>
                  </a:cubicBezTo>
                  <a:cubicBezTo>
                    <a:pt x="3201263" y="728519"/>
                    <a:pt x="3201263" y="730681"/>
                    <a:pt x="3203291" y="735005"/>
                  </a:cubicBezTo>
                  <a:cubicBezTo>
                    <a:pt x="3207343" y="735005"/>
                    <a:pt x="3211397" y="735005"/>
                    <a:pt x="3215451" y="735005"/>
                  </a:cubicBezTo>
                  <a:cubicBezTo>
                    <a:pt x="3215451" y="732843"/>
                    <a:pt x="3215451" y="730681"/>
                    <a:pt x="3215451" y="728519"/>
                  </a:cubicBezTo>
                  <a:cubicBezTo>
                    <a:pt x="3223557" y="728519"/>
                    <a:pt x="3229636" y="728519"/>
                    <a:pt x="3237744" y="728519"/>
                  </a:cubicBezTo>
                  <a:cubicBezTo>
                    <a:pt x="3237744" y="730681"/>
                    <a:pt x="3237744" y="732843"/>
                    <a:pt x="3237744" y="735005"/>
                  </a:cubicBezTo>
                  <a:cubicBezTo>
                    <a:pt x="3243823" y="735005"/>
                    <a:pt x="3251931" y="735005"/>
                    <a:pt x="3258011" y="735005"/>
                  </a:cubicBezTo>
                  <a:cubicBezTo>
                    <a:pt x="3258011" y="750137"/>
                    <a:pt x="3258011" y="765270"/>
                    <a:pt x="3258011" y="780402"/>
                  </a:cubicBezTo>
                  <a:cubicBezTo>
                    <a:pt x="3262065" y="780402"/>
                    <a:pt x="3268145" y="780402"/>
                    <a:pt x="3272198" y="780402"/>
                  </a:cubicBezTo>
                  <a:cubicBezTo>
                    <a:pt x="3272198" y="776078"/>
                    <a:pt x="3272198" y="771755"/>
                    <a:pt x="3272198" y="767431"/>
                  </a:cubicBezTo>
                  <a:cubicBezTo>
                    <a:pt x="3278278" y="767431"/>
                    <a:pt x="3284358" y="767431"/>
                    <a:pt x="3288412" y="767431"/>
                  </a:cubicBezTo>
                  <a:cubicBezTo>
                    <a:pt x="3288412" y="706902"/>
                    <a:pt x="3288412" y="648534"/>
                    <a:pt x="3288412" y="588004"/>
                  </a:cubicBezTo>
                  <a:cubicBezTo>
                    <a:pt x="3290438" y="585842"/>
                    <a:pt x="3292465" y="583680"/>
                    <a:pt x="3294492" y="581518"/>
                  </a:cubicBezTo>
                  <a:cubicBezTo>
                    <a:pt x="3318811" y="581518"/>
                    <a:pt x="3343131" y="581518"/>
                    <a:pt x="3367453" y="581518"/>
                  </a:cubicBezTo>
                  <a:lnTo>
                    <a:pt x="3367453" y="590166"/>
                  </a:lnTo>
                  <a:lnTo>
                    <a:pt x="3377586" y="590166"/>
                  </a:lnTo>
                  <a:cubicBezTo>
                    <a:pt x="3377586" y="629078"/>
                    <a:pt x="3377586" y="667990"/>
                    <a:pt x="3377586" y="704740"/>
                  </a:cubicBezTo>
                  <a:cubicBezTo>
                    <a:pt x="3385693" y="704740"/>
                    <a:pt x="3391773" y="704740"/>
                    <a:pt x="3399879" y="704740"/>
                  </a:cubicBezTo>
                  <a:cubicBezTo>
                    <a:pt x="3399879" y="683122"/>
                    <a:pt x="3399879" y="661504"/>
                    <a:pt x="3399879" y="637725"/>
                  </a:cubicBezTo>
                  <a:cubicBezTo>
                    <a:pt x="3407986" y="637725"/>
                    <a:pt x="3418119" y="637725"/>
                    <a:pt x="3426227" y="637725"/>
                  </a:cubicBezTo>
                  <a:cubicBezTo>
                    <a:pt x="3428253" y="637725"/>
                    <a:pt x="3428253" y="635563"/>
                    <a:pt x="3430279" y="633401"/>
                  </a:cubicBezTo>
                  <a:lnTo>
                    <a:pt x="3438387" y="633401"/>
                  </a:lnTo>
                  <a:cubicBezTo>
                    <a:pt x="3440413" y="635563"/>
                    <a:pt x="3440413" y="637725"/>
                    <a:pt x="3442439" y="637725"/>
                  </a:cubicBezTo>
                  <a:cubicBezTo>
                    <a:pt x="3448519" y="637725"/>
                    <a:pt x="3456627" y="637725"/>
                    <a:pt x="3464734" y="637725"/>
                  </a:cubicBezTo>
                  <a:cubicBezTo>
                    <a:pt x="3464734" y="598813"/>
                    <a:pt x="3464734" y="559901"/>
                    <a:pt x="3464734" y="520989"/>
                  </a:cubicBezTo>
                  <a:cubicBezTo>
                    <a:pt x="3464747" y="520986"/>
                    <a:pt x="3465614" y="520822"/>
                    <a:pt x="3521481" y="510180"/>
                  </a:cubicBezTo>
                  <a:cubicBezTo>
                    <a:pt x="3521481" y="510187"/>
                    <a:pt x="3521481" y="510261"/>
                    <a:pt x="3521481" y="511261"/>
                  </a:cubicBezTo>
                  <a:lnTo>
                    <a:pt x="3521481" y="518827"/>
                  </a:lnTo>
                  <a:cubicBezTo>
                    <a:pt x="3521498" y="518827"/>
                    <a:pt x="3522142" y="518827"/>
                    <a:pt x="3547828" y="518827"/>
                  </a:cubicBezTo>
                  <a:cubicBezTo>
                    <a:pt x="3547828" y="518849"/>
                    <a:pt x="3547828" y="521220"/>
                    <a:pt x="3547828" y="773917"/>
                  </a:cubicBezTo>
                  <a:cubicBezTo>
                    <a:pt x="3553907" y="773917"/>
                    <a:pt x="3562015" y="773917"/>
                    <a:pt x="3570122" y="773917"/>
                  </a:cubicBezTo>
                  <a:cubicBezTo>
                    <a:pt x="3570122" y="771755"/>
                    <a:pt x="3570122" y="771755"/>
                    <a:pt x="3570122" y="769593"/>
                  </a:cubicBezTo>
                  <a:cubicBezTo>
                    <a:pt x="3574174" y="769593"/>
                    <a:pt x="3578227" y="769593"/>
                    <a:pt x="3582282" y="769593"/>
                  </a:cubicBezTo>
                  <a:cubicBezTo>
                    <a:pt x="3582282" y="771755"/>
                    <a:pt x="3582282" y="771755"/>
                    <a:pt x="3582282" y="773917"/>
                  </a:cubicBezTo>
                  <a:cubicBezTo>
                    <a:pt x="3590389" y="773917"/>
                    <a:pt x="3598494" y="773917"/>
                    <a:pt x="3606602" y="773917"/>
                  </a:cubicBezTo>
                  <a:cubicBezTo>
                    <a:pt x="3606602" y="769593"/>
                    <a:pt x="3606602" y="765270"/>
                    <a:pt x="3606602" y="760946"/>
                  </a:cubicBezTo>
                  <a:cubicBezTo>
                    <a:pt x="3616735" y="760946"/>
                    <a:pt x="3626870" y="760946"/>
                    <a:pt x="3634975" y="760946"/>
                  </a:cubicBezTo>
                  <a:cubicBezTo>
                    <a:pt x="3639029" y="756622"/>
                    <a:pt x="3643083" y="756622"/>
                    <a:pt x="3647135" y="756622"/>
                  </a:cubicBezTo>
                  <a:cubicBezTo>
                    <a:pt x="3653215" y="760946"/>
                    <a:pt x="3661323" y="760946"/>
                    <a:pt x="3667403" y="760946"/>
                  </a:cubicBezTo>
                  <a:cubicBezTo>
                    <a:pt x="3667403" y="754461"/>
                    <a:pt x="3667403" y="750137"/>
                    <a:pt x="3667403" y="743652"/>
                  </a:cubicBezTo>
                  <a:lnTo>
                    <a:pt x="3675510" y="743652"/>
                  </a:lnTo>
                  <a:cubicBezTo>
                    <a:pt x="3675510" y="739328"/>
                    <a:pt x="3675510" y="735005"/>
                    <a:pt x="3675510" y="730681"/>
                  </a:cubicBezTo>
                  <a:cubicBezTo>
                    <a:pt x="3693750" y="730681"/>
                    <a:pt x="3714017" y="730681"/>
                    <a:pt x="3732257" y="730681"/>
                  </a:cubicBezTo>
                  <a:cubicBezTo>
                    <a:pt x="3732257" y="719872"/>
                    <a:pt x="3732257" y="711225"/>
                    <a:pt x="3732257" y="700416"/>
                  </a:cubicBezTo>
                  <a:cubicBezTo>
                    <a:pt x="3738337" y="700416"/>
                    <a:pt x="3744417" y="700416"/>
                    <a:pt x="3750497" y="700416"/>
                  </a:cubicBezTo>
                  <a:cubicBezTo>
                    <a:pt x="3750497" y="698254"/>
                    <a:pt x="3750497" y="696093"/>
                    <a:pt x="3750497" y="693931"/>
                  </a:cubicBezTo>
                  <a:cubicBezTo>
                    <a:pt x="3754550" y="693931"/>
                    <a:pt x="3758603" y="693931"/>
                    <a:pt x="3762657" y="693931"/>
                  </a:cubicBezTo>
                  <a:cubicBezTo>
                    <a:pt x="3762657" y="696093"/>
                    <a:pt x="3762657" y="698254"/>
                    <a:pt x="3762657" y="700416"/>
                  </a:cubicBezTo>
                  <a:cubicBezTo>
                    <a:pt x="3768737" y="700416"/>
                    <a:pt x="3772790" y="700416"/>
                    <a:pt x="3778870" y="700416"/>
                  </a:cubicBezTo>
                  <a:cubicBezTo>
                    <a:pt x="3778870" y="715549"/>
                    <a:pt x="3778870" y="732843"/>
                    <a:pt x="3778870" y="750137"/>
                  </a:cubicBezTo>
                  <a:lnTo>
                    <a:pt x="3789470" y="750137"/>
                  </a:lnTo>
                  <a:lnTo>
                    <a:pt x="3789470" y="586174"/>
                  </a:lnTo>
                  <a:lnTo>
                    <a:pt x="3791390" y="586174"/>
                  </a:lnTo>
                  <a:lnTo>
                    <a:pt x="3791390" y="723865"/>
                  </a:lnTo>
                  <a:lnTo>
                    <a:pt x="3791390" y="750137"/>
                  </a:lnTo>
                  <a:lnTo>
                    <a:pt x="3806350" y="750137"/>
                  </a:lnTo>
                  <a:lnTo>
                    <a:pt x="3806350" y="742023"/>
                  </a:lnTo>
                  <a:lnTo>
                    <a:pt x="3811298" y="742023"/>
                  </a:lnTo>
                  <a:lnTo>
                    <a:pt x="3811298" y="724196"/>
                  </a:lnTo>
                  <a:cubicBezTo>
                    <a:pt x="3823458" y="724196"/>
                    <a:pt x="3837645" y="724196"/>
                    <a:pt x="3849805" y="724196"/>
                  </a:cubicBezTo>
                  <a:cubicBezTo>
                    <a:pt x="3849805" y="713387"/>
                    <a:pt x="3849805" y="704740"/>
                    <a:pt x="3849805" y="693931"/>
                  </a:cubicBezTo>
                  <a:lnTo>
                    <a:pt x="3888823" y="693931"/>
                  </a:lnTo>
                  <a:lnTo>
                    <a:pt x="3888823" y="690579"/>
                  </a:lnTo>
                  <a:cubicBezTo>
                    <a:pt x="3888823" y="690579"/>
                    <a:pt x="3888823" y="690579"/>
                    <a:pt x="3887708" y="690579"/>
                  </a:cubicBezTo>
                  <a:lnTo>
                    <a:pt x="3879906" y="690579"/>
                  </a:lnTo>
                  <a:cubicBezTo>
                    <a:pt x="3879906" y="690579"/>
                    <a:pt x="3879906" y="690579"/>
                    <a:pt x="3879906" y="689443"/>
                  </a:cubicBezTo>
                  <a:lnTo>
                    <a:pt x="3879906" y="681500"/>
                  </a:lnTo>
                  <a:cubicBezTo>
                    <a:pt x="3879906" y="681500"/>
                    <a:pt x="3879906" y="681500"/>
                    <a:pt x="3881022" y="681500"/>
                  </a:cubicBezTo>
                  <a:lnTo>
                    <a:pt x="3888823" y="681500"/>
                  </a:lnTo>
                  <a:cubicBezTo>
                    <a:pt x="3888823" y="681500"/>
                    <a:pt x="3888823" y="681500"/>
                    <a:pt x="3888823" y="679986"/>
                  </a:cubicBezTo>
                  <a:lnTo>
                    <a:pt x="3888823" y="669395"/>
                  </a:lnTo>
                  <a:cubicBezTo>
                    <a:pt x="3888823" y="669395"/>
                    <a:pt x="3888823" y="669395"/>
                    <a:pt x="3887708" y="669395"/>
                  </a:cubicBezTo>
                  <a:lnTo>
                    <a:pt x="3879906" y="669395"/>
                  </a:lnTo>
                  <a:cubicBezTo>
                    <a:pt x="3879906" y="669395"/>
                    <a:pt x="3879906" y="669395"/>
                    <a:pt x="3879906" y="667882"/>
                  </a:cubicBezTo>
                  <a:lnTo>
                    <a:pt x="3879906" y="657290"/>
                  </a:lnTo>
                  <a:cubicBezTo>
                    <a:pt x="3879906" y="657290"/>
                    <a:pt x="3879906" y="657290"/>
                    <a:pt x="3881022" y="657290"/>
                  </a:cubicBezTo>
                  <a:lnTo>
                    <a:pt x="3888823" y="657290"/>
                  </a:lnTo>
                  <a:cubicBezTo>
                    <a:pt x="3888823" y="657290"/>
                    <a:pt x="3888823" y="657290"/>
                    <a:pt x="3888823" y="656156"/>
                  </a:cubicBezTo>
                  <a:lnTo>
                    <a:pt x="3888823" y="648212"/>
                  </a:lnTo>
                  <a:cubicBezTo>
                    <a:pt x="3888823" y="648212"/>
                    <a:pt x="3888823" y="648212"/>
                    <a:pt x="3887708" y="648212"/>
                  </a:cubicBezTo>
                  <a:lnTo>
                    <a:pt x="3879906" y="648212"/>
                  </a:lnTo>
                  <a:cubicBezTo>
                    <a:pt x="3879906" y="648212"/>
                    <a:pt x="3879906" y="648212"/>
                    <a:pt x="3879906" y="646698"/>
                  </a:cubicBezTo>
                  <a:lnTo>
                    <a:pt x="3879906" y="636107"/>
                  </a:lnTo>
                  <a:cubicBezTo>
                    <a:pt x="3879906" y="636107"/>
                    <a:pt x="3879906" y="636107"/>
                    <a:pt x="3881022" y="636107"/>
                  </a:cubicBezTo>
                  <a:lnTo>
                    <a:pt x="3888823" y="636107"/>
                  </a:lnTo>
                  <a:cubicBezTo>
                    <a:pt x="3888823" y="636107"/>
                    <a:pt x="3888823" y="636107"/>
                    <a:pt x="3888823" y="634594"/>
                  </a:cubicBezTo>
                  <a:lnTo>
                    <a:pt x="3888823" y="624002"/>
                  </a:lnTo>
                  <a:cubicBezTo>
                    <a:pt x="3888823" y="624002"/>
                    <a:pt x="3888823" y="624002"/>
                    <a:pt x="3887708" y="624002"/>
                  </a:cubicBezTo>
                  <a:lnTo>
                    <a:pt x="3879906" y="624002"/>
                  </a:lnTo>
                  <a:cubicBezTo>
                    <a:pt x="3879906" y="624002"/>
                    <a:pt x="3879906" y="624002"/>
                    <a:pt x="3879906" y="622489"/>
                  </a:cubicBezTo>
                  <a:lnTo>
                    <a:pt x="3879906" y="611898"/>
                  </a:lnTo>
                  <a:cubicBezTo>
                    <a:pt x="3879906" y="611898"/>
                    <a:pt x="3879906" y="611898"/>
                    <a:pt x="3881022" y="611898"/>
                  </a:cubicBezTo>
                  <a:lnTo>
                    <a:pt x="3888823" y="611898"/>
                  </a:lnTo>
                  <a:cubicBezTo>
                    <a:pt x="3888823" y="611898"/>
                    <a:pt x="3888823" y="611898"/>
                    <a:pt x="3888823" y="610763"/>
                  </a:cubicBezTo>
                  <a:lnTo>
                    <a:pt x="3888823" y="602819"/>
                  </a:lnTo>
                  <a:cubicBezTo>
                    <a:pt x="3888823" y="602819"/>
                    <a:pt x="3888823" y="602819"/>
                    <a:pt x="3887708" y="602819"/>
                  </a:cubicBezTo>
                  <a:lnTo>
                    <a:pt x="3879906" y="602819"/>
                  </a:lnTo>
                  <a:cubicBezTo>
                    <a:pt x="3879906" y="602819"/>
                    <a:pt x="3879906" y="602819"/>
                    <a:pt x="3879906" y="601307"/>
                  </a:cubicBezTo>
                  <a:lnTo>
                    <a:pt x="3879906" y="590714"/>
                  </a:lnTo>
                  <a:cubicBezTo>
                    <a:pt x="3879906" y="590714"/>
                    <a:pt x="3879906" y="590714"/>
                    <a:pt x="3881022" y="590714"/>
                  </a:cubicBezTo>
                  <a:lnTo>
                    <a:pt x="3888823" y="590714"/>
                  </a:lnTo>
                  <a:cubicBezTo>
                    <a:pt x="3888823" y="590714"/>
                    <a:pt x="3888823" y="590714"/>
                    <a:pt x="3888823" y="589202"/>
                  </a:cubicBezTo>
                  <a:lnTo>
                    <a:pt x="3888823" y="578610"/>
                  </a:lnTo>
                  <a:cubicBezTo>
                    <a:pt x="3888823" y="578610"/>
                    <a:pt x="3888823" y="578610"/>
                    <a:pt x="3887708" y="578610"/>
                  </a:cubicBezTo>
                  <a:lnTo>
                    <a:pt x="3879906" y="578610"/>
                  </a:lnTo>
                  <a:cubicBezTo>
                    <a:pt x="3879906" y="578610"/>
                    <a:pt x="3879906" y="578610"/>
                    <a:pt x="3879906" y="577096"/>
                  </a:cubicBezTo>
                  <a:lnTo>
                    <a:pt x="3879906" y="566505"/>
                  </a:lnTo>
                  <a:cubicBezTo>
                    <a:pt x="3879906" y="566505"/>
                    <a:pt x="3879906" y="566505"/>
                    <a:pt x="3881022" y="566505"/>
                  </a:cubicBezTo>
                  <a:lnTo>
                    <a:pt x="3888823" y="566505"/>
                  </a:lnTo>
                  <a:cubicBezTo>
                    <a:pt x="3888823" y="566505"/>
                    <a:pt x="3888823" y="566505"/>
                    <a:pt x="3888823" y="565370"/>
                  </a:cubicBezTo>
                  <a:lnTo>
                    <a:pt x="3888823" y="557427"/>
                  </a:lnTo>
                  <a:cubicBezTo>
                    <a:pt x="3888823" y="557427"/>
                    <a:pt x="3888823" y="557427"/>
                    <a:pt x="3887708" y="557427"/>
                  </a:cubicBezTo>
                  <a:lnTo>
                    <a:pt x="3879906" y="557427"/>
                  </a:lnTo>
                  <a:cubicBezTo>
                    <a:pt x="3879906" y="557427"/>
                    <a:pt x="3879906" y="557427"/>
                    <a:pt x="3879906" y="555914"/>
                  </a:cubicBezTo>
                  <a:lnTo>
                    <a:pt x="3879906" y="545322"/>
                  </a:lnTo>
                  <a:cubicBezTo>
                    <a:pt x="3879906" y="545322"/>
                    <a:pt x="3879906" y="545322"/>
                    <a:pt x="3881022" y="545322"/>
                  </a:cubicBezTo>
                  <a:lnTo>
                    <a:pt x="3888823" y="545322"/>
                  </a:lnTo>
                  <a:cubicBezTo>
                    <a:pt x="3888823" y="545322"/>
                    <a:pt x="3888823" y="545322"/>
                    <a:pt x="3887708" y="543053"/>
                  </a:cubicBezTo>
                  <a:lnTo>
                    <a:pt x="3879906" y="527166"/>
                  </a:lnTo>
                  <a:cubicBezTo>
                    <a:pt x="3879906" y="527166"/>
                    <a:pt x="3879906" y="527166"/>
                    <a:pt x="3879906" y="478746"/>
                  </a:cubicBezTo>
                  <a:cubicBezTo>
                    <a:pt x="3879906" y="478746"/>
                    <a:pt x="3879906" y="478746"/>
                    <a:pt x="4029251" y="478746"/>
                  </a:cubicBezTo>
                  <a:cubicBezTo>
                    <a:pt x="4029251" y="478746"/>
                    <a:pt x="4029251" y="478746"/>
                    <a:pt x="4042623" y="505982"/>
                  </a:cubicBezTo>
                  <a:cubicBezTo>
                    <a:pt x="4042623" y="505982"/>
                    <a:pt x="4042623" y="505982"/>
                    <a:pt x="4042623" y="566505"/>
                  </a:cubicBezTo>
                  <a:cubicBezTo>
                    <a:pt x="4042623" y="566505"/>
                    <a:pt x="4042623" y="566505"/>
                    <a:pt x="4041510" y="566505"/>
                  </a:cubicBezTo>
                  <a:lnTo>
                    <a:pt x="4033708" y="566505"/>
                  </a:lnTo>
                  <a:cubicBezTo>
                    <a:pt x="4033708" y="566505"/>
                    <a:pt x="4033708" y="566505"/>
                    <a:pt x="4033708" y="568018"/>
                  </a:cubicBezTo>
                  <a:lnTo>
                    <a:pt x="4033708" y="578610"/>
                  </a:lnTo>
                  <a:cubicBezTo>
                    <a:pt x="4033708" y="578610"/>
                    <a:pt x="4033708" y="578610"/>
                    <a:pt x="4034823" y="578610"/>
                  </a:cubicBezTo>
                  <a:lnTo>
                    <a:pt x="4042623" y="578610"/>
                  </a:lnTo>
                  <a:cubicBezTo>
                    <a:pt x="4042623" y="578610"/>
                    <a:pt x="4042623" y="578610"/>
                    <a:pt x="4042623" y="580123"/>
                  </a:cubicBezTo>
                  <a:lnTo>
                    <a:pt x="4042623" y="590714"/>
                  </a:lnTo>
                  <a:cubicBezTo>
                    <a:pt x="4042623" y="590714"/>
                    <a:pt x="4042623" y="590714"/>
                    <a:pt x="4041510" y="590714"/>
                  </a:cubicBezTo>
                  <a:lnTo>
                    <a:pt x="4033708" y="590714"/>
                  </a:lnTo>
                  <a:cubicBezTo>
                    <a:pt x="4033708" y="590714"/>
                    <a:pt x="4033708" y="590714"/>
                    <a:pt x="4033708" y="592227"/>
                  </a:cubicBezTo>
                  <a:lnTo>
                    <a:pt x="4033708" y="602819"/>
                  </a:lnTo>
                  <a:cubicBezTo>
                    <a:pt x="4033708" y="602819"/>
                    <a:pt x="4033708" y="602819"/>
                    <a:pt x="4034823" y="602819"/>
                  </a:cubicBezTo>
                  <a:lnTo>
                    <a:pt x="4042623" y="602819"/>
                  </a:lnTo>
                  <a:cubicBezTo>
                    <a:pt x="4042623" y="602819"/>
                    <a:pt x="4042623" y="602819"/>
                    <a:pt x="4042623" y="603955"/>
                  </a:cubicBezTo>
                  <a:lnTo>
                    <a:pt x="4042623" y="611898"/>
                  </a:lnTo>
                  <a:cubicBezTo>
                    <a:pt x="4042623" y="611898"/>
                    <a:pt x="4042623" y="611898"/>
                    <a:pt x="4041510" y="611898"/>
                  </a:cubicBezTo>
                  <a:lnTo>
                    <a:pt x="4033708" y="611898"/>
                  </a:lnTo>
                  <a:cubicBezTo>
                    <a:pt x="4033708" y="611898"/>
                    <a:pt x="4033708" y="611898"/>
                    <a:pt x="4033708" y="613411"/>
                  </a:cubicBezTo>
                  <a:lnTo>
                    <a:pt x="4033708" y="624002"/>
                  </a:lnTo>
                  <a:cubicBezTo>
                    <a:pt x="4033708" y="624002"/>
                    <a:pt x="4033708" y="624002"/>
                    <a:pt x="4034823" y="624002"/>
                  </a:cubicBezTo>
                  <a:lnTo>
                    <a:pt x="4042623" y="624002"/>
                  </a:lnTo>
                  <a:cubicBezTo>
                    <a:pt x="4042623" y="624002"/>
                    <a:pt x="4042623" y="624002"/>
                    <a:pt x="4042623" y="625516"/>
                  </a:cubicBezTo>
                  <a:lnTo>
                    <a:pt x="4042623" y="636107"/>
                  </a:lnTo>
                  <a:cubicBezTo>
                    <a:pt x="4042623" y="636107"/>
                    <a:pt x="4042623" y="636107"/>
                    <a:pt x="4041510" y="636107"/>
                  </a:cubicBezTo>
                  <a:lnTo>
                    <a:pt x="4033708" y="636107"/>
                  </a:lnTo>
                  <a:cubicBezTo>
                    <a:pt x="4033708" y="636107"/>
                    <a:pt x="4033708" y="636107"/>
                    <a:pt x="4033708" y="637620"/>
                  </a:cubicBezTo>
                  <a:lnTo>
                    <a:pt x="4033708" y="648212"/>
                  </a:lnTo>
                  <a:cubicBezTo>
                    <a:pt x="4033708" y="648212"/>
                    <a:pt x="4033708" y="648212"/>
                    <a:pt x="4034823" y="648212"/>
                  </a:cubicBezTo>
                  <a:lnTo>
                    <a:pt x="4042623" y="648212"/>
                  </a:lnTo>
                  <a:cubicBezTo>
                    <a:pt x="4042623" y="648212"/>
                    <a:pt x="4042623" y="648212"/>
                    <a:pt x="4042623" y="649346"/>
                  </a:cubicBezTo>
                  <a:lnTo>
                    <a:pt x="4042623" y="657290"/>
                  </a:lnTo>
                  <a:cubicBezTo>
                    <a:pt x="4042623" y="657290"/>
                    <a:pt x="4042623" y="657290"/>
                    <a:pt x="4041510" y="657290"/>
                  </a:cubicBezTo>
                  <a:lnTo>
                    <a:pt x="4033708" y="657290"/>
                  </a:lnTo>
                  <a:cubicBezTo>
                    <a:pt x="4033708" y="657290"/>
                    <a:pt x="4033708" y="657290"/>
                    <a:pt x="4033708" y="658804"/>
                  </a:cubicBezTo>
                  <a:lnTo>
                    <a:pt x="4033708" y="669395"/>
                  </a:lnTo>
                  <a:cubicBezTo>
                    <a:pt x="4033708" y="669395"/>
                    <a:pt x="4033708" y="669395"/>
                    <a:pt x="4034823" y="669395"/>
                  </a:cubicBezTo>
                  <a:lnTo>
                    <a:pt x="4042623" y="669395"/>
                  </a:lnTo>
                  <a:cubicBezTo>
                    <a:pt x="4042623" y="669395"/>
                    <a:pt x="4042623" y="669395"/>
                    <a:pt x="4042623" y="670908"/>
                  </a:cubicBezTo>
                  <a:lnTo>
                    <a:pt x="4042623" y="681500"/>
                  </a:lnTo>
                  <a:cubicBezTo>
                    <a:pt x="4042623" y="681500"/>
                    <a:pt x="4042623" y="681500"/>
                    <a:pt x="4041510" y="681500"/>
                  </a:cubicBezTo>
                  <a:lnTo>
                    <a:pt x="4033708" y="681500"/>
                  </a:lnTo>
                  <a:cubicBezTo>
                    <a:pt x="4033708" y="681500"/>
                    <a:pt x="4033708" y="681500"/>
                    <a:pt x="4033708" y="682634"/>
                  </a:cubicBezTo>
                  <a:lnTo>
                    <a:pt x="4033708" y="690579"/>
                  </a:lnTo>
                  <a:cubicBezTo>
                    <a:pt x="4033708" y="690579"/>
                    <a:pt x="4033708" y="690579"/>
                    <a:pt x="4034823" y="690579"/>
                  </a:cubicBezTo>
                  <a:lnTo>
                    <a:pt x="4042623" y="690579"/>
                  </a:lnTo>
                  <a:cubicBezTo>
                    <a:pt x="4042623" y="690579"/>
                    <a:pt x="4042623" y="690579"/>
                    <a:pt x="4042623" y="692091"/>
                  </a:cubicBezTo>
                  <a:lnTo>
                    <a:pt x="4042623" y="702682"/>
                  </a:lnTo>
                  <a:cubicBezTo>
                    <a:pt x="4042623" y="702682"/>
                    <a:pt x="4042623" y="702682"/>
                    <a:pt x="4041510" y="702682"/>
                  </a:cubicBezTo>
                  <a:lnTo>
                    <a:pt x="4033708" y="702682"/>
                  </a:lnTo>
                  <a:cubicBezTo>
                    <a:pt x="4033708" y="702682"/>
                    <a:pt x="4033708" y="702682"/>
                    <a:pt x="4033708" y="704195"/>
                  </a:cubicBezTo>
                  <a:lnTo>
                    <a:pt x="4033708" y="714788"/>
                  </a:lnTo>
                  <a:cubicBezTo>
                    <a:pt x="4033708" y="714788"/>
                    <a:pt x="4033708" y="714788"/>
                    <a:pt x="4034823" y="714788"/>
                  </a:cubicBezTo>
                  <a:lnTo>
                    <a:pt x="4042623" y="714788"/>
                  </a:lnTo>
                  <a:cubicBezTo>
                    <a:pt x="4042623" y="714788"/>
                    <a:pt x="4042623" y="714788"/>
                    <a:pt x="4042623" y="716300"/>
                  </a:cubicBezTo>
                  <a:lnTo>
                    <a:pt x="4042623" y="726892"/>
                  </a:lnTo>
                  <a:cubicBezTo>
                    <a:pt x="4042623" y="726892"/>
                    <a:pt x="4042623" y="726892"/>
                    <a:pt x="4041510" y="726892"/>
                  </a:cubicBezTo>
                  <a:lnTo>
                    <a:pt x="4033708" y="726892"/>
                  </a:lnTo>
                  <a:cubicBezTo>
                    <a:pt x="4033708" y="726892"/>
                    <a:pt x="4033708" y="726892"/>
                    <a:pt x="4033708" y="728027"/>
                  </a:cubicBezTo>
                  <a:lnTo>
                    <a:pt x="4033708" y="735970"/>
                  </a:lnTo>
                  <a:cubicBezTo>
                    <a:pt x="4033708" y="735970"/>
                    <a:pt x="4033708" y="735970"/>
                    <a:pt x="4034823" y="735970"/>
                  </a:cubicBezTo>
                  <a:lnTo>
                    <a:pt x="4042623" y="735970"/>
                  </a:lnTo>
                  <a:cubicBezTo>
                    <a:pt x="4042623" y="735970"/>
                    <a:pt x="4042623" y="735970"/>
                    <a:pt x="4042623" y="737484"/>
                  </a:cubicBezTo>
                  <a:lnTo>
                    <a:pt x="4042623" y="748075"/>
                  </a:lnTo>
                  <a:cubicBezTo>
                    <a:pt x="4042623" y="748075"/>
                    <a:pt x="4042623" y="748075"/>
                    <a:pt x="4041510" y="748075"/>
                  </a:cubicBezTo>
                  <a:lnTo>
                    <a:pt x="4033708" y="748075"/>
                  </a:lnTo>
                  <a:cubicBezTo>
                    <a:pt x="4033708" y="748075"/>
                    <a:pt x="4033708" y="748075"/>
                    <a:pt x="4033708" y="749588"/>
                  </a:cubicBezTo>
                  <a:lnTo>
                    <a:pt x="4033708" y="760181"/>
                  </a:lnTo>
                  <a:cubicBezTo>
                    <a:pt x="4033708" y="760181"/>
                    <a:pt x="4033708" y="760181"/>
                    <a:pt x="4034823" y="760181"/>
                  </a:cubicBezTo>
                  <a:lnTo>
                    <a:pt x="4042623" y="760181"/>
                  </a:lnTo>
                  <a:cubicBezTo>
                    <a:pt x="4042623" y="760181"/>
                    <a:pt x="4042623" y="760181"/>
                    <a:pt x="4042623" y="761314"/>
                  </a:cubicBezTo>
                  <a:lnTo>
                    <a:pt x="4042623" y="769258"/>
                  </a:lnTo>
                  <a:cubicBezTo>
                    <a:pt x="4042623" y="769258"/>
                    <a:pt x="4042623" y="769258"/>
                    <a:pt x="4041510" y="769258"/>
                  </a:cubicBezTo>
                  <a:lnTo>
                    <a:pt x="4033708" y="769258"/>
                  </a:lnTo>
                  <a:cubicBezTo>
                    <a:pt x="4033708" y="769258"/>
                    <a:pt x="4033708" y="769258"/>
                    <a:pt x="4033708" y="770772"/>
                  </a:cubicBezTo>
                  <a:lnTo>
                    <a:pt x="4033708" y="781363"/>
                  </a:lnTo>
                  <a:cubicBezTo>
                    <a:pt x="4033708" y="781363"/>
                    <a:pt x="4033708" y="781363"/>
                    <a:pt x="4034823" y="781363"/>
                  </a:cubicBezTo>
                  <a:lnTo>
                    <a:pt x="4042623" y="781363"/>
                  </a:lnTo>
                  <a:cubicBezTo>
                    <a:pt x="4042623" y="781363"/>
                    <a:pt x="4042623" y="781363"/>
                    <a:pt x="4042623" y="782876"/>
                  </a:cubicBezTo>
                  <a:lnTo>
                    <a:pt x="4042623" y="793468"/>
                  </a:lnTo>
                  <a:cubicBezTo>
                    <a:pt x="4042623" y="793468"/>
                    <a:pt x="4042623" y="793468"/>
                    <a:pt x="4041510" y="793468"/>
                  </a:cubicBezTo>
                  <a:lnTo>
                    <a:pt x="4033708" y="793468"/>
                  </a:lnTo>
                  <a:cubicBezTo>
                    <a:pt x="4033708" y="793468"/>
                    <a:pt x="4033708" y="793468"/>
                    <a:pt x="4033708" y="794981"/>
                  </a:cubicBezTo>
                  <a:lnTo>
                    <a:pt x="4033708" y="805572"/>
                  </a:lnTo>
                  <a:cubicBezTo>
                    <a:pt x="4033708" y="805572"/>
                    <a:pt x="4033708" y="805572"/>
                    <a:pt x="4034823" y="805572"/>
                  </a:cubicBezTo>
                  <a:lnTo>
                    <a:pt x="4042623" y="805572"/>
                  </a:lnTo>
                  <a:cubicBezTo>
                    <a:pt x="4042623" y="805572"/>
                    <a:pt x="4042623" y="805572"/>
                    <a:pt x="4042623" y="806707"/>
                  </a:cubicBezTo>
                  <a:lnTo>
                    <a:pt x="4042623" y="814651"/>
                  </a:lnTo>
                  <a:cubicBezTo>
                    <a:pt x="4042623" y="814651"/>
                    <a:pt x="4042623" y="814651"/>
                    <a:pt x="4041510" y="814651"/>
                  </a:cubicBezTo>
                  <a:lnTo>
                    <a:pt x="4033708" y="814651"/>
                  </a:lnTo>
                  <a:cubicBezTo>
                    <a:pt x="4033708" y="814651"/>
                    <a:pt x="4033708" y="814651"/>
                    <a:pt x="4033708" y="816163"/>
                  </a:cubicBezTo>
                  <a:lnTo>
                    <a:pt x="4033708" y="826756"/>
                  </a:lnTo>
                  <a:cubicBezTo>
                    <a:pt x="4033708" y="826756"/>
                    <a:pt x="4033708" y="826756"/>
                    <a:pt x="4058227" y="853992"/>
                  </a:cubicBezTo>
                  <a:cubicBezTo>
                    <a:pt x="4058227" y="860044"/>
                    <a:pt x="4058227" y="860044"/>
                    <a:pt x="4057113" y="860044"/>
                  </a:cubicBezTo>
                  <a:lnTo>
                    <a:pt x="4049311" y="860044"/>
                  </a:lnTo>
                  <a:cubicBezTo>
                    <a:pt x="4049311" y="860044"/>
                    <a:pt x="4049311" y="860044"/>
                    <a:pt x="4049311" y="893331"/>
                  </a:cubicBezTo>
                  <a:cubicBezTo>
                    <a:pt x="4049311" y="893331"/>
                    <a:pt x="4049311" y="893331"/>
                    <a:pt x="4050427" y="893331"/>
                  </a:cubicBezTo>
                  <a:lnTo>
                    <a:pt x="4058227" y="893331"/>
                  </a:lnTo>
                  <a:cubicBezTo>
                    <a:pt x="4058227" y="893331"/>
                    <a:pt x="4058227" y="893331"/>
                    <a:pt x="4058227" y="891440"/>
                  </a:cubicBezTo>
                  <a:lnTo>
                    <a:pt x="4058227" y="878201"/>
                  </a:lnTo>
                  <a:cubicBezTo>
                    <a:pt x="4058227" y="878201"/>
                    <a:pt x="4058227" y="878201"/>
                    <a:pt x="4059342" y="877444"/>
                  </a:cubicBezTo>
                  <a:lnTo>
                    <a:pt x="4067142" y="872149"/>
                  </a:lnTo>
                  <a:cubicBezTo>
                    <a:pt x="4067142" y="872149"/>
                    <a:pt x="4067142" y="872149"/>
                    <a:pt x="4069094" y="872149"/>
                  </a:cubicBezTo>
                  <a:lnTo>
                    <a:pt x="4082747" y="872149"/>
                  </a:lnTo>
                  <a:cubicBezTo>
                    <a:pt x="4082747" y="872149"/>
                    <a:pt x="4082747" y="872149"/>
                    <a:pt x="4082747" y="873661"/>
                  </a:cubicBezTo>
                  <a:lnTo>
                    <a:pt x="4082747" y="884253"/>
                  </a:lnTo>
                  <a:cubicBezTo>
                    <a:pt x="4082747" y="884253"/>
                    <a:pt x="4082747" y="884253"/>
                    <a:pt x="4084419" y="884253"/>
                  </a:cubicBezTo>
                  <a:lnTo>
                    <a:pt x="4096121" y="884253"/>
                  </a:lnTo>
                  <a:cubicBezTo>
                    <a:pt x="4096121" y="890305"/>
                    <a:pt x="4096121" y="890305"/>
                    <a:pt x="4097235" y="890305"/>
                  </a:cubicBezTo>
                  <a:lnTo>
                    <a:pt x="4105038" y="890305"/>
                  </a:lnTo>
                  <a:cubicBezTo>
                    <a:pt x="4105038" y="890305"/>
                    <a:pt x="4105038" y="890305"/>
                    <a:pt x="4129555" y="932671"/>
                  </a:cubicBezTo>
                  <a:cubicBezTo>
                    <a:pt x="4129555" y="932671"/>
                    <a:pt x="4129555" y="932671"/>
                    <a:pt x="4129555" y="951821"/>
                  </a:cubicBezTo>
                  <a:lnTo>
                    <a:pt x="4129555" y="970823"/>
                  </a:lnTo>
                  <a:lnTo>
                    <a:pt x="4138472" y="970823"/>
                  </a:lnTo>
                  <a:lnTo>
                    <a:pt x="4138472" y="956881"/>
                  </a:lnTo>
                  <a:cubicBezTo>
                    <a:pt x="4138472" y="956881"/>
                    <a:pt x="4138472" y="956881"/>
                    <a:pt x="4139308" y="956881"/>
                  </a:cubicBezTo>
                  <a:lnTo>
                    <a:pt x="4145159" y="956881"/>
                  </a:lnTo>
                  <a:cubicBezTo>
                    <a:pt x="4145159" y="956881"/>
                    <a:pt x="4145159" y="956881"/>
                    <a:pt x="4145159" y="958394"/>
                  </a:cubicBezTo>
                  <a:lnTo>
                    <a:pt x="4145159" y="968985"/>
                  </a:lnTo>
                  <a:cubicBezTo>
                    <a:pt x="4154075" y="972013"/>
                    <a:pt x="4154075" y="972013"/>
                    <a:pt x="4154075" y="905436"/>
                  </a:cubicBezTo>
                  <a:cubicBezTo>
                    <a:pt x="4154075" y="905436"/>
                    <a:pt x="4154075" y="905436"/>
                    <a:pt x="4191968" y="905436"/>
                  </a:cubicBezTo>
                  <a:cubicBezTo>
                    <a:pt x="4191968" y="905436"/>
                    <a:pt x="4191968" y="905436"/>
                    <a:pt x="4191968" y="808599"/>
                  </a:cubicBezTo>
                  <a:cubicBezTo>
                    <a:pt x="4191968" y="808599"/>
                    <a:pt x="4191968" y="808599"/>
                    <a:pt x="4227631" y="808599"/>
                  </a:cubicBezTo>
                  <a:cubicBezTo>
                    <a:pt x="4227631" y="808599"/>
                    <a:pt x="4227631" y="808599"/>
                    <a:pt x="4227631" y="807464"/>
                  </a:cubicBezTo>
                  <a:lnTo>
                    <a:pt x="4227631" y="799520"/>
                  </a:lnTo>
                  <a:cubicBezTo>
                    <a:pt x="4227631" y="799520"/>
                    <a:pt x="4227631" y="799520"/>
                    <a:pt x="4249922" y="799520"/>
                  </a:cubicBezTo>
                  <a:cubicBezTo>
                    <a:pt x="4249922" y="799520"/>
                    <a:pt x="4249922" y="799520"/>
                    <a:pt x="4249922" y="748075"/>
                  </a:cubicBezTo>
                  <a:cubicBezTo>
                    <a:pt x="4245463" y="748075"/>
                    <a:pt x="4245463" y="748075"/>
                    <a:pt x="4245463" y="745805"/>
                  </a:cubicBezTo>
                  <a:lnTo>
                    <a:pt x="4245463" y="729918"/>
                  </a:lnTo>
                  <a:lnTo>
                    <a:pt x="4249922" y="732945"/>
                  </a:lnTo>
                  <a:cubicBezTo>
                    <a:pt x="4249922" y="732945"/>
                    <a:pt x="4249922" y="732945"/>
                    <a:pt x="4254381" y="702682"/>
                  </a:cubicBezTo>
                  <a:cubicBezTo>
                    <a:pt x="4254381" y="702682"/>
                    <a:pt x="4254381" y="702682"/>
                    <a:pt x="4258839" y="732945"/>
                  </a:cubicBezTo>
                  <a:cubicBezTo>
                    <a:pt x="4261067" y="729918"/>
                    <a:pt x="4261067" y="729918"/>
                    <a:pt x="4261346" y="728783"/>
                  </a:cubicBezTo>
                  <a:lnTo>
                    <a:pt x="4263297" y="720840"/>
                  </a:lnTo>
                  <a:cubicBezTo>
                    <a:pt x="4263297" y="720840"/>
                    <a:pt x="4263297" y="720840"/>
                    <a:pt x="4263853" y="719327"/>
                  </a:cubicBezTo>
                  <a:lnTo>
                    <a:pt x="4267754" y="708734"/>
                  </a:lnTo>
                  <a:cubicBezTo>
                    <a:pt x="4267754" y="708734"/>
                    <a:pt x="4267754" y="708734"/>
                    <a:pt x="4268311" y="707222"/>
                  </a:cubicBezTo>
                  <a:lnTo>
                    <a:pt x="4272213" y="696631"/>
                  </a:lnTo>
                  <a:cubicBezTo>
                    <a:pt x="4272213" y="696631"/>
                    <a:pt x="4272213" y="696631"/>
                    <a:pt x="4273605" y="695495"/>
                  </a:cubicBezTo>
                  <a:lnTo>
                    <a:pt x="4283357" y="687552"/>
                  </a:lnTo>
                  <a:cubicBezTo>
                    <a:pt x="4283357" y="687552"/>
                    <a:pt x="4283357" y="687552"/>
                    <a:pt x="4285030" y="686039"/>
                  </a:cubicBezTo>
                  <a:lnTo>
                    <a:pt x="4296732" y="675447"/>
                  </a:lnTo>
                  <a:cubicBezTo>
                    <a:pt x="4296732" y="675447"/>
                    <a:pt x="4296732" y="675447"/>
                    <a:pt x="4297568" y="673934"/>
                  </a:cubicBezTo>
                  <a:lnTo>
                    <a:pt x="4303418" y="663343"/>
                  </a:lnTo>
                  <a:cubicBezTo>
                    <a:pt x="4303418" y="663343"/>
                    <a:pt x="4303418" y="663343"/>
                    <a:pt x="4303976" y="660695"/>
                  </a:cubicBezTo>
                  <a:lnTo>
                    <a:pt x="4307877" y="642159"/>
                  </a:lnTo>
                  <a:cubicBezTo>
                    <a:pt x="4307877" y="642159"/>
                    <a:pt x="4307877" y="642159"/>
                    <a:pt x="4308435" y="644807"/>
                  </a:cubicBezTo>
                  <a:lnTo>
                    <a:pt x="4312335" y="663343"/>
                  </a:lnTo>
                  <a:cubicBezTo>
                    <a:pt x="4312335" y="663343"/>
                    <a:pt x="4312335" y="663343"/>
                    <a:pt x="4312893" y="664477"/>
                  </a:cubicBezTo>
                  <a:lnTo>
                    <a:pt x="4316793" y="672421"/>
                  </a:lnTo>
                  <a:cubicBezTo>
                    <a:pt x="4316793" y="672421"/>
                    <a:pt x="4316793" y="672421"/>
                    <a:pt x="4318186" y="673934"/>
                  </a:cubicBezTo>
                  <a:lnTo>
                    <a:pt x="4327938" y="684525"/>
                  </a:lnTo>
                  <a:cubicBezTo>
                    <a:pt x="4327938" y="684525"/>
                    <a:pt x="4327938" y="684525"/>
                    <a:pt x="4329054" y="686039"/>
                  </a:cubicBezTo>
                  <a:lnTo>
                    <a:pt x="4336853" y="696631"/>
                  </a:lnTo>
                  <a:cubicBezTo>
                    <a:pt x="4336853" y="696631"/>
                    <a:pt x="4336853" y="696631"/>
                    <a:pt x="4337969" y="698143"/>
                  </a:cubicBezTo>
                  <a:lnTo>
                    <a:pt x="4345771" y="708734"/>
                  </a:lnTo>
                  <a:cubicBezTo>
                    <a:pt x="4345771" y="708734"/>
                    <a:pt x="4345771" y="708734"/>
                    <a:pt x="4346049" y="710248"/>
                  </a:cubicBezTo>
                  <a:lnTo>
                    <a:pt x="4347998" y="720840"/>
                  </a:lnTo>
                  <a:cubicBezTo>
                    <a:pt x="4347998" y="720840"/>
                    <a:pt x="4347998" y="720840"/>
                    <a:pt x="4348277" y="722352"/>
                  </a:cubicBezTo>
                  <a:lnTo>
                    <a:pt x="4350228" y="732945"/>
                  </a:lnTo>
                  <a:cubicBezTo>
                    <a:pt x="4354685" y="732945"/>
                    <a:pt x="4354685" y="732945"/>
                    <a:pt x="4356914" y="702682"/>
                  </a:cubicBezTo>
                  <a:cubicBezTo>
                    <a:pt x="4356914" y="702682"/>
                    <a:pt x="4356914" y="702682"/>
                    <a:pt x="4361373" y="732945"/>
                  </a:cubicBezTo>
                  <a:cubicBezTo>
                    <a:pt x="4365830" y="732945"/>
                    <a:pt x="4365830" y="732945"/>
                    <a:pt x="4365830" y="735214"/>
                  </a:cubicBezTo>
                  <a:lnTo>
                    <a:pt x="4365830" y="751102"/>
                  </a:lnTo>
                  <a:cubicBezTo>
                    <a:pt x="4361373" y="751102"/>
                    <a:pt x="4361373" y="751102"/>
                    <a:pt x="4361373" y="793468"/>
                  </a:cubicBezTo>
                  <a:cubicBezTo>
                    <a:pt x="4361373" y="793468"/>
                    <a:pt x="4361373" y="793468"/>
                    <a:pt x="4362489" y="793468"/>
                  </a:cubicBezTo>
                  <a:lnTo>
                    <a:pt x="4370289" y="793468"/>
                  </a:lnTo>
                  <a:cubicBezTo>
                    <a:pt x="4370289" y="799520"/>
                    <a:pt x="4370289" y="799520"/>
                    <a:pt x="4371126" y="799520"/>
                  </a:cubicBezTo>
                  <a:lnTo>
                    <a:pt x="4376976" y="799520"/>
                  </a:lnTo>
                  <a:cubicBezTo>
                    <a:pt x="4376976" y="799520"/>
                    <a:pt x="4376976" y="799520"/>
                    <a:pt x="4376976" y="798007"/>
                  </a:cubicBezTo>
                  <a:lnTo>
                    <a:pt x="4376976" y="787415"/>
                  </a:lnTo>
                  <a:cubicBezTo>
                    <a:pt x="4376976" y="787415"/>
                    <a:pt x="4376976" y="787415"/>
                    <a:pt x="4379206" y="787415"/>
                  </a:cubicBezTo>
                  <a:lnTo>
                    <a:pt x="4394808" y="787415"/>
                  </a:lnTo>
                  <a:cubicBezTo>
                    <a:pt x="4394808" y="787415"/>
                    <a:pt x="4394808" y="787415"/>
                    <a:pt x="4394808" y="784767"/>
                  </a:cubicBezTo>
                  <a:lnTo>
                    <a:pt x="4394808" y="766232"/>
                  </a:lnTo>
                  <a:cubicBezTo>
                    <a:pt x="4394808" y="766232"/>
                    <a:pt x="4394808" y="766232"/>
                    <a:pt x="4432702" y="766232"/>
                  </a:cubicBezTo>
                  <a:cubicBezTo>
                    <a:pt x="4432702" y="766232"/>
                    <a:pt x="4432702" y="766232"/>
                    <a:pt x="4432702" y="768124"/>
                  </a:cubicBezTo>
                  <a:lnTo>
                    <a:pt x="4432702" y="781363"/>
                  </a:lnTo>
                  <a:cubicBezTo>
                    <a:pt x="4432702" y="781363"/>
                    <a:pt x="4432702" y="781363"/>
                    <a:pt x="4452762" y="781363"/>
                  </a:cubicBezTo>
                  <a:cubicBezTo>
                    <a:pt x="4452762" y="781363"/>
                    <a:pt x="4452762" y="781363"/>
                    <a:pt x="4452762" y="784390"/>
                  </a:cubicBezTo>
                  <a:lnTo>
                    <a:pt x="4452762" y="805572"/>
                  </a:lnTo>
                  <a:cubicBezTo>
                    <a:pt x="4448306" y="805572"/>
                    <a:pt x="4448306" y="805572"/>
                    <a:pt x="4448306" y="806707"/>
                  </a:cubicBezTo>
                  <a:lnTo>
                    <a:pt x="4448306" y="814651"/>
                  </a:lnTo>
                  <a:cubicBezTo>
                    <a:pt x="4452762" y="814651"/>
                    <a:pt x="4452762" y="814651"/>
                    <a:pt x="4452762" y="816921"/>
                  </a:cubicBezTo>
                  <a:lnTo>
                    <a:pt x="4452762" y="832808"/>
                  </a:lnTo>
                  <a:lnTo>
                    <a:pt x="4448306" y="838860"/>
                  </a:lnTo>
                  <a:cubicBezTo>
                    <a:pt x="4448306" y="838860"/>
                    <a:pt x="4448306" y="838860"/>
                    <a:pt x="4448306" y="911488"/>
                  </a:cubicBezTo>
                  <a:cubicBezTo>
                    <a:pt x="4448306" y="911488"/>
                    <a:pt x="4448306" y="911488"/>
                    <a:pt x="4450255" y="911488"/>
                  </a:cubicBezTo>
                  <a:lnTo>
                    <a:pt x="4463908" y="911488"/>
                  </a:lnTo>
                  <a:cubicBezTo>
                    <a:pt x="4463908" y="917540"/>
                    <a:pt x="4463908" y="917540"/>
                    <a:pt x="4465579" y="917540"/>
                  </a:cubicBezTo>
                  <a:lnTo>
                    <a:pt x="4477282" y="917540"/>
                  </a:lnTo>
                  <a:cubicBezTo>
                    <a:pt x="4477282" y="917540"/>
                    <a:pt x="4477282" y="917540"/>
                    <a:pt x="4477282" y="920188"/>
                  </a:cubicBezTo>
                  <a:lnTo>
                    <a:pt x="4477282" y="938724"/>
                  </a:lnTo>
                  <a:cubicBezTo>
                    <a:pt x="4477282" y="938724"/>
                    <a:pt x="4477282" y="938724"/>
                    <a:pt x="4478955" y="938724"/>
                  </a:cubicBezTo>
                  <a:lnTo>
                    <a:pt x="4490656" y="938724"/>
                  </a:lnTo>
                  <a:cubicBezTo>
                    <a:pt x="4490656" y="938724"/>
                    <a:pt x="4490656" y="938724"/>
                    <a:pt x="4490656" y="936076"/>
                  </a:cubicBezTo>
                  <a:lnTo>
                    <a:pt x="4490656" y="917540"/>
                  </a:lnTo>
                  <a:cubicBezTo>
                    <a:pt x="4490656" y="917540"/>
                    <a:pt x="4490656" y="917540"/>
                    <a:pt x="4492605" y="916028"/>
                  </a:cubicBezTo>
                  <a:lnTo>
                    <a:pt x="4506258" y="905436"/>
                  </a:lnTo>
                  <a:cubicBezTo>
                    <a:pt x="4506258" y="905436"/>
                    <a:pt x="4506258" y="905436"/>
                    <a:pt x="4506258" y="878201"/>
                  </a:cubicBezTo>
                  <a:cubicBezTo>
                    <a:pt x="4501802" y="878201"/>
                    <a:pt x="4501802" y="878201"/>
                    <a:pt x="4501802" y="847938"/>
                  </a:cubicBezTo>
                  <a:cubicBezTo>
                    <a:pt x="4501802" y="847938"/>
                    <a:pt x="4501802" y="847938"/>
                    <a:pt x="4502914" y="847938"/>
                  </a:cubicBezTo>
                  <a:lnTo>
                    <a:pt x="4510717" y="847938"/>
                  </a:lnTo>
                  <a:cubicBezTo>
                    <a:pt x="4510717" y="844913"/>
                    <a:pt x="4510717" y="844913"/>
                    <a:pt x="4530778" y="844913"/>
                  </a:cubicBezTo>
                  <a:cubicBezTo>
                    <a:pt x="4530778" y="844913"/>
                    <a:pt x="4530778" y="844913"/>
                    <a:pt x="4530778" y="843399"/>
                  </a:cubicBezTo>
                  <a:lnTo>
                    <a:pt x="4530778" y="832808"/>
                  </a:lnTo>
                  <a:cubicBezTo>
                    <a:pt x="4530778" y="832808"/>
                    <a:pt x="4530778" y="832808"/>
                    <a:pt x="4532451" y="832808"/>
                  </a:cubicBezTo>
                  <a:lnTo>
                    <a:pt x="4544152" y="832808"/>
                  </a:lnTo>
                  <a:cubicBezTo>
                    <a:pt x="4544152" y="832808"/>
                    <a:pt x="4544152" y="832808"/>
                    <a:pt x="4544152" y="681500"/>
                  </a:cubicBezTo>
                  <a:cubicBezTo>
                    <a:pt x="4544152" y="681500"/>
                    <a:pt x="4544152" y="681500"/>
                    <a:pt x="4545267" y="681500"/>
                  </a:cubicBezTo>
                  <a:lnTo>
                    <a:pt x="4553068" y="681500"/>
                  </a:lnTo>
                  <a:cubicBezTo>
                    <a:pt x="4553068" y="681500"/>
                    <a:pt x="4553068" y="681500"/>
                    <a:pt x="4553068" y="678473"/>
                  </a:cubicBezTo>
                  <a:lnTo>
                    <a:pt x="4553068" y="657290"/>
                  </a:lnTo>
                  <a:cubicBezTo>
                    <a:pt x="4555298" y="657290"/>
                    <a:pt x="4555298" y="657290"/>
                    <a:pt x="4555298" y="596766"/>
                  </a:cubicBezTo>
                  <a:cubicBezTo>
                    <a:pt x="4555298" y="596766"/>
                    <a:pt x="4555298" y="596766"/>
                    <a:pt x="4556412" y="596766"/>
                  </a:cubicBezTo>
                  <a:lnTo>
                    <a:pt x="4564213" y="596766"/>
                  </a:lnTo>
                  <a:cubicBezTo>
                    <a:pt x="4564213" y="596766"/>
                    <a:pt x="4564213" y="596766"/>
                    <a:pt x="4564213" y="598280"/>
                  </a:cubicBezTo>
                  <a:lnTo>
                    <a:pt x="4564213" y="608871"/>
                  </a:lnTo>
                  <a:cubicBezTo>
                    <a:pt x="4568671" y="608871"/>
                    <a:pt x="4568671" y="608871"/>
                    <a:pt x="4568671" y="605845"/>
                  </a:cubicBezTo>
                  <a:lnTo>
                    <a:pt x="4568671" y="584662"/>
                  </a:lnTo>
                  <a:cubicBezTo>
                    <a:pt x="4568671" y="584662"/>
                    <a:pt x="4568671" y="584662"/>
                    <a:pt x="4570065" y="583906"/>
                  </a:cubicBezTo>
                  <a:lnTo>
                    <a:pt x="4579816" y="578610"/>
                  </a:lnTo>
                  <a:cubicBezTo>
                    <a:pt x="4579816" y="578610"/>
                    <a:pt x="4579816" y="578610"/>
                    <a:pt x="4580930" y="579367"/>
                  </a:cubicBezTo>
                  <a:lnTo>
                    <a:pt x="4588733" y="584662"/>
                  </a:lnTo>
                  <a:cubicBezTo>
                    <a:pt x="4588733" y="584662"/>
                    <a:pt x="4588733" y="584662"/>
                    <a:pt x="4590404" y="584662"/>
                  </a:cubicBezTo>
                  <a:lnTo>
                    <a:pt x="4602107" y="584662"/>
                  </a:lnTo>
                  <a:cubicBezTo>
                    <a:pt x="4602107" y="584662"/>
                    <a:pt x="4602107" y="584662"/>
                    <a:pt x="4602107" y="545322"/>
                  </a:cubicBezTo>
                  <a:cubicBezTo>
                    <a:pt x="4602107" y="545322"/>
                    <a:pt x="4602107" y="545322"/>
                    <a:pt x="4603221" y="545322"/>
                  </a:cubicBezTo>
                  <a:lnTo>
                    <a:pt x="4611021" y="545322"/>
                  </a:lnTo>
                  <a:cubicBezTo>
                    <a:pt x="4611021" y="551375"/>
                    <a:pt x="4611021" y="551375"/>
                    <a:pt x="4612414" y="551375"/>
                  </a:cubicBezTo>
                  <a:lnTo>
                    <a:pt x="4622169" y="551375"/>
                  </a:lnTo>
                  <a:cubicBezTo>
                    <a:pt x="4622169" y="545322"/>
                    <a:pt x="4622169" y="545322"/>
                    <a:pt x="4623282" y="545322"/>
                  </a:cubicBezTo>
                  <a:lnTo>
                    <a:pt x="4631084" y="545322"/>
                  </a:lnTo>
                  <a:cubicBezTo>
                    <a:pt x="4631084" y="545322"/>
                    <a:pt x="4631084" y="545322"/>
                    <a:pt x="4631084" y="590714"/>
                  </a:cubicBezTo>
                  <a:cubicBezTo>
                    <a:pt x="4631084" y="590714"/>
                    <a:pt x="4631084" y="590714"/>
                    <a:pt x="4632477" y="592227"/>
                  </a:cubicBezTo>
                  <a:lnTo>
                    <a:pt x="4642230" y="602819"/>
                  </a:lnTo>
                  <a:cubicBezTo>
                    <a:pt x="4640000" y="611898"/>
                    <a:pt x="4640000" y="611898"/>
                    <a:pt x="4664518" y="611898"/>
                  </a:cubicBezTo>
                  <a:cubicBezTo>
                    <a:pt x="4664518" y="611898"/>
                    <a:pt x="4664518" y="611898"/>
                    <a:pt x="4664518" y="610007"/>
                  </a:cubicBezTo>
                  <a:lnTo>
                    <a:pt x="4664518" y="596766"/>
                  </a:lnTo>
                  <a:cubicBezTo>
                    <a:pt x="4664518" y="596766"/>
                    <a:pt x="4664518" y="596766"/>
                    <a:pt x="4693496" y="584662"/>
                  </a:cubicBezTo>
                  <a:cubicBezTo>
                    <a:pt x="4693496" y="584662"/>
                    <a:pt x="4693496" y="584662"/>
                    <a:pt x="4693496" y="583150"/>
                  </a:cubicBezTo>
                  <a:lnTo>
                    <a:pt x="4693496" y="572557"/>
                  </a:lnTo>
                  <a:cubicBezTo>
                    <a:pt x="4693496" y="572557"/>
                    <a:pt x="4693496" y="572557"/>
                    <a:pt x="4694332" y="572557"/>
                  </a:cubicBezTo>
                  <a:lnTo>
                    <a:pt x="4700182" y="572557"/>
                  </a:lnTo>
                  <a:cubicBezTo>
                    <a:pt x="4700182" y="572557"/>
                    <a:pt x="4700182" y="572557"/>
                    <a:pt x="4700182" y="571423"/>
                  </a:cubicBezTo>
                  <a:lnTo>
                    <a:pt x="4700182" y="563479"/>
                  </a:lnTo>
                  <a:cubicBezTo>
                    <a:pt x="4700182" y="563479"/>
                    <a:pt x="4700182" y="563479"/>
                    <a:pt x="4702412" y="563479"/>
                  </a:cubicBezTo>
                  <a:lnTo>
                    <a:pt x="4718014" y="563479"/>
                  </a:lnTo>
                  <a:cubicBezTo>
                    <a:pt x="4718014" y="563479"/>
                    <a:pt x="4718014" y="563479"/>
                    <a:pt x="4718014" y="564614"/>
                  </a:cubicBezTo>
                  <a:lnTo>
                    <a:pt x="4718014" y="572557"/>
                  </a:lnTo>
                  <a:cubicBezTo>
                    <a:pt x="4718014" y="572557"/>
                    <a:pt x="4718014" y="572557"/>
                    <a:pt x="4719686" y="572557"/>
                  </a:cubicBezTo>
                  <a:lnTo>
                    <a:pt x="4731390" y="572557"/>
                  </a:lnTo>
                  <a:cubicBezTo>
                    <a:pt x="4731390" y="572557"/>
                    <a:pt x="4731390" y="572557"/>
                    <a:pt x="4731390" y="574828"/>
                  </a:cubicBezTo>
                  <a:lnTo>
                    <a:pt x="4731390" y="590714"/>
                  </a:lnTo>
                  <a:cubicBezTo>
                    <a:pt x="4731390" y="590714"/>
                    <a:pt x="4731390" y="590714"/>
                    <a:pt x="4755908" y="590714"/>
                  </a:cubicBezTo>
                  <a:cubicBezTo>
                    <a:pt x="4755908" y="590714"/>
                    <a:pt x="4755908" y="590714"/>
                    <a:pt x="4755908" y="589202"/>
                  </a:cubicBezTo>
                  <a:lnTo>
                    <a:pt x="4755908" y="578610"/>
                  </a:lnTo>
                  <a:cubicBezTo>
                    <a:pt x="4755908" y="578610"/>
                    <a:pt x="4755908" y="578610"/>
                    <a:pt x="4757302" y="578610"/>
                  </a:cubicBezTo>
                  <a:lnTo>
                    <a:pt x="4767053" y="578610"/>
                  </a:lnTo>
                  <a:cubicBezTo>
                    <a:pt x="4767053" y="578610"/>
                    <a:pt x="4767053" y="578610"/>
                    <a:pt x="4767053" y="577096"/>
                  </a:cubicBezTo>
                  <a:lnTo>
                    <a:pt x="4767053" y="566505"/>
                  </a:lnTo>
                  <a:cubicBezTo>
                    <a:pt x="4767053" y="566505"/>
                    <a:pt x="4767053" y="566505"/>
                    <a:pt x="4768725" y="566505"/>
                  </a:cubicBezTo>
                  <a:lnTo>
                    <a:pt x="4780426" y="566505"/>
                  </a:lnTo>
                  <a:cubicBezTo>
                    <a:pt x="4780426" y="566505"/>
                    <a:pt x="4780426" y="566505"/>
                    <a:pt x="4780426" y="568018"/>
                  </a:cubicBezTo>
                  <a:lnTo>
                    <a:pt x="4780426" y="578610"/>
                  </a:lnTo>
                  <a:cubicBezTo>
                    <a:pt x="4784886" y="578610"/>
                    <a:pt x="4784886" y="578610"/>
                    <a:pt x="4784886" y="505982"/>
                  </a:cubicBezTo>
                  <a:cubicBezTo>
                    <a:pt x="4784886" y="505982"/>
                    <a:pt x="4784886" y="505982"/>
                    <a:pt x="4885191" y="505982"/>
                  </a:cubicBezTo>
                  <a:cubicBezTo>
                    <a:pt x="4885191" y="505982"/>
                    <a:pt x="4885191" y="505982"/>
                    <a:pt x="4885191" y="602819"/>
                  </a:cubicBezTo>
                  <a:cubicBezTo>
                    <a:pt x="4885191" y="602819"/>
                    <a:pt x="4885191" y="602819"/>
                    <a:pt x="4887420" y="602819"/>
                  </a:cubicBezTo>
                  <a:lnTo>
                    <a:pt x="4903022" y="602819"/>
                  </a:lnTo>
                  <a:cubicBezTo>
                    <a:pt x="4903022" y="602819"/>
                    <a:pt x="4903022" y="602819"/>
                    <a:pt x="4903022" y="493877"/>
                  </a:cubicBezTo>
                  <a:cubicBezTo>
                    <a:pt x="4903022" y="493877"/>
                    <a:pt x="4903022" y="493877"/>
                    <a:pt x="4925313" y="478746"/>
                  </a:cubicBezTo>
                  <a:cubicBezTo>
                    <a:pt x="4925313" y="478746"/>
                    <a:pt x="4925313" y="478746"/>
                    <a:pt x="4954291" y="478746"/>
                  </a:cubicBezTo>
                  <a:cubicBezTo>
                    <a:pt x="4954291" y="478746"/>
                    <a:pt x="4954291" y="478746"/>
                    <a:pt x="4956242" y="476477"/>
                  </a:cubicBezTo>
                  <a:lnTo>
                    <a:pt x="4969893" y="460589"/>
                  </a:lnTo>
                  <a:cubicBezTo>
                    <a:pt x="4969893" y="460589"/>
                    <a:pt x="4969893" y="460589"/>
                    <a:pt x="5007787" y="460589"/>
                  </a:cubicBezTo>
                  <a:cubicBezTo>
                    <a:pt x="5007787" y="460589"/>
                    <a:pt x="5007787" y="460589"/>
                    <a:pt x="5007787" y="462859"/>
                  </a:cubicBezTo>
                  <a:lnTo>
                    <a:pt x="5007787" y="478746"/>
                  </a:lnTo>
                  <a:cubicBezTo>
                    <a:pt x="5007787" y="478746"/>
                    <a:pt x="5007787" y="478746"/>
                    <a:pt x="5045681" y="478746"/>
                  </a:cubicBezTo>
                  <a:cubicBezTo>
                    <a:pt x="5045681" y="478746"/>
                    <a:pt x="5045681" y="478746"/>
                    <a:pt x="5045681" y="596766"/>
                  </a:cubicBezTo>
                  <a:cubicBezTo>
                    <a:pt x="5045681" y="596766"/>
                    <a:pt x="5045681" y="596766"/>
                    <a:pt x="5047073" y="596766"/>
                  </a:cubicBezTo>
                  <a:lnTo>
                    <a:pt x="5056825" y="596766"/>
                  </a:lnTo>
                  <a:cubicBezTo>
                    <a:pt x="5056825" y="596766"/>
                    <a:pt x="5056825" y="596766"/>
                    <a:pt x="5056825" y="769258"/>
                  </a:cubicBezTo>
                  <a:cubicBezTo>
                    <a:pt x="5056825" y="769258"/>
                    <a:pt x="5056825" y="769258"/>
                    <a:pt x="5059053" y="769258"/>
                  </a:cubicBezTo>
                  <a:lnTo>
                    <a:pt x="5074657" y="769258"/>
                  </a:lnTo>
                  <a:cubicBezTo>
                    <a:pt x="5074657" y="769258"/>
                    <a:pt x="5074657" y="769258"/>
                    <a:pt x="5074657" y="657290"/>
                  </a:cubicBezTo>
                  <a:cubicBezTo>
                    <a:pt x="5074657" y="657290"/>
                    <a:pt x="5074657" y="657290"/>
                    <a:pt x="5075493" y="656533"/>
                  </a:cubicBezTo>
                  <a:lnTo>
                    <a:pt x="5081344" y="651238"/>
                  </a:lnTo>
                  <a:cubicBezTo>
                    <a:pt x="5085802" y="651238"/>
                    <a:pt x="5085802" y="651238"/>
                    <a:pt x="5085802" y="652750"/>
                  </a:cubicBezTo>
                  <a:lnTo>
                    <a:pt x="5085802" y="663343"/>
                  </a:lnTo>
                  <a:cubicBezTo>
                    <a:pt x="5085802" y="663343"/>
                    <a:pt x="5085802" y="663343"/>
                    <a:pt x="5088030" y="661829"/>
                  </a:cubicBezTo>
                  <a:lnTo>
                    <a:pt x="5103634" y="651238"/>
                  </a:lnTo>
                  <a:cubicBezTo>
                    <a:pt x="5103634" y="651238"/>
                    <a:pt x="5103634" y="651238"/>
                    <a:pt x="5105585" y="651238"/>
                  </a:cubicBezTo>
                  <a:lnTo>
                    <a:pt x="5119237" y="651238"/>
                  </a:lnTo>
                  <a:cubicBezTo>
                    <a:pt x="5119237" y="651238"/>
                    <a:pt x="5119237" y="651238"/>
                    <a:pt x="5119237" y="857017"/>
                  </a:cubicBezTo>
                  <a:cubicBezTo>
                    <a:pt x="5119237" y="857017"/>
                    <a:pt x="5119237" y="857017"/>
                    <a:pt x="5150444" y="863070"/>
                  </a:cubicBezTo>
                  <a:cubicBezTo>
                    <a:pt x="5150444" y="860044"/>
                    <a:pt x="5150444" y="857017"/>
                    <a:pt x="5150444" y="853992"/>
                  </a:cubicBezTo>
                  <a:cubicBezTo>
                    <a:pt x="5161589" y="853992"/>
                    <a:pt x="5172733" y="853992"/>
                    <a:pt x="5183878" y="853992"/>
                  </a:cubicBezTo>
                  <a:cubicBezTo>
                    <a:pt x="5183878" y="838860"/>
                    <a:pt x="5183878" y="826756"/>
                    <a:pt x="5183878" y="814651"/>
                  </a:cubicBezTo>
                  <a:lnTo>
                    <a:pt x="5192794" y="814651"/>
                  </a:lnTo>
                  <a:cubicBezTo>
                    <a:pt x="5192794" y="796494"/>
                    <a:pt x="5192794" y="781363"/>
                    <a:pt x="5192794" y="763206"/>
                  </a:cubicBezTo>
                  <a:cubicBezTo>
                    <a:pt x="5195024" y="763206"/>
                    <a:pt x="5197254" y="763206"/>
                    <a:pt x="5199482" y="763206"/>
                  </a:cubicBezTo>
                  <a:cubicBezTo>
                    <a:pt x="5199482" y="745049"/>
                    <a:pt x="5199482" y="729918"/>
                    <a:pt x="5199482" y="711761"/>
                  </a:cubicBezTo>
                  <a:cubicBezTo>
                    <a:pt x="5203940" y="711761"/>
                    <a:pt x="5208398" y="711761"/>
                    <a:pt x="5215086" y="711761"/>
                  </a:cubicBezTo>
                  <a:cubicBezTo>
                    <a:pt x="5230688" y="705709"/>
                    <a:pt x="5248520" y="693604"/>
                    <a:pt x="5264122" y="684525"/>
                  </a:cubicBezTo>
                  <a:cubicBezTo>
                    <a:pt x="5266352" y="675447"/>
                    <a:pt x="5266352" y="666368"/>
                    <a:pt x="5266352" y="657290"/>
                  </a:cubicBezTo>
                  <a:cubicBezTo>
                    <a:pt x="5268582" y="666368"/>
                    <a:pt x="5268582" y="675447"/>
                    <a:pt x="5270810" y="684525"/>
                  </a:cubicBezTo>
                  <a:cubicBezTo>
                    <a:pt x="5288642" y="696631"/>
                    <a:pt x="5304245" y="708734"/>
                    <a:pt x="5322078" y="720840"/>
                  </a:cubicBezTo>
                  <a:cubicBezTo>
                    <a:pt x="5322078" y="717821"/>
                    <a:pt x="5322078" y="714803"/>
                    <a:pt x="5322078" y="714788"/>
                  </a:cubicBezTo>
                  <a:cubicBezTo>
                    <a:pt x="5326534" y="714788"/>
                    <a:pt x="5330994" y="714788"/>
                    <a:pt x="5335452" y="714788"/>
                  </a:cubicBezTo>
                  <a:cubicBezTo>
                    <a:pt x="5335452" y="729918"/>
                    <a:pt x="5335452" y="748075"/>
                    <a:pt x="5335452" y="763206"/>
                  </a:cubicBezTo>
                  <a:cubicBezTo>
                    <a:pt x="5337681" y="763206"/>
                    <a:pt x="5339909" y="763206"/>
                    <a:pt x="5342138" y="763206"/>
                  </a:cubicBezTo>
                  <a:lnTo>
                    <a:pt x="5342138" y="801467"/>
                  </a:lnTo>
                  <a:lnTo>
                    <a:pt x="5377917" y="790806"/>
                  </a:lnTo>
                  <a:cubicBezTo>
                    <a:pt x="5411603" y="790806"/>
                    <a:pt x="5445289" y="790806"/>
                    <a:pt x="5478973" y="790806"/>
                  </a:cubicBezTo>
                  <a:cubicBezTo>
                    <a:pt x="5478973" y="725949"/>
                    <a:pt x="5478973" y="661090"/>
                    <a:pt x="5478973" y="596233"/>
                  </a:cubicBezTo>
                  <a:cubicBezTo>
                    <a:pt x="5486748" y="590828"/>
                    <a:pt x="5497114" y="588126"/>
                    <a:pt x="5507479" y="582720"/>
                  </a:cubicBezTo>
                  <a:cubicBezTo>
                    <a:pt x="5548938" y="577316"/>
                    <a:pt x="5590398" y="569208"/>
                    <a:pt x="5631857" y="561101"/>
                  </a:cubicBezTo>
                  <a:cubicBezTo>
                    <a:pt x="5647405" y="566506"/>
                    <a:pt x="5660362" y="571911"/>
                    <a:pt x="5675909" y="574613"/>
                  </a:cubicBezTo>
                  <a:cubicBezTo>
                    <a:pt x="5678501" y="577316"/>
                    <a:pt x="5681091" y="580019"/>
                    <a:pt x="5683682" y="582720"/>
                  </a:cubicBezTo>
                  <a:lnTo>
                    <a:pt x="5683682" y="833084"/>
                  </a:lnTo>
                  <a:lnTo>
                    <a:pt x="5701821" y="873985"/>
                  </a:lnTo>
                  <a:lnTo>
                    <a:pt x="5701821" y="798914"/>
                  </a:lnTo>
                  <a:cubicBezTo>
                    <a:pt x="5707004" y="798914"/>
                    <a:pt x="5712186" y="798914"/>
                    <a:pt x="5717369" y="798914"/>
                  </a:cubicBezTo>
                  <a:cubicBezTo>
                    <a:pt x="5717369" y="793509"/>
                    <a:pt x="5717369" y="790806"/>
                    <a:pt x="5717369" y="785402"/>
                  </a:cubicBezTo>
                  <a:cubicBezTo>
                    <a:pt x="5722551" y="782699"/>
                    <a:pt x="5727734" y="779997"/>
                    <a:pt x="5732917" y="777295"/>
                  </a:cubicBezTo>
                  <a:lnTo>
                    <a:pt x="5745871" y="777295"/>
                  </a:lnTo>
                  <a:cubicBezTo>
                    <a:pt x="5745871" y="771890"/>
                    <a:pt x="5745871" y="769187"/>
                    <a:pt x="5745871" y="763783"/>
                  </a:cubicBezTo>
                  <a:cubicBezTo>
                    <a:pt x="5748464" y="761080"/>
                    <a:pt x="5753646" y="758377"/>
                    <a:pt x="5756236" y="755675"/>
                  </a:cubicBezTo>
                  <a:cubicBezTo>
                    <a:pt x="5764011" y="755675"/>
                    <a:pt x="5774376" y="755675"/>
                    <a:pt x="5782151" y="755675"/>
                  </a:cubicBezTo>
                  <a:cubicBezTo>
                    <a:pt x="5782151" y="769187"/>
                    <a:pt x="5782151" y="785402"/>
                    <a:pt x="5782151" y="798914"/>
                  </a:cubicBezTo>
                  <a:cubicBezTo>
                    <a:pt x="5800289" y="798914"/>
                    <a:pt x="5818428" y="798914"/>
                    <a:pt x="5836566" y="798914"/>
                  </a:cubicBezTo>
                  <a:cubicBezTo>
                    <a:pt x="5836566" y="850260"/>
                    <a:pt x="5836566" y="898903"/>
                    <a:pt x="5836566" y="950250"/>
                  </a:cubicBezTo>
                  <a:cubicBezTo>
                    <a:pt x="5844340" y="950250"/>
                    <a:pt x="5852114" y="950250"/>
                    <a:pt x="5857295" y="950250"/>
                  </a:cubicBezTo>
                  <a:cubicBezTo>
                    <a:pt x="5865070" y="947547"/>
                    <a:pt x="5870253" y="944844"/>
                    <a:pt x="5878025" y="942143"/>
                  </a:cubicBezTo>
                  <a:cubicBezTo>
                    <a:pt x="5878025" y="936737"/>
                    <a:pt x="5878025" y="934035"/>
                    <a:pt x="5878025" y="931332"/>
                  </a:cubicBezTo>
                  <a:cubicBezTo>
                    <a:pt x="5875435" y="931332"/>
                    <a:pt x="5872843" y="928630"/>
                    <a:pt x="5870253" y="928630"/>
                  </a:cubicBezTo>
                  <a:cubicBezTo>
                    <a:pt x="5870253" y="925928"/>
                    <a:pt x="5870253" y="923225"/>
                    <a:pt x="5870253" y="920522"/>
                  </a:cubicBezTo>
                  <a:cubicBezTo>
                    <a:pt x="5872843" y="917821"/>
                    <a:pt x="5875435" y="917821"/>
                    <a:pt x="5878025" y="915118"/>
                  </a:cubicBezTo>
                  <a:cubicBezTo>
                    <a:pt x="5878025" y="896202"/>
                    <a:pt x="5878025" y="874581"/>
                    <a:pt x="5878025" y="855665"/>
                  </a:cubicBezTo>
                  <a:cubicBezTo>
                    <a:pt x="5875435" y="855665"/>
                    <a:pt x="5872843" y="852962"/>
                    <a:pt x="5870253" y="852962"/>
                  </a:cubicBezTo>
                  <a:cubicBezTo>
                    <a:pt x="5870253" y="850260"/>
                    <a:pt x="5870253" y="847558"/>
                    <a:pt x="5870253" y="844855"/>
                  </a:cubicBezTo>
                  <a:cubicBezTo>
                    <a:pt x="5872843" y="842153"/>
                    <a:pt x="5875435" y="842153"/>
                    <a:pt x="5878025" y="839450"/>
                  </a:cubicBezTo>
                  <a:lnTo>
                    <a:pt x="5883208" y="834046"/>
                  </a:lnTo>
                  <a:lnTo>
                    <a:pt x="5883208" y="823236"/>
                  </a:lnTo>
                  <a:cubicBezTo>
                    <a:pt x="5880618" y="823236"/>
                    <a:pt x="5880618" y="823236"/>
                    <a:pt x="5878025" y="823236"/>
                  </a:cubicBezTo>
                  <a:cubicBezTo>
                    <a:pt x="5878025" y="820533"/>
                    <a:pt x="5878025" y="817831"/>
                    <a:pt x="5878025" y="815128"/>
                  </a:cubicBezTo>
                  <a:cubicBezTo>
                    <a:pt x="5880618" y="815128"/>
                    <a:pt x="5883208" y="812426"/>
                    <a:pt x="5885800" y="809724"/>
                  </a:cubicBezTo>
                  <a:cubicBezTo>
                    <a:pt x="5888390" y="777295"/>
                    <a:pt x="5896165" y="750271"/>
                    <a:pt x="5927259" y="734056"/>
                  </a:cubicBezTo>
                  <a:cubicBezTo>
                    <a:pt x="5924668" y="734056"/>
                    <a:pt x="5924668" y="731353"/>
                    <a:pt x="5922077" y="731353"/>
                  </a:cubicBezTo>
                  <a:cubicBezTo>
                    <a:pt x="5922077" y="728651"/>
                    <a:pt x="5922077" y="725949"/>
                    <a:pt x="5922077" y="723246"/>
                  </a:cubicBezTo>
                  <a:cubicBezTo>
                    <a:pt x="5924668" y="723246"/>
                    <a:pt x="5927259" y="720543"/>
                    <a:pt x="5929850" y="720543"/>
                  </a:cubicBezTo>
                  <a:cubicBezTo>
                    <a:pt x="5929850" y="715139"/>
                    <a:pt x="5929850" y="712436"/>
                    <a:pt x="5929850" y="709734"/>
                  </a:cubicBezTo>
                  <a:cubicBezTo>
                    <a:pt x="5932442" y="709734"/>
                    <a:pt x="5932442" y="709734"/>
                    <a:pt x="5935033" y="709734"/>
                  </a:cubicBezTo>
                  <a:cubicBezTo>
                    <a:pt x="5935033" y="701627"/>
                    <a:pt x="5935033" y="693520"/>
                    <a:pt x="5935033" y="685412"/>
                  </a:cubicBezTo>
                  <a:cubicBezTo>
                    <a:pt x="5932442" y="685412"/>
                    <a:pt x="5932442" y="685412"/>
                    <a:pt x="5929850" y="685412"/>
                  </a:cubicBezTo>
                  <a:cubicBezTo>
                    <a:pt x="5929850" y="682710"/>
                    <a:pt x="5929850" y="682710"/>
                    <a:pt x="5929850" y="680008"/>
                  </a:cubicBezTo>
                  <a:lnTo>
                    <a:pt x="5935033" y="677305"/>
                  </a:lnTo>
                  <a:cubicBezTo>
                    <a:pt x="5940215" y="671901"/>
                    <a:pt x="5942806" y="666495"/>
                    <a:pt x="5947989" y="658388"/>
                  </a:cubicBezTo>
                  <a:cubicBezTo>
                    <a:pt x="5950579" y="652983"/>
                    <a:pt x="5950579" y="650281"/>
                    <a:pt x="5950579" y="647579"/>
                  </a:cubicBezTo>
                  <a:cubicBezTo>
                    <a:pt x="5945398" y="639471"/>
                    <a:pt x="5945398" y="625960"/>
                    <a:pt x="5950579" y="617852"/>
                  </a:cubicBezTo>
                  <a:cubicBezTo>
                    <a:pt x="5950581" y="617849"/>
                    <a:pt x="5950598" y="617795"/>
                    <a:pt x="5950904" y="616838"/>
                  </a:cubicBezTo>
                  <a:lnTo>
                    <a:pt x="5953171" y="609745"/>
                  </a:lnTo>
                  <a:cubicBezTo>
                    <a:pt x="5953173" y="609748"/>
                    <a:pt x="5953190" y="609802"/>
                    <a:pt x="5953495" y="610759"/>
                  </a:cubicBezTo>
                  <a:lnTo>
                    <a:pt x="5955763" y="617852"/>
                  </a:lnTo>
                  <a:cubicBezTo>
                    <a:pt x="5960944" y="625960"/>
                    <a:pt x="5963537" y="639471"/>
                    <a:pt x="5958354" y="647579"/>
                  </a:cubicBezTo>
                  <a:cubicBezTo>
                    <a:pt x="5958354" y="650281"/>
                    <a:pt x="5958354" y="652983"/>
                    <a:pt x="5958354" y="655686"/>
                  </a:cubicBezTo>
                  <a:cubicBezTo>
                    <a:pt x="5963537" y="663793"/>
                    <a:pt x="5968719" y="671901"/>
                    <a:pt x="5971311" y="677305"/>
                  </a:cubicBezTo>
                  <a:cubicBezTo>
                    <a:pt x="5973903" y="677305"/>
                    <a:pt x="5973903" y="680008"/>
                    <a:pt x="5976494" y="680008"/>
                  </a:cubicBezTo>
                  <a:cubicBezTo>
                    <a:pt x="5976494" y="682710"/>
                    <a:pt x="5976494" y="682710"/>
                    <a:pt x="5976494" y="685412"/>
                  </a:cubicBezTo>
                  <a:cubicBezTo>
                    <a:pt x="5973903" y="693520"/>
                    <a:pt x="5973903" y="701627"/>
                    <a:pt x="5973903" y="709734"/>
                  </a:cubicBezTo>
                  <a:cubicBezTo>
                    <a:pt x="5979084" y="712436"/>
                    <a:pt x="5979084" y="715139"/>
                    <a:pt x="5979084" y="720543"/>
                  </a:cubicBezTo>
                  <a:lnTo>
                    <a:pt x="5984268" y="723246"/>
                  </a:lnTo>
                  <a:cubicBezTo>
                    <a:pt x="5984268" y="725949"/>
                    <a:pt x="5984268" y="728651"/>
                    <a:pt x="5984268" y="731353"/>
                  </a:cubicBezTo>
                  <a:cubicBezTo>
                    <a:pt x="5981676" y="734056"/>
                    <a:pt x="5981676" y="734056"/>
                    <a:pt x="5979084" y="734056"/>
                  </a:cubicBezTo>
                  <a:lnTo>
                    <a:pt x="5999269" y="755105"/>
                  </a:lnTo>
                  <a:lnTo>
                    <a:pt x="5999269" y="627662"/>
                  </a:lnTo>
                  <a:lnTo>
                    <a:pt x="5999299" y="627662"/>
                  </a:lnTo>
                  <a:cubicBezTo>
                    <a:pt x="6004989" y="627662"/>
                    <a:pt x="6016130" y="627662"/>
                    <a:pt x="6037948" y="627662"/>
                  </a:cubicBezTo>
                  <a:cubicBezTo>
                    <a:pt x="6037948" y="627654"/>
                    <a:pt x="6037948" y="627557"/>
                    <a:pt x="6037948" y="626311"/>
                  </a:cubicBezTo>
                  <a:lnTo>
                    <a:pt x="6037948" y="616853"/>
                  </a:lnTo>
                  <a:cubicBezTo>
                    <a:pt x="6037954" y="616853"/>
                    <a:pt x="6038029" y="616853"/>
                    <a:pt x="6038962" y="616853"/>
                  </a:cubicBezTo>
                  <a:lnTo>
                    <a:pt x="6046055" y="616853"/>
                  </a:lnTo>
                  <a:cubicBezTo>
                    <a:pt x="6046055" y="616846"/>
                    <a:pt x="6046055" y="616733"/>
                    <a:pt x="6046055" y="614962"/>
                  </a:cubicBezTo>
                  <a:lnTo>
                    <a:pt x="6046055" y="601721"/>
                  </a:lnTo>
                  <a:cubicBezTo>
                    <a:pt x="6046064" y="601721"/>
                    <a:pt x="6046136" y="601721"/>
                    <a:pt x="6046815" y="601721"/>
                  </a:cubicBezTo>
                  <a:lnTo>
                    <a:pt x="6052135" y="601721"/>
                  </a:lnTo>
                  <a:cubicBezTo>
                    <a:pt x="6052135" y="601714"/>
                    <a:pt x="6052135" y="601629"/>
                    <a:pt x="6052135" y="600640"/>
                  </a:cubicBezTo>
                  <a:lnTo>
                    <a:pt x="6052135" y="593073"/>
                  </a:lnTo>
                  <a:cubicBezTo>
                    <a:pt x="6052143" y="593073"/>
                    <a:pt x="6052267" y="593073"/>
                    <a:pt x="6054163" y="593073"/>
                  </a:cubicBezTo>
                  <a:lnTo>
                    <a:pt x="6068350" y="593073"/>
                  </a:lnTo>
                  <a:cubicBezTo>
                    <a:pt x="6068350" y="593080"/>
                    <a:pt x="6068350" y="593157"/>
                    <a:pt x="6068350" y="594154"/>
                  </a:cubicBezTo>
                  <a:lnTo>
                    <a:pt x="6068350" y="601721"/>
                  </a:lnTo>
                  <a:cubicBezTo>
                    <a:pt x="6068360" y="601721"/>
                    <a:pt x="6068861" y="601721"/>
                    <a:pt x="6090642" y="601721"/>
                  </a:cubicBezTo>
                  <a:cubicBezTo>
                    <a:pt x="6090642" y="601713"/>
                    <a:pt x="6090642" y="601599"/>
                    <a:pt x="6090642" y="599829"/>
                  </a:cubicBezTo>
                  <a:lnTo>
                    <a:pt x="6090642" y="586588"/>
                  </a:lnTo>
                  <a:cubicBezTo>
                    <a:pt x="6090648" y="586588"/>
                    <a:pt x="6090745" y="586588"/>
                    <a:pt x="6092416" y="586588"/>
                  </a:cubicBezTo>
                  <a:lnTo>
                    <a:pt x="6104829" y="586588"/>
                  </a:lnTo>
                  <a:cubicBezTo>
                    <a:pt x="6104829" y="586600"/>
                    <a:pt x="6104829" y="587114"/>
                    <a:pt x="6104829" y="610368"/>
                  </a:cubicBezTo>
                  <a:cubicBezTo>
                    <a:pt x="6104836" y="610368"/>
                    <a:pt x="6104916" y="610368"/>
                    <a:pt x="6105843" y="610368"/>
                  </a:cubicBezTo>
                  <a:lnTo>
                    <a:pt x="6112936" y="610368"/>
                  </a:lnTo>
                  <a:cubicBezTo>
                    <a:pt x="6112936" y="610362"/>
                    <a:pt x="6112936" y="610281"/>
                    <a:pt x="6112936" y="609287"/>
                  </a:cubicBezTo>
                  <a:lnTo>
                    <a:pt x="6112936" y="601721"/>
                  </a:lnTo>
                  <a:cubicBezTo>
                    <a:pt x="6112945" y="601721"/>
                    <a:pt x="6113063" y="601721"/>
                    <a:pt x="6114709" y="601721"/>
                  </a:cubicBezTo>
                  <a:lnTo>
                    <a:pt x="6127123" y="601721"/>
                  </a:lnTo>
                  <a:cubicBezTo>
                    <a:pt x="6127123" y="601734"/>
                    <a:pt x="6127123" y="602293"/>
                    <a:pt x="6127123" y="627662"/>
                  </a:cubicBezTo>
                  <a:cubicBezTo>
                    <a:pt x="6127131" y="627662"/>
                    <a:pt x="6127249" y="627662"/>
                    <a:pt x="6129150" y="627662"/>
                  </a:cubicBezTo>
                  <a:lnTo>
                    <a:pt x="6143336" y="627662"/>
                  </a:lnTo>
                  <a:cubicBezTo>
                    <a:pt x="6143336" y="627673"/>
                    <a:pt x="6143336" y="627788"/>
                    <a:pt x="6143336" y="629283"/>
                  </a:cubicBezTo>
                  <a:lnTo>
                    <a:pt x="6143336" y="640633"/>
                  </a:lnTo>
                  <a:cubicBezTo>
                    <a:pt x="6143344" y="640633"/>
                    <a:pt x="6143415" y="640633"/>
                    <a:pt x="6144096" y="640633"/>
                  </a:cubicBezTo>
                  <a:lnTo>
                    <a:pt x="6149417" y="640633"/>
                  </a:lnTo>
                  <a:cubicBezTo>
                    <a:pt x="6149417" y="640625"/>
                    <a:pt x="6149417" y="640549"/>
                    <a:pt x="6149417" y="639822"/>
                  </a:cubicBezTo>
                  <a:lnTo>
                    <a:pt x="6149417" y="634147"/>
                  </a:lnTo>
                  <a:cubicBezTo>
                    <a:pt x="6149434" y="634147"/>
                    <a:pt x="6150153" y="634147"/>
                    <a:pt x="6179817" y="634147"/>
                  </a:cubicBezTo>
                  <a:cubicBezTo>
                    <a:pt x="6179817" y="634161"/>
                    <a:pt x="6179817" y="634724"/>
                    <a:pt x="6179817" y="657927"/>
                  </a:cubicBezTo>
                  <a:cubicBezTo>
                    <a:pt x="6179824" y="657927"/>
                    <a:pt x="6179903" y="657927"/>
                    <a:pt x="6180830" y="657927"/>
                  </a:cubicBezTo>
                  <a:lnTo>
                    <a:pt x="6187924" y="657927"/>
                  </a:lnTo>
                  <a:cubicBezTo>
                    <a:pt x="6187924" y="657934"/>
                    <a:pt x="6187924" y="658007"/>
                    <a:pt x="6187924" y="659008"/>
                  </a:cubicBezTo>
                  <a:lnTo>
                    <a:pt x="6187924" y="666574"/>
                  </a:lnTo>
                  <a:cubicBezTo>
                    <a:pt x="6187933" y="666574"/>
                    <a:pt x="6188006" y="666574"/>
                    <a:pt x="6188684" y="666574"/>
                  </a:cubicBezTo>
                  <a:lnTo>
                    <a:pt x="6194004" y="666574"/>
                  </a:lnTo>
                  <a:cubicBezTo>
                    <a:pt x="6194004" y="666567"/>
                    <a:pt x="6194004" y="666447"/>
                    <a:pt x="6194004" y="664412"/>
                  </a:cubicBezTo>
                  <a:lnTo>
                    <a:pt x="6194004" y="649280"/>
                  </a:lnTo>
                  <a:cubicBezTo>
                    <a:pt x="6194011" y="649280"/>
                    <a:pt x="6194089" y="649280"/>
                    <a:pt x="6195017" y="649280"/>
                  </a:cubicBezTo>
                  <a:lnTo>
                    <a:pt x="6202111" y="649280"/>
                  </a:lnTo>
                  <a:cubicBezTo>
                    <a:pt x="6202111" y="649288"/>
                    <a:pt x="6202111" y="649371"/>
                    <a:pt x="6202111" y="650361"/>
                  </a:cubicBezTo>
                  <a:lnTo>
                    <a:pt x="6202111" y="657927"/>
                  </a:lnTo>
                  <a:lnTo>
                    <a:pt x="6207431" y="655934"/>
                  </a:lnTo>
                  <a:cubicBezTo>
                    <a:pt x="6208191" y="655562"/>
                    <a:pt x="6208191" y="655360"/>
                    <a:pt x="6208191" y="654954"/>
                  </a:cubicBezTo>
                  <a:lnTo>
                    <a:pt x="6208191" y="649280"/>
                  </a:lnTo>
                  <a:cubicBezTo>
                    <a:pt x="6208208" y="649280"/>
                    <a:pt x="6209009" y="649280"/>
                    <a:pt x="6246698" y="649280"/>
                  </a:cubicBezTo>
                  <a:cubicBezTo>
                    <a:pt x="6246698" y="649294"/>
                    <a:pt x="6246698" y="649841"/>
                    <a:pt x="6246698" y="673059"/>
                  </a:cubicBezTo>
                  <a:cubicBezTo>
                    <a:pt x="6246706" y="673059"/>
                    <a:pt x="6246824" y="673059"/>
                    <a:pt x="6248724" y="673059"/>
                  </a:cubicBezTo>
                  <a:lnTo>
                    <a:pt x="6262911" y="673059"/>
                  </a:lnTo>
                  <a:cubicBezTo>
                    <a:pt x="6262911" y="673067"/>
                    <a:pt x="6262911" y="673149"/>
                    <a:pt x="6262911" y="674140"/>
                  </a:cubicBezTo>
                  <a:lnTo>
                    <a:pt x="6262911" y="681706"/>
                  </a:lnTo>
                  <a:cubicBezTo>
                    <a:pt x="6262920" y="681706"/>
                    <a:pt x="6263043" y="681706"/>
                    <a:pt x="6264685" y="681706"/>
                  </a:cubicBezTo>
                  <a:lnTo>
                    <a:pt x="6277098" y="681706"/>
                  </a:lnTo>
                  <a:cubicBezTo>
                    <a:pt x="6277098" y="681694"/>
                    <a:pt x="6277098" y="681183"/>
                    <a:pt x="6277098" y="657927"/>
                  </a:cubicBezTo>
                  <a:cubicBezTo>
                    <a:pt x="6277105" y="657927"/>
                    <a:pt x="6277183" y="657927"/>
                    <a:pt x="6278111" y="657927"/>
                  </a:cubicBezTo>
                  <a:lnTo>
                    <a:pt x="6285205" y="657927"/>
                  </a:lnTo>
                  <a:cubicBezTo>
                    <a:pt x="6285205" y="657908"/>
                    <a:pt x="6285205" y="657137"/>
                    <a:pt x="6285205" y="625500"/>
                  </a:cubicBezTo>
                  <a:cubicBezTo>
                    <a:pt x="6285212" y="625500"/>
                    <a:pt x="6285289" y="625500"/>
                    <a:pt x="6286218" y="625500"/>
                  </a:cubicBezTo>
                  <a:lnTo>
                    <a:pt x="6293312" y="625500"/>
                  </a:lnTo>
                  <a:cubicBezTo>
                    <a:pt x="6293312" y="625494"/>
                    <a:pt x="6293312" y="625385"/>
                    <a:pt x="6293312" y="623609"/>
                  </a:cubicBezTo>
                  <a:lnTo>
                    <a:pt x="6293312" y="610368"/>
                  </a:lnTo>
                  <a:cubicBezTo>
                    <a:pt x="6291285" y="610368"/>
                    <a:pt x="6291285" y="610368"/>
                    <a:pt x="6292045" y="608746"/>
                  </a:cubicBezTo>
                  <a:lnTo>
                    <a:pt x="6297365" y="597397"/>
                  </a:lnTo>
                  <a:cubicBezTo>
                    <a:pt x="6297370" y="597414"/>
                    <a:pt x="6297565" y="598088"/>
                    <a:pt x="6305472" y="625500"/>
                  </a:cubicBezTo>
                  <a:cubicBezTo>
                    <a:pt x="6305480" y="625500"/>
                    <a:pt x="6305553" y="625500"/>
                    <a:pt x="6306232" y="625500"/>
                  </a:cubicBezTo>
                  <a:lnTo>
                    <a:pt x="6311552" y="625500"/>
                  </a:lnTo>
                  <a:cubicBezTo>
                    <a:pt x="6311552" y="625487"/>
                    <a:pt x="6311552" y="624308"/>
                    <a:pt x="6311552" y="519573"/>
                  </a:cubicBezTo>
                  <a:cubicBezTo>
                    <a:pt x="6311562" y="519573"/>
                    <a:pt x="6311676" y="519573"/>
                    <a:pt x="6313072" y="519573"/>
                  </a:cubicBezTo>
                  <a:lnTo>
                    <a:pt x="6323712" y="519573"/>
                  </a:lnTo>
                  <a:cubicBezTo>
                    <a:pt x="6323712" y="519551"/>
                    <a:pt x="6323712" y="518541"/>
                    <a:pt x="6323712" y="472014"/>
                  </a:cubicBezTo>
                  <a:cubicBezTo>
                    <a:pt x="6323729" y="472014"/>
                    <a:pt x="6324354" y="472014"/>
                    <a:pt x="6350059" y="472014"/>
                  </a:cubicBezTo>
                  <a:cubicBezTo>
                    <a:pt x="6350059" y="472002"/>
                    <a:pt x="6350059" y="471492"/>
                    <a:pt x="6350059" y="450396"/>
                  </a:cubicBezTo>
                  <a:cubicBezTo>
                    <a:pt x="6350078" y="450396"/>
                    <a:pt x="6350867" y="450396"/>
                    <a:pt x="6384513" y="450396"/>
                  </a:cubicBezTo>
                  <a:cubicBezTo>
                    <a:pt x="6384513" y="450404"/>
                    <a:pt x="6384513" y="450534"/>
                    <a:pt x="6384513" y="452828"/>
                  </a:cubicBezTo>
                  <a:lnTo>
                    <a:pt x="6384513" y="469852"/>
                  </a:lnTo>
                  <a:cubicBezTo>
                    <a:pt x="6384522" y="469852"/>
                    <a:pt x="6384653" y="469852"/>
                    <a:pt x="6386793" y="469852"/>
                  </a:cubicBezTo>
                  <a:lnTo>
                    <a:pt x="6402753" y="469852"/>
                  </a:lnTo>
                  <a:cubicBezTo>
                    <a:pt x="6402753" y="469870"/>
                    <a:pt x="6402753" y="470764"/>
                    <a:pt x="6402753" y="517411"/>
                  </a:cubicBezTo>
                  <a:cubicBezTo>
                    <a:pt x="6402759" y="517411"/>
                    <a:pt x="6402835" y="517411"/>
                    <a:pt x="6403766" y="517411"/>
                  </a:cubicBezTo>
                  <a:lnTo>
                    <a:pt x="6410860" y="517411"/>
                  </a:lnTo>
                  <a:lnTo>
                    <a:pt x="6425047" y="521735"/>
                  </a:lnTo>
                  <a:cubicBezTo>
                    <a:pt x="6425047" y="521745"/>
                    <a:pt x="6425047" y="522395"/>
                    <a:pt x="6425047" y="560647"/>
                  </a:cubicBezTo>
                  <a:cubicBezTo>
                    <a:pt x="6425053" y="560647"/>
                    <a:pt x="6425128" y="560647"/>
                    <a:pt x="6426060" y="560647"/>
                  </a:cubicBezTo>
                  <a:lnTo>
                    <a:pt x="6433153" y="560647"/>
                  </a:lnTo>
                  <a:cubicBezTo>
                    <a:pt x="6433153" y="560657"/>
                    <a:pt x="6433153" y="560763"/>
                    <a:pt x="6433153" y="562268"/>
                  </a:cubicBezTo>
                  <a:lnTo>
                    <a:pt x="6433153" y="573617"/>
                  </a:lnTo>
                  <a:cubicBezTo>
                    <a:pt x="6433161" y="573617"/>
                    <a:pt x="6433285" y="573617"/>
                    <a:pt x="6435180" y="573617"/>
                  </a:cubicBezTo>
                  <a:lnTo>
                    <a:pt x="6449367" y="573617"/>
                  </a:lnTo>
                  <a:lnTo>
                    <a:pt x="6455447" y="580103"/>
                  </a:lnTo>
                  <a:cubicBezTo>
                    <a:pt x="6455447" y="580115"/>
                    <a:pt x="6455447" y="580601"/>
                    <a:pt x="6455447" y="601721"/>
                  </a:cubicBezTo>
                  <a:cubicBezTo>
                    <a:pt x="6455456" y="601721"/>
                    <a:pt x="6455587" y="601721"/>
                    <a:pt x="6457727" y="601721"/>
                  </a:cubicBezTo>
                  <a:lnTo>
                    <a:pt x="6473687" y="601721"/>
                  </a:lnTo>
                  <a:cubicBezTo>
                    <a:pt x="6473687" y="601728"/>
                    <a:pt x="6473687" y="601808"/>
                    <a:pt x="6473687" y="602801"/>
                  </a:cubicBezTo>
                  <a:lnTo>
                    <a:pt x="6473687" y="610368"/>
                  </a:lnTo>
                  <a:cubicBezTo>
                    <a:pt x="6473696" y="610368"/>
                    <a:pt x="6473795" y="610368"/>
                    <a:pt x="6474954" y="610368"/>
                  </a:cubicBezTo>
                  <a:lnTo>
                    <a:pt x="6483821" y="610368"/>
                  </a:lnTo>
                  <a:cubicBezTo>
                    <a:pt x="6483821" y="610377"/>
                    <a:pt x="6483821" y="610506"/>
                    <a:pt x="6483821" y="612529"/>
                  </a:cubicBezTo>
                  <a:lnTo>
                    <a:pt x="6483821" y="627662"/>
                  </a:lnTo>
                  <a:cubicBezTo>
                    <a:pt x="6487874" y="627662"/>
                    <a:pt x="6487874" y="627662"/>
                    <a:pt x="6487874" y="625770"/>
                  </a:cubicBezTo>
                  <a:lnTo>
                    <a:pt x="6487874" y="612529"/>
                  </a:lnTo>
                  <a:cubicBezTo>
                    <a:pt x="6487880" y="612529"/>
                    <a:pt x="6487958" y="612529"/>
                    <a:pt x="6488887" y="612529"/>
                  </a:cubicBezTo>
                  <a:lnTo>
                    <a:pt x="6495981" y="612529"/>
                  </a:lnTo>
                  <a:cubicBezTo>
                    <a:pt x="6495981" y="612540"/>
                    <a:pt x="6495981" y="612659"/>
                    <a:pt x="6495981" y="614151"/>
                  </a:cubicBezTo>
                  <a:lnTo>
                    <a:pt x="6495981" y="625500"/>
                  </a:lnTo>
                  <a:cubicBezTo>
                    <a:pt x="6495990" y="625500"/>
                    <a:pt x="6496063" y="625500"/>
                    <a:pt x="6496741" y="625500"/>
                  </a:cubicBezTo>
                  <a:lnTo>
                    <a:pt x="6502061" y="625500"/>
                  </a:lnTo>
                  <a:cubicBezTo>
                    <a:pt x="6502061" y="621177"/>
                    <a:pt x="6502061" y="621177"/>
                    <a:pt x="6550701" y="621177"/>
                  </a:cubicBezTo>
                  <a:cubicBezTo>
                    <a:pt x="6550701" y="621186"/>
                    <a:pt x="6550701" y="621287"/>
                    <a:pt x="6550701" y="622528"/>
                  </a:cubicBezTo>
                  <a:lnTo>
                    <a:pt x="6550701" y="631985"/>
                  </a:lnTo>
                  <a:cubicBezTo>
                    <a:pt x="6550709" y="631985"/>
                    <a:pt x="6550784" y="631985"/>
                    <a:pt x="6551461" y="631985"/>
                  </a:cubicBezTo>
                  <a:lnTo>
                    <a:pt x="6556782" y="631985"/>
                  </a:lnTo>
                  <a:cubicBezTo>
                    <a:pt x="6556782" y="631994"/>
                    <a:pt x="6556782" y="632116"/>
                    <a:pt x="6556782" y="634147"/>
                  </a:cubicBezTo>
                  <a:lnTo>
                    <a:pt x="6556782" y="649280"/>
                  </a:lnTo>
                  <a:cubicBezTo>
                    <a:pt x="6556790" y="649276"/>
                    <a:pt x="6556906" y="649198"/>
                    <a:pt x="6558808" y="647929"/>
                  </a:cubicBezTo>
                  <a:lnTo>
                    <a:pt x="6572995" y="638471"/>
                  </a:lnTo>
                  <a:cubicBezTo>
                    <a:pt x="6572997" y="638452"/>
                    <a:pt x="6573128" y="637577"/>
                    <a:pt x="6579075" y="597397"/>
                  </a:cubicBezTo>
                  <a:cubicBezTo>
                    <a:pt x="6579084" y="597395"/>
                    <a:pt x="6579153" y="597369"/>
                    <a:pt x="6579835" y="597127"/>
                  </a:cubicBezTo>
                  <a:lnTo>
                    <a:pt x="6585155" y="595235"/>
                  </a:lnTo>
                  <a:cubicBezTo>
                    <a:pt x="6585155" y="595219"/>
                    <a:pt x="6585188" y="594158"/>
                    <a:pt x="6587182" y="526058"/>
                  </a:cubicBezTo>
                  <a:cubicBezTo>
                    <a:pt x="6587182" y="526076"/>
                    <a:pt x="6587215" y="527167"/>
                    <a:pt x="6589209" y="595235"/>
                  </a:cubicBezTo>
                  <a:cubicBezTo>
                    <a:pt x="6589218" y="595238"/>
                    <a:pt x="6589289" y="595263"/>
                    <a:pt x="6589969" y="595505"/>
                  </a:cubicBezTo>
                  <a:lnTo>
                    <a:pt x="6595289" y="597397"/>
                  </a:lnTo>
                  <a:cubicBezTo>
                    <a:pt x="6595289" y="597377"/>
                    <a:pt x="6595289" y="596044"/>
                    <a:pt x="6595289" y="510926"/>
                  </a:cubicBezTo>
                  <a:cubicBezTo>
                    <a:pt x="6599342" y="510926"/>
                    <a:pt x="6599342" y="510926"/>
                    <a:pt x="6599342" y="478499"/>
                  </a:cubicBezTo>
                  <a:cubicBezTo>
                    <a:pt x="6599354" y="478499"/>
                    <a:pt x="6600040" y="478499"/>
                    <a:pt x="6637849" y="478499"/>
                  </a:cubicBezTo>
                  <a:cubicBezTo>
                    <a:pt x="6637849" y="478516"/>
                    <a:pt x="6637849" y="479234"/>
                    <a:pt x="6637849" y="510926"/>
                  </a:cubicBezTo>
                  <a:cubicBezTo>
                    <a:pt x="6637858" y="510926"/>
                    <a:pt x="6637930" y="510926"/>
                    <a:pt x="6638609" y="510926"/>
                  </a:cubicBezTo>
                  <a:lnTo>
                    <a:pt x="6643929" y="510926"/>
                  </a:lnTo>
                  <a:cubicBezTo>
                    <a:pt x="6643929" y="510905"/>
                    <a:pt x="6643929" y="509599"/>
                    <a:pt x="6643929" y="428778"/>
                  </a:cubicBezTo>
                  <a:cubicBezTo>
                    <a:pt x="6643935" y="428778"/>
                    <a:pt x="6644034" y="428778"/>
                    <a:pt x="6645703" y="428778"/>
                  </a:cubicBezTo>
                  <a:lnTo>
                    <a:pt x="6658116" y="428778"/>
                  </a:lnTo>
                  <a:cubicBezTo>
                    <a:pt x="6658116" y="428771"/>
                    <a:pt x="6658116" y="428660"/>
                    <a:pt x="6658116" y="426887"/>
                  </a:cubicBezTo>
                  <a:lnTo>
                    <a:pt x="6658116" y="413646"/>
                  </a:lnTo>
                  <a:cubicBezTo>
                    <a:pt x="6658127" y="413646"/>
                    <a:pt x="6658625" y="413646"/>
                    <a:pt x="6680410" y="413646"/>
                  </a:cubicBezTo>
                  <a:cubicBezTo>
                    <a:pt x="6680410" y="413639"/>
                    <a:pt x="6680410" y="413558"/>
                    <a:pt x="6680410" y="412565"/>
                  </a:cubicBezTo>
                  <a:lnTo>
                    <a:pt x="6680410" y="404999"/>
                  </a:lnTo>
                  <a:cubicBezTo>
                    <a:pt x="6680417" y="404999"/>
                    <a:pt x="6680527" y="404999"/>
                    <a:pt x="6682183" y="404999"/>
                  </a:cubicBezTo>
                  <a:lnTo>
                    <a:pt x="6694597" y="404999"/>
                  </a:lnTo>
                  <a:cubicBezTo>
                    <a:pt x="6694597" y="405007"/>
                    <a:pt x="6694597" y="405086"/>
                    <a:pt x="6694597" y="406080"/>
                  </a:cubicBezTo>
                  <a:lnTo>
                    <a:pt x="6694597" y="413646"/>
                  </a:lnTo>
                  <a:cubicBezTo>
                    <a:pt x="6694606" y="413646"/>
                    <a:pt x="6694679" y="413646"/>
                    <a:pt x="6695357" y="413646"/>
                  </a:cubicBezTo>
                  <a:lnTo>
                    <a:pt x="6700677" y="413646"/>
                  </a:lnTo>
                  <a:lnTo>
                    <a:pt x="6710810" y="409322"/>
                  </a:lnTo>
                  <a:lnTo>
                    <a:pt x="6714863" y="412565"/>
                  </a:lnTo>
                  <a:lnTo>
                    <a:pt x="6714863" y="404999"/>
                  </a:lnTo>
                  <a:cubicBezTo>
                    <a:pt x="6714872" y="404999"/>
                    <a:pt x="6715009" y="404999"/>
                    <a:pt x="6717143" y="404999"/>
                  </a:cubicBezTo>
                  <a:lnTo>
                    <a:pt x="6733104" y="404999"/>
                  </a:lnTo>
                  <a:cubicBezTo>
                    <a:pt x="6733104" y="405007"/>
                    <a:pt x="6733104" y="405086"/>
                    <a:pt x="6733104" y="406080"/>
                  </a:cubicBezTo>
                  <a:lnTo>
                    <a:pt x="6733104" y="413646"/>
                  </a:lnTo>
                  <a:cubicBezTo>
                    <a:pt x="6733123" y="413646"/>
                    <a:pt x="6733859" y="413646"/>
                    <a:pt x="6763504" y="413646"/>
                  </a:cubicBezTo>
                  <a:cubicBezTo>
                    <a:pt x="6763504" y="413656"/>
                    <a:pt x="6763504" y="413765"/>
                    <a:pt x="6763504" y="415267"/>
                  </a:cubicBezTo>
                  <a:lnTo>
                    <a:pt x="6763504" y="426617"/>
                  </a:lnTo>
                  <a:cubicBezTo>
                    <a:pt x="6763521" y="426617"/>
                    <a:pt x="6764161" y="426617"/>
                    <a:pt x="6789851" y="426617"/>
                  </a:cubicBezTo>
                  <a:cubicBezTo>
                    <a:pt x="6789851" y="426633"/>
                    <a:pt x="6789851" y="427313"/>
                    <a:pt x="6789851" y="456881"/>
                  </a:cubicBezTo>
                  <a:cubicBezTo>
                    <a:pt x="6789860" y="456881"/>
                    <a:pt x="6789933" y="456881"/>
                    <a:pt x="6790611" y="456881"/>
                  </a:cubicBezTo>
                  <a:lnTo>
                    <a:pt x="6795931" y="456881"/>
                  </a:lnTo>
                  <a:cubicBezTo>
                    <a:pt x="6795931" y="456888"/>
                    <a:pt x="6795931" y="456974"/>
                    <a:pt x="6795931" y="457962"/>
                  </a:cubicBezTo>
                  <a:lnTo>
                    <a:pt x="6795931" y="465529"/>
                  </a:lnTo>
                  <a:cubicBezTo>
                    <a:pt x="6799985" y="465529"/>
                    <a:pt x="6799985" y="465529"/>
                    <a:pt x="6799985" y="495793"/>
                  </a:cubicBezTo>
                  <a:cubicBezTo>
                    <a:pt x="6799994" y="495793"/>
                    <a:pt x="6800068" y="495793"/>
                    <a:pt x="6800745" y="495793"/>
                  </a:cubicBezTo>
                  <a:lnTo>
                    <a:pt x="6806065" y="495793"/>
                  </a:lnTo>
                  <a:cubicBezTo>
                    <a:pt x="6806065" y="495802"/>
                    <a:pt x="6806065" y="495869"/>
                    <a:pt x="6806065" y="496604"/>
                  </a:cubicBezTo>
                  <a:lnTo>
                    <a:pt x="6806065" y="502279"/>
                  </a:lnTo>
                  <a:cubicBezTo>
                    <a:pt x="6806071" y="502279"/>
                    <a:pt x="6806149" y="502279"/>
                    <a:pt x="6807078" y="502279"/>
                  </a:cubicBezTo>
                  <a:lnTo>
                    <a:pt x="6814171" y="502279"/>
                  </a:lnTo>
                  <a:cubicBezTo>
                    <a:pt x="6814171" y="502296"/>
                    <a:pt x="6814171" y="503009"/>
                    <a:pt x="6814171" y="532544"/>
                  </a:cubicBezTo>
                  <a:cubicBezTo>
                    <a:pt x="6814179" y="532544"/>
                    <a:pt x="6814299" y="532544"/>
                    <a:pt x="6816198" y="532544"/>
                  </a:cubicBezTo>
                  <a:lnTo>
                    <a:pt x="6830385" y="532544"/>
                  </a:lnTo>
                  <a:cubicBezTo>
                    <a:pt x="6830385" y="532560"/>
                    <a:pt x="6830385" y="533140"/>
                    <a:pt x="6830385" y="556323"/>
                  </a:cubicBezTo>
                  <a:cubicBezTo>
                    <a:pt x="6832412" y="556323"/>
                    <a:pt x="6832412" y="556323"/>
                    <a:pt x="6832412" y="557944"/>
                  </a:cubicBezTo>
                  <a:lnTo>
                    <a:pt x="6832412" y="569294"/>
                  </a:lnTo>
                  <a:cubicBezTo>
                    <a:pt x="6832421" y="569294"/>
                    <a:pt x="6832491" y="569294"/>
                    <a:pt x="6833172" y="569294"/>
                  </a:cubicBezTo>
                  <a:lnTo>
                    <a:pt x="6838492" y="569294"/>
                  </a:lnTo>
                  <a:cubicBezTo>
                    <a:pt x="6838492" y="569308"/>
                    <a:pt x="6838492" y="569871"/>
                    <a:pt x="6838492" y="593073"/>
                  </a:cubicBezTo>
                  <a:cubicBezTo>
                    <a:pt x="6838500" y="593073"/>
                    <a:pt x="6838599" y="593073"/>
                    <a:pt x="6839758" y="593073"/>
                  </a:cubicBezTo>
                  <a:lnTo>
                    <a:pt x="6848625" y="593073"/>
                  </a:lnTo>
                  <a:cubicBezTo>
                    <a:pt x="6850652" y="595235"/>
                    <a:pt x="6850652" y="595235"/>
                    <a:pt x="6850652" y="597127"/>
                  </a:cubicBezTo>
                  <a:lnTo>
                    <a:pt x="6850652" y="610368"/>
                  </a:lnTo>
                  <a:cubicBezTo>
                    <a:pt x="6850657" y="610361"/>
                    <a:pt x="6850744" y="610254"/>
                    <a:pt x="6852172" y="608476"/>
                  </a:cubicBezTo>
                  <a:lnTo>
                    <a:pt x="6862812" y="595235"/>
                  </a:lnTo>
                  <a:cubicBezTo>
                    <a:pt x="6862827" y="595235"/>
                    <a:pt x="6863466" y="595235"/>
                    <a:pt x="6891186" y="595235"/>
                  </a:cubicBezTo>
                  <a:cubicBezTo>
                    <a:pt x="6891186" y="595260"/>
                    <a:pt x="6891186" y="596661"/>
                    <a:pt x="6891186" y="681706"/>
                  </a:cubicBezTo>
                  <a:cubicBezTo>
                    <a:pt x="6891194" y="681706"/>
                    <a:pt x="6891270" y="681706"/>
                    <a:pt x="6891946" y="681706"/>
                  </a:cubicBezTo>
                  <a:lnTo>
                    <a:pt x="6897266" y="681706"/>
                  </a:lnTo>
                  <a:cubicBezTo>
                    <a:pt x="6897270" y="681698"/>
                    <a:pt x="6897329" y="681598"/>
                    <a:pt x="6898026" y="680355"/>
                  </a:cubicBezTo>
                  <a:lnTo>
                    <a:pt x="6903346" y="670897"/>
                  </a:lnTo>
                  <a:cubicBezTo>
                    <a:pt x="6903346" y="670904"/>
                    <a:pt x="6903346" y="671003"/>
                    <a:pt x="6903346" y="672789"/>
                  </a:cubicBezTo>
                  <a:lnTo>
                    <a:pt x="6903346" y="686030"/>
                  </a:lnTo>
                  <a:cubicBezTo>
                    <a:pt x="6907399" y="686030"/>
                    <a:pt x="6907399" y="686030"/>
                    <a:pt x="6907399" y="640633"/>
                  </a:cubicBezTo>
                  <a:cubicBezTo>
                    <a:pt x="6907408" y="640633"/>
                    <a:pt x="6907478" y="640633"/>
                    <a:pt x="6908159" y="640633"/>
                  </a:cubicBezTo>
                  <a:lnTo>
                    <a:pt x="6913479" y="640633"/>
                  </a:lnTo>
                  <a:cubicBezTo>
                    <a:pt x="6913479" y="640618"/>
                    <a:pt x="6913479" y="639618"/>
                    <a:pt x="6913479" y="575779"/>
                  </a:cubicBezTo>
                  <a:cubicBezTo>
                    <a:pt x="6913486" y="575779"/>
                    <a:pt x="6913567" y="575779"/>
                    <a:pt x="6914493" y="575779"/>
                  </a:cubicBezTo>
                  <a:lnTo>
                    <a:pt x="6921586" y="575779"/>
                  </a:lnTo>
                  <a:cubicBezTo>
                    <a:pt x="6921592" y="575758"/>
                    <a:pt x="6921856" y="574818"/>
                    <a:pt x="6933746" y="532544"/>
                  </a:cubicBezTo>
                  <a:cubicBezTo>
                    <a:pt x="6933755" y="532544"/>
                    <a:pt x="6933852" y="532544"/>
                    <a:pt x="6935013" y="532544"/>
                  </a:cubicBezTo>
                  <a:lnTo>
                    <a:pt x="6943880" y="532544"/>
                  </a:lnTo>
                  <a:cubicBezTo>
                    <a:pt x="6943885" y="532567"/>
                    <a:pt x="6944111" y="533533"/>
                    <a:pt x="6954013" y="575779"/>
                  </a:cubicBezTo>
                  <a:cubicBezTo>
                    <a:pt x="6954019" y="575779"/>
                    <a:pt x="6954093" y="575779"/>
                    <a:pt x="6955026" y="575779"/>
                  </a:cubicBezTo>
                  <a:lnTo>
                    <a:pt x="6962120" y="575779"/>
                  </a:lnTo>
                  <a:cubicBezTo>
                    <a:pt x="6962120" y="575790"/>
                    <a:pt x="6962120" y="576457"/>
                    <a:pt x="6962120" y="614691"/>
                  </a:cubicBezTo>
                  <a:cubicBezTo>
                    <a:pt x="6962127" y="614691"/>
                    <a:pt x="6962226" y="614691"/>
                    <a:pt x="6963893" y="614691"/>
                  </a:cubicBezTo>
                  <a:lnTo>
                    <a:pt x="6976307" y="614691"/>
                  </a:lnTo>
                  <a:cubicBezTo>
                    <a:pt x="6976307" y="614699"/>
                    <a:pt x="6976307" y="614821"/>
                    <a:pt x="6976307" y="616853"/>
                  </a:cubicBezTo>
                  <a:lnTo>
                    <a:pt x="6976307" y="631985"/>
                  </a:lnTo>
                  <a:cubicBezTo>
                    <a:pt x="6980360" y="631985"/>
                    <a:pt x="6980360" y="631985"/>
                    <a:pt x="6980360" y="629824"/>
                  </a:cubicBezTo>
                  <a:lnTo>
                    <a:pt x="6980360" y="614691"/>
                  </a:lnTo>
                  <a:cubicBezTo>
                    <a:pt x="6980370" y="614691"/>
                    <a:pt x="6980482" y="614691"/>
                    <a:pt x="6981880" y="614691"/>
                  </a:cubicBezTo>
                  <a:lnTo>
                    <a:pt x="6992520" y="614691"/>
                  </a:lnTo>
                  <a:cubicBezTo>
                    <a:pt x="6992520" y="614701"/>
                    <a:pt x="6992520" y="614818"/>
                    <a:pt x="6992520" y="616312"/>
                  </a:cubicBezTo>
                  <a:lnTo>
                    <a:pt x="6992520" y="627662"/>
                  </a:lnTo>
                  <a:cubicBezTo>
                    <a:pt x="6992536" y="627662"/>
                    <a:pt x="6993245" y="627662"/>
                    <a:pt x="7022921" y="627662"/>
                  </a:cubicBezTo>
                  <a:cubicBezTo>
                    <a:pt x="7022921" y="627645"/>
                    <a:pt x="7022921" y="626874"/>
                    <a:pt x="7022921" y="590912"/>
                  </a:cubicBezTo>
                  <a:cubicBezTo>
                    <a:pt x="7022929" y="590912"/>
                    <a:pt x="7023022" y="590912"/>
                    <a:pt x="7024187" y="590912"/>
                  </a:cubicBezTo>
                  <a:lnTo>
                    <a:pt x="7033054" y="590912"/>
                  </a:lnTo>
                  <a:cubicBezTo>
                    <a:pt x="7033054" y="590923"/>
                    <a:pt x="7033054" y="591417"/>
                    <a:pt x="7033054" y="612529"/>
                  </a:cubicBezTo>
                  <a:cubicBezTo>
                    <a:pt x="7035081" y="612529"/>
                    <a:pt x="7035081" y="612529"/>
                    <a:pt x="7035081" y="580103"/>
                  </a:cubicBezTo>
                  <a:cubicBezTo>
                    <a:pt x="7035095" y="580103"/>
                    <a:pt x="7035636" y="580103"/>
                    <a:pt x="7057374" y="580103"/>
                  </a:cubicBezTo>
                  <a:cubicBezTo>
                    <a:pt x="7057374" y="580093"/>
                    <a:pt x="7057374" y="579973"/>
                    <a:pt x="7057374" y="578481"/>
                  </a:cubicBezTo>
                  <a:lnTo>
                    <a:pt x="7057374" y="567132"/>
                  </a:lnTo>
                  <a:cubicBezTo>
                    <a:pt x="7057382" y="567132"/>
                    <a:pt x="7057457" y="567132"/>
                    <a:pt x="7058134" y="567132"/>
                  </a:cubicBezTo>
                  <a:lnTo>
                    <a:pt x="7063454" y="567132"/>
                  </a:lnTo>
                  <a:cubicBezTo>
                    <a:pt x="7063454" y="567126"/>
                    <a:pt x="7063454" y="567013"/>
                    <a:pt x="7063454" y="565241"/>
                  </a:cubicBezTo>
                  <a:lnTo>
                    <a:pt x="7063454" y="552000"/>
                  </a:lnTo>
                  <a:lnTo>
                    <a:pt x="7067508" y="558485"/>
                  </a:lnTo>
                  <a:cubicBezTo>
                    <a:pt x="7067516" y="558485"/>
                    <a:pt x="7067645" y="558485"/>
                    <a:pt x="7069788" y="558485"/>
                  </a:cubicBezTo>
                  <a:lnTo>
                    <a:pt x="7085748" y="558485"/>
                  </a:lnTo>
                  <a:cubicBezTo>
                    <a:pt x="7085748" y="558477"/>
                    <a:pt x="7085748" y="558409"/>
                    <a:pt x="7085748" y="557674"/>
                  </a:cubicBezTo>
                  <a:lnTo>
                    <a:pt x="7085748" y="552000"/>
                  </a:lnTo>
                  <a:cubicBezTo>
                    <a:pt x="7085757" y="552000"/>
                    <a:pt x="7085831" y="552000"/>
                    <a:pt x="7086508" y="552000"/>
                  </a:cubicBezTo>
                  <a:lnTo>
                    <a:pt x="7091828" y="552000"/>
                  </a:lnTo>
                  <a:cubicBezTo>
                    <a:pt x="7091828" y="552009"/>
                    <a:pt x="7091828" y="552109"/>
                    <a:pt x="7091828" y="553351"/>
                  </a:cubicBezTo>
                  <a:lnTo>
                    <a:pt x="7091828" y="562809"/>
                  </a:lnTo>
                  <a:cubicBezTo>
                    <a:pt x="7091843" y="562809"/>
                    <a:pt x="7092576" y="562809"/>
                    <a:pt x="7130335" y="562809"/>
                  </a:cubicBezTo>
                  <a:cubicBezTo>
                    <a:pt x="7130335" y="562827"/>
                    <a:pt x="7130335" y="564337"/>
                    <a:pt x="7130335" y="701162"/>
                  </a:cubicBezTo>
                  <a:cubicBezTo>
                    <a:pt x="7130345" y="701162"/>
                    <a:pt x="7130460" y="701162"/>
                    <a:pt x="7131855" y="701162"/>
                  </a:cubicBezTo>
                  <a:lnTo>
                    <a:pt x="7142495" y="701162"/>
                  </a:lnTo>
                  <a:cubicBezTo>
                    <a:pt x="7142495" y="696839"/>
                    <a:pt x="7142495" y="692515"/>
                    <a:pt x="7142495" y="688192"/>
                  </a:cubicBezTo>
                  <a:cubicBezTo>
                    <a:pt x="7144522" y="688192"/>
                    <a:pt x="7144522" y="688192"/>
                    <a:pt x="7146549" y="688192"/>
                  </a:cubicBezTo>
                  <a:cubicBezTo>
                    <a:pt x="7146549" y="692515"/>
                    <a:pt x="7146549" y="696839"/>
                    <a:pt x="7146549" y="701162"/>
                  </a:cubicBezTo>
                  <a:cubicBezTo>
                    <a:pt x="7156682" y="701162"/>
                    <a:pt x="7166816" y="701162"/>
                    <a:pt x="7176949" y="701162"/>
                  </a:cubicBezTo>
                  <a:cubicBezTo>
                    <a:pt x="7176949" y="690353"/>
                    <a:pt x="7176949" y="681706"/>
                    <a:pt x="7176949" y="670897"/>
                  </a:cubicBezTo>
                  <a:cubicBezTo>
                    <a:pt x="7181003" y="670897"/>
                    <a:pt x="7185056" y="670897"/>
                    <a:pt x="7189109" y="670897"/>
                  </a:cubicBezTo>
                  <a:lnTo>
                    <a:pt x="7201269" y="668736"/>
                  </a:lnTo>
                  <a:cubicBezTo>
                    <a:pt x="7203296" y="668736"/>
                    <a:pt x="7203296" y="670897"/>
                    <a:pt x="7205323" y="670897"/>
                  </a:cubicBezTo>
                  <a:lnTo>
                    <a:pt x="7215456" y="670897"/>
                  </a:lnTo>
                  <a:cubicBezTo>
                    <a:pt x="7215456" y="681706"/>
                    <a:pt x="7215456" y="692515"/>
                    <a:pt x="7215456" y="701162"/>
                  </a:cubicBezTo>
                  <a:cubicBezTo>
                    <a:pt x="7217483" y="701162"/>
                    <a:pt x="7219510" y="701162"/>
                    <a:pt x="7223563" y="701162"/>
                  </a:cubicBezTo>
                  <a:cubicBezTo>
                    <a:pt x="7223563" y="707648"/>
                    <a:pt x="7223563" y="714133"/>
                    <a:pt x="7223563" y="718457"/>
                  </a:cubicBezTo>
                  <a:lnTo>
                    <a:pt x="7232899" y="719362"/>
                  </a:lnTo>
                  <a:lnTo>
                    <a:pt x="7245857" y="719362"/>
                  </a:lnTo>
                  <a:cubicBezTo>
                    <a:pt x="7245857" y="713553"/>
                    <a:pt x="7245857" y="709381"/>
                    <a:pt x="7245857" y="703324"/>
                  </a:cubicBezTo>
                  <a:lnTo>
                    <a:pt x="7313813" y="703324"/>
                  </a:lnTo>
                  <a:lnTo>
                    <a:pt x="7313813" y="618071"/>
                  </a:lnTo>
                  <a:lnTo>
                    <a:pt x="7385821" y="618071"/>
                  </a:lnTo>
                  <a:lnTo>
                    <a:pt x="7385821" y="696839"/>
                  </a:lnTo>
                  <a:cubicBezTo>
                    <a:pt x="7386456" y="696839"/>
                    <a:pt x="7387091" y="696839"/>
                    <a:pt x="7387725" y="696839"/>
                  </a:cubicBezTo>
                  <a:lnTo>
                    <a:pt x="7388967" y="719362"/>
                  </a:lnTo>
                  <a:lnTo>
                    <a:pt x="7398643" y="719362"/>
                  </a:lnTo>
                  <a:cubicBezTo>
                    <a:pt x="7399179" y="712148"/>
                    <a:pt x="7399885" y="704494"/>
                    <a:pt x="7399885" y="696839"/>
                  </a:cubicBezTo>
                  <a:cubicBezTo>
                    <a:pt x="7401912" y="696839"/>
                    <a:pt x="7403939" y="696839"/>
                    <a:pt x="7405965" y="696839"/>
                  </a:cubicBezTo>
                  <a:lnTo>
                    <a:pt x="7407207" y="719362"/>
                  </a:lnTo>
                  <a:lnTo>
                    <a:pt x="7457829" y="719362"/>
                  </a:lnTo>
                  <a:lnTo>
                    <a:pt x="7457829" y="556334"/>
                  </a:lnTo>
                  <a:lnTo>
                    <a:pt x="7655156" y="556334"/>
                  </a:lnTo>
                  <a:lnTo>
                    <a:pt x="7655156" y="719362"/>
                  </a:lnTo>
                  <a:lnTo>
                    <a:pt x="7673853" y="719362"/>
                  </a:lnTo>
                  <a:lnTo>
                    <a:pt x="7673853" y="636669"/>
                  </a:lnTo>
                  <a:lnTo>
                    <a:pt x="7768973" y="636669"/>
                  </a:lnTo>
                  <a:lnTo>
                    <a:pt x="7773382" y="519115"/>
                  </a:lnTo>
                  <a:lnTo>
                    <a:pt x="7819759" y="519115"/>
                  </a:lnTo>
                  <a:lnTo>
                    <a:pt x="7821437" y="571456"/>
                  </a:lnTo>
                  <a:cubicBezTo>
                    <a:pt x="7843732" y="571456"/>
                    <a:pt x="7866024" y="571456"/>
                    <a:pt x="7886292" y="571456"/>
                  </a:cubicBezTo>
                  <a:cubicBezTo>
                    <a:pt x="7886292" y="597397"/>
                    <a:pt x="7886292" y="623338"/>
                    <a:pt x="7886292" y="647118"/>
                  </a:cubicBezTo>
                  <a:cubicBezTo>
                    <a:pt x="7890345" y="647118"/>
                    <a:pt x="7892372" y="647118"/>
                    <a:pt x="7894398" y="647118"/>
                  </a:cubicBezTo>
                  <a:cubicBezTo>
                    <a:pt x="7894398" y="644956"/>
                    <a:pt x="7896425" y="642794"/>
                    <a:pt x="7896425" y="640633"/>
                  </a:cubicBezTo>
                  <a:cubicBezTo>
                    <a:pt x="7898452" y="640633"/>
                    <a:pt x="7900478" y="640633"/>
                    <a:pt x="7902505" y="640633"/>
                  </a:cubicBezTo>
                  <a:cubicBezTo>
                    <a:pt x="7902505" y="642794"/>
                    <a:pt x="7902505" y="644956"/>
                    <a:pt x="7904533" y="649280"/>
                  </a:cubicBezTo>
                  <a:cubicBezTo>
                    <a:pt x="7908585" y="649280"/>
                    <a:pt x="7912638" y="649280"/>
                    <a:pt x="7916693" y="649280"/>
                  </a:cubicBezTo>
                  <a:cubicBezTo>
                    <a:pt x="7916693" y="647118"/>
                    <a:pt x="7916693" y="644956"/>
                    <a:pt x="7916693" y="642794"/>
                  </a:cubicBezTo>
                  <a:cubicBezTo>
                    <a:pt x="7924798" y="642794"/>
                    <a:pt x="7930878" y="642794"/>
                    <a:pt x="7938985" y="642794"/>
                  </a:cubicBezTo>
                  <a:cubicBezTo>
                    <a:pt x="7938985" y="644956"/>
                    <a:pt x="7938985" y="647118"/>
                    <a:pt x="7938985" y="649280"/>
                  </a:cubicBezTo>
                  <a:cubicBezTo>
                    <a:pt x="7945065" y="649280"/>
                    <a:pt x="7953173" y="649280"/>
                    <a:pt x="7959253" y="649280"/>
                  </a:cubicBezTo>
                  <a:cubicBezTo>
                    <a:pt x="7959253" y="664412"/>
                    <a:pt x="7959253" y="679545"/>
                    <a:pt x="7959253" y="694677"/>
                  </a:cubicBezTo>
                  <a:cubicBezTo>
                    <a:pt x="7963306" y="694677"/>
                    <a:pt x="7969386" y="694677"/>
                    <a:pt x="7973440" y="694677"/>
                  </a:cubicBezTo>
                  <a:cubicBezTo>
                    <a:pt x="7973440" y="690353"/>
                    <a:pt x="7973440" y="686030"/>
                    <a:pt x="7973440" y="681706"/>
                  </a:cubicBezTo>
                  <a:cubicBezTo>
                    <a:pt x="7979520" y="681706"/>
                    <a:pt x="7985600" y="681706"/>
                    <a:pt x="7989653" y="681706"/>
                  </a:cubicBezTo>
                  <a:cubicBezTo>
                    <a:pt x="7989653" y="621177"/>
                    <a:pt x="7989653" y="562809"/>
                    <a:pt x="7989653" y="502279"/>
                  </a:cubicBezTo>
                  <a:cubicBezTo>
                    <a:pt x="7991680" y="500117"/>
                    <a:pt x="7993706" y="497955"/>
                    <a:pt x="7995733" y="495793"/>
                  </a:cubicBezTo>
                  <a:cubicBezTo>
                    <a:pt x="8020053" y="495793"/>
                    <a:pt x="8044373" y="495793"/>
                    <a:pt x="8068694" y="495793"/>
                  </a:cubicBezTo>
                  <a:lnTo>
                    <a:pt x="8068694" y="504441"/>
                  </a:lnTo>
                  <a:lnTo>
                    <a:pt x="8078828" y="504441"/>
                  </a:lnTo>
                  <a:cubicBezTo>
                    <a:pt x="8078828" y="543353"/>
                    <a:pt x="8078828" y="582265"/>
                    <a:pt x="8078828" y="619015"/>
                  </a:cubicBezTo>
                  <a:cubicBezTo>
                    <a:pt x="8086934" y="619015"/>
                    <a:pt x="8093014" y="619015"/>
                    <a:pt x="8101121" y="619015"/>
                  </a:cubicBezTo>
                  <a:cubicBezTo>
                    <a:pt x="8101121" y="597397"/>
                    <a:pt x="8101121" y="575779"/>
                    <a:pt x="8101121" y="552000"/>
                  </a:cubicBezTo>
                  <a:cubicBezTo>
                    <a:pt x="8109228" y="552000"/>
                    <a:pt x="8119361" y="552000"/>
                    <a:pt x="8127469" y="552000"/>
                  </a:cubicBezTo>
                  <a:cubicBezTo>
                    <a:pt x="8129494" y="552000"/>
                    <a:pt x="8129494" y="549838"/>
                    <a:pt x="8131521" y="547676"/>
                  </a:cubicBezTo>
                  <a:lnTo>
                    <a:pt x="8139629" y="547676"/>
                  </a:lnTo>
                  <a:cubicBezTo>
                    <a:pt x="8141654" y="549838"/>
                    <a:pt x="8141654" y="552000"/>
                    <a:pt x="8143681" y="552000"/>
                  </a:cubicBezTo>
                  <a:cubicBezTo>
                    <a:pt x="8149761" y="552000"/>
                    <a:pt x="8157869" y="552000"/>
                    <a:pt x="8165976" y="552000"/>
                  </a:cubicBezTo>
                  <a:cubicBezTo>
                    <a:pt x="8165976" y="513088"/>
                    <a:pt x="8165976" y="474176"/>
                    <a:pt x="8165976" y="435264"/>
                  </a:cubicBezTo>
                  <a:cubicBezTo>
                    <a:pt x="8165989" y="435261"/>
                    <a:pt x="8166856" y="435097"/>
                    <a:pt x="8222722" y="424455"/>
                  </a:cubicBezTo>
                  <a:cubicBezTo>
                    <a:pt x="8222722" y="424462"/>
                    <a:pt x="8222722" y="424536"/>
                    <a:pt x="8222722" y="425536"/>
                  </a:cubicBezTo>
                  <a:lnTo>
                    <a:pt x="8222722" y="433102"/>
                  </a:lnTo>
                  <a:cubicBezTo>
                    <a:pt x="8222740" y="433102"/>
                    <a:pt x="8223384" y="433102"/>
                    <a:pt x="8249069" y="433102"/>
                  </a:cubicBezTo>
                  <a:cubicBezTo>
                    <a:pt x="8249069" y="433124"/>
                    <a:pt x="8249069" y="435495"/>
                    <a:pt x="8249069" y="688192"/>
                  </a:cubicBezTo>
                  <a:cubicBezTo>
                    <a:pt x="8255149" y="688192"/>
                    <a:pt x="8263256" y="688192"/>
                    <a:pt x="8271364" y="688192"/>
                  </a:cubicBezTo>
                  <a:cubicBezTo>
                    <a:pt x="8271364" y="686030"/>
                    <a:pt x="8271364" y="686030"/>
                    <a:pt x="8271364" y="683868"/>
                  </a:cubicBezTo>
                  <a:cubicBezTo>
                    <a:pt x="8275416" y="683868"/>
                    <a:pt x="8279469" y="683868"/>
                    <a:pt x="8283524" y="683868"/>
                  </a:cubicBezTo>
                  <a:cubicBezTo>
                    <a:pt x="8283524" y="686030"/>
                    <a:pt x="8283524" y="686030"/>
                    <a:pt x="8283524" y="688192"/>
                  </a:cubicBezTo>
                  <a:cubicBezTo>
                    <a:pt x="8291630" y="688192"/>
                    <a:pt x="8299736" y="688192"/>
                    <a:pt x="8307844" y="688192"/>
                  </a:cubicBezTo>
                  <a:cubicBezTo>
                    <a:pt x="8307844" y="683868"/>
                    <a:pt x="8307844" y="679545"/>
                    <a:pt x="8307844" y="675221"/>
                  </a:cubicBezTo>
                  <a:cubicBezTo>
                    <a:pt x="8317977" y="675221"/>
                    <a:pt x="8328110" y="675221"/>
                    <a:pt x="8336217" y="675221"/>
                  </a:cubicBezTo>
                  <a:cubicBezTo>
                    <a:pt x="8340270" y="670897"/>
                    <a:pt x="8344325" y="670897"/>
                    <a:pt x="8348377" y="670897"/>
                  </a:cubicBezTo>
                  <a:cubicBezTo>
                    <a:pt x="8354457" y="675221"/>
                    <a:pt x="8362565" y="675221"/>
                    <a:pt x="8368645" y="675221"/>
                  </a:cubicBezTo>
                  <a:cubicBezTo>
                    <a:pt x="8368645" y="668736"/>
                    <a:pt x="8368645" y="664412"/>
                    <a:pt x="8368645" y="657927"/>
                  </a:cubicBezTo>
                  <a:lnTo>
                    <a:pt x="8376752" y="657927"/>
                  </a:lnTo>
                  <a:cubicBezTo>
                    <a:pt x="8376752" y="653603"/>
                    <a:pt x="8376752" y="649280"/>
                    <a:pt x="8376752" y="644956"/>
                  </a:cubicBezTo>
                  <a:cubicBezTo>
                    <a:pt x="8394992" y="644956"/>
                    <a:pt x="8415258" y="644956"/>
                    <a:pt x="8433498" y="644956"/>
                  </a:cubicBezTo>
                  <a:cubicBezTo>
                    <a:pt x="8433498" y="634147"/>
                    <a:pt x="8433498" y="625500"/>
                    <a:pt x="8433498" y="614691"/>
                  </a:cubicBezTo>
                  <a:cubicBezTo>
                    <a:pt x="8439578" y="614691"/>
                    <a:pt x="8445658" y="614691"/>
                    <a:pt x="8451738" y="614691"/>
                  </a:cubicBezTo>
                  <a:cubicBezTo>
                    <a:pt x="8451738" y="612529"/>
                    <a:pt x="8451738" y="610368"/>
                    <a:pt x="8451738" y="608206"/>
                  </a:cubicBezTo>
                  <a:cubicBezTo>
                    <a:pt x="8455792" y="608206"/>
                    <a:pt x="8459845" y="608206"/>
                    <a:pt x="8463898" y="608206"/>
                  </a:cubicBezTo>
                  <a:cubicBezTo>
                    <a:pt x="8463898" y="610368"/>
                    <a:pt x="8463898" y="612529"/>
                    <a:pt x="8463898" y="614691"/>
                  </a:cubicBezTo>
                  <a:cubicBezTo>
                    <a:pt x="8469978" y="614691"/>
                    <a:pt x="8474032" y="614691"/>
                    <a:pt x="8480112" y="614691"/>
                  </a:cubicBezTo>
                  <a:cubicBezTo>
                    <a:pt x="8480112" y="629824"/>
                    <a:pt x="8480112" y="647118"/>
                    <a:pt x="8480112" y="664412"/>
                  </a:cubicBezTo>
                  <a:cubicBezTo>
                    <a:pt x="8490245" y="664412"/>
                    <a:pt x="8502406" y="664412"/>
                    <a:pt x="8512540" y="664412"/>
                  </a:cubicBezTo>
                  <a:cubicBezTo>
                    <a:pt x="8512540" y="655765"/>
                    <a:pt x="8512540" y="647118"/>
                    <a:pt x="8512540" y="638471"/>
                  </a:cubicBezTo>
                  <a:cubicBezTo>
                    <a:pt x="8524700" y="638471"/>
                    <a:pt x="8538886" y="638471"/>
                    <a:pt x="8551046" y="638471"/>
                  </a:cubicBezTo>
                  <a:cubicBezTo>
                    <a:pt x="8551046" y="627662"/>
                    <a:pt x="8551046" y="619015"/>
                    <a:pt x="8551046" y="608206"/>
                  </a:cubicBezTo>
                  <a:cubicBezTo>
                    <a:pt x="8567261" y="608206"/>
                    <a:pt x="8583473" y="608206"/>
                    <a:pt x="8599688" y="608206"/>
                  </a:cubicBezTo>
                  <a:cubicBezTo>
                    <a:pt x="8599688" y="608235"/>
                    <a:pt x="8599688" y="610010"/>
                    <a:pt x="8599688" y="719362"/>
                  </a:cubicBezTo>
                  <a:lnTo>
                    <a:pt x="8599688" y="733141"/>
                  </a:lnTo>
                  <a:lnTo>
                    <a:pt x="8665562" y="733141"/>
                  </a:lnTo>
                  <a:lnTo>
                    <a:pt x="8665562" y="838913"/>
                  </a:lnTo>
                  <a:lnTo>
                    <a:pt x="8665562" y="862160"/>
                  </a:lnTo>
                  <a:lnTo>
                    <a:pt x="8680522" y="862160"/>
                  </a:lnTo>
                  <a:cubicBezTo>
                    <a:pt x="8680522" y="862160"/>
                    <a:pt x="8680522" y="862160"/>
                    <a:pt x="8680522" y="860998"/>
                  </a:cubicBezTo>
                  <a:lnTo>
                    <a:pt x="8680522" y="852862"/>
                  </a:lnTo>
                  <a:cubicBezTo>
                    <a:pt x="8680522" y="852862"/>
                    <a:pt x="8680522" y="852862"/>
                    <a:pt x="8725102" y="852862"/>
                  </a:cubicBezTo>
                  <a:cubicBezTo>
                    <a:pt x="8725102" y="852862"/>
                    <a:pt x="8725102" y="852862"/>
                    <a:pt x="8725102" y="855477"/>
                  </a:cubicBezTo>
                  <a:lnTo>
                    <a:pt x="8725102" y="861131"/>
                  </a:lnTo>
                  <a:lnTo>
                    <a:pt x="8733569" y="852574"/>
                  </a:lnTo>
                  <a:cubicBezTo>
                    <a:pt x="8731340" y="852574"/>
                    <a:pt x="8731340" y="850249"/>
                    <a:pt x="8729111" y="850249"/>
                  </a:cubicBezTo>
                  <a:cubicBezTo>
                    <a:pt x="8729111" y="847924"/>
                    <a:pt x="8729111" y="845600"/>
                    <a:pt x="8729111" y="843275"/>
                  </a:cubicBezTo>
                  <a:cubicBezTo>
                    <a:pt x="8731340" y="843275"/>
                    <a:pt x="8733569" y="840950"/>
                    <a:pt x="8735797" y="840950"/>
                  </a:cubicBezTo>
                  <a:cubicBezTo>
                    <a:pt x="8735797" y="836301"/>
                    <a:pt x="8735797" y="833976"/>
                    <a:pt x="8735797" y="831652"/>
                  </a:cubicBezTo>
                  <a:cubicBezTo>
                    <a:pt x="8738027" y="831652"/>
                    <a:pt x="8738027" y="831652"/>
                    <a:pt x="8740256" y="831652"/>
                  </a:cubicBezTo>
                  <a:cubicBezTo>
                    <a:pt x="8740256" y="824678"/>
                    <a:pt x="8740256" y="817704"/>
                    <a:pt x="8740256" y="810730"/>
                  </a:cubicBezTo>
                  <a:cubicBezTo>
                    <a:pt x="8738027" y="810730"/>
                    <a:pt x="8738027" y="810730"/>
                    <a:pt x="8735797" y="810730"/>
                  </a:cubicBezTo>
                  <a:cubicBezTo>
                    <a:pt x="8735797" y="808405"/>
                    <a:pt x="8735797" y="808405"/>
                    <a:pt x="8735797" y="806081"/>
                  </a:cubicBezTo>
                  <a:lnTo>
                    <a:pt x="8740256" y="803756"/>
                  </a:lnTo>
                  <a:cubicBezTo>
                    <a:pt x="8744713" y="799107"/>
                    <a:pt x="8746943" y="794457"/>
                    <a:pt x="8751401" y="787483"/>
                  </a:cubicBezTo>
                  <a:cubicBezTo>
                    <a:pt x="8753629" y="782834"/>
                    <a:pt x="8753629" y="780510"/>
                    <a:pt x="8753629" y="778185"/>
                  </a:cubicBezTo>
                  <a:cubicBezTo>
                    <a:pt x="8749172" y="771211"/>
                    <a:pt x="8749172" y="759588"/>
                    <a:pt x="8753629" y="752614"/>
                  </a:cubicBezTo>
                  <a:cubicBezTo>
                    <a:pt x="8753631" y="752611"/>
                    <a:pt x="8753645" y="752565"/>
                    <a:pt x="8753909" y="751742"/>
                  </a:cubicBezTo>
                  <a:lnTo>
                    <a:pt x="8755767" y="745928"/>
                  </a:lnTo>
                  <a:lnTo>
                    <a:pt x="8754080" y="745928"/>
                  </a:lnTo>
                  <a:cubicBezTo>
                    <a:pt x="8754080" y="745928"/>
                    <a:pt x="8754080" y="745928"/>
                    <a:pt x="8754080" y="744766"/>
                  </a:cubicBezTo>
                  <a:lnTo>
                    <a:pt x="8754080" y="736629"/>
                  </a:lnTo>
                  <a:cubicBezTo>
                    <a:pt x="8754080" y="736629"/>
                    <a:pt x="8754080" y="736629"/>
                    <a:pt x="8755194" y="736629"/>
                  </a:cubicBezTo>
                  <a:lnTo>
                    <a:pt x="8762996" y="736629"/>
                  </a:lnTo>
                  <a:cubicBezTo>
                    <a:pt x="8762996" y="736629"/>
                    <a:pt x="8762996" y="736629"/>
                    <a:pt x="8762996" y="735467"/>
                  </a:cubicBezTo>
                  <a:lnTo>
                    <a:pt x="8762996" y="727331"/>
                  </a:lnTo>
                  <a:cubicBezTo>
                    <a:pt x="8762996" y="727331"/>
                    <a:pt x="8762996" y="727331"/>
                    <a:pt x="8761881" y="727331"/>
                  </a:cubicBezTo>
                  <a:lnTo>
                    <a:pt x="8754080" y="727331"/>
                  </a:lnTo>
                  <a:cubicBezTo>
                    <a:pt x="8754080" y="727331"/>
                    <a:pt x="8754080" y="727331"/>
                    <a:pt x="8754080" y="726168"/>
                  </a:cubicBezTo>
                  <a:lnTo>
                    <a:pt x="8754080" y="718032"/>
                  </a:lnTo>
                  <a:cubicBezTo>
                    <a:pt x="8754080" y="718032"/>
                    <a:pt x="8754080" y="718032"/>
                    <a:pt x="8755194" y="718032"/>
                  </a:cubicBezTo>
                  <a:lnTo>
                    <a:pt x="8762996" y="718032"/>
                  </a:lnTo>
                  <a:cubicBezTo>
                    <a:pt x="8762996" y="718032"/>
                    <a:pt x="8762996" y="718032"/>
                    <a:pt x="8762996" y="717160"/>
                  </a:cubicBezTo>
                  <a:lnTo>
                    <a:pt x="8762996" y="711058"/>
                  </a:lnTo>
                  <a:cubicBezTo>
                    <a:pt x="8762996" y="711058"/>
                    <a:pt x="8762996" y="711058"/>
                    <a:pt x="8761881" y="711058"/>
                  </a:cubicBezTo>
                  <a:lnTo>
                    <a:pt x="8754080" y="711058"/>
                  </a:lnTo>
                  <a:cubicBezTo>
                    <a:pt x="8754080" y="711058"/>
                    <a:pt x="8754080" y="711058"/>
                    <a:pt x="8754080" y="709896"/>
                  </a:cubicBezTo>
                  <a:lnTo>
                    <a:pt x="8754080" y="701759"/>
                  </a:lnTo>
                  <a:cubicBezTo>
                    <a:pt x="8754080" y="701759"/>
                    <a:pt x="8754080" y="701759"/>
                    <a:pt x="8755194" y="701759"/>
                  </a:cubicBezTo>
                  <a:lnTo>
                    <a:pt x="8762996" y="701759"/>
                  </a:lnTo>
                  <a:cubicBezTo>
                    <a:pt x="8762996" y="701759"/>
                    <a:pt x="8762996" y="701759"/>
                    <a:pt x="8761881" y="700016"/>
                  </a:cubicBezTo>
                  <a:lnTo>
                    <a:pt x="8754080" y="687812"/>
                  </a:lnTo>
                  <a:cubicBezTo>
                    <a:pt x="8754080" y="687812"/>
                    <a:pt x="8754080" y="687812"/>
                    <a:pt x="8754080" y="650617"/>
                  </a:cubicBezTo>
                  <a:cubicBezTo>
                    <a:pt x="8754080" y="650617"/>
                    <a:pt x="8754080" y="650617"/>
                    <a:pt x="8903424" y="650617"/>
                  </a:cubicBezTo>
                  <a:cubicBezTo>
                    <a:pt x="8903424" y="650617"/>
                    <a:pt x="8903424" y="650617"/>
                    <a:pt x="8905096" y="653232"/>
                  </a:cubicBezTo>
                  <a:lnTo>
                    <a:pt x="8908543" y="658626"/>
                  </a:lnTo>
                  <a:lnTo>
                    <a:pt x="8908543" y="647687"/>
                  </a:lnTo>
                  <a:cubicBezTo>
                    <a:pt x="8908543" y="636001"/>
                    <a:pt x="8908543" y="622669"/>
                    <a:pt x="8908543" y="607460"/>
                  </a:cubicBezTo>
                  <a:cubicBezTo>
                    <a:pt x="8908552" y="607460"/>
                    <a:pt x="8908671" y="607460"/>
                    <a:pt x="8910570" y="607460"/>
                  </a:cubicBezTo>
                  <a:lnTo>
                    <a:pt x="8924757" y="607460"/>
                  </a:lnTo>
                  <a:cubicBezTo>
                    <a:pt x="8924757" y="607441"/>
                    <a:pt x="8924757" y="606126"/>
                    <a:pt x="8924757" y="515723"/>
                  </a:cubicBezTo>
                  <a:lnTo>
                    <a:pt x="8924757" y="490724"/>
                  </a:lnTo>
                  <a:lnTo>
                    <a:pt x="9078786" y="490724"/>
                  </a:lnTo>
                  <a:lnTo>
                    <a:pt x="9078786" y="506306"/>
                  </a:lnTo>
                  <a:cubicBezTo>
                    <a:pt x="9078786" y="526935"/>
                    <a:pt x="9078786" y="559711"/>
                    <a:pt x="9078786" y="611783"/>
                  </a:cubicBezTo>
                  <a:cubicBezTo>
                    <a:pt x="9078796" y="611782"/>
                    <a:pt x="9078908" y="611761"/>
                    <a:pt x="9080306" y="611513"/>
                  </a:cubicBezTo>
                  <a:lnTo>
                    <a:pt x="9090946" y="609622"/>
                  </a:lnTo>
                  <a:cubicBezTo>
                    <a:pt x="9090946" y="609644"/>
                    <a:pt x="9090916" y="610978"/>
                    <a:pt x="9088919" y="698254"/>
                  </a:cubicBezTo>
                  <a:cubicBezTo>
                    <a:pt x="9088929" y="698256"/>
                    <a:pt x="9089040" y="698276"/>
                    <a:pt x="9090439" y="698525"/>
                  </a:cubicBezTo>
                  <a:lnTo>
                    <a:pt x="9101079" y="700416"/>
                  </a:lnTo>
                  <a:cubicBezTo>
                    <a:pt x="9101081" y="700423"/>
                    <a:pt x="9101101" y="700487"/>
                    <a:pt x="9101332" y="701227"/>
                  </a:cubicBezTo>
                  <a:lnTo>
                    <a:pt x="9103106" y="706902"/>
                  </a:lnTo>
                  <a:cubicBezTo>
                    <a:pt x="9103108" y="706893"/>
                    <a:pt x="9103153" y="706750"/>
                    <a:pt x="9103866" y="704470"/>
                  </a:cubicBezTo>
                  <a:lnTo>
                    <a:pt x="9109186" y="687446"/>
                  </a:lnTo>
                  <a:cubicBezTo>
                    <a:pt x="9109193" y="687446"/>
                    <a:pt x="9109293" y="687446"/>
                    <a:pt x="9110959" y="687446"/>
                  </a:cubicBezTo>
                  <a:lnTo>
                    <a:pt x="9123373" y="687446"/>
                  </a:lnTo>
                  <a:cubicBezTo>
                    <a:pt x="9123373" y="687463"/>
                    <a:pt x="9123373" y="688156"/>
                    <a:pt x="9123373" y="719872"/>
                  </a:cubicBezTo>
                  <a:cubicBezTo>
                    <a:pt x="9123379" y="719877"/>
                    <a:pt x="9123456" y="719917"/>
                    <a:pt x="9124386" y="720413"/>
                  </a:cubicBezTo>
                  <a:lnTo>
                    <a:pt x="9131480" y="724196"/>
                  </a:lnTo>
                  <a:cubicBezTo>
                    <a:pt x="9131480" y="724205"/>
                    <a:pt x="9131480" y="724306"/>
                    <a:pt x="9131480" y="725547"/>
                  </a:cubicBezTo>
                  <a:lnTo>
                    <a:pt x="9131480" y="735005"/>
                  </a:lnTo>
                  <a:cubicBezTo>
                    <a:pt x="9131500" y="735005"/>
                    <a:pt x="9132408" y="735005"/>
                    <a:pt x="9176067" y="735005"/>
                  </a:cubicBezTo>
                  <a:cubicBezTo>
                    <a:pt x="9176067" y="735013"/>
                    <a:pt x="9176067" y="735096"/>
                    <a:pt x="9176067" y="736086"/>
                  </a:cubicBezTo>
                  <a:lnTo>
                    <a:pt x="9176067" y="743652"/>
                  </a:lnTo>
                  <a:cubicBezTo>
                    <a:pt x="9176076" y="743652"/>
                    <a:pt x="9176197" y="743652"/>
                    <a:pt x="9178093" y="743652"/>
                  </a:cubicBezTo>
                  <a:lnTo>
                    <a:pt x="9192280" y="743652"/>
                  </a:lnTo>
                  <a:cubicBezTo>
                    <a:pt x="9192280" y="743634"/>
                    <a:pt x="9192280" y="742905"/>
                    <a:pt x="9192280" y="713387"/>
                  </a:cubicBezTo>
                  <a:cubicBezTo>
                    <a:pt x="9192301" y="713387"/>
                    <a:pt x="9193231" y="713387"/>
                    <a:pt x="9236867" y="713387"/>
                  </a:cubicBezTo>
                  <a:cubicBezTo>
                    <a:pt x="9236867" y="713379"/>
                    <a:pt x="9236867" y="713282"/>
                    <a:pt x="9236867" y="712036"/>
                  </a:cubicBezTo>
                  <a:lnTo>
                    <a:pt x="9236867" y="702578"/>
                  </a:lnTo>
                  <a:cubicBezTo>
                    <a:pt x="9236873" y="702578"/>
                    <a:pt x="9236947" y="702578"/>
                    <a:pt x="9237881" y="702578"/>
                  </a:cubicBezTo>
                  <a:lnTo>
                    <a:pt x="9244974" y="702578"/>
                  </a:lnTo>
                  <a:cubicBezTo>
                    <a:pt x="9244974" y="702571"/>
                    <a:pt x="9244974" y="702458"/>
                    <a:pt x="9244974" y="700687"/>
                  </a:cubicBezTo>
                  <a:lnTo>
                    <a:pt x="9244974" y="687446"/>
                  </a:lnTo>
                  <a:cubicBezTo>
                    <a:pt x="9244983" y="687446"/>
                    <a:pt x="9245055" y="687446"/>
                    <a:pt x="9245734" y="687446"/>
                  </a:cubicBezTo>
                  <a:lnTo>
                    <a:pt x="9251054" y="687446"/>
                  </a:lnTo>
                  <a:cubicBezTo>
                    <a:pt x="9251054" y="687439"/>
                    <a:pt x="9251054" y="687354"/>
                    <a:pt x="9251054" y="686365"/>
                  </a:cubicBezTo>
                  <a:lnTo>
                    <a:pt x="9251054" y="678798"/>
                  </a:lnTo>
                  <a:cubicBezTo>
                    <a:pt x="9251062" y="678798"/>
                    <a:pt x="9251186" y="678798"/>
                    <a:pt x="9253081" y="678798"/>
                  </a:cubicBezTo>
                  <a:lnTo>
                    <a:pt x="9267268" y="678798"/>
                  </a:lnTo>
                  <a:cubicBezTo>
                    <a:pt x="9267268" y="678805"/>
                    <a:pt x="9267268" y="678882"/>
                    <a:pt x="9267268" y="679879"/>
                  </a:cubicBezTo>
                  <a:lnTo>
                    <a:pt x="9267268" y="687446"/>
                  </a:lnTo>
                  <a:cubicBezTo>
                    <a:pt x="9267279" y="687446"/>
                    <a:pt x="9267780" y="687446"/>
                    <a:pt x="9289561" y="687446"/>
                  </a:cubicBezTo>
                  <a:cubicBezTo>
                    <a:pt x="9289561" y="687438"/>
                    <a:pt x="9289561" y="687324"/>
                    <a:pt x="9289561" y="685554"/>
                  </a:cubicBezTo>
                  <a:lnTo>
                    <a:pt x="9289561" y="672313"/>
                  </a:lnTo>
                  <a:cubicBezTo>
                    <a:pt x="9289567" y="672313"/>
                    <a:pt x="9289664" y="672313"/>
                    <a:pt x="9291335" y="672313"/>
                  </a:cubicBezTo>
                  <a:lnTo>
                    <a:pt x="9303748" y="672313"/>
                  </a:lnTo>
                  <a:cubicBezTo>
                    <a:pt x="9303748" y="672325"/>
                    <a:pt x="9303748" y="672839"/>
                    <a:pt x="9303748" y="696093"/>
                  </a:cubicBezTo>
                  <a:cubicBezTo>
                    <a:pt x="9303755" y="696093"/>
                    <a:pt x="9303835" y="696093"/>
                    <a:pt x="9304762" y="696093"/>
                  </a:cubicBezTo>
                  <a:lnTo>
                    <a:pt x="9311855" y="696093"/>
                  </a:lnTo>
                  <a:cubicBezTo>
                    <a:pt x="9311855" y="696087"/>
                    <a:pt x="9311855" y="696006"/>
                    <a:pt x="9311855" y="695012"/>
                  </a:cubicBezTo>
                  <a:lnTo>
                    <a:pt x="9311855" y="687446"/>
                  </a:lnTo>
                  <a:cubicBezTo>
                    <a:pt x="9311864" y="687446"/>
                    <a:pt x="9311982" y="687446"/>
                    <a:pt x="9313628" y="687446"/>
                  </a:cubicBezTo>
                  <a:lnTo>
                    <a:pt x="9326042" y="687446"/>
                  </a:lnTo>
                  <a:cubicBezTo>
                    <a:pt x="9326042" y="687459"/>
                    <a:pt x="9326042" y="688018"/>
                    <a:pt x="9326042" y="713387"/>
                  </a:cubicBezTo>
                  <a:cubicBezTo>
                    <a:pt x="9326050" y="713387"/>
                    <a:pt x="9326168" y="713387"/>
                    <a:pt x="9328069" y="713387"/>
                  </a:cubicBezTo>
                  <a:lnTo>
                    <a:pt x="9342255" y="713387"/>
                  </a:lnTo>
                  <a:cubicBezTo>
                    <a:pt x="9342255" y="713398"/>
                    <a:pt x="9342255" y="713513"/>
                    <a:pt x="9342255" y="715008"/>
                  </a:cubicBezTo>
                  <a:lnTo>
                    <a:pt x="9342255" y="726358"/>
                  </a:lnTo>
                  <a:cubicBezTo>
                    <a:pt x="9342263" y="726358"/>
                    <a:pt x="9342334" y="726358"/>
                    <a:pt x="9343015" y="726358"/>
                  </a:cubicBezTo>
                  <a:lnTo>
                    <a:pt x="9348336" y="726358"/>
                  </a:lnTo>
                  <a:cubicBezTo>
                    <a:pt x="9348336" y="726350"/>
                    <a:pt x="9348336" y="726274"/>
                    <a:pt x="9348336" y="725547"/>
                  </a:cubicBezTo>
                  <a:lnTo>
                    <a:pt x="9348336" y="719872"/>
                  </a:lnTo>
                  <a:cubicBezTo>
                    <a:pt x="9348353" y="719872"/>
                    <a:pt x="9349072" y="719872"/>
                    <a:pt x="9378736" y="719872"/>
                  </a:cubicBezTo>
                  <a:cubicBezTo>
                    <a:pt x="9378736" y="719886"/>
                    <a:pt x="9378736" y="720449"/>
                    <a:pt x="9378736" y="743652"/>
                  </a:cubicBezTo>
                  <a:cubicBezTo>
                    <a:pt x="9378743" y="743652"/>
                    <a:pt x="9378822" y="743652"/>
                    <a:pt x="9379749" y="743652"/>
                  </a:cubicBezTo>
                  <a:lnTo>
                    <a:pt x="9386843" y="743652"/>
                  </a:lnTo>
                  <a:cubicBezTo>
                    <a:pt x="9386843" y="743659"/>
                    <a:pt x="9386843" y="743732"/>
                    <a:pt x="9386843" y="744733"/>
                  </a:cubicBezTo>
                  <a:lnTo>
                    <a:pt x="9386843" y="752299"/>
                  </a:lnTo>
                  <a:cubicBezTo>
                    <a:pt x="9386852" y="752299"/>
                    <a:pt x="9386925" y="752299"/>
                    <a:pt x="9387603" y="752299"/>
                  </a:cubicBezTo>
                  <a:lnTo>
                    <a:pt x="9392923" y="752299"/>
                  </a:lnTo>
                  <a:cubicBezTo>
                    <a:pt x="9392923" y="752292"/>
                    <a:pt x="9392923" y="752172"/>
                    <a:pt x="9392923" y="750137"/>
                  </a:cubicBezTo>
                  <a:lnTo>
                    <a:pt x="9392923" y="735005"/>
                  </a:lnTo>
                  <a:cubicBezTo>
                    <a:pt x="9392930" y="735005"/>
                    <a:pt x="9393008" y="735005"/>
                    <a:pt x="9393936" y="735005"/>
                  </a:cubicBezTo>
                  <a:lnTo>
                    <a:pt x="9401030" y="735005"/>
                  </a:lnTo>
                  <a:cubicBezTo>
                    <a:pt x="9401030" y="735013"/>
                    <a:pt x="9401030" y="735096"/>
                    <a:pt x="9401030" y="736086"/>
                  </a:cubicBezTo>
                  <a:lnTo>
                    <a:pt x="9401030" y="743652"/>
                  </a:lnTo>
                  <a:lnTo>
                    <a:pt x="9406350" y="741659"/>
                  </a:lnTo>
                  <a:cubicBezTo>
                    <a:pt x="9407110" y="741287"/>
                    <a:pt x="9407110" y="741085"/>
                    <a:pt x="9407110" y="740679"/>
                  </a:cubicBezTo>
                  <a:lnTo>
                    <a:pt x="9407110" y="735005"/>
                  </a:lnTo>
                  <a:cubicBezTo>
                    <a:pt x="9407127" y="735005"/>
                    <a:pt x="9407928" y="735005"/>
                    <a:pt x="9445617" y="735005"/>
                  </a:cubicBezTo>
                  <a:cubicBezTo>
                    <a:pt x="9445617" y="735019"/>
                    <a:pt x="9445617" y="735566"/>
                    <a:pt x="9445617" y="758784"/>
                  </a:cubicBezTo>
                  <a:cubicBezTo>
                    <a:pt x="9445625" y="758784"/>
                    <a:pt x="9445743" y="758784"/>
                    <a:pt x="9447643" y="758784"/>
                  </a:cubicBezTo>
                  <a:lnTo>
                    <a:pt x="9461830" y="758784"/>
                  </a:lnTo>
                  <a:cubicBezTo>
                    <a:pt x="9461830" y="758792"/>
                    <a:pt x="9461830" y="758874"/>
                    <a:pt x="9461830" y="759865"/>
                  </a:cubicBezTo>
                  <a:lnTo>
                    <a:pt x="9461830" y="767431"/>
                  </a:lnTo>
                  <a:cubicBezTo>
                    <a:pt x="9461839" y="767431"/>
                    <a:pt x="9461962" y="767431"/>
                    <a:pt x="9463604" y="767431"/>
                  </a:cubicBezTo>
                  <a:lnTo>
                    <a:pt x="9476017" y="767431"/>
                  </a:lnTo>
                  <a:cubicBezTo>
                    <a:pt x="9476017" y="767419"/>
                    <a:pt x="9476017" y="766908"/>
                    <a:pt x="9476017" y="743652"/>
                  </a:cubicBezTo>
                  <a:cubicBezTo>
                    <a:pt x="9476024" y="743652"/>
                    <a:pt x="9476102" y="743652"/>
                    <a:pt x="9477030" y="743652"/>
                  </a:cubicBezTo>
                  <a:lnTo>
                    <a:pt x="9484124" y="743652"/>
                  </a:lnTo>
                  <a:cubicBezTo>
                    <a:pt x="9484124" y="743633"/>
                    <a:pt x="9484124" y="742862"/>
                    <a:pt x="9484124" y="711225"/>
                  </a:cubicBezTo>
                  <a:cubicBezTo>
                    <a:pt x="9484131" y="711225"/>
                    <a:pt x="9484208" y="711225"/>
                    <a:pt x="9485137" y="711225"/>
                  </a:cubicBezTo>
                  <a:lnTo>
                    <a:pt x="9492231" y="711225"/>
                  </a:lnTo>
                  <a:cubicBezTo>
                    <a:pt x="9492231" y="711219"/>
                    <a:pt x="9492231" y="711110"/>
                    <a:pt x="9492231" y="709334"/>
                  </a:cubicBezTo>
                  <a:lnTo>
                    <a:pt x="9492231" y="696093"/>
                  </a:lnTo>
                  <a:cubicBezTo>
                    <a:pt x="9490204" y="696093"/>
                    <a:pt x="9490204" y="696093"/>
                    <a:pt x="9490964" y="694471"/>
                  </a:cubicBezTo>
                  <a:lnTo>
                    <a:pt x="9496284" y="683122"/>
                  </a:lnTo>
                  <a:cubicBezTo>
                    <a:pt x="9496289" y="683139"/>
                    <a:pt x="9496484" y="683813"/>
                    <a:pt x="9504391" y="711225"/>
                  </a:cubicBezTo>
                  <a:cubicBezTo>
                    <a:pt x="9504399" y="711225"/>
                    <a:pt x="9504472" y="711225"/>
                    <a:pt x="9505151" y="711225"/>
                  </a:cubicBezTo>
                  <a:lnTo>
                    <a:pt x="9510471" y="711225"/>
                  </a:lnTo>
                  <a:cubicBezTo>
                    <a:pt x="9510471" y="711212"/>
                    <a:pt x="9510471" y="710033"/>
                    <a:pt x="9510471" y="605298"/>
                  </a:cubicBezTo>
                  <a:cubicBezTo>
                    <a:pt x="9510481" y="605298"/>
                    <a:pt x="9510595" y="605298"/>
                    <a:pt x="9511991" y="605298"/>
                  </a:cubicBezTo>
                  <a:lnTo>
                    <a:pt x="9522631" y="605298"/>
                  </a:lnTo>
                  <a:cubicBezTo>
                    <a:pt x="9522631" y="605276"/>
                    <a:pt x="9522631" y="604266"/>
                    <a:pt x="9522631" y="557739"/>
                  </a:cubicBezTo>
                  <a:cubicBezTo>
                    <a:pt x="9522648" y="557739"/>
                    <a:pt x="9523273" y="557739"/>
                    <a:pt x="9548978" y="557739"/>
                  </a:cubicBezTo>
                  <a:cubicBezTo>
                    <a:pt x="9548978" y="557727"/>
                    <a:pt x="9548978" y="557217"/>
                    <a:pt x="9548978" y="536121"/>
                  </a:cubicBezTo>
                  <a:cubicBezTo>
                    <a:pt x="9548997" y="536121"/>
                    <a:pt x="9549786" y="536121"/>
                    <a:pt x="9583432" y="536121"/>
                  </a:cubicBezTo>
                  <a:cubicBezTo>
                    <a:pt x="9583432" y="536129"/>
                    <a:pt x="9583432" y="536259"/>
                    <a:pt x="9583432" y="538553"/>
                  </a:cubicBezTo>
                  <a:lnTo>
                    <a:pt x="9583432" y="555577"/>
                  </a:lnTo>
                  <a:cubicBezTo>
                    <a:pt x="9583441" y="555577"/>
                    <a:pt x="9583572" y="555577"/>
                    <a:pt x="9585712" y="555577"/>
                  </a:cubicBezTo>
                  <a:lnTo>
                    <a:pt x="9601672" y="555577"/>
                  </a:lnTo>
                  <a:cubicBezTo>
                    <a:pt x="9601672" y="555595"/>
                    <a:pt x="9601672" y="556489"/>
                    <a:pt x="9601672" y="603136"/>
                  </a:cubicBezTo>
                  <a:cubicBezTo>
                    <a:pt x="9601678" y="603136"/>
                    <a:pt x="9601754" y="603136"/>
                    <a:pt x="9602685" y="603136"/>
                  </a:cubicBezTo>
                  <a:lnTo>
                    <a:pt x="9609779" y="603136"/>
                  </a:lnTo>
                  <a:lnTo>
                    <a:pt x="9623966" y="607460"/>
                  </a:lnTo>
                  <a:cubicBezTo>
                    <a:pt x="9623966" y="607470"/>
                    <a:pt x="9623966" y="608120"/>
                    <a:pt x="9623966" y="646372"/>
                  </a:cubicBezTo>
                  <a:cubicBezTo>
                    <a:pt x="9623972" y="646372"/>
                    <a:pt x="9624047" y="646372"/>
                    <a:pt x="9624979" y="646372"/>
                  </a:cubicBezTo>
                  <a:lnTo>
                    <a:pt x="9632072" y="646372"/>
                  </a:lnTo>
                  <a:cubicBezTo>
                    <a:pt x="9632072" y="646382"/>
                    <a:pt x="9632072" y="646488"/>
                    <a:pt x="9632072" y="647993"/>
                  </a:cubicBezTo>
                  <a:lnTo>
                    <a:pt x="9632072" y="659342"/>
                  </a:lnTo>
                  <a:cubicBezTo>
                    <a:pt x="9632080" y="659342"/>
                    <a:pt x="9632204" y="659342"/>
                    <a:pt x="9634099" y="659342"/>
                  </a:cubicBezTo>
                  <a:lnTo>
                    <a:pt x="9648286" y="659342"/>
                  </a:lnTo>
                  <a:lnTo>
                    <a:pt x="9654366" y="665828"/>
                  </a:lnTo>
                  <a:cubicBezTo>
                    <a:pt x="9654366" y="665840"/>
                    <a:pt x="9654366" y="666326"/>
                    <a:pt x="9654366" y="687446"/>
                  </a:cubicBezTo>
                  <a:cubicBezTo>
                    <a:pt x="9654375" y="687446"/>
                    <a:pt x="9654506" y="687446"/>
                    <a:pt x="9656646" y="687446"/>
                  </a:cubicBezTo>
                  <a:lnTo>
                    <a:pt x="9672606" y="687446"/>
                  </a:lnTo>
                  <a:cubicBezTo>
                    <a:pt x="9672606" y="687453"/>
                    <a:pt x="9672606" y="687533"/>
                    <a:pt x="9672606" y="688526"/>
                  </a:cubicBezTo>
                  <a:lnTo>
                    <a:pt x="9672606" y="696093"/>
                  </a:lnTo>
                  <a:cubicBezTo>
                    <a:pt x="9672615" y="696093"/>
                    <a:pt x="9672714" y="696093"/>
                    <a:pt x="9673873" y="696093"/>
                  </a:cubicBezTo>
                  <a:lnTo>
                    <a:pt x="9682740" y="696093"/>
                  </a:lnTo>
                  <a:cubicBezTo>
                    <a:pt x="9682740" y="696102"/>
                    <a:pt x="9682740" y="696231"/>
                    <a:pt x="9682740" y="698254"/>
                  </a:cubicBezTo>
                  <a:lnTo>
                    <a:pt x="9682740" y="713387"/>
                  </a:lnTo>
                  <a:cubicBezTo>
                    <a:pt x="9686793" y="713387"/>
                    <a:pt x="9686793" y="713387"/>
                    <a:pt x="9686793" y="711495"/>
                  </a:cubicBezTo>
                  <a:lnTo>
                    <a:pt x="9686793" y="698254"/>
                  </a:lnTo>
                  <a:cubicBezTo>
                    <a:pt x="9686799" y="698254"/>
                    <a:pt x="9686877" y="698254"/>
                    <a:pt x="9687806" y="698254"/>
                  </a:cubicBezTo>
                  <a:lnTo>
                    <a:pt x="9694900" y="698254"/>
                  </a:lnTo>
                  <a:cubicBezTo>
                    <a:pt x="9694900" y="698265"/>
                    <a:pt x="9694900" y="698384"/>
                    <a:pt x="9694900" y="699876"/>
                  </a:cubicBezTo>
                  <a:lnTo>
                    <a:pt x="9694900" y="711225"/>
                  </a:lnTo>
                  <a:cubicBezTo>
                    <a:pt x="9694909" y="711225"/>
                    <a:pt x="9694982" y="711225"/>
                    <a:pt x="9695660" y="711225"/>
                  </a:cubicBezTo>
                  <a:lnTo>
                    <a:pt x="9700980" y="711225"/>
                  </a:lnTo>
                  <a:cubicBezTo>
                    <a:pt x="9700980" y="706902"/>
                    <a:pt x="9700980" y="706902"/>
                    <a:pt x="9749620" y="706902"/>
                  </a:cubicBezTo>
                  <a:cubicBezTo>
                    <a:pt x="9749620" y="706911"/>
                    <a:pt x="9749620" y="707012"/>
                    <a:pt x="9749620" y="708253"/>
                  </a:cubicBezTo>
                  <a:lnTo>
                    <a:pt x="9749620" y="717710"/>
                  </a:lnTo>
                  <a:cubicBezTo>
                    <a:pt x="9749628" y="717710"/>
                    <a:pt x="9749703" y="717710"/>
                    <a:pt x="9750380" y="717710"/>
                  </a:cubicBezTo>
                  <a:lnTo>
                    <a:pt x="9755702" y="717710"/>
                  </a:lnTo>
                  <a:cubicBezTo>
                    <a:pt x="9755702" y="717719"/>
                    <a:pt x="9755702" y="717841"/>
                    <a:pt x="9755702" y="719872"/>
                  </a:cubicBezTo>
                  <a:lnTo>
                    <a:pt x="9755702" y="735005"/>
                  </a:lnTo>
                  <a:cubicBezTo>
                    <a:pt x="9755710" y="735001"/>
                    <a:pt x="9755826" y="734923"/>
                    <a:pt x="9757728" y="733654"/>
                  </a:cubicBezTo>
                  <a:lnTo>
                    <a:pt x="9771914" y="724196"/>
                  </a:lnTo>
                  <a:cubicBezTo>
                    <a:pt x="9771916" y="724177"/>
                    <a:pt x="9772048" y="723302"/>
                    <a:pt x="9777994" y="683122"/>
                  </a:cubicBezTo>
                  <a:cubicBezTo>
                    <a:pt x="9778004" y="683120"/>
                    <a:pt x="9778072" y="683094"/>
                    <a:pt x="9778754" y="682852"/>
                  </a:cubicBezTo>
                  <a:lnTo>
                    <a:pt x="9784074" y="680960"/>
                  </a:lnTo>
                  <a:cubicBezTo>
                    <a:pt x="9784074" y="680944"/>
                    <a:pt x="9784108" y="679883"/>
                    <a:pt x="9786102" y="611783"/>
                  </a:cubicBezTo>
                  <a:cubicBezTo>
                    <a:pt x="9786102" y="611801"/>
                    <a:pt x="9786134" y="612892"/>
                    <a:pt x="9788128" y="680960"/>
                  </a:cubicBezTo>
                  <a:cubicBezTo>
                    <a:pt x="9788138" y="680963"/>
                    <a:pt x="9788208" y="680988"/>
                    <a:pt x="9788888" y="681230"/>
                  </a:cubicBezTo>
                  <a:lnTo>
                    <a:pt x="9794208" y="683122"/>
                  </a:lnTo>
                  <a:cubicBezTo>
                    <a:pt x="9794208" y="683102"/>
                    <a:pt x="9794208" y="681769"/>
                    <a:pt x="9794208" y="596651"/>
                  </a:cubicBezTo>
                  <a:cubicBezTo>
                    <a:pt x="9798262" y="596651"/>
                    <a:pt x="9798262" y="596651"/>
                    <a:pt x="9798262" y="564224"/>
                  </a:cubicBezTo>
                  <a:cubicBezTo>
                    <a:pt x="9798274" y="564224"/>
                    <a:pt x="9798960" y="564224"/>
                    <a:pt x="9836768" y="564224"/>
                  </a:cubicBezTo>
                  <a:cubicBezTo>
                    <a:pt x="9836768" y="564241"/>
                    <a:pt x="9836768" y="564959"/>
                    <a:pt x="9836768" y="596651"/>
                  </a:cubicBezTo>
                  <a:cubicBezTo>
                    <a:pt x="9836778" y="596651"/>
                    <a:pt x="9836850" y="596651"/>
                    <a:pt x="9837528" y="596651"/>
                  </a:cubicBezTo>
                  <a:lnTo>
                    <a:pt x="9842848" y="596651"/>
                  </a:lnTo>
                  <a:cubicBezTo>
                    <a:pt x="9842848" y="596630"/>
                    <a:pt x="9842848" y="595324"/>
                    <a:pt x="9842848" y="514503"/>
                  </a:cubicBezTo>
                  <a:cubicBezTo>
                    <a:pt x="9842854" y="514503"/>
                    <a:pt x="9842954" y="514503"/>
                    <a:pt x="9844622" y="514503"/>
                  </a:cubicBezTo>
                  <a:lnTo>
                    <a:pt x="9857036" y="514503"/>
                  </a:lnTo>
                  <a:cubicBezTo>
                    <a:pt x="9857036" y="514496"/>
                    <a:pt x="9857036" y="514385"/>
                    <a:pt x="9857036" y="512612"/>
                  </a:cubicBezTo>
                  <a:lnTo>
                    <a:pt x="9857036" y="499371"/>
                  </a:lnTo>
                  <a:cubicBezTo>
                    <a:pt x="9857046" y="499371"/>
                    <a:pt x="9857544" y="499371"/>
                    <a:pt x="9879330" y="499371"/>
                  </a:cubicBezTo>
                  <a:cubicBezTo>
                    <a:pt x="9879330" y="499364"/>
                    <a:pt x="9879330" y="499283"/>
                    <a:pt x="9879330" y="498290"/>
                  </a:cubicBezTo>
                  <a:lnTo>
                    <a:pt x="9879330" y="490724"/>
                  </a:lnTo>
                  <a:cubicBezTo>
                    <a:pt x="9879336" y="490724"/>
                    <a:pt x="9879446" y="490724"/>
                    <a:pt x="9881102" y="490724"/>
                  </a:cubicBezTo>
                  <a:lnTo>
                    <a:pt x="9893516" y="490724"/>
                  </a:lnTo>
                  <a:cubicBezTo>
                    <a:pt x="9893516" y="490732"/>
                    <a:pt x="9893516" y="490811"/>
                    <a:pt x="9893516" y="491805"/>
                  </a:cubicBezTo>
                  <a:lnTo>
                    <a:pt x="9893516" y="499371"/>
                  </a:lnTo>
                  <a:cubicBezTo>
                    <a:pt x="9893526" y="499371"/>
                    <a:pt x="9893598" y="499371"/>
                    <a:pt x="9894276" y="499371"/>
                  </a:cubicBezTo>
                  <a:lnTo>
                    <a:pt x="9899596" y="499371"/>
                  </a:lnTo>
                  <a:lnTo>
                    <a:pt x="9909730" y="495047"/>
                  </a:lnTo>
                  <a:lnTo>
                    <a:pt x="9913782" y="498290"/>
                  </a:lnTo>
                  <a:lnTo>
                    <a:pt x="9913782" y="490724"/>
                  </a:lnTo>
                  <a:cubicBezTo>
                    <a:pt x="9913792" y="490724"/>
                    <a:pt x="9913928" y="490724"/>
                    <a:pt x="9916062" y="490724"/>
                  </a:cubicBezTo>
                  <a:lnTo>
                    <a:pt x="9932024" y="490724"/>
                  </a:lnTo>
                  <a:cubicBezTo>
                    <a:pt x="9932024" y="490732"/>
                    <a:pt x="9932024" y="490811"/>
                    <a:pt x="9932024" y="491805"/>
                  </a:cubicBezTo>
                  <a:lnTo>
                    <a:pt x="9932024" y="499371"/>
                  </a:lnTo>
                  <a:cubicBezTo>
                    <a:pt x="9932042" y="499371"/>
                    <a:pt x="9932778" y="499371"/>
                    <a:pt x="9962424" y="499371"/>
                  </a:cubicBezTo>
                  <a:cubicBezTo>
                    <a:pt x="9962424" y="499381"/>
                    <a:pt x="9962424" y="499490"/>
                    <a:pt x="9962424" y="500992"/>
                  </a:cubicBezTo>
                  <a:lnTo>
                    <a:pt x="9962424" y="512342"/>
                  </a:lnTo>
                  <a:cubicBezTo>
                    <a:pt x="9962440" y="512342"/>
                    <a:pt x="9963080" y="512342"/>
                    <a:pt x="9988770" y="512342"/>
                  </a:cubicBezTo>
                  <a:cubicBezTo>
                    <a:pt x="9988770" y="512358"/>
                    <a:pt x="9988770" y="513038"/>
                    <a:pt x="9988770" y="542606"/>
                  </a:cubicBezTo>
                  <a:cubicBezTo>
                    <a:pt x="9988780" y="542606"/>
                    <a:pt x="9988852" y="542606"/>
                    <a:pt x="9989530" y="542606"/>
                  </a:cubicBezTo>
                  <a:lnTo>
                    <a:pt x="9994850" y="542606"/>
                  </a:lnTo>
                  <a:cubicBezTo>
                    <a:pt x="9994850" y="542613"/>
                    <a:pt x="9994850" y="542699"/>
                    <a:pt x="9994850" y="543687"/>
                  </a:cubicBezTo>
                  <a:lnTo>
                    <a:pt x="9994850" y="551254"/>
                  </a:lnTo>
                  <a:cubicBezTo>
                    <a:pt x="9998904" y="551254"/>
                    <a:pt x="9998904" y="551254"/>
                    <a:pt x="9998904" y="581518"/>
                  </a:cubicBezTo>
                  <a:cubicBezTo>
                    <a:pt x="9998914" y="581518"/>
                    <a:pt x="9998988" y="581518"/>
                    <a:pt x="9999664" y="581518"/>
                  </a:cubicBezTo>
                  <a:lnTo>
                    <a:pt x="10004984" y="581518"/>
                  </a:lnTo>
                  <a:cubicBezTo>
                    <a:pt x="10004984" y="581527"/>
                    <a:pt x="10004984" y="581594"/>
                    <a:pt x="10004984" y="582329"/>
                  </a:cubicBezTo>
                  <a:lnTo>
                    <a:pt x="10004984" y="588004"/>
                  </a:lnTo>
                  <a:cubicBezTo>
                    <a:pt x="10004990" y="588004"/>
                    <a:pt x="10005068" y="588004"/>
                    <a:pt x="10005998" y="588004"/>
                  </a:cubicBezTo>
                  <a:lnTo>
                    <a:pt x="10013090" y="588004"/>
                  </a:lnTo>
                  <a:cubicBezTo>
                    <a:pt x="10013090" y="588021"/>
                    <a:pt x="10013090" y="588734"/>
                    <a:pt x="10013090" y="618269"/>
                  </a:cubicBezTo>
                  <a:cubicBezTo>
                    <a:pt x="10013098" y="618269"/>
                    <a:pt x="10013218" y="618269"/>
                    <a:pt x="10015118" y="618269"/>
                  </a:cubicBezTo>
                  <a:lnTo>
                    <a:pt x="10029304" y="618269"/>
                  </a:lnTo>
                  <a:cubicBezTo>
                    <a:pt x="10029304" y="618285"/>
                    <a:pt x="10029304" y="618865"/>
                    <a:pt x="10029304" y="642048"/>
                  </a:cubicBezTo>
                  <a:cubicBezTo>
                    <a:pt x="10031332" y="642048"/>
                    <a:pt x="10031332" y="642048"/>
                    <a:pt x="10031332" y="643669"/>
                  </a:cubicBezTo>
                  <a:lnTo>
                    <a:pt x="10031332" y="655019"/>
                  </a:lnTo>
                  <a:cubicBezTo>
                    <a:pt x="10031340" y="655019"/>
                    <a:pt x="10031410" y="655019"/>
                    <a:pt x="10032092" y="655019"/>
                  </a:cubicBezTo>
                  <a:lnTo>
                    <a:pt x="10037412" y="655019"/>
                  </a:lnTo>
                  <a:cubicBezTo>
                    <a:pt x="10037412" y="655033"/>
                    <a:pt x="10037412" y="655596"/>
                    <a:pt x="10037412" y="678798"/>
                  </a:cubicBezTo>
                  <a:cubicBezTo>
                    <a:pt x="10037420" y="678798"/>
                    <a:pt x="10037518" y="678798"/>
                    <a:pt x="10038678" y="678798"/>
                  </a:cubicBezTo>
                  <a:lnTo>
                    <a:pt x="10047544" y="678798"/>
                  </a:lnTo>
                  <a:cubicBezTo>
                    <a:pt x="10049572" y="680960"/>
                    <a:pt x="10049572" y="680960"/>
                    <a:pt x="10049572" y="682852"/>
                  </a:cubicBezTo>
                  <a:lnTo>
                    <a:pt x="10049572" y="696093"/>
                  </a:lnTo>
                  <a:cubicBezTo>
                    <a:pt x="10049576" y="696086"/>
                    <a:pt x="10049664" y="695979"/>
                    <a:pt x="10051092" y="694201"/>
                  </a:cubicBezTo>
                  <a:lnTo>
                    <a:pt x="10061732" y="680960"/>
                  </a:lnTo>
                  <a:cubicBezTo>
                    <a:pt x="10061746" y="680960"/>
                    <a:pt x="10062386" y="680960"/>
                    <a:pt x="10090106" y="680960"/>
                  </a:cubicBezTo>
                  <a:cubicBezTo>
                    <a:pt x="10090106" y="680985"/>
                    <a:pt x="10090106" y="682386"/>
                    <a:pt x="10090106" y="767431"/>
                  </a:cubicBezTo>
                  <a:cubicBezTo>
                    <a:pt x="10090114" y="767431"/>
                    <a:pt x="10090190" y="767431"/>
                    <a:pt x="10090866" y="767431"/>
                  </a:cubicBezTo>
                  <a:lnTo>
                    <a:pt x="10096186" y="767431"/>
                  </a:lnTo>
                  <a:cubicBezTo>
                    <a:pt x="10096190" y="767423"/>
                    <a:pt x="10096248" y="767323"/>
                    <a:pt x="10096946" y="766080"/>
                  </a:cubicBezTo>
                  <a:lnTo>
                    <a:pt x="10102266" y="756622"/>
                  </a:lnTo>
                  <a:cubicBezTo>
                    <a:pt x="10102266" y="756629"/>
                    <a:pt x="10102266" y="756728"/>
                    <a:pt x="10102266" y="758514"/>
                  </a:cubicBezTo>
                  <a:lnTo>
                    <a:pt x="10102266" y="771755"/>
                  </a:lnTo>
                  <a:cubicBezTo>
                    <a:pt x="10106318" y="771755"/>
                    <a:pt x="10106318" y="771755"/>
                    <a:pt x="10106318" y="726358"/>
                  </a:cubicBezTo>
                  <a:cubicBezTo>
                    <a:pt x="10106328" y="726358"/>
                    <a:pt x="10106398" y="726358"/>
                    <a:pt x="10107078" y="726358"/>
                  </a:cubicBezTo>
                  <a:lnTo>
                    <a:pt x="10112398" y="726358"/>
                  </a:lnTo>
                  <a:cubicBezTo>
                    <a:pt x="10112398" y="726343"/>
                    <a:pt x="10112398" y="725343"/>
                    <a:pt x="10112398" y="661504"/>
                  </a:cubicBezTo>
                  <a:cubicBezTo>
                    <a:pt x="10112406" y="661504"/>
                    <a:pt x="10112486" y="661504"/>
                    <a:pt x="10113412" y="661504"/>
                  </a:cubicBezTo>
                  <a:lnTo>
                    <a:pt x="10120506" y="661504"/>
                  </a:lnTo>
                  <a:cubicBezTo>
                    <a:pt x="10120512" y="661483"/>
                    <a:pt x="10120776" y="660543"/>
                    <a:pt x="10132666" y="618269"/>
                  </a:cubicBezTo>
                  <a:cubicBezTo>
                    <a:pt x="10132674" y="618269"/>
                    <a:pt x="10132772" y="618269"/>
                    <a:pt x="10133932" y="618269"/>
                  </a:cubicBezTo>
                  <a:lnTo>
                    <a:pt x="10142800" y="618269"/>
                  </a:lnTo>
                  <a:cubicBezTo>
                    <a:pt x="10142804" y="618292"/>
                    <a:pt x="10143030" y="619258"/>
                    <a:pt x="10152932" y="661504"/>
                  </a:cubicBezTo>
                  <a:cubicBezTo>
                    <a:pt x="10152938" y="661504"/>
                    <a:pt x="10153012" y="661504"/>
                    <a:pt x="10153946" y="661504"/>
                  </a:cubicBezTo>
                  <a:lnTo>
                    <a:pt x="10161040" y="661504"/>
                  </a:lnTo>
                  <a:cubicBezTo>
                    <a:pt x="10161040" y="661515"/>
                    <a:pt x="10161040" y="662182"/>
                    <a:pt x="10161040" y="700416"/>
                  </a:cubicBezTo>
                  <a:cubicBezTo>
                    <a:pt x="10161046" y="700416"/>
                    <a:pt x="10161146" y="700416"/>
                    <a:pt x="10162812" y="700416"/>
                  </a:cubicBezTo>
                  <a:lnTo>
                    <a:pt x="10175226" y="700416"/>
                  </a:lnTo>
                  <a:cubicBezTo>
                    <a:pt x="10175226" y="700424"/>
                    <a:pt x="10175226" y="700546"/>
                    <a:pt x="10175226" y="702578"/>
                  </a:cubicBezTo>
                  <a:lnTo>
                    <a:pt x="10175226" y="717710"/>
                  </a:lnTo>
                  <a:cubicBezTo>
                    <a:pt x="10179280" y="717710"/>
                    <a:pt x="10179280" y="717710"/>
                    <a:pt x="10179280" y="715549"/>
                  </a:cubicBezTo>
                  <a:lnTo>
                    <a:pt x="10179280" y="700416"/>
                  </a:lnTo>
                  <a:cubicBezTo>
                    <a:pt x="10179290" y="700416"/>
                    <a:pt x="10179402" y="700416"/>
                    <a:pt x="10180800" y="700416"/>
                  </a:cubicBezTo>
                  <a:lnTo>
                    <a:pt x="10191440" y="700416"/>
                  </a:lnTo>
                  <a:cubicBezTo>
                    <a:pt x="10191440" y="700426"/>
                    <a:pt x="10191440" y="700543"/>
                    <a:pt x="10191440" y="702037"/>
                  </a:cubicBezTo>
                  <a:lnTo>
                    <a:pt x="10191440" y="713387"/>
                  </a:lnTo>
                  <a:cubicBezTo>
                    <a:pt x="10191456" y="713387"/>
                    <a:pt x="10192164" y="713387"/>
                    <a:pt x="10221840" y="713387"/>
                  </a:cubicBezTo>
                  <a:cubicBezTo>
                    <a:pt x="10221840" y="713370"/>
                    <a:pt x="10221840" y="712599"/>
                    <a:pt x="10221840" y="676637"/>
                  </a:cubicBezTo>
                  <a:cubicBezTo>
                    <a:pt x="10221848" y="676637"/>
                    <a:pt x="10221942" y="676637"/>
                    <a:pt x="10223106" y="676637"/>
                  </a:cubicBezTo>
                  <a:lnTo>
                    <a:pt x="10231974" y="676637"/>
                  </a:lnTo>
                  <a:cubicBezTo>
                    <a:pt x="10231974" y="676648"/>
                    <a:pt x="10231974" y="677142"/>
                    <a:pt x="10231974" y="698254"/>
                  </a:cubicBezTo>
                  <a:cubicBezTo>
                    <a:pt x="10234000" y="698254"/>
                    <a:pt x="10234000" y="698254"/>
                    <a:pt x="10234000" y="665828"/>
                  </a:cubicBezTo>
                  <a:cubicBezTo>
                    <a:pt x="10234014" y="665828"/>
                    <a:pt x="10234556" y="665828"/>
                    <a:pt x="10256294" y="665828"/>
                  </a:cubicBezTo>
                  <a:cubicBezTo>
                    <a:pt x="10256294" y="665818"/>
                    <a:pt x="10256294" y="665698"/>
                    <a:pt x="10256294" y="664206"/>
                  </a:cubicBezTo>
                  <a:lnTo>
                    <a:pt x="10256294" y="652857"/>
                  </a:lnTo>
                  <a:cubicBezTo>
                    <a:pt x="10256302" y="652857"/>
                    <a:pt x="10256376" y="652857"/>
                    <a:pt x="10257054" y="652857"/>
                  </a:cubicBezTo>
                  <a:lnTo>
                    <a:pt x="10262374" y="652857"/>
                  </a:lnTo>
                  <a:cubicBezTo>
                    <a:pt x="10262374" y="652851"/>
                    <a:pt x="10262374" y="652738"/>
                    <a:pt x="10262374" y="650966"/>
                  </a:cubicBezTo>
                  <a:lnTo>
                    <a:pt x="10262374" y="637725"/>
                  </a:lnTo>
                  <a:lnTo>
                    <a:pt x="10266428" y="644210"/>
                  </a:lnTo>
                  <a:cubicBezTo>
                    <a:pt x="10266436" y="644210"/>
                    <a:pt x="10266564" y="644210"/>
                    <a:pt x="10268708" y="644210"/>
                  </a:cubicBezTo>
                  <a:lnTo>
                    <a:pt x="10284668" y="644210"/>
                  </a:lnTo>
                  <a:cubicBezTo>
                    <a:pt x="10284668" y="644202"/>
                    <a:pt x="10284668" y="644134"/>
                    <a:pt x="10284668" y="643399"/>
                  </a:cubicBezTo>
                  <a:lnTo>
                    <a:pt x="10284668" y="637725"/>
                  </a:lnTo>
                  <a:cubicBezTo>
                    <a:pt x="10284676" y="637725"/>
                    <a:pt x="10284750" y="637725"/>
                    <a:pt x="10285428" y="637725"/>
                  </a:cubicBezTo>
                  <a:lnTo>
                    <a:pt x="10290748" y="637725"/>
                  </a:lnTo>
                  <a:cubicBezTo>
                    <a:pt x="10290748" y="637734"/>
                    <a:pt x="10290748" y="637834"/>
                    <a:pt x="10290748" y="639076"/>
                  </a:cubicBezTo>
                  <a:lnTo>
                    <a:pt x="10290748" y="648534"/>
                  </a:lnTo>
                  <a:cubicBezTo>
                    <a:pt x="10290762" y="648534"/>
                    <a:pt x="10291496" y="648534"/>
                    <a:pt x="10329254" y="648534"/>
                  </a:cubicBezTo>
                  <a:cubicBezTo>
                    <a:pt x="10329254" y="648552"/>
                    <a:pt x="10329254" y="650062"/>
                    <a:pt x="10329254" y="786887"/>
                  </a:cubicBezTo>
                  <a:cubicBezTo>
                    <a:pt x="10329264" y="786887"/>
                    <a:pt x="10329380" y="786887"/>
                    <a:pt x="10330774" y="786887"/>
                  </a:cubicBezTo>
                  <a:lnTo>
                    <a:pt x="10341414" y="786887"/>
                  </a:lnTo>
                  <a:cubicBezTo>
                    <a:pt x="10341414" y="782564"/>
                    <a:pt x="10341414" y="778240"/>
                    <a:pt x="10341414" y="773917"/>
                  </a:cubicBezTo>
                  <a:cubicBezTo>
                    <a:pt x="10343442" y="773917"/>
                    <a:pt x="10343442" y="773917"/>
                    <a:pt x="10345468" y="773917"/>
                  </a:cubicBezTo>
                  <a:cubicBezTo>
                    <a:pt x="10345468" y="778240"/>
                    <a:pt x="10345468" y="782564"/>
                    <a:pt x="10345468" y="786887"/>
                  </a:cubicBezTo>
                  <a:cubicBezTo>
                    <a:pt x="10355602" y="786887"/>
                    <a:pt x="10365736" y="786887"/>
                    <a:pt x="10375868" y="786887"/>
                  </a:cubicBezTo>
                  <a:cubicBezTo>
                    <a:pt x="10375868" y="776078"/>
                    <a:pt x="10375868" y="767431"/>
                    <a:pt x="10375868" y="756622"/>
                  </a:cubicBezTo>
                  <a:cubicBezTo>
                    <a:pt x="10379922" y="756622"/>
                    <a:pt x="10383976" y="756622"/>
                    <a:pt x="10388028" y="756622"/>
                  </a:cubicBezTo>
                  <a:lnTo>
                    <a:pt x="10400188" y="754461"/>
                  </a:lnTo>
                  <a:cubicBezTo>
                    <a:pt x="10402216" y="754461"/>
                    <a:pt x="10402216" y="756622"/>
                    <a:pt x="10404242" y="756622"/>
                  </a:cubicBezTo>
                  <a:lnTo>
                    <a:pt x="10414376" y="756622"/>
                  </a:lnTo>
                  <a:cubicBezTo>
                    <a:pt x="10414376" y="767431"/>
                    <a:pt x="10414376" y="778240"/>
                    <a:pt x="10414376" y="786887"/>
                  </a:cubicBezTo>
                  <a:cubicBezTo>
                    <a:pt x="10416402" y="786887"/>
                    <a:pt x="10418430" y="786887"/>
                    <a:pt x="10422482" y="786887"/>
                  </a:cubicBezTo>
                  <a:cubicBezTo>
                    <a:pt x="10422482" y="793373"/>
                    <a:pt x="10422482" y="799858"/>
                    <a:pt x="10422482" y="804182"/>
                  </a:cubicBezTo>
                  <a:lnTo>
                    <a:pt x="10431818" y="805087"/>
                  </a:lnTo>
                  <a:lnTo>
                    <a:pt x="10444776" y="805087"/>
                  </a:lnTo>
                  <a:cubicBezTo>
                    <a:pt x="10444776" y="799278"/>
                    <a:pt x="10444776" y="795106"/>
                    <a:pt x="10444776" y="789049"/>
                  </a:cubicBezTo>
                  <a:lnTo>
                    <a:pt x="10512732" y="789049"/>
                  </a:lnTo>
                  <a:lnTo>
                    <a:pt x="10512732" y="703796"/>
                  </a:lnTo>
                  <a:lnTo>
                    <a:pt x="10584740" y="703796"/>
                  </a:lnTo>
                  <a:lnTo>
                    <a:pt x="10584740" y="782564"/>
                  </a:lnTo>
                  <a:cubicBezTo>
                    <a:pt x="10585376" y="782564"/>
                    <a:pt x="10586010" y="782564"/>
                    <a:pt x="10586644" y="782564"/>
                  </a:cubicBezTo>
                  <a:lnTo>
                    <a:pt x="10587886" y="805087"/>
                  </a:lnTo>
                  <a:lnTo>
                    <a:pt x="10597562" y="805087"/>
                  </a:lnTo>
                  <a:cubicBezTo>
                    <a:pt x="10598098" y="797873"/>
                    <a:pt x="10598804" y="790219"/>
                    <a:pt x="10598804" y="782564"/>
                  </a:cubicBezTo>
                  <a:cubicBezTo>
                    <a:pt x="10600832" y="782564"/>
                    <a:pt x="10602858" y="782564"/>
                    <a:pt x="10604884" y="782564"/>
                  </a:cubicBezTo>
                  <a:lnTo>
                    <a:pt x="10606126" y="805087"/>
                  </a:lnTo>
                  <a:lnTo>
                    <a:pt x="10656748" y="805087"/>
                  </a:lnTo>
                  <a:lnTo>
                    <a:pt x="10656748" y="642059"/>
                  </a:lnTo>
                  <a:lnTo>
                    <a:pt x="10854076" y="642059"/>
                  </a:lnTo>
                  <a:lnTo>
                    <a:pt x="10854076" y="805087"/>
                  </a:lnTo>
                  <a:lnTo>
                    <a:pt x="10872772" y="805087"/>
                  </a:lnTo>
                  <a:lnTo>
                    <a:pt x="10872772" y="722394"/>
                  </a:lnTo>
                  <a:lnTo>
                    <a:pt x="10967892" y="722394"/>
                  </a:lnTo>
                  <a:cubicBezTo>
                    <a:pt x="10971967" y="616373"/>
                    <a:pt x="10975346" y="510899"/>
                    <a:pt x="10979823" y="404253"/>
                  </a:cubicBezTo>
                  <a:cubicBezTo>
                    <a:pt x="10969690" y="404253"/>
                    <a:pt x="10945370" y="391282"/>
                    <a:pt x="10967663" y="382635"/>
                  </a:cubicBezTo>
                  <a:cubicBezTo>
                    <a:pt x="10965635" y="380473"/>
                    <a:pt x="10963610" y="378311"/>
                    <a:pt x="10961583" y="378311"/>
                  </a:cubicBezTo>
                  <a:cubicBezTo>
                    <a:pt x="10961583" y="365341"/>
                    <a:pt x="10959555" y="363179"/>
                    <a:pt x="10969690" y="354532"/>
                  </a:cubicBezTo>
                  <a:cubicBezTo>
                    <a:pt x="10969690" y="350208"/>
                    <a:pt x="10969690" y="343723"/>
                    <a:pt x="10969690" y="337238"/>
                  </a:cubicBezTo>
                  <a:cubicBezTo>
                    <a:pt x="10973743" y="337238"/>
                    <a:pt x="10977796" y="337238"/>
                    <a:pt x="10983876" y="337238"/>
                  </a:cubicBezTo>
                  <a:cubicBezTo>
                    <a:pt x="10983876" y="328590"/>
                    <a:pt x="10983876" y="322105"/>
                    <a:pt x="10983876" y="315620"/>
                  </a:cubicBezTo>
                  <a:cubicBezTo>
                    <a:pt x="10983876" y="313458"/>
                    <a:pt x="10985903" y="313458"/>
                    <a:pt x="10985903" y="311296"/>
                  </a:cubicBezTo>
                  <a:cubicBezTo>
                    <a:pt x="10985903" y="285355"/>
                    <a:pt x="10985903" y="259414"/>
                    <a:pt x="10985903" y="233472"/>
                  </a:cubicBezTo>
                  <a:cubicBezTo>
                    <a:pt x="10985903" y="231310"/>
                    <a:pt x="10983876" y="229149"/>
                    <a:pt x="10983876" y="226987"/>
                  </a:cubicBezTo>
                  <a:cubicBezTo>
                    <a:pt x="10985903" y="224825"/>
                    <a:pt x="10987930" y="222663"/>
                    <a:pt x="10989956" y="220501"/>
                  </a:cubicBezTo>
                  <a:cubicBezTo>
                    <a:pt x="10989956" y="201045"/>
                    <a:pt x="10989956" y="181589"/>
                    <a:pt x="10989956" y="162133"/>
                  </a:cubicBezTo>
                  <a:cubicBezTo>
                    <a:pt x="10989956" y="159972"/>
                    <a:pt x="10989956" y="159972"/>
                    <a:pt x="10991983" y="157810"/>
                  </a:cubicBezTo>
                  <a:cubicBezTo>
                    <a:pt x="10991983" y="140516"/>
                    <a:pt x="10991983" y="121060"/>
                    <a:pt x="10991983" y="101604"/>
                  </a:cubicBezTo>
                  <a:cubicBezTo>
                    <a:pt x="10994010" y="92957"/>
                    <a:pt x="10994010" y="88633"/>
                    <a:pt x="10994010" y="82148"/>
                  </a:cubicBezTo>
                  <a:cubicBezTo>
                    <a:pt x="10998063" y="88633"/>
                    <a:pt x="10998063" y="92957"/>
                    <a:pt x="10998063" y="99442"/>
                  </a:cubicBezTo>
                  <a:cubicBezTo>
                    <a:pt x="11000090" y="121060"/>
                    <a:pt x="11000090" y="140516"/>
                    <a:pt x="11000090" y="157810"/>
                  </a:cubicBezTo>
                  <a:cubicBezTo>
                    <a:pt x="11002116" y="181589"/>
                    <a:pt x="11002116" y="201045"/>
                    <a:pt x="11002116" y="220501"/>
                  </a:cubicBezTo>
                  <a:cubicBezTo>
                    <a:pt x="11004143" y="222663"/>
                    <a:pt x="11006170" y="224825"/>
                    <a:pt x="11008196" y="226987"/>
                  </a:cubicBezTo>
                  <a:cubicBezTo>
                    <a:pt x="11008196" y="229149"/>
                    <a:pt x="11006170" y="231310"/>
                    <a:pt x="11006170" y="233472"/>
                  </a:cubicBezTo>
                  <a:cubicBezTo>
                    <a:pt x="11006170" y="259414"/>
                    <a:pt x="11006170" y="285355"/>
                    <a:pt x="11006170" y="311296"/>
                  </a:cubicBezTo>
                  <a:cubicBezTo>
                    <a:pt x="11006170" y="313458"/>
                    <a:pt x="11008196" y="313458"/>
                    <a:pt x="11008196" y="315620"/>
                  </a:cubicBezTo>
                  <a:cubicBezTo>
                    <a:pt x="11008196" y="322105"/>
                    <a:pt x="11008196" y="328590"/>
                    <a:pt x="11008196" y="337238"/>
                  </a:cubicBezTo>
                  <a:cubicBezTo>
                    <a:pt x="11012250" y="337238"/>
                    <a:pt x="11018330" y="337238"/>
                    <a:pt x="11022383" y="337238"/>
                  </a:cubicBezTo>
                  <a:cubicBezTo>
                    <a:pt x="11022383" y="343723"/>
                    <a:pt x="11022383" y="350208"/>
                    <a:pt x="11022383" y="354532"/>
                  </a:cubicBezTo>
                  <a:cubicBezTo>
                    <a:pt x="11030491" y="363179"/>
                    <a:pt x="11030491" y="363179"/>
                    <a:pt x="11030491" y="378311"/>
                  </a:cubicBezTo>
                  <a:cubicBezTo>
                    <a:pt x="11028463" y="378311"/>
                    <a:pt x="11026436" y="380473"/>
                    <a:pt x="11024411" y="382635"/>
                  </a:cubicBezTo>
                  <a:cubicBezTo>
                    <a:pt x="11044676" y="393444"/>
                    <a:pt x="11020356" y="402091"/>
                    <a:pt x="11012250" y="404253"/>
                  </a:cubicBezTo>
                  <a:cubicBezTo>
                    <a:pt x="11014276" y="488562"/>
                    <a:pt x="11018330" y="572871"/>
                    <a:pt x="11020356" y="657181"/>
                  </a:cubicBezTo>
                  <a:cubicBezTo>
                    <a:pt x="11042651" y="657181"/>
                    <a:pt x="11064943" y="657181"/>
                    <a:pt x="11085211" y="657181"/>
                  </a:cubicBezTo>
                  <a:cubicBezTo>
                    <a:pt x="11085211" y="683122"/>
                    <a:pt x="11085211" y="709063"/>
                    <a:pt x="11085211" y="732843"/>
                  </a:cubicBezTo>
                  <a:cubicBezTo>
                    <a:pt x="11089264" y="732843"/>
                    <a:pt x="11091291" y="732843"/>
                    <a:pt x="11093318" y="732843"/>
                  </a:cubicBezTo>
                  <a:cubicBezTo>
                    <a:pt x="11093318" y="730681"/>
                    <a:pt x="11095344" y="728519"/>
                    <a:pt x="11095344" y="726358"/>
                  </a:cubicBezTo>
                  <a:cubicBezTo>
                    <a:pt x="11097371" y="726358"/>
                    <a:pt x="11099398" y="726358"/>
                    <a:pt x="11101424" y="726358"/>
                  </a:cubicBezTo>
                  <a:cubicBezTo>
                    <a:pt x="11101424" y="728519"/>
                    <a:pt x="11101424" y="730681"/>
                    <a:pt x="11103452" y="735005"/>
                  </a:cubicBezTo>
                  <a:cubicBezTo>
                    <a:pt x="11107504" y="735005"/>
                    <a:pt x="11111558" y="735005"/>
                    <a:pt x="11115612" y="735005"/>
                  </a:cubicBezTo>
                  <a:cubicBezTo>
                    <a:pt x="11115612" y="732843"/>
                    <a:pt x="11115612" y="730681"/>
                    <a:pt x="11115612" y="728519"/>
                  </a:cubicBezTo>
                  <a:cubicBezTo>
                    <a:pt x="11123718" y="728519"/>
                    <a:pt x="11129798" y="728519"/>
                    <a:pt x="11137904" y="728519"/>
                  </a:cubicBezTo>
                  <a:cubicBezTo>
                    <a:pt x="11137904" y="730681"/>
                    <a:pt x="11137904" y="732843"/>
                    <a:pt x="11137904" y="735005"/>
                  </a:cubicBezTo>
                  <a:cubicBezTo>
                    <a:pt x="11143984" y="735005"/>
                    <a:pt x="11152092" y="735005"/>
                    <a:pt x="11158172" y="735005"/>
                  </a:cubicBezTo>
                  <a:cubicBezTo>
                    <a:pt x="11158172" y="750137"/>
                    <a:pt x="11158172" y="765270"/>
                    <a:pt x="11158172" y="780402"/>
                  </a:cubicBezTo>
                  <a:cubicBezTo>
                    <a:pt x="11162226" y="780402"/>
                    <a:pt x="11168306" y="780402"/>
                    <a:pt x="11172359" y="780402"/>
                  </a:cubicBezTo>
                  <a:cubicBezTo>
                    <a:pt x="11172359" y="776078"/>
                    <a:pt x="11172359" y="771755"/>
                    <a:pt x="11172359" y="767431"/>
                  </a:cubicBezTo>
                  <a:cubicBezTo>
                    <a:pt x="11178439" y="767431"/>
                    <a:pt x="11184519" y="767431"/>
                    <a:pt x="11188572" y="767431"/>
                  </a:cubicBezTo>
                  <a:cubicBezTo>
                    <a:pt x="11188572" y="706902"/>
                    <a:pt x="11188572" y="648534"/>
                    <a:pt x="11188572" y="588004"/>
                  </a:cubicBezTo>
                  <a:cubicBezTo>
                    <a:pt x="11190599" y="585842"/>
                    <a:pt x="11192626" y="583680"/>
                    <a:pt x="11194652" y="581518"/>
                  </a:cubicBezTo>
                  <a:cubicBezTo>
                    <a:pt x="11218972" y="581518"/>
                    <a:pt x="11243292" y="581518"/>
                    <a:pt x="11267614" y="581518"/>
                  </a:cubicBezTo>
                  <a:lnTo>
                    <a:pt x="11267614" y="590166"/>
                  </a:lnTo>
                  <a:lnTo>
                    <a:pt x="11277747" y="590166"/>
                  </a:lnTo>
                  <a:cubicBezTo>
                    <a:pt x="11277747" y="629078"/>
                    <a:pt x="11277747" y="667990"/>
                    <a:pt x="11277747" y="704740"/>
                  </a:cubicBezTo>
                  <a:cubicBezTo>
                    <a:pt x="11285854" y="704740"/>
                    <a:pt x="11291934" y="704740"/>
                    <a:pt x="11300040" y="704740"/>
                  </a:cubicBezTo>
                  <a:cubicBezTo>
                    <a:pt x="11300040" y="683122"/>
                    <a:pt x="11300040" y="661504"/>
                    <a:pt x="11300040" y="637725"/>
                  </a:cubicBezTo>
                  <a:cubicBezTo>
                    <a:pt x="11308147" y="637725"/>
                    <a:pt x="11318280" y="637725"/>
                    <a:pt x="11326388" y="637725"/>
                  </a:cubicBezTo>
                  <a:cubicBezTo>
                    <a:pt x="11328414" y="637725"/>
                    <a:pt x="11328414" y="635563"/>
                    <a:pt x="11330440" y="633401"/>
                  </a:cubicBezTo>
                  <a:lnTo>
                    <a:pt x="11338548" y="633401"/>
                  </a:lnTo>
                  <a:cubicBezTo>
                    <a:pt x="11340574" y="635563"/>
                    <a:pt x="11340574" y="637725"/>
                    <a:pt x="11342600" y="637725"/>
                  </a:cubicBezTo>
                  <a:cubicBezTo>
                    <a:pt x="11348680" y="637725"/>
                    <a:pt x="11356788" y="637725"/>
                    <a:pt x="11364895" y="637725"/>
                  </a:cubicBezTo>
                  <a:cubicBezTo>
                    <a:pt x="11364895" y="598813"/>
                    <a:pt x="11364895" y="559901"/>
                    <a:pt x="11364895" y="520989"/>
                  </a:cubicBezTo>
                  <a:cubicBezTo>
                    <a:pt x="11364908" y="520986"/>
                    <a:pt x="11365775" y="520822"/>
                    <a:pt x="11421642" y="510180"/>
                  </a:cubicBezTo>
                  <a:cubicBezTo>
                    <a:pt x="11421642" y="510187"/>
                    <a:pt x="11421642" y="510261"/>
                    <a:pt x="11421642" y="511261"/>
                  </a:cubicBezTo>
                  <a:lnTo>
                    <a:pt x="11421642" y="518827"/>
                  </a:lnTo>
                  <a:cubicBezTo>
                    <a:pt x="11421659" y="518827"/>
                    <a:pt x="11422303" y="518827"/>
                    <a:pt x="11447988" y="518827"/>
                  </a:cubicBezTo>
                  <a:cubicBezTo>
                    <a:pt x="11447988" y="518849"/>
                    <a:pt x="11447988" y="521220"/>
                    <a:pt x="11447988" y="773917"/>
                  </a:cubicBezTo>
                  <a:cubicBezTo>
                    <a:pt x="11454068" y="773917"/>
                    <a:pt x="11462175" y="773917"/>
                    <a:pt x="11470283" y="773917"/>
                  </a:cubicBezTo>
                  <a:cubicBezTo>
                    <a:pt x="11470283" y="771755"/>
                    <a:pt x="11470283" y="771755"/>
                    <a:pt x="11470283" y="769593"/>
                  </a:cubicBezTo>
                  <a:cubicBezTo>
                    <a:pt x="11474335" y="769593"/>
                    <a:pt x="11478388" y="769593"/>
                    <a:pt x="11482443" y="769593"/>
                  </a:cubicBezTo>
                  <a:cubicBezTo>
                    <a:pt x="11482443" y="771755"/>
                    <a:pt x="11482443" y="771755"/>
                    <a:pt x="11482443" y="773917"/>
                  </a:cubicBezTo>
                  <a:cubicBezTo>
                    <a:pt x="11490550" y="773917"/>
                    <a:pt x="11498655" y="773917"/>
                    <a:pt x="11506763" y="773917"/>
                  </a:cubicBezTo>
                  <a:cubicBezTo>
                    <a:pt x="11506763" y="769593"/>
                    <a:pt x="11506763" y="765270"/>
                    <a:pt x="11506763" y="760946"/>
                  </a:cubicBezTo>
                  <a:cubicBezTo>
                    <a:pt x="11516896" y="760946"/>
                    <a:pt x="11527030" y="760946"/>
                    <a:pt x="11535136" y="760946"/>
                  </a:cubicBezTo>
                  <a:cubicBezTo>
                    <a:pt x="11539190" y="756622"/>
                    <a:pt x="11543244" y="756622"/>
                    <a:pt x="11547296" y="756622"/>
                  </a:cubicBezTo>
                  <a:cubicBezTo>
                    <a:pt x="11553376" y="760946"/>
                    <a:pt x="11561484" y="760946"/>
                    <a:pt x="11567564" y="760946"/>
                  </a:cubicBezTo>
                  <a:cubicBezTo>
                    <a:pt x="11567564" y="754461"/>
                    <a:pt x="11567564" y="750137"/>
                    <a:pt x="11567564" y="743652"/>
                  </a:cubicBezTo>
                  <a:lnTo>
                    <a:pt x="11575671" y="743652"/>
                  </a:lnTo>
                  <a:cubicBezTo>
                    <a:pt x="11575671" y="739328"/>
                    <a:pt x="11575671" y="735005"/>
                    <a:pt x="11575671" y="730681"/>
                  </a:cubicBezTo>
                  <a:cubicBezTo>
                    <a:pt x="11593911" y="730681"/>
                    <a:pt x="11614178" y="730681"/>
                    <a:pt x="11632418" y="730681"/>
                  </a:cubicBezTo>
                  <a:cubicBezTo>
                    <a:pt x="11632418" y="719872"/>
                    <a:pt x="11632418" y="711225"/>
                    <a:pt x="11632418" y="700416"/>
                  </a:cubicBezTo>
                  <a:cubicBezTo>
                    <a:pt x="11638498" y="700416"/>
                    <a:pt x="11644578" y="700416"/>
                    <a:pt x="11650658" y="700416"/>
                  </a:cubicBezTo>
                  <a:cubicBezTo>
                    <a:pt x="11650658" y="698254"/>
                    <a:pt x="11650658" y="696093"/>
                    <a:pt x="11650658" y="693931"/>
                  </a:cubicBezTo>
                  <a:cubicBezTo>
                    <a:pt x="11654711" y="693931"/>
                    <a:pt x="11658764" y="693931"/>
                    <a:pt x="11662818" y="693931"/>
                  </a:cubicBezTo>
                  <a:cubicBezTo>
                    <a:pt x="11662818" y="696093"/>
                    <a:pt x="11662818" y="698254"/>
                    <a:pt x="11662818" y="700416"/>
                  </a:cubicBezTo>
                  <a:cubicBezTo>
                    <a:pt x="11668898" y="700416"/>
                    <a:pt x="11672951" y="700416"/>
                    <a:pt x="11679031" y="700416"/>
                  </a:cubicBezTo>
                  <a:cubicBezTo>
                    <a:pt x="11679031" y="715549"/>
                    <a:pt x="11679031" y="732843"/>
                    <a:pt x="11679031" y="750137"/>
                  </a:cubicBezTo>
                  <a:cubicBezTo>
                    <a:pt x="11689164" y="750137"/>
                    <a:pt x="11701326" y="750137"/>
                    <a:pt x="11711459" y="750137"/>
                  </a:cubicBezTo>
                  <a:cubicBezTo>
                    <a:pt x="11711459" y="741490"/>
                    <a:pt x="11711459" y="732843"/>
                    <a:pt x="11711459" y="724196"/>
                  </a:cubicBezTo>
                  <a:cubicBezTo>
                    <a:pt x="11723619" y="724196"/>
                    <a:pt x="11737806" y="724196"/>
                    <a:pt x="11749966" y="724196"/>
                  </a:cubicBezTo>
                  <a:cubicBezTo>
                    <a:pt x="11749966" y="713387"/>
                    <a:pt x="11749966" y="704740"/>
                    <a:pt x="11749966" y="693931"/>
                  </a:cubicBezTo>
                  <a:cubicBezTo>
                    <a:pt x="11766180" y="693931"/>
                    <a:pt x="11782392" y="693931"/>
                    <a:pt x="11798607" y="693931"/>
                  </a:cubicBezTo>
                  <a:cubicBezTo>
                    <a:pt x="11798607" y="693960"/>
                    <a:pt x="11798607" y="695735"/>
                    <a:pt x="11798607" y="805087"/>
                  </a:cubicBezTo>
                  <a:lnTo>
                    <a:pt x="11798607" y="818866"/>
                  </a:lnTo>
                  <a:lnTo>
                    <a:pt x="11864482" y="818866"/>
                  </a:lnTo>
                  <a:lnTo>
                    <a:pt x="11864482" y="924638"/>
                  </a:lnTo>
                  <a:lnTo>
                    <a:pt x="11864482" y="947885"/>
                  </a:lnTo>
                  <a:lnTo>
                    <a:pt x="11879442" y="947885"/>
                  </a:lnTo>
                  <a:cubicBezTo>
                    <a:pt x="11879442" y="947885"/>
                    <a:pt x="11879442" y="947885"/>
                    <a:pt x="11879442" y="946723"/>
                  </a:cubicBezTo>
                  <a:lnTo>
                    <a:pt x="11879442" y="938587"/>
                  </a:lnTo>
                  <a:cubicBezTo>
                    <a:pt x="11879442" y="938587"/>
                    <a:pt x="11879442" y="938587"/>
                    <a:pt x="11924022" y="938587"/>
                  </a:cubicBezTo>
                  <a:cubicBezTo>
                    <a:pt x="11924022" y="938587"/>
                    <a:pt x="11924022" y="938587"/>
                    <a:pt x="11924022" y="959508"/>
                  </a:cubicBezTo>
                  <a:cubicBezTo>
                    <a:pt x="11924022" y="959508"/>
                    <a:pt x="11924022" y="959508"/>
                    <a:pt x="11926250" y="960671"/>
                  </a:cubicBezTo>
                  <a:lnTo>
                    <a:pt x="11941854" y="968807"/>
                  </a:lnTo>
                  <a:cubicBezTo>
                    <a:pt x="11941854" y="968807"/>
                    <a:pt x="11941854" y="968807"/>
                    <a:pt x="11941854" y="999027"/>
                  </a:cubicBezTo>
                  <a:cubicBezTo>
                    <a:pt x="11941854" y="999027"/>
                    <a:pt x="11941854" y="999027"/>
                    <a:pt x="11943247" y="999609"/>
                  </a:cubicBezTo>
                  <a:lnTo>
                    <a:pt x="11952999" y="1003677"/>
                  </a:lnTo>
                  <a:cubicBezTo>
                    <a:pt x="11952999" y="1003677"/>
                    <a:pt x="11952999" y="1003677"/>
                    <a:pt x="11952999" y="1002515"/>
                  </a:cubicBezTo>
                  <a:lnTo>
                    <a:pt x="11952999" y="994378"/>
                  </a:lnTo>
                  <a:cubicBezTo>
                    <a:pt x="11952999" y="994378"/>
                    <a:pt x="11952999" y="994378"/>
                    <a:pt x="11954114" y="994378"/>
                  </a:cubicBezTo>
                  <a:lnTo>
                    <a:pt x="11961915" y="994378"/>
                  </a:lnTo>
                  <a:cubicBezTo>
                    <a:pt x="11961915" y="994378"/>
                    <a:pt x="11961915" y="994378"/>
                    <a:pt x="11961915" y="993506"/>
                  </a:cubicBezTo>
                  <a:lnTo>
                    <a:pt x="11961915" y="987404"/>
                  </a:lnTo>
                  <a:cubicBezTo>
                    <a:pt x="11961915" y="987404"/>
                    <a:pt x="11961915" y="987404"/>
                    <a:pt x="11960800" y="987404"/>
                  </a:cubicBezTo>
                  <a:lnTo>
                    <a:pt x="11952999" y="987404"/>
                  </a:lnTo>
                  <a:cubicBezTo>
                    <a:pt x="11952999" y="987404"/>
                    <a:pt x="11952999" y="987404"/>
                    <a:pt x="11952999" y="986242"/>
                  </a:cubicBezTo>
                  <a:lnTo>
                    <a:pt x="11952999" y="978106"/>
                  </a:lnTo>
                  <a:cubicBezTo>
                    <a:pt x="11952999" y="978106"/>
                    <a:pt x="11952999" y="978106"/>
                    <a:pt x="11954114" y="978106"/>
                  </a:cubicBezTo>
                  <a:lnTo>
                    <a:pt x="11961915" y="978106"/>
                  </a:lnTo>
                  <a:cubicBezTo>
                    <a:pt x="11961915" y="978106"/>
                    <a:pt x="11961915" y="978106"/>
                    <a:pt x="11961915" y="976943"/>
                  </a:cubicBezTo>
                  <a:lnTo>
                    <a:pt x="11961915" y="968807"/>
                  </a:lnTo>
                  <a:cubicBezTo>
                    <a:pt x="11961915" y="968807"/>
                    <a:pt x="11961915" y="968807"/>
                    <a:pt x="11960800" y="968807"/>
                  </a:cubicBezTo>
                  <a:lnTo>
                    <a:pt x="11952999" y="968807"/>
                  </a:lnTo>
                  <a:cubicBezTo>
                    <a:pt x="11952999" y="968807"/>
                    <a:pt x="11952999" y="968807"/>
                    <a:pt x="11952999" y="967645"/>
                  </a:cubicBezTo>
                  <a:lnTo>
                    <a:pt x="11952999" y="959508"/>
                  </a:lnTo>
                  <a:cubicBezTo>
                    <a:pt x="11952999" y="959508"/>
                    <a:pt x="11952999" y="959508"/>
                    <a:pt x="11954114" y="959508"/>
                  </a:cubicBezTo>
                  <a:lnTo>
                    <a:pt x="11961915" y="959508"/>
                  </a:lnTo>
                  <a:cubicBezTo>
                    <a:pt x="11961915" y="959508"/>
                    <a:pt x="11961915" y="959508"/>
                    <a:pt x="11961915" y="958637"/>
                  </a:cubicBezTo>
                  <a:lnTo>
                    <a:pt x="11961915" y="952535"/>
                  </a:lnTo>
                  <a:cubicBezTo>
                    <a:pt x="11961915" y="952535"/>
                    <a:pt x="11961915" y="952535"/>
                    <a:pt x="11960800" y="952535"/>
                  </a:cubicBezTo>
                  <a:lnTo>
                    <a:pt x="11952999" y="952535"/>
                  </a:lnTo>
                  <a:cubicBezTo>
                    <a:pt x="11952999" y="952535"/>
                    <a:pt x="11952999" y="952535"/>
                    <a:pt x="11952999" y="951372"/>
                  </a:cubicBezTo>
                  <a:lnTo>
                    <a:pt x="11952999" y="943236"/>
                  </a:lnTo>
                  <a:cubicBezTo>
                    <a:pt x="11952999" y="943236"/>
                    <a:pt x="11952999" y="943236"/>
                    <a:pt x="11954114" y="943236"/>
                  </a:cubicBezTo>
                  <a:lnTo>
                    <a:pt x="11961915" y="943236"/>
                  </a:lnTo>
                  <a:cubicBezTo>
                    <a:pt x="11961915" y="943236"/>
                    <a:pt x="11961915" y="943236"/>
                    <a:pt x="11961915" y="942074"/>
                  </a:cubicBezTo>
                  <a:lnTo>
                    <a:pt x="11961915" y="933937"/>
                  </a:lnTo>
                  <a:cubicBezTo>
                    <a:pt x="11961915" y="933937"/>
                    <a:pt x="11961915" y="933937"/>
                    <a:pt x="11960800" y="933937"/>
                  </a:cubicBezTo>
                  <a:lnTo>
                    <a:pt x="11952999" y="933937"/>
                  </a:lnTo>
                  <a:cubicBezTo>
                    <a:pt x="11952999" y="933937"/>
                    <a:pt x="11952999" y="933937"/>
                    <a:pt x="11952999" y="933066"/>
                  </a:cubicBezTo>
                  <a:lnTo>
                    <a:pt x="11952999" y="926963"/>
                  </a:lnTo>
                  <a:cubicBezTo>
                    <a:pt x="11952999" y="926963"/>
                    <a:pt x="11952999" y="926963"/>
                    <a:pt x="11954114" y="926963"/>
                  </a:cubicBezTo>
                  <a:lnTo>
                    <a:pt x="11961915" y="926963"/>
                  </a:lnTo>
                  <a:cubicBezTo>
                    <a:pt x="11961915" y="926963"/>
                    <a:pt x="11961915" y="926963"/>
                    <a:pt x="11961915" y="925801"/>
                  </a:cubicBezTo>
                  <a:lnTo>
                    <a:pt x="11961915" y="917665"/>
                  </a:lnTo>
                  <a:cubicBezTo>
                    <a:pt x="11961915" y="917665"/>
                    <a:pt x="11961915" y="917665"/>
                    <a:pt x="11960800" y="917665"/>
                  </a:cubicBezTo>
                  <a:lnTo>
                    <a:pt x="11952999" y="917665"/>
                  </a:lnTo>
                  <a:cubicBezTo>
                    <a:pt x="11952999" y="917665"/>
                    <a:pt x="11952999" y="917665"/>
                    <a:pt x="11952999" y="916503"/>
                  </a:cubicBezTo>
                  <a:lnTo>
                    <a:pt x="11952999" y="908366"/>
                  </a:lnTo>
                  <a:cubicBezTo>
                    <a:pt x="11952999" y="908366"/>
                    <a:pt x="11952999" y="908366"/>
                    <a:pt x="11954114" y="908366"/>
                  </a:cubicBezTo>
                  <a:lnTo>
                    <a:pt x="11961915" y="908366"/>
                  </a:lnTo>
                  <a:cubicBezTo>
                    <a:pt x="11961915" y="908366"/>
                    <a:pt x="11961915" y="908366"/>
                    <a:pt x="11961915" y="907204"/>
                  </a:cubicBezTo>
                  <a:lnTo>
                    <a:pt x="11961915" y="899068"/>
                  </a:lnTo>
                  <a:cubicBezTo>
                    <a:pt x="11961915" y="899068"/>
                    <a:pt x="11961915" y="899068"/>
                    <a:pt x="11960800" y="899068"/>
                  </a:cubicBezTo>
                  <a:lnTo>
                    <a:pt x="11952999" y="899068"/>
                  </a:lnTo>
                  <a:cubicBezTo>
                    <a:pt x="11952999" y="899068"/>
                    <a:pt x="11952999" y="899068"/>
                    <a:pt x="11952999" y="898196"/>
                  </a:cubicBezTo>
                  <a:lnTo>
                    <a:pt x="11952999" y="892094"/>
                  </a:lnTo>
                  <a:cubicBezTo>
                    <a:pt x="11952999" y="892094"/>
                    <a:pt x="11952999" y="892094"/>
                    <a:pt x="11954114" y="892094"/>
                  </a:cubicBezTo>
                  <a:lnTo>
                    <a:pt x="11961915" y="892094"/>
                  </a:lnTo>
                  <a:cubicBezTo>
                    <a:pt x="11961915" y="892094"/>
                    <a:pt x="11961915" y="892094"/>
                    <a:pt x="11961915" y="890931"/>
                  </a:cubicBezTo>
                  <a:lnTo>
                    <a:pt x="11961915" y="882795"/>
                  </a:lnTo>
                  <a:cubicBezTo>
                    <a:pt x="11961915" y="882795"/>
                    <a:pt x="11961915" y="882795"/>
                    <a:pt x="11960800" y="882795"/>
                  </a:cubicBezTo>
                  <a:lnTo>
                    <a:pt x="11952999" y="882795"/>
                  </a:lnTo>
                  <a:cubicBezTo>
                    <a:pt x="11952999" y="882795"/>
                    <a:pt x="11952999" y="882795"/>
                    <a:pt x="11952999" y="881633"/>
                  </a:cubicBezTo>
                  <a:lnTo>
                    <a:pt x="11952999" y="873496"/>
                  </a:lnTo>
                  <a:cubicBezTo>
                    <a:pt x="11952999" y="873496"/>
                    <a:pt x="11952999" y="873496"/>
                    <a:pt x="11954114" y="873496"/>
                  </a:cubicBezTo>
                  <a:lnTo>
                    <a:pt x="11961915" y="873496"/>
                  </a:lnTo>
                  <a:cubicBezTo>
                    <a:pt x="11961915" y="873496"/>
                    <a:pt x="11961915" y="873496"/>
                    <a:pt x="11961915" y="872625"/>
                  </a:cubicBezTo>
                  <a:lnTo>
                    <a:pt x="11961915" y="866523"/>
                  </a:lnTo>
                  <a:cubicBezTo>
                    <a:pt x="11961915" y="866523"/>
                    <a:pt x="11961915" y="866523"/>
                    <a:pt x="11960800" y="866523"/>
                  </a:cubicBezTo>
                  <a:lnTo>
                    <a:pt x="11952999" y="866523"/>
                  </a:lnTo>
                  <a:cubicBezTo>
                    <a:pt x="11952999" y="866523"/>
                    <a:pt x="11952999" y="866523"/>
                    <a:pt x="11952999" y="865360"/>
                  </a:cubicBezTo>
                  <a:lnTo>
                    <a:pt x="11952999" y="857224"/>
                  </a:lnTo>
                  <a:cubicBezTo>
                    <a:pt x="11952999" y="857224"/>
                    <a:pt x="11952999" y="857224"/>
                    <a:pt x="11954114" y="857224"/>
                  </a:cubicBezTo>
                  <a:lnTo>
                    <a:pt x="11961915" y="857224"/>
                  </a:lnTo>
                  <a:cubicBezTo>
                    <a:pt x="11961915" y="857224"/>
                    <a:pt x="11961915" y="857224"/>
                    <a:pt x="11961915" y="856062"/>
                  </a:cubicBezTo>
                  <a:lnTo>
                    <a:pt x="11961915" y="847925"/>
                  </a:lnTo>
                  <a:cubicBezTo>
                    <a:pt x="11961915" y="847925"/>
                    <a:pt x="11961915" y="847925"/>
                    <a:pt x="11960800" y="847925"/>
                  </a:cubicBezTo>
                  <a:lnTo>
                    <a:pt x="11952999" y="847925"/>
                  </a:lnTo>
                  <a:cubicBezTo>
                    <a:pt x="11952999" y="847925"/>
                    <a:pt x="11952999" y="847925"/>
                    <a:pt x="11952999" y="846763"/>
                  </a:cubicBezTo>
                  <a:lnTo>
                    <a:pt x="11952999" y="838627"/>
                  </a:lnTo>
                  <a:cubicBezTo>
                    <a:pt x="11952999" y="838627"/>
                    <a:pt x="11952999" y="838627"/>
                    <a:pt x="11954114" y="838627"/>
                  </a:cubicBezTo>
                  <a:lnTo>
                    <a:pt x="11961915" y="838627"/>
                  </a:lnTo>
                  <a:cubicBezTo>
                    <a:pt x="11961915" y="838627"/>
                    <a:pt x="11961915" y="838627"/>
                    <a:pt x="11961915" y="837755"/>
                  </a:cubicBezTo>
                  <a:lnTo>
                    <a:pt x="11961915" y="831653"/>
                  </a:lnTo>
                  <a:cubicBezTo>
                    <a:pt x="11961915" y="831653"/>
                    <a:pt x="11961915" y="831653"/>
                    <a:pt x="11960800" y="831653"/>
                  </a:cubicBezTo>
                  <a:lnTo>
                    <a:pt x="11952999" y="831653"/>
                  </a:lnTo>
                  <a:cubicBezTo>
                    <a:pt x="11952999" y="831653"/>
                    <a:pt x="11952999" y="831653"/>
                    <a:pt x="11952999" y="830491"/>
                  </a:cubicBezTo>
                  <a:lnTo>
                    <a:pt x="11952999" y="822354"/>
                  </a:lnTo>
                  <a:cubicBezTo>
                    <a:pt x="11952999" y="822354"/>
                    <a:pt x="11952999" y="822354"/>
                    <a:pt x="11954114" y="822354"/>
                  </a:cubicBezTo>
                  <a:lnTo>
                    <a:pt x="11961915" y="822354"/>
                  </a:lnTo>
                  <a:cubicBezTo>
                    <a:pt x="11961915" y="822354"/>
                    <a:pt x="11961915" y="822354"/>
                    <a:pt x="11961915" y="821192"/>
                  </a:cubicBezTo>
                  <a:lnTo>
                    <a:pt x="11961915" y="813056"/>
                  </a:lnTo>
                  <a:cubicBezTo>
                    <a:pt x="11961915" y="813056"/>
                    <a:pt x="11961915" y="813056"/>
                    <a:pt x="11960800" y="813056"/>
                  </a:cubicBezTo>
                  <a:lnTo>
                    <a:pt x="11952999" y="813056"/>
                  </a:lnTo>
                  <a:cubicBezTo>
                    <a:pt x="11952999" y="813056"/>
                    <a:pt x="11952999" y="813056"/>
                    <a:pt x="11952999" y="811893"/>
                  </a:cubicBezTo>
                  <a:lnTo>
                    <a:pt x="11952999" y="803757"/>
                  </a:lnTo>
                  <a:cubicBezTo>
                    <a:pt x="11952999" y="803757"/>
                    <a:pt x="11952999" y="803757"/>
                    <a:pt x="11954114" y="803757"/>
                  </a:cubicBezTo>
                  <a:lnTo>
                    <a:pt x="11961915" y="803757"/>
                  </a:lnTo>
                  <a:cubicBezTo>
                    <a:pt x="11961915" y="803757"/>
                    <a:pt x="11961915" y="803757"/>
                    <a:pt x="11961915" y="802885"/>
                  </a:cubicBezTo>
                  <a:lnTo>
                    <a:pt x="11961915" y="796783"/>
                  </a:lnTo>
                  <a:cubicBezTo>
                    <a:pt x="11961915" y="796783"/>
                    <a:pt x="11961915" y="796783"/>
                    <a:pt x="11960800" y="796783"/>
                  </a:cubicBezTo>
                  <a:lnTo>
                    <a:pt x="11952999" y="796783"/>
                  </a:lnTo>
                  <a:cubicBezTo>
                    <a:pt x="11952999" y="796783"/>
                    <a:pt x="11952999" y="796783"/>
                    <a:pt x="11952999" y="795621"/>
                  </a:cubicBezTo>
                  <a:lnTo>
                    <a:pt x="11952999" y="787484"/>
                  </a:lnTo>
                  <a:cubicBezTo>
                    <a:pt x="11952999" y="787484"/>
                    <a:pt x="11952999" y="787484"/>
                    <a:pt x="11954114" y="787484"/>
                  </a:cubicBezTo>
                  <a:lnTo>
                    <a:pt x="11961915" y="787484"/>
                  </a:lnTo>
                  <a:cubicBezTo>
                    <a:pt x="11961915" y="787484"/>
                    <a:pt x="11961915" y="787484"/>
                    <a:pt x="11960800" y="785741"/>
                  </a:cubicBezTo>
                  <a:lnTo>
                    <a:pt x="11952999" y="773537"/>
                  </a:lnTo>
                  <a:cubicBezTo>
                    <a:pt x="11952999" y="773537"/>
                    <a:pt x="11952999" y="773537"/>
                    <a:pt x="11952999" y="736342"/>
                  </a:cubicBezTo>
                  <a:cubicBezTo>
                    <a:pt x="11952999" y="736342"/>
                    <a:pt x="11952999" y="736342"/>
                    <a:pt x="12102343" y="736342"/>
                  </a:cubicBezTo>
                  <a:cubicBezTo>
                    <a:pt x="12102343" y="736342"/>
                    <a:pt x="12102343" y="736342"/>
                    <a:pt x="12115716" y="757264"/>
                  </a:cubicBezTo>
                  <a:cubicBezTo>
                    <a:pt x="12115716" y="757264"/>
                    <a:pt x="12115716" y="757264"/>
                    <a:pt x="12115716" y="803757"/>
                  </a:cubicBezTo>
                  <a:cubicBezTo>
                    <a:pt x="12115716" y="803757"/>
                    <a:pt x="12115716" y="803757"/>
                    <a:pt x="12114602" y="803757"/>
                  </a:cubicBezTo>
                  <a:lnTo>
                    <a:pt x="12106800" y="803757"/>
                  </a:lnTo>
                  <a:cubicBezTo>
                    <a:pt x="12106800" y="803757"/>
                    <a:pt x="12106800" y="803757"/>
                    <a:pt x="12106800" y="804919"/>
                  </a:cubicBezTo>
                  <a:lnTo>
                    <a:pt x="12106800" y="813056"/>
                  </a:lnTo>
                  <a:cubicBezTo>
                    <a:pt x="12106800" y="813056"/>
                    <a:pt x="12106800" y="813056"/>
                    <a:pt x="12107915" y="813056"/>
                  </a:cubicBezTo>
                  <a:lnTo>
                    <a:pt x="12115716" y="813056"/>
                  </a:lnTo>
                  <a:cubicBezTo>
                    <a:pt x="12115716" y="813056"/>
                    <a:pt x="12115716" y="813056"/>
                    <a:pt x="12115716" y="814218"/>
                  </a:cubicBezTo>
                  <a:lnTo>
                    <a:pt x="12115716" y="822354"/>
                  </a:lnTo>
                  <a:cubicBezTo>
                    <a:pt x="12115716" y="822354"/>
                    <a:pt x="12115716" y="822354"/>
                    <a:pt x="12114602" y="822354"/>
                  </a:cubicBezTo>
                  <a:lnTo>
                    <a:pt x="12106800" y="822354"/>
                  </a:lnTo>
                  <a:cubicBezTo>
                    <a:pt x="12106800" y="822354"/>
                    <a:pt x="12106800" y="822354"/>
                    <a:pt x="12106800" y="823516"/>
                  </a:cubicBezTo>
                  <a:lnTo>
                    <a:pt x="12106800" y="831653"/>
                  </a:lnTo>
                  <a:cubicBezTo>
                    <a:pt x="12106800" y="831653"/>
                    <a:pt x="12106800" y="831653"/>
                    <a:pt x="12107915" y="831653"/>
                  </a:cubicBezTo>
                  <a:lnTo>
                    <a:pt x="12115716" y="831653"/>
                  </a:lnTo>
                  <a:cubicBezTo>
                    <a:pt x="12115716" y="831653"/>
                    <a:pt x="12115716" y="831653"/>
                    <a:pt x="12115716" y="832525"/>
                  </a:cubicBezTo>
                  <a:lnTo>
                    <a:pt x="12115716" y="838627"/>
                  </a:lnTo>
                  <a:cubicBezTo>
                    <a:pt x="12115716" y="838627"/>
                    <a:pt x="12115716" y="838627"/>
                    <a:pt x="12114602" y="838627"/>
                  </a:cubicBezTo>
                  <a:lnTo>
                    <a:pt x="12106800" y="838627"/>
                  </a:lnTo>
                  <a:cubicBezTo>
                    <a:pt x="12106800" y="838627"/>
                    <a:pt x="12106800" y="838627"/>
                    <a:pt x="12106800" y="839789"/>
                  </a:cubicBezTo>
                  <a:lnTo>
                    <a:pt x="12106800" y="847925"/>
                  </a:lnTo>
                  <a:cubicBezTo>
                    <a:pt x="12106800" y="847925"/>
                    <a:pt x="12106800" y="847925"/>
                    <a:pt x="12107915" y="847925"/>
                  </a:cubicBezTo>
                  <a:lnTo>
                    <a:pt x="12115716" y="847925"/>
                  </a:lnTo>
                  <a:cubicBezTo>
                    <a:pt x="12115716" y="847925"/>
                    <a:pt x="12115716" y="847925"/>
                    <a:pt x="12115716" y="849088"/>
                  </a:cubicBezTo>
                  <a:lnTo>
                    <a:pt x="12115716" y="857224"/>
                  </a:lnTo>
                  <a:cubicBezTo>
                    <a:pt x="12115716" y="857224"/>
                    <a:pt x="12115716" y="857224"/>
                    <a:pt x="12114602" y="857224"/>
                  </a:cubicBezTo>
                  <a:lnTo>
                    <a:pt x="12106800" y="857224"/>
                  </a:lnTo>
                  <a:cubicBezTo>
                    <a:pt x="12106800" y="857224"/>
                    <a:pt x="12106800" y="857224"/>
                    <a:pt x="12106800" y="858386"/>
                  </a:cubicBezTo>
                  <a:lnTo>
                    <a:pt x="12106800" y="866523"/>
                  </a:lnTo>
                  <a:cubicBezTo>
                    <a:pt x="12106800" y="866523"/>
                    <a:pt x="12106800" y="866523"/>
                    <a:pt x="12107915" y="866523"/>
                  </a:cubicBezTo>
                  <a:lnTo>
                    <a:pt x="12115716" y="866523"/>
                  </a:lnTo>
                  <a:cubicBezTo>
                    <a:pt x="12115716" y="866523"/>
                    <a:pt x="12115716" y="866523"/>
                    <a:pt x="12115716" y="867394"/>
                  </a:cubicBezTo>
                  <a:lnTo>
                    <a:pt x="12115716" y="873496"/>
                  </a:lnTo>
                  <a:cubicBezTo>
                    <a:pt x="12115716" y="873496"/>
                    <a:pt x="12115716" y="873496"/>
                    <a:pt x="12114602" y="873496"/>
                  </a:cubicBezTo>
                  <a:lnTo>
                    <a:pt x="12106800" y="873496"/>
                  </a:lnTo>
                  <a:cubicBezTo>
                    <a:pt x="12106800" y="873496"/>
                    <a:pt x="12106800" y="873496"/>
                    <a:pt x="12106800" y="874659"/>
                  </a:cubicBezTo>
                  <a:lnTo>
                    <a:pt x="12106800" y="882795"/>
                  </a:lnTo>
                  <a:cubicBezTo>
                    <a:pt x="12106800" y="882795"/>
                    <a:pt x="12106800" y="882795"/>
                    <a:pt x="12107915" y="882795"/>
                  </a:cubicBezTo>
                  <a:lnTo>
                    <a:pt x="12115716" y="882795"/>
                  </a:lnTo>
                  <a:cubicBezTo>
                    <a:pt x="12115716" y="882795"/>
                    <a:pt x="12115716" y="882795"/>
                    <a:pt x="12115716" y="883957"/>
                  </a:cubicBezTo>
                  <a:lnTo>
                    <a:pt x="12115716" y="892094"/>
                  </a:lnTo>
                  <a:cubicBezTo>
                    <a:pt x="12115716" y="892094"/>
                    <a:pt x="12115716" y="892094"/>
                    <a:pt x="12114602" y="892094"/>
                  </a:cubicBezTo>
                  <a:lnTo>
                    <a:pt x="12106800" y="892094"/>
                  </a:lnTo>
                  <a:cubicBezTo>
                    <a:pt x="12106800" y="892094"/>
                    <a:pt x="12106800" y="892094"/>
                    <a:pt x="12106800" y="892965"/>
                  </a:cubicBezTo>
                  <a:lnTo>
                    <a:pt x="12106800" y="899068"/>
                  </a:lnTo>
                  <a:cubicBezTo>
                    <a:pt x="12106800" y="899068"/>
                    <a:pt x="12106800" y="899068"/>
                    <a:pt x="12107915" y="899068"/>
                  </a:cubicBezTo>
                  <a:lnTo>
                    <a:pt x="12115716" y="899068"/>
                  </a:lnTo>
                  <a:cubicBezTo>
                    <a:pt x="12115716" y="899068"/>
                    <a:pt x="12115716" y="899068"/>
                    <a:pt x="12115716" y="900230"/>
                  </a:cubicBezTo>
                  <a:lnTo>
                    <a:pt x="12115716" y="908366"/>
                  </a:lnTo>
                  <a:cubicBezTo>
                    <a:pt x="12115716" y="908366"/>
                    <a:pt x="12115716" y="908366"/>
                    <a:pt x="12114602" y="908366"/>
                  </a:cubicBezTo>
                  <a:lnTo>
                    <a:pt x="12106800" y="908366"/>
                  </a:lnTo>
                  <a:cubicBezTo>
                    <a:pt x="12106800" y="908366"/>
                    <a:pt x="12106800" y="908366"/>
                    <a:pt x="12106800" y="909528"/>
                  </a:cubicBezTo>
                  <a:lnTo>
                    <a:pt x="12106800" y="917665"/>
                  </a:lnTo>
                  <a:cubicBezTo>
                    <a:pt x="12106800" y="917665"/>
                    <a:pt x="12106800" y="917665"/>
                    <a:pt x="12107915" y="917665"/>
                  </a:cubicBezTo>
                  <a:lnTo>
                    <a:pt x="12115716" y="917665"/>
                  </a:lnTo>
                  <a:cubicBezTo>
                    <a:pt x="12115716" y="917665"/>
                    <a:pt x="12115716" y="917665"/>
                    <a:pt x="12115716" y="918827"/>
                  </a:cubicBezTo>
                  <a:lnTo>
                    <a:pt x="12115716" y="926963"/>
                  </a:lnTo>
                  <a:cubicBezTo>
                    <a:pt x="12115716" y="926963"/>
                    <a:pt x="12115716" y="926963"/>
                    <a:pt x="12114602" y="926963"/>
                  </a:cubicBezTo>
                  <a:lnTo>
                    <a:pt x="12106800" y="926963"/>
                  </a:lnTo>
                  <a:cubicBezTo>
                    <a:pt x="12106800" y="926963"/>
                    <a:pt x="12106800" y="926963"/>
                    <a:pt x="12106800" y="927835"/>
                  </a:cubicBezTo>
                  <a:lnTo>
                    <a:pt x="12106800" y="933937"/>
                  </a:lnTo>
                  <a:cubicBezTo>
                    <a:pt x="12106800" y="933937"/>
                    <a:pt x="12106800" y="933937"/>
                    <a:pt x="12107915" y="933937"/>
                  </a:cubicBezTo>
                  <a:lnTo>
                    <a:pt x="12115716" y="933937"/>
                  </a:lnTo>
                  <a:cubicBezTo>
                    <a:pt x="12115716" y="933937"/>
                    <a:pt x="12115716" y="933937"/>
                    <a:pt x="12115716" y="935100"/>
                  </a:cubicBezTo>
                  <a:lnTo>
                    <a:pt x="12115716" y="943236"/>
                  </a:lnTo>
                  <a:cubicBezTo>
                    <a:pt x="12115716" y="943236"/>
                    <a:pt x="12115716" y="943236"/>
                    <a:pt x="12114602" y="943236"/>
                  </a:cubicBezTo>
                  <a:lnTo>
                    <a:pt x="12106800" y="943236"/>
                  </a:lnTo>
                  <a:cubicBezTo>
                    <a:pt x="12106800" y="943236"/>
                    <a:pt x="12106800" y="943236"/>
                    <a:pt x="12106800" y="944398"/>
                  </a:cubicBezTo>
                  <a:lnTo>
                    <a:pt x="12106800" y="952535"/>
                  </a:lnTo>
                  <a:cubicBezTo>
                    <a:pt x="12106800" y="952535"/>
                    <a:pt x="12106800" y="952535"/>
                    <a:pt x="12107915" y="952535"/>
                  </a:cubicBezTo>
                  <a:lnTo>
                    <a:pt x="12115716" y="952535"/>
                  </a:lnTo>
                  <a:cubicBezTo>
                    <a:pt x="12115716" y="952535"/>
                    <a:pt x="12115716" y="952535"/>
                    <a:pt x="12115716" y="953406"/>
                  </a:cubicBezTo>
                  <a:lnTo>
                    <a:pt x="12115716" y="959508"/>
                  </a:lnTo>
                  <a:cubicBezTo>
                    <a:pt x="12115716" y="959508"/>
                    <a:pt x="12115716" y="959508"/>
                    <a:pt x="12114602" y="959508"/>
                  </a:cubicBezTo>
                  <a:lnTo>
                    <a:pt x="12106800" y="959508"/>
                  </a:lnTo>
                  <a:cubicBezTo>
                    <a:pt x="12106800" y="959508"/>
                    <a:pt x="12106800" y="959508"/>
                    <a:pt x="12106800" y="960671"/>
                  </a:cubicBezTo>
                  <a:lnTo>
                    <a:pt x="12106800" y="968807"/>
                  </a:lnTo>
                  <a:cubicBezTo>
                    <a:pt x="12106800" y="968807"/>
                    <a:pt x="12106800" y="968807"/>
                    <a:pt x="12107915" y="968807"/>
                  </a:cubicBezTo>
                  <a:lnTo>
                    <a:pt x="12115716" y="968807"/>
                  </a:lnTo>
                  <a:cubicBezTo>
                    <a:pt x="12115716" y="968807"/>
                    <a:pt x="12115716" y="968807"/>
                    <a:pt x="12115716" y="969969"/>
                  </a:cubicBezTo>
                  <a:lnTo>
                    <a:pt x="12115716" y="978106"/>
                  </a:lnTo>
                  <a:cubicBezTo>
                    <a:pt x="12115716" y="978106"/>
                    <a:pt x="12115716" y="978106"/>
                    <a:pt x="12114602" y="978106"/>
                  </a:cubicBezTo>
                  <a:lnTo>
                    <a:pt x="12106800" y="978106"/>
                  </a:lnTo>
                  <a:cubicBezTo>
                    <a:pt x="12106800" y="978106"/>
                    <a:pt x="12106800" y="978106"/>
                    <a:pt x="12106800" y="979268"/>
                  </a:cubicBezTo>
                  <a:lnTo>
                    <a:pt x="12106800" y="987404"/>
                  </a:lnTo>
                  <a:cubicBezTo>
                    <a:pt x="12106800" y="987404"/>
                    <a:pt x="12106800" y="987404"/>
                    <a:pt x="12107915" y="987404"/>
                  </a:cubicBezTo>
                  <a:lnTo>
                    <a:pt x="12115716" y="987404"/>
                  </a:lnTo>
                  <a:cubicBezTo>
                    <a:pt x="12115716" y="987404"/>
                    <a:pt x="12115716" y="987404"/>
                    <a:pt x="12115716" y="988276"/>
                  </a:cubicBezTo>
                  <a:lnTo>
                    <a:pt x="12115716" y="994378"/>
                  </a:lnTo>
                  <a:cubicBezTo>
                    <a:pt x="12115716" y="994378"/>
                    <a:pt x="12115716" y="994378"/>
                    <a:pt x="12114602" y="994378"/>
                  </a:cubicBezTo>
                  <a:lnTo>
                    <a:pt x="12106800" y="994378"/>
                  </a:lnTo>
                  <a:cubicBezTo>
                    <a:pt x="12106800" y="994378"/>
                    <a:pt x="12106800" y="994378"/>
                    <a:pt x="12106800" y="995540"/>
                  </a:cubicBezTo>
                  <a:lnTo>
                    <a:pt x="12106800" y="1003677"/>
                  </a:lnTo>
                  <a:cubicBezTo>
                    <a:pt x="12106800" y="1003677"/>
                    <a:pt x="12106800" y="1003677"/>
                    <a:pt x="12131319" y="1024599"/>
                  </a:cubicBezTo>
                  <a:cubicBezTo>
                    <a:pt x="12131319" y="1029248"/>
                    <a:pt x="12131319" y="1029248"/>
                    <a:pt x="12130206" y="1029248"/>
                  </a:cubicBezTo>
                  <a:lnTo>
                    <a:pt x="12122403" y="1029248"/>
                  </a:lnTo>
                  <a:cubicBezTo>
                    <a:pt x="12122403" y="1029248"/>
                    <a:pt x="12122403" y="1029248"/>
                    <a:pt x="12122403" y="1040036"/>
                  </a:cubicBezTo>
                  <a:lnTo>
                    <a:pt x="12122403" y="1046874"/>
                  </a:lnTo>
                  <a:lnTo>
                    <a:pt x="12131319" y="1046874"/>
                  </a:lnTo>
                  <a:lnTo>
                    <a:pt x="12131319" y="1043196"/>
                  </a:lnTo>
                  <a:cubicBezTo>
                    <a:pt x="12131319" y="1043196"/>
                    <a:pt x="12131319" y="1043196"/>
                    <a:pt x="12132434" y="1042615"/>
                  </a:cubicBezTo>
                  <a:lnTo>
                    <a:pt x="12140235" y="1038547"/>
                  </a:lnTo>
                  <a:cubicBezTo>
                    <a:pt x="12140235" y="1038547"/>
                    <a:pt x="12140235" y="1038547"/>
                    <a:pt x="12142186" y="1038547"/>
                  </a:cubicBezTo>
                  <a:lnTo>
                    <a:pt x="12155839" y="1038547"/>
                  </a:lnTo>
                  <a:cubicBezTo>
                    <a:pt x="12155839" y="1038547"/>
                    <a:pt x="12155839" y="1038547"/>
                    <a:pt x="12155839" y="1039709"/>
                  </a:cubicBezTo>
                  <a:lnTo>
                    <a:pt x="12155839" y="1046874"/>
                  </a:lnTo>
                  <a:lnTo>
                    <a:pt x="12192000" y="1046874"/>
                  </a:lnTo>
                  <a:lnTo>
                    <a:pt x="12192000" y="1070905"/>
                  </a:lnTo>
                  <a:lnTo>
                    <a:pt x="12192000" y="1121663"/>
                  </a:lnTo>
                  <a:lnTo>
                    <a:pt x="12192000" y="1608850"/>
                  </a:lnTo>
                  <a:lnTo>
                    <a:pt x="0" y="1608850"/>
                  </a:lnTo>
                  <a:lnTo>
                    <a:pt x="0" y="1046874"/>
                  </a:lnTo>
                  <a:lnTo>
                    <a:pt x="65773" y="1046874"/>
                  </a:lnTo>
                  <a:lnTo>
                    <a:pt x="82231" y="1045519"/>
                  </a:lnTo>
                  <a:cubicBezTo>
                    <a:pt x="82231" y="1033896"/>
                    <a:pt x="82231" y="1024598"/>
                    <a:pt x="82231" y="1012974"/>
                  </a:cubicBezTo>
                  <a:cubicBezTo>
                    <a:pt x="97834" y="1012974"/>
                    <a:pt x="113436" y="1012974"/>
                    <a:pt x="126811" y="1012974"/>
                  </a:cubicBezTo>
                  <a:cubicBezTo>
                    <a:pt x="126811" y="1006000"/>
                    <a:pt x="126811" y="1001351"/>
                    <a:pt x="126811" y="994377"/>
                  </a:cubicBezTo>
                  <a:cubicBezTo>
                    <a:pt x="158018" y="994377"/>
                    <a:pt x="189224" y="994377"/>
                    <a:pt x="220430" y="994377"/>
                  </a:cubicBezTo>
                  <a:cubicBezTo>
                    <a:pt x="220430" y="999026"/>
                    <a:pt x="220430" y="1001351"/>
                    <a:pt x="220430" y="1006000"/>
                  </a:cubicBezTo>
                  <a:cubicBezTo>
                    <a:pt x="240491" y="1006000"/>
                    <a:pt x="260552" y="1006000"/>
                    <a:pt x="280612" y="1006000"/>
                  </a:cubicBezTo>
                  <a:cubicBezTo>
                    <a:pt x="280612" y="1008325"/>
                    <a:pt x="280612" y="1010650"/>
                    <a:pt x="280612" y="1012974"/>
                  </a:cubicBezTo>
                  <a:cubicBezTo>
                    <a:pt x="285071" y="1012974"/>
                    <a:pt x="291758" y="1012974"/>
                    <a:pt x="298444" y="1012974"/>
                  </a:cubicBezTo>
                  <a:cubicBezTo>
                    <a:pt x="298444" y="1015299"/>
                    <a:pt x="298444" y="1017624"/>
                    <a:pt x="298444" y="1019948"/>
                  </a:cubicBezTo>
                  <a:cubicBezTo>
                    <a:pt x="302903" y="1019948"/>
                    <a:pt x="309590" y="1019948"/>
                    <a:pt x="314048" y="1019948"/>
                  </a:cubicBezTo>
                  <a:cubicBezTo>
                    <a:pt x="314048" y="985079"/>
                    <a:pt x="314048" y="950209"/>
                    <a:pt x="314048" y="915339"/>
                  </a:cubicBezTo>
                  <a:cubicBezTo>
                    <a:pt x="329651" y="910690"/>
                    <a:pt x="345255" y="906041"/>
                    <a:pt x="360858" y="901391"/>
                  </a:cubicBezTo>
                  <a:cubicBezTo>
                    <a:pt x="389835" y="901391"/>
                    <a:pt x="418812" y="901391"/>
                    <a:pt x="447789" y="901391"/>
                  </a:cubicBezTo>
                  <a:cubicBezTo>
                    <a:pt x="447789" y="845600"/>
                    <a:pt x="447789" y="789808"/>
                    <a:pt x="447789" y="734017"/>
                  </a:cubicBezTo>
                  <a:cubicBezTo>
                    <a:pt x="454476" y="729367"/>
                    <a:pt x="463392" y="727043"/>
                    <a:pt x="472308" y="722393"/>
                  </a:cubicBezTo>
                  <a:cubicBezTo>
                    <a:pt x="507972" y="717744"/>
                    <a:pt x="543636" y="710770"/>
                    <a:pt x="579301" y="703796"/>
                  </a:cubicBezTo>
                  <a:cubicBezTo>
                    <a:pt x="592675" y="708445"/>
                    <a:pt x="603820" y="713095"/>
                    <a:pt x="617194" y="715419"/>
                  </a:cubicBezTo>
                  <a:cubicBezTo>
                    <a:pt x="619423" y="717744"/>
                    <a:pt x="621652" y="720069"/>
                    <a:pt x="623881" y="722393"/>
                  </a:cubicBezTo>
                  <a:cubicBezTo>
                    <a:pt x="623881" y="827002"/>
                    <a:pt x="623881" y="931612"/>
                    <a:pt x="623881" y="1033896"/>
                  </a:cubicBezTo>
                  <a:cubicBezTo>
                    <a:pt x="628339" y="1033896"/>
                    <a:pt x="632796" y="1033896"/>
                    <a:pt x="639484" y="1033896"/>
                  </a:cubicBezTo>
                  <a:cubicBezTo>
                    <a:pt x="639484" y="992053"/>
                    <a:pt x="639484" y="950209"/>
                    <a:pt x="639484" y="908365"/>
                  </a:cubicBezTo>
                  <a:cubicBezTo>
                    <a:pt x="643942" y="908365"/>
                    <a:pt x="648400" y="908365"/>
                    <a:pt x="652858" y="908365"/>
                  </a:cubicBezTo>
                  <a:cubicBezTo>
                    <a:pt x="652858" y="903716"/>
                    <a:pt x="652858" y="901391"/>
                    <a:pt x="652858" y="896742"/>
                  </a:cubicBezTo>
                  <a:cubicBezTo>
                    <a:pt x="657316" y="894417"/>
                    <a:pt x="661774" y="892093"/>
                    <a:pt x="666232" y="889768"/>
                  </a:cubicBezTo>
                  <a:lnTo>
                    <a:pt x="677377" y="889768"/>
                  </a:lnTo>
                  <a:cubicBezTo>
                    <a:pt x="677377" y="885119"/>
                    <a:pt x="677377" y="882794"/>
                    <a:pt x="677377" y="878145"/>
                  </a:cubicBezTo>
                  <a:cubicBezTo>
                    <a:pt x="679606" y="875820"/>
                    <a:pt x="684064" y="873495"/>
                    <a:pt x="686293" y="871171"/>
                  </a:cubicBezTo>
                  <a:cubicBezTo>
                    <a:pt x="692981" y="871171"/>
                    <a:pt x="701896" y="871171"/>
                    <a:pt x="708584" y="871171"/>
                  </a:cubicBezTo>
                  <a:cubicBezTo>
                    <a:pt x="708584" y="882794"/>
                    <a:pt x="708584" y="896742"/>
                    <a:pt x="708584" y="908365"/>
                  </a:cubicBezTo>
                  <a:cubicBezTo>
                    <a:pt x="724187" y="908365"/>
                    <a:pt x="739790" y="908365"/>
                    <a:pt x="755393" y="908365"/>
                  </a:cubicBezTo>
                  <a:cubicBezTo>
                    <a:pt x="755393" y="952534"/>
                    <a:pt x="755393" y="994377"/>
                    <a:pt x="755393" y="1038546"/>
                  </a:cubicBezTo>
                  <a:cubicBezTo>
                    <a:pt x="762080" y="1038546"/>
                    <a:pt x="768767" y="1038546"/>
                    <a:pt x="773225" y="1038546"/>
                  </a:cubicBezTo>
                  <a:cubicBezTo>
                    <a:pt x="779912" y="1036221"/>
                    <a:pt x="784370" y="1033896"/>
                    <a:pt x="791057" y="1031572"/>
                  </a:cubicBezTo>
                  <a:cubicBezTo>
                    <a:pt x="791057" y="1026922"/>
                    <a:pt x="791057" y="1024598"/>
                    <a:pt x="791057" y="1022273"/>
                  </a:cubicBezTo>
                  <a:cubicBezTo>
                    <a:pt x="788828" y="1022273"/>
                    <a:pt x="786599" y="1019948"/>
                    <a:pt x="784370" y="1019948"/>
                  </a:cubicBezTo>
                  <a:cubicBezTo>
                    <a:pt x="784370" y="1017624"/>
                    <a:pt x="784370" y="1015299"/>
                    <a:pt x="784370" y="1012974"/>
                  </a:cubicBezTo>
                  <a:cubicBezTo>
                    <a:pt x="786599" y="1010650"/>
                    <a:pt x="788828" y="1010650"/>
                    <a:pt x="791057" y="1008325"/>
                  </a:cubicBezTo>
                  <a:cubicBezTo>
                    <a:pt x="791057" y="992053"/>
                    <a:pt x="791057" y="973455"/>
                    <a:pt x="791057" y="957183"/>
                  </a:cubicBezTo>
                  <a:cubicBezTo>
                    <a:pt x="788828" y="957183"/>
                    <a:pt x="786599" y="954858"/>
                    <a:pt x="784370" y="954858"/>
                  </a:cubicBezTo>
                  <a:cubicBezTo>
                    <a:pt x="784370" y="952534"/>
                    <a:pt x="784370" y="950209"/>
                    <a:pt x="784370" y="947884"/>
                  </a:cubicBezTo>
                  <a:cubicBezTo>
                    <a:pt x="786599" y="945560"/>
                    <a:pt x="788828" y="945560"/>
                    <a:pt x="791057" y="943235"/>
                  </a:cubicBezTo>
                  <a:lnTo>
                    <a:pt x="795515" y="938586"/>
                  </a:lnTo>
                  <a:lnTo>
                    <a:pt x="795515" y="929287"/>
                  </a:lnTo>
                  <a:cubicBezTo>
                    <a:pt x="793286" y="929287"/>
                    <a:pt x="793286" y="929287"/>
                    <a:pt x="791057" y="929287"/>
                  </a:cubicBezTo>
                  <a:cubicBezTo>
                    <a:pt x="791057" y="926962"/>
                    <a:pt x="791057" y="924638"/>
                    <a:pt x="791057" y="922313"/>
                  </a:cubicBezTo>
                  <a:cubicBezTo>
                    <a:pt x="793286" y="922313"/>
                    <a:pt x="795515" y="919988"/>
                    <a:pt x="797744" y="917664"/>
                  </a:cubicBezTo>
                  <a:cubicBezTo>
                    <a:pt x="799972" y="889768"/>
                    <a:pt x="806660" y="866522"/>
                    <a:pt x="833408" y="852574"/>
                  </a:cubicBezTo>
                  <a:cubicBezTo>
                    <a:pt x="831179" y="852574"/>
                    <a:pt x="831179" y="850249"/>
                    <a:pt x="828950" y="850249"/>
                  </a:cubicBezTo>
                  <a:cubicBezTo>
                    <a:pt x="828950" y="847924"/>
                    <a:pt x="828950" y="845600"/>
                    <a:pt x="828950" y="843275"/>
                  </a:cubicBezTo>
                  <a:cubicBezTo>
                    <a:pt x="831179" y="843275"/>
                    <a:pt x="833408" y="840950"/>
                    <a:pt x="835637" y="840950"/>
                  </a:cubicBezTo>
                  <a:cubicBezTo>
                    <a:pt x="835637" y="836301"/>
                    <a:pt x="835637" y="833976"/>
                    <a:pt x="835637" y="831652"/>
                  </a:cubicBezTo>
                  <a:cubicBezTo>
                    <a:pt x="837866" y="831652"/>
                    <a:pt x="837866" y="831652"/>
                    <a:pt x="840095" y="831652"/>
                  </a:cubicBezTo>
                  <a:cubicBezTo>
                    <a:pt x="840095" y="824678"/>
                    <a:pt x="840095" y="817704"/>
                    <a:pt x="840095" y="810730"/>
                  </a:cubicBezTo>
                  <a:cubicBezTo>
                    <a:pt x="837866" y="810730"/>
                    <a:pt x="837866" y="810730"/>
                    <a:pt x="835637" y="810730"/>
                  </a:cubicBezTo>
                  <a:cubicBezTo>
                    <a:pt x="835637" y="808405"/>
                    <a:pt x="835637" y="808405"/>
                    <a:pt x="835637" y="806081"/>
                  </a:cubicBezTo>
                  <a:lnTo>
                    <a:pt x="840095" y="803756"/>
                  </a:lnTo>
                  <a:cubicBezTo>
                    <a:pt x="844552" y="799107"/>
                    <a:pt x="846782" y="794457"/>
                    <a:pt x="851240" y="787483"/>
                  </a:cubicBezTo>
                  <a:cubicBezTo>
                    <a:pt x="853469" y="782834"/>
                    <a:pt x="853469" y="780510"/>
                    <a:pt x="853469" y="778185"/>
                  </a:cubicBezTo>
                  <a:cubicBezTo>
                    <a:pt x="849011" y="771211"/>
                    <a:pt x="849011" y="759588"/>
                    <a:pt x="853469" y="752614"/>
                  </a:cubicBezTo>
                  <a:cubicBezTo>
                    <a:pt x="853470" y="752611"/>
                    <a:pt x="853485" y="752565"/>
                    <a:pt x="853748" y="751742"/>
                  </a:cubicBezTo>
                  <a:lnTo>
                    <a:pt x="855698" y="745640"/>
                  </a:lnTo>
                  <a:cubicBezTo>
                    <a:pt x="855699" y="745643"/>
                    <a:pt x="855714" y="745689"/>
                    <a:pt x="855977" y="746512"/>
                  </a:cubicBezTo>
                  <a:lnTo>
                    <a:pt x="857927" y="752614"/>
                  </a:lnTo>
                  <a:cubicBezTo>
                    <a:pt x="862384" y="759588"/>
                    <a:pt x="864614" y="771211"/>
                    <a:pt x="860156" y="778185"/>
                  </a:cubicBezTo>
                  <a:cubicBezTo>
                    <a:pt x="860156" y="780510"/>
                    <a:pt x="860156" y="782834"/>
                    <a:pt x="860156" y="785159"/>
                  </a:cubicBezTo>
                  <a:cubicBezTo>
                    <a:pt x="864614" y="792133"/>
                    <a:pt x="869072" y="799107"/>
                    <a:pt x="871302" y="803756"/>
                  </a:cubicBezTo>
                  <a:cubicBezTo>
                    <a:pt x="873531" y="803756"/>
                    <a:pt x="873531" y="806081"/>
                    <a:pt x="875760" y="806081"/>
                  </a:cubicBezTo>
                  <a:cubicBezTo>
                    <a:pt x="875760" y="808405"/>
                    <a:pt x="875760" y="808405"/>
                    <a:pt x="875760" y="810730"/>
                  </a:cubicBezTo>
                  <a:cubicBezTo>
                    <a:pt x="873531" y="817704"/>
                    <a:pt x="873531" y="824678"/>
                    <a:pt x="873531" y="831652"/>
                  </a:cubicBezTo>
                  <a:cubicBezTo>
                    <a:pt x="877989" y="833976"/>
                    <a:pt x="877989" y="836301"/>
                    <a:pt x="877989" y="840950"/>
                  </a:cubicBezTo>
                  <a:lnTo>
                    <a:pt x="882447" y="843275"/>
                  </a:lnTo>
                  <a:cubicBezTo>
                    <a:pt x="882447" y="845600"/>
                    <a:pt x="882447" y="847924"/>
                    <a:pt x="882447" y="850249"/>
                  </a:cubicBezTo>
                  <a:cubicBezTo>
                    <a:pt x="880218" y="852574"/>
                    <a:pt x="880218" y="852574"/>
                    <a:pt x="877989" y="852574"/>
                  </a:cubicBezTo>
                  <a:cubicBezTo>
                    <a:pt x="891362" y="859548"/>
                    <a:pt x="899165" y="868846"/>
                    <a:pt x="904180" y="879888"/>
                  </a:cubicBezTo>
                  <a:lnTo>
                    <a:pt x="913070" y="915339"/>
                  </a:lnTo>
                  <a:lnTo>
                    <a:pt x="944859" y="915339"/>
                  </a:lnTo>
                  <a:lnTo>
                    <a:pt x="944859" y="886329"/>
                  </a:lnTo>
                  <a:lnTo>
                    <a:pt x="939475" y="886329"/>
                  </a:lnTo>
                  <a:cubicBezTo>
                    <a:pt x="939475" y="886306"/>
                    <a:pt x="939475" y="884414"/>
                    <a:pt x="939475" y="724196"/>
                  </a:cubicBezTo>
                  <a:cubicBezTo>
                    <a:pt x="939487" y="724196"/>
                    <a:pt x="939957" y="724196"/>
                    <a:pt x="959742" y="724196"/>
                  </a:cubicBezTo>
                  <a:cubicBezTo>
                    <a:pt x="959747" y="724190"/>
                    <a:pt x="959783" y="724108"/>
                    <a:pt x="960249" y="723115"/>
                  </a:cubicBezTo>
                  <a:lnTo>
                    <a:pt x="963795" y="715549"/>
                  </a:lnTo>
                  <a:cubicBezTo>
                    <a:pt x="963804" y="715550"/>
                    <a:pt x="963917" y="715568"/>
                    <a:pt x="965569" y="715819"/>
                  </a:cubicBezTo>
                  <a:lnTo>
                    <a:pt x="977982" y="717710"/>
                  </a:lnTo>
                  <a:cubicBezTo>
                    <a:pt x="977985" y="717720"/>
                    <a:pt x="978023" y="717821"/>
                    <a:pt x="978489" y="719062"/>
                  </a:cubicBezTo>
                  <a:lnTo>
                    <a:pt x="982035" y="728519"/>
                  </a:lnTo>
                  <a:cubicBezTo>
                    <a:pt x="982049" y="728520"/>
                    <a:pt x="982645" y="728570"/>
                    <a:pt x="1008382" y="730681"/>
                  </a:cubicBezTo>
                  <a:cubicBezTo>
                    <a:pt x="1008382" y="730661"/>
                    <a:pt x="1008382" y="729131"/>
                    <a:pt x="1008382" y="607460"/>
                  </a:cubicBezTo>
                  <a:cubicBezTo>
                    <a:pt x="1008391" y="607460"/>
                    <a:pt x="1008510" y="607460"/>
                    <a:pt x="1010409" y="607460"/>
                  </a:cubicBezTo>
                  <a:lnTo>
                    <a:pt x="1024597" y="607460"/>
                  </a:lnTo>
                  <a:cubicBezTo>
                    <a:pt x="1024597" y="607438"/>
                    <a:pt x="1024597" y="605724"/>
                    <a:pt x="1024597" y="471268"/>
                  </a:cubicBezTo>
                  <a:cubicBezTo>
                    <a:pt x="1024605" y="471268"/>
                    <a:pt x="1024712" y="471268"/>
                    <a:pt x="1026369" y="471268"/>
                  </a:cubicBezTo>
                  <a:lnTo>
                    <a:pt x="1038783" y="471268"/>
                  </a:lnTo>
                  <a:cubicBezTo>
                    <a:pt x="1038783" y="471251"/>
                    <a:pt x="1038783" y="469845"/>
                    <a:pt x="1038783" y="356694"/>
                  </a:cubicBezTo>
                  <a:cubicBezTo>
                    <a:pt x="1042837" y="354532"/>
                    <a:pt x="1042837" y="354532"/>
                    <a:pt x="1042837" y="328590"/>
                  </a:cubicBezTo>
                  <a:cubicBezTo>
                    <a:pt x="1042843" y="328590"/>
                    <a:pt x="1042963" y="328590"/>
                    <a:pt x="1044863" y="328590"/>
                  </a:cubicBezTo>
                  <a:lnTo>
                    <a:pt x="1059050" y="328590"/>
                  </a:lnTo>
                  <a:cubicBezTo>
                    <a:pt x="1059061" y="328567"/>
                    <a:pt x="1059667" y="327200"/>
                    <a:pt x="1095531" y="246443"/>
                  </a:cubicBezTo>
                  <a:cubicBezTo>
                    <a:pt x="1095531" y="246429"/>
                    <a:pt x="1095565" y="244478"/>
                    <a:pt x="10995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E3FBE6D7-EF7F-47A8-89CB-23A37D837D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402" y="704676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27" name="그림 개체 틀 2">
            <a:extLst>
              <a:ext uri="{FF2B5EF4-FFF2-40B4-BE49-F238E27FC236}">
                <a16:creationId xmlns:a16="http://schemas.microsoft.com/office/drawing/2014/main" id="{F114C1C8-D2A1-4716-AE48-7A7DD922165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77201" y="1811568"/>
            <a:ext cx="3192955" cy="44084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185591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g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26" Type="http://schemas.openxmlformats.org/officeDocument/2006/relationships/tags" Target="../tags/tag11.xml"/><Relationship Id="rId3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vmlDrawing" Target="../drawings/vmlDrawing10.v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theme" Target="../theme/theme10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slideLayout" Target="../slideLayouts/slideLayout11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13.xml"/><Relationship Id="rId27" Type="http://schemas.openxmlformats.org/officeDocument/2006/relationships/oleObject" Target="../embeddings/oleObject10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17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vmlDrawing" Target="../drawings/vmlDrawing11.v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24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oleObject" Target="../embeddings/oleObject11.bin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1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tags" Target="../tags/tag1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6.xml"/><Relationship Id="rId18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36.xml"/><Relationship Id="rId21" Type="http://schemas.openxmlformats.org/officeDocument/2006/relationships/vmlDrawing" Target="../drawings/vmlDrawing13.v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8.xml"/><Relationship Id="rId23" Type="http://schemas.openxmlformats.org/officeDocument/2006/relationships/oleObject" Target="../embeddings/oleObject13.bin"/><Relationship Id="rId10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Relationship Id="rId22" Type="http://schemas.openxmlformats.org/officeDocument/2006/relationships/tags" Target="../tags/tag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jp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4.jpg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6.jp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7.jpg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ags" Target="../tags/tag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8.jp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vmlDrawing" Target="../drawings/vmlDrawing6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vmlDrawing" Target="../drawings/vmlDrawing7.v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2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9.jp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ags" Target="../tags/tag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vmlDrawing" Target="../drawings/vmlDrawing8.v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10.jpg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tags" Target="../tags/tag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vmlDrawing" Target="../drawings/vmlDrawing9.v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oleObject" Target="../embeddings/oleObject9.bin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5823DA9-0B96-4B94-B24E-A4D73703DC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83488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00675" y="2324100"/>
            <a:ext cx="5076825" cy="18668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00675" y="4371974"/>
            <a:ext cx="6038850" cy="198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2821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rgbClr val="041736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1C7324-247E-4271-A4B5-FB44ACE03F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695539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think-cell Slide" r:id="rId27" imgW="470" imgH="469" progId="TCLayout.ActiveDocument.1">
                  <p:embed/>
                </p:oleObj>
              </mc:Choice>
              <mc:Fallback>
                <p:oleObj name="think-cell Slide" r:id="rId2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3176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  <p:sldLayoutId id="2147483846" r:id="rId17"/>
    <p:sldLayoutId id="2147483847" r:id="rId18"/>
    <p:sldLayoutId id="2147483848" r:id="rId19"/>
    <p:sldLayoutId id="2147483849" r:id="rId20"/>
    <p:sldLayoutId id="2147483850" r:id="rId21"/>
    <p:sldLayoutId id="2147483851" r:id="rId22"/>
    <p:sldLayoutId id="2147483852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47F196-757F-4FEB-82AB-9A91750529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599106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think-cell Slide" r:id="rId22" imgW="470" imgH="469" progId="TCLayout.ActiveDocument.1">
                  <p:embed/>
                </p:oleObj>
              </mc:Choice>
              <mc:Fallback>
                <p:oleObj name="think-cell Slide" r:id="rId22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6852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6" r:id="rId13"/>
    <p:sldLayoutId id="2147483867" r:id="rId14"/>
    <p:sldLayoutId id="2147483868" r:id="rId15"/>
    <p:sldLayoutId id="2147483869" r:id="rId16"/>
    <p:sldLayoutId id="2147483871" r:id="rId17"/>
    <p:sldLayoutId id="2147483872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B54D62-2E52-499C-8609-E65559F62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77472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5311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C68C7E-67B0-4929-BC0F-1A507E808A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959473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" name="think-cell Slide" r:id="rId23" imgW="470" imgH="469" progId="TCLayout.ActiveDocument.1">
                  <p:embed/>
                </p:oleObj>
              </mc:Choice>
              <mc:Fallback>
                <p:oleObj name="think-cell Slide" r:id="rId23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7201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  <p:sldLayoutId id="2147483891" r:id="rId14"/>
    <p:sldLayoutId id="2147483892" r:id="rId15"/>
    <p:sldLayoutId id="2147483893" r:id="rId16"/>
    <p:sldLayoutId id="2147483894" r:id="rId17"/>
    <p:sldLayoutId id="2147483895" r:id="rId18"/>
    <p:sldLayoutId id="2147483896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3DA4B91-FF9C-471D-9E88-E155678F1C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83359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8" imgW="470" imgH="469" progId="TCLayout.ActiveDocument.1">
                  <p:embed/>
                </p:oleObj>
              </mc:Choice>
              <mc:Fallback>
                <p:oleObj name="think-cell Slide" r:id="rId8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BA84D5-D898-4CEB-8177-B0233FE3A100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0D400F-5EC8-4535-9DEC-42B5C226F8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865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2" r:id="rId2"/>
    <p:sldLayoutId id="214748371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FC19C7-F771-4FC4-BB14-8379CA67A5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3031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17" imgW="470" imgH="469" progId="TCLayout.ActiveDocument.1">
                  <p:embed/>
                </p:oleObj>
              </mc:Choice>
              <mc:Fallback>
                <p:oleObj name="think-cell Slide" r:id="rId1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8090B2-0048-45A8-A736-3EBE379DFA5C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95F9CD-A97E-400E-A063-4DCA89081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32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89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75C345C-CA27-409E-AEDD-C4F181030D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72448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16" imgW="470" imgH="469" progId="TCLayout.ActiveDocument.1">
                  <p:embed/>
                </p:oleObj>
              </mc:Choice>
              <mc:Fallback>
                <p:oleObj name="think-cell Slide" r:id="rId1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1C3D92-DE79-4E62-B1EF-743497C198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E3B467-E0D1-4739-A52F-913EFEFDCF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8904AE-19A7-47F5-9730-376D7ED67E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D981A2-0D25-4E86-A859-11DC7FD9006E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6AAFAB-3F20-4830-991D-74EA969729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94F2D4-724F-42D2-8548-3709A4520F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AC671D-64E9-4A42-BD53-AB9FAB059D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497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7A01D3E-42B8-487A-ADE2-3D64342C2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3385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Slide" r:id="rId16" imgW="470" imgH="469" progId="TCLayout.ActiveDocument.1">
                  <p:embed/>
                </p:oleObj>
              </mc:Choice>
              <mc:Fallback>
                <p:oleObj name="think-cell Slide" r:id="rId1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D73D51-8274-4331-A2D0-E92109313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8756" y="365125"/>
            <a:ext cx="5095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46F14A-975A-495D-B4F4-F613B0C1DE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58756" y="1825625"/>
            <a:ext cx="509504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945090-459C-47B4-9543-B01328E467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6CE88E-F751-468B-B342-E54D2D566B53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F0E9AC-7D8B-40F1-B702-82B09212B1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59F8B4-ECF2-44F9-B6B3-72E826CCD9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C5AE16-E661-45CA-BB1A-B1C44E005F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627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58A9817-151C-4C68-A1E4-8DF3F9DAB3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59543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think-cell Slide" r:id="rId17" imgW="470" imgH="469" progId="TCLayout.ActiveDocument.1">
                  <p:embed/>
                </p:oleObj>
              </mc:Choice>
              <mc:Fallback>
                <p:oleObj name="think-cell Slide" r:id="rId1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0F414E-A55A-42F5-A7FE-D131439B6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8577DC-3B83-42D5-B6F1-34EBF64051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47850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A9917E-6302-43AE-ACB1-7A401E03CD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9BDC49-9081-4256-ABC3-DD82EFC474B6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E49CE2-FB21-4EBF-85B2-261609AB8D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44E4A6-3490-4C04-8B1C-244E840180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ACB799-FA36-4AA7-A5C2-ED8CF3B785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534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87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90ABD-FA47-45CE-B419-DBAA1C77B8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99115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think-cell Slide" r:id="rId16" imgW="470" imgH="469" progId="TCLayout.ActiveDocument.1">
                  <p:embed/>
                </p:oleObj>
              </mc:Choice>
              <mc:Fallback>
                <p:oleObj name="think-cell Slide" r:id="rId1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37933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77DC88B-7416-422D-9B40-3C71E5B5D0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50338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think-cell Slide" r:id="rId16" imgW="470" imgH="469" progId="TCLayout.ActiveDocument.1">
                  <p:embed/>
                </p:oleObj>
              </mc:Choice>
              <mc:Fallback>
                <p:oleObj name="think-cell Slide" r:id="rId1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7451B7-6778-41C3-BFB5-606474C135F8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FCDC82-73F9-410E-BE0D-FB37D89DDD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324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1EC5F1-8698-4D9C-81F7-3FF3FF258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09526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think-cell Slide" r:id="rId23" imgW="470" imgH="469" progId="TCLayout.ActiveDocument.1">
                  <p:embed/>
                </p:oleObj>
              </mc:Choice>
              <mc:Fallback>
                <p:oleObj name="think-cell Slide" r:id="rId23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76996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  <p:sldLayoutId id="2147483822" r:id="rId15"/>
    <p:sldLayoutId id="2147483823" r:id="rId16"/>
    <p:sldLayoutId id="2147483824" r:id="rId17"/>
    <p:sldLayoutId id="2147483825" r:id="rId18"/>
    <p:sldLayoutId id="2147483826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8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6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Layout" Target="../diagrams/layout2.xml"/><Relationship Id="rId3" Type="http://schemas.openxmlformats.org/officeDocument/2006/relationships/slideLayout" Target="../slideLayouts/slideLayout138.xml"/><Relationship Id="rId7" Type="http://schemas.openxmlformats.org/officeDocument/2006/relationships/diagramLayout" Target="../diagrams/layout1.xml"/><Relationship Id="rId12" Type="http://schemas.openxmlformats.org/officeDocument/2006/relationships/diagramData" Target="../diagrams/data2.xml"/><Relationship Id="rId2" Type="http://schemas.openxmlformats.org/officeDocument/2006/relationships/tags" Target="../tags/tag15.xml"/><Relationship Id="rId16" Type="http://schemas.microsoft.com/office/2007/relationships/diagramDrawing" Target="../diagrams/drawing2.xml"/><Relationship Id="rId1" Type="http://schemas.openxmlformats.org/officeDocument/2006/relationships/vmlDrawing" Target="../drawings/vmlDrawing14.vml"/><Relationship Id="rId6" Type="http://schemas.openxmlformats.org/officeDocument/2006/relationships/diagramData" Target="../diagrams/data1.xml"/><Relationship Id="rId11" Type="http://schemas.openxmlformats.org/officeDocument/2006/relationships/image" Target="../media/image26.jpeg"/><Relationship Id="rId5" Type="http://schemas.openxmlformats.org/officeDocument/2006/relationships/image" Target="../media/image1.emf"/><Relationship Id="rId15" Type="http://schemas.openxmlformats.org/officeDocument/2006/relationships/diagramColors" Target="../diagrams/colors2.xml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4.bin"/><Relationship Id="rId9" Type="http://schemas.openxmlformats.org/officeDocument/2006/relationships/diagramColors" Target="../diagrams/colors1.xml"/><Relationship Id="rId1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40.xml"/><Relationship Id="rId21" Type="http://schemas.openxmlformats.org/officeDocument/2006/relationships/tags" Target="../tags/tag35.xml"/><Relationship Id="rId42" Type="http://schemas.openxmlformats.org/officeDocument/2006/relationships/tags" Target="../tags/tag56.xml"/><Relationship Id="rId47" Type="http://schemas.openxmlformats.org/officeDocument/2006/relationships/tags" Target="../tags/tag61.xml"/><Relationship Id="rId63" Type="http://schemas.openxmlformats.org/officeDocument/2006/relationships/tags" Target="../tags/tag77.xml"/><Relationship Id="rId68" Type="http://schemas.openxmlformats.org/officeDocument/2006/relationships/tags" Target="../tags/tag82.xml"/><Relationship Id="rId7" Type="http://schemas.openxmlformats.org/officeDocument/2006/relationships/tags" Target="../tags/tag21.xml"/><Relationship Id="rId71" Type="http://schemas.openxmlformats.org/officeDocument/2006/relationships/image" Target="../media/image1.emf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9" Type="http://schemas.openxmlformats.org/officeDocument/2006/relationships/tags" Target="../tags/tag43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37" Type="http://schemas.openxmlformats.org/officeDocument/2006/relationships/tags" Target="../tags/tag51.xml"/><Relationship Id="rId40" Type="http://schemas.openxmlformats.org/officeDocument/2006/relationships/tags" Target="../tags/tag54.xml"/><Relationship Id="rId45" Type="http://schemas.openxmlformats.org/officeDocument/2006/relationships/tags" Target="../tags/tag59.xml"/><Relationship Id="rId53" Type="http://schemas.openxmlformats.org/officeDocument/2006/relationships/tags" Target="../tags/tag67.xml"/><Relationship Id="rId58" Type="http://schemas.openxmlformats.org/officeDocument/2006/relationships/tags" Target="../tags/tag72.xml"/><Relationship Id="rId66" Type="http://schemas.openxmlformats.org/officeDocument/2006/relationships/tags" Target="../tags/tag80.xml"/><Relationship Id="rId5" Type="http://schemas.openxmlformats.org/officeDocument/2006/relationships/tags" Target="../tags/tag19.xml"/><Relationship Id="rId61" Type="http://schemas.openxmlformats.org/officeDocument/2006/relationships/tags" Target="../tags/tag75.xml"/><Relationship Id="rId19" Type="http://schemas.openxmlformats.org/officeDocument/2006/relationships/tags" Target="../tags/tag3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tags" Target="../tags/tag49.xml"/><Relationship Id="rId43" Type="http://schemas.openxmlformats.org/officeDocument/2006/relationships/tags" Target="../tags/tag57.xml"/><Relationship Id="rId48" Type="http://schemas.openxmlformats.org/officeDocument/2006/relationships/tags" Target="../tags/tag62.xml"/><Relationship Id="rId56" Type="http://schemas.openxmlformats.org/officeDocument/2006/relationships/tags" Target="../tags/tag70.xml"/><Relationship Id="rId64" Type="http://schemas.openxmlformats.org/officeDocument/2006/relationships/tags" Target="../tags/tag78.xml"/><Relationship Id="rId69" Type="http://schemas.openxmlformats.org/officeDocument/2006/relationships/slideLayout" Target="../slideLayouts/slideLayout149.xml"/><Relationship Id="rId8" Type="http://schemas.openxmlformats.org/officeDocument/2006/relationships/tags" Target="../tags/tag22.xml"/><Relationship Id="rId51" Type="http://schemas.openxmlformats.org/officeDocument/2006/relationships/tags" Target="../tags/tag65.xml"/><Relationship Id="rId72" Type="http://schemas.openxmlformats.org/officeDocument/2006/relationships/chart" Target="../charts/chart1.xml"/><Relationship Id="rId3" Type="http://schemas.openxmlformats.org/officeDocument/2006/relationships/tags" Target="../tags/tag17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38" Type="http://schemas.openxmlformats.org/officeDocument/2006/relationships/tags" Target="../tags/tag52.xml"/><Relationship Id="rId46" Type="http://schemas.openxmlformats.org/officeDocument/2006/relationships/tags" Target="../tags/tag60.xml"/><Relationship Id="rId59" Type="http://schemas.openxmlformats.org/officeDocument/2006/relationships/tags" Target="../tags/tag73.xml"/><Relationship Id="rId67" Type="http://schemas.openxmlformats.org/officeDocument/2006/relationships/tags" Target="../tags/tag81.xml"/><Relationship Id="rId20" Type="http://schemas.openxmlformats.org/officeDocument/2006/relationships/tags" Target="../tags/tag34.xml"/><Relationship Id="rId41" Type="http://schemas.openxmlformats.org/officeDocument/2006/relationships/tags" Target="../tags/tag55.xml"/><Relationship Id="rId54" Type="http://schemas.openxmlformats.org/officeDocument/2006/relationships/tags" Target="../tags/tag68.xml"/><Relationship Id="rId62" Type="http://schemas.openxmlformats.org/officeDocument/2006/relationships/tags" Target="../tags/tag76.xml"/><Relationship Id="rId70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0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tags" Target="../tags/tag50.xml"/><Relationship Id="rId49" Type="http://schemas.openxmlformats.org/officeDocument/2006/relationships/tags" Target="../tags/tag63.xml"/><Relationship Id="rId57" Type="http://schemas.openxmlformats.org/officeDocument/2006/relationships/tags" Target="../tags/tag71.xml"/><Relationship Id="rId10" Type="http://schemas.openxmlformats.org/officeDocument/2006/relationships/tags" Target="../tags/tag24.xml"/><Relationship Id="rId31" Type="http://schemas.openxmlformats.org/officeDocument/2006/relationships/tags" Target="../tags/tag45.xml"/><Relationship Id="rId44" Type="http://schemas.openxmlformats.org/officeDocument/2006/relationships/tags" Target="../tags/tag58.xml"/><Relationship Id="rId52" Type="http://schemas.openxmlformats.org/officeDocument/2006/relationships/tags" Target="../tags/tag66.xml"/><Relationship Id="rId60" Type="http://schemas.openxmlformats.org/officeDocument/2006/relationships/tags" Target="../tags/tag74.xml"/><Relationship Id="rId65" Type="http://schemas.openxmlformats.org/officeDocument/2006/relationships/tags" Target="../tags/tag79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39" Type="http://schemas.openxmlformats.org/officeDocument/2006/relationships/tags" Target="../tags/tag53.xml"/><Relationship Id="rId34" Type="http://schemas.openxmlformats.org/officeDocument/2006/relationships/tags" Target="../tags/tag48.xml"/><Relationship Id="rId50" Type="http://schemas.openxmlformats.org/officeDocument/2006/relationships/tags" Target="../tags/tag64.xml"/><Relationship Id="rId55" Type="http://schemas.openxmlformats.org/officeDocument/2006/relationships/tags" Target="../tags/tag6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3.xml"/><Relationship Id="rId1" Type="http://schemas.openxmlformats.org/officeDocument/2006/relationships/themeOverride" Target="../theme/themeOverrid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3.xml"/><Relationship Id="rId1" Type="http://schemas.openxmlformats.org/officeDocument/2006/relationships/themeOverride" Target="../theme/themeOverr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821C0FD-B5EF-4D94-BE2E-60F02BDA3D98}"/>
              </a:ext>
            </a:extLst>
          </p:cNvPr>
          <p:cNvSpPr txBox="1"/>
          <p:nvPr/>
        </p:nvSpPr>
        <p:spPr>
          <a:xfrm>
            <a:off x="7149195" y="2927321"/>
            <a:ext cx="50428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rPr>
              <a:t>OFFICE AUTOMATION UPD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>
                <a:solidFill>
                  <a:prstClr val="white"/>
                </a:solidFill>
                <a:latin typeface="Arial"/>
                <a:cs typeface="Arial" pitchFamily="34" charset="0"/>
              </a:rPr>
              <a:t>P-Offi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F0CE4-1AA4-4781-A459-F01954AE5FAA}"/>
              </a:ext>
            </a:extLst>
          </p:cNvPr>
          <p:cNvSpPr txBox="1">
            <a:spLocks/>
          </p:cNvSpPr>
          <p:nvPr/>
        </p:nvSpPr>
        <p:spPr>
          <a:xfrm>
            <a:off x="8478623" y="873746"/>
            <a:ext cx="638713" cy="590719"/>
          </a:xfrm>
          <a:custGeom>
            <a:avLst/>
            <a:gdLst/>
            <a:ahLst/>
            <a:cxnLst/>
            <a:rect l="l" t="t" r="r" b="b"/>
            <a:pathLst>
              <a:path w="127932" h="118319">
                <a:moveTo>
                  <a:pt x="117086" y="0"/>
                </a:moveTo>
                <a:lnTo>
                  <a:pt x="127932" y="17255"/>
                </a:lnTo>
                <a:cubicBezTo>
                  <a:pt x="118894" y="21035"/>
                  <a:pt x="112238" y="26663"/>
                  <a:pt x="107966" y="34140"/>
                </a:cubicBezTo>
                <a:cubicBezTo>
                  <a:pt x="103693" y="41617"/>
                  <a:pt x="101310" y="52504"/>
                  <a:pt x="100817" y="66801"/>
                </a:cubicBezTo>
                <a:lnTo>
                  <a:pt x="123988" y="66801"/>
                </a:lnTo>
                <a:lnTo>
                  <a:pt x="123988" y="118319"/>
                </a:lnTo>
                <a:lnTo>
                  <a:pt x="76414" y="118319"/>
                </a:lnTo>
                <a:lnTo>
                  <a:pt x="76414" y="77647"/>
                </a:lnTo>
                <a:cubicBezTo>
                  <a:pt x="76414" y="55626"/>
                  <a:pt x="79043" y="39686"/>
                  <a:pt x="84302" y="29826"/>
                </a:cubicBezTo>
                <a:cubicBezTo>
                  <a:pt x="91204" y="16680"/>
                  <a:pt x="102132" y="6738"/>
                  <a:pt x="117086" y="0"/>
                </a:cubicBezTo>
                <a:close/>
                <a:moveTo>
                  <a:pt x="40672" y="0"/>
                </a:moveTo>
                <a:lnTo>
                  <a:pt x="51518" y="17255"/>
                </a:lnTo>
                <a:cubicBezTo>
                  <a:pt x="42480" y="21035"/>
                  <a:pt x="35824" y="26663"/>
                  <a:pt x="31552" y="34140"/>
                </a:cubicBezTo>
                <a:cubicBezTo>
                  <a:pt x="27279" y="41617"/>
                  <a:pt x="24896" y="52504"/>
                  <a:pt x="24403" y="66801"/>
                </a:cubicBezTo>
                <a:lnTo>
                  <a:pt x="47574" y="66801"/>
                </a:lnTo>
                <a:lnTo>
                  <a:pt x="47574" y="118319"/>
                </a:lnTo>
                <a:lnTo>
                  <a:pt x="0" y="118319"/>
                </a:lnTo>
                <a:lnTo>
                  <a:pt x="0" y="77647"/>
                </a:lnTo>
                <a:cubicBezTo>
                  <a:pt x="0" y="55626"/>
                  <a:pt x="2630" y="39686"/>
                  <a:pt x="7888" y="29826"/>
                </a:cubicBezTo>
                <a:cubicBezTo>
                  <a:pt x="14790" y="16680"/>
                  <a:pt x="25718" y="6738"/>
                  <a:pt x="4067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di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4000" b="0" i="0" u="none" strike="noStrike" kern="1200" cap="none" spc="300" normalizeH="0" baseline="0" noProof="0" dirty="0">
              <a:ln>
                <a:noFill/>
              </a:ln>
              <a:solidFill>
                <a:srgbClr val="5AB4C1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36A26A-2E3A-47AE-954E-9DF5BBE68113}"/>
              </a:ext>
            </a:extLst>
          </p:cNvPr>
          <p:cNvSpPr txBox="1">
            <a:spLocks/>
          </p:cNvSpPr>
          <p:nvPr/>
        </p:nvSpPr>
        <p:spPr>
          <a:xfrm rot="10800000">
            <a:off x="11172000" y="4824423"/>
            <a:ext cx="638713" cy="590719"/>
          </a:xfrm>
          <a:custGeom>
            <a:avLst/>
            <a:gdLst/>
            <a:ahLst/>
            <a:cxnLst/>
            <a:rect l="l" t="t" r="r" b="b"/>
            <a:pathLst>
              <a:path w="127932" h="118319">
                <a:moveTo>
                  <a:pt x="117086" y="0"/>
                </a:moveTo>
                <a:lnTo>
                  <a:pt x="127932" y="17255"/>
                </a:lnTo>
                <a:cubicBezTo>
                  <a:pt x="118894" y="21035"/>
                  <a:pt x="112238" y="26663"/>
                  <a:pt x="107966" y="34140"/>
                </a:cubicBezTo>
                <a:cubicBezTo>
                  <a:pt x="103693" y="41617"/>
                  <a:pt x="101310" y="52504"/>
                  <a:pt x="100817" y="66801"/>
                </a:cubicBezTo>
                <a:lnTo>
                  <a:pt x="123988" y="66801"/>
                </a:lnTo>
                <a:lnTo>
                  <a:pt x="123988" y="118319"/>
                </a:lnTo>
                <a:lnTo>
                  <a:pt x="76414" y="118319"/>
                </a:lnTo>
                <a:lnTo>
                  <a:pt x="76414" y="77647"/>
                </a:lnTo>
                <a:cubicBezTo>
                  <a:pt x="76414" y="55626"/>
                  <a:pt x="79043" y="39686"/>
                  <a:pt x="84302" y="29826"/>
                </a:cubicBezTo>
                <a:cubicBezTo>
                  <a:pt x="91204" y="16680"/>
                  <a:pt x="102132" y="6738"/>
                  <a:pt x="117086" y="0"/>
                </a:cubicBezTo>
                <a:close/>
                <a:moveTo>
                  <a:pt x="40672" y="0"/>
                </a:moveTo>
                <a:lnTo>
                  <a:pt x="51518" y="17255"/>
                </a:lnTo>
                <a:cubicBezTo>
                  <a:pt x="42480" y="21035"/>
                  <a:pt x="35824" y="26663"/>
                  <a:pt x="31552" y="34140"/>
                </a:cubicBezTo>
                <a:cubicBezTo>
                  <a:pt x="27279" y="41617"/>
                  <a:pt x="24896" y="52504"/>
                  <a:pt x="24403" y="66801"/>
                </a:cubicBezTo>
                <a:lnTo>
                  <a:pt x="47574" y="66801"/>
                </a:lnTo>
                <a:lnTo>
                  <a:pt x="47574" y="118319"/>
                </a:lnTo>
                <a:lnTo>
                  <a:pt x="0" y="118319"/>
                </a:lnTo>
                <a:lnTo>
                  <a:pt x="0" y="77647"/>
                </a:lnTo>
                <a:cubicBezTo>
                  <a:pt x="0" y="55626"/>
                  <a:pt x="2630" y="39686"/>
                  <a:pt x="7888" y="29826"/>
                </a:cubicBezTo>
                <a:cubicBezTo>
                  <a:pt x="14790" y="16680"/>
                  <a:pt x="25718" y="6738"/>
                  <a:pt x="4067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di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4000" b="0" i="0" u="none" strike="noStrike" kern="1200" cap="none" spc="300" normalizeH="0" baseline="0" noProof="0" dirty="0">
              <a:ln>
                <a:noFill/>
              </a:ln>
              <a:solidFill>
                <a:srgbClr val="5AB4C1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62C71B-162A-4AA8-955E-7BDEC2B534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695380"/>
            <a:ext cx="5042804" cy="5023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9884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oup 66">
            <a:extLst>
              <a:ext uri="{FF2B5EF4-FFF2-40B4-BE49-F238E27FC236}">
                <a16:creationId xmlns:a16="http://schemas.microsoft.com/office/drawing/2014/main" id="{85030F3C-3F14-4280-AA6C-19204206B3E0}"/>
              </a:ext>
            </a:extLst>
          </p:cNvPr>
          <p:cNvGrpSpPr/>
          <p:nvPr/>
        </p:nvGrpSpPr>
        <p:grpSpPr>
          <a:xfrm rot="16200000">
            <a:off x="8106225" y="2640234"/>
            <a:ext cx="6404152" cy="1704274"/>
            <a:chOff x="3960971" y="2767117"/>
            <a:chExt cx="4267200" cy="1321489"/>
          </a:xfrm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500CC3D4-3213-44FE-AEA1-D00F01745FC6}"/>
                </a:ext>
              </a:extLst>
            </p:cNvPr>
            <p:cNvSpPr/>
            <p:nvPr/>
          </p:nvSpPr>
          <p:spPr>
            <a:xfrm>
              <a:off x="4049553" y="3359522"/>
              <a:ext cx="4086225" cy="657225"/>
            </a:xfrm>
            <a:custGeom>
              <a:avLst/>
              <a:gdLst>
                <a:gd name="connsiteX0" fmla="*/ 3881914 w 4086225"/>
                <a:gd name="connsiteY0" fmla="*/ 86622 h 657225"/>
                <a:gd name="connsiteX1" fmla="*/ 2049304 w 4086225"/>
                <a:gd name="connsiteY1" fmla="*/ 319032 h 657225"/>
                <a:gd name="connsiteX2" fmla="*/ 2049304 w 4086225"/>
                <a:gd name="connsiteY2" fmla="*/ 313317 h 657225"/>
                <a:gd name="connsiteX3" fmla="*/ 210979 w 4086225"/>
                <a:gd name="connsiteY3" fmla="*/ 78050 h 657225"/>
                <a:gd name="connsiteX4" fmla="*/ 7144 w 4086225"/>
                <a:gd name="connsiteY4" fmla="*/ 603830 h 657225"/>
                <a:gd name="connsiteX5" fmla="*/ 1779746 w 4086225"/>
                <a:gd name="connsiteY5" fmla="*/ 375230 h 657225"/>
                <a:gd name="connsiteX6" fmla="*/ 2043589 w 4086225"/>
                <a:gd name="connsiteY6" fmla="*/ 643835 h 657225"/>
                <a:gd name="connsiteX7" fmla="*/ 2043589 w 4086225"/>
                <a:gd name="connsiteY7" fmla="*/ 652407 h 657225"/>
                <a:gd name="connsiteX8" fmla="*/ 2312194 w 4086225"/>
                <a:gd name="connsiteY8" fmla="*/ 383802 h 657225"/>
                <a:gd name="connsiteX9" fmla="*/ 4084796 w 4086225"/>
                <a:gd name="connsiteY9" fmla="*/ 612402 h 657225"/>
                <a:gd name="connsiteX10" fmla="*/ 3881914 w 4086225"/>
                <a:gd name="connsiteY10" fmla="*/ 86622 h 65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086225" h="657225">
                  <a:moveTo>
                    <a:pt x="3881914" y="86622"/>
                  </a:moveTo>
                  <a:cubicBezTo>
                    <a:pt x="3555206" y="-1960"/>
                    <a:pt x="2711291" y="-80065"/>
                    <a:pt x="2049304" y="319032"/>
                  </a:cubicBezTo>
                  <a:lnTo>
                    <a:pt x="2049304" y="313317"/>
                  </a:lnTo>
                  <a:cubicBezTo>
                    <a:pt x="1385411" y="-88638"/>
                    <a:pt x="538639" y="-9580"/>
                    <a:pt x="210979" y="78050"/>
                  </a:cubicBezTo>
                  <a:cubicBezTo>
                    <a:pt x="210979" y="78050"/>
                    <a:pt x="17621" y="294267"/>
                    <a:pt x="7144" y="603830"/>
                  </a:cubicBezTo>
                  <a:lnTo>
                    <a:pt x="1779746" y="375230"/>
                  </a:lnTo>
                  <a:cubicBezTo>
                    <a:pt x="1779746" y="521915"/>
                    <a:pt x="1897856" y="640977"/>
                    <a:pt x="2043589" y="643835"/>
                  </a:cubicBezTo>
                  <a:lnTo>
                    <a:pt x="2043589" y="652407"/>
                  </a:lnTo>
                  <a:cubicBezTo>
                    <a:pt x="2192179" y="652407"/>
                    <a:pt x="2312194" y="532392"/>
                    <a:pt x="2312194" y="383802"/>
                  </a:cubicBezTo>
                  <a:lnTo>
                    <a:pt x="4084796" y="612402"/>
                  </a:lnTo>
                  <a:cubicBezTo>
                    <a:pt x="4076224" y="302840"/>
                    <a:pt x="3881914" y="86622"/>
                    <a:pt x="3881914" y="86622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0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F3D9FB98-AB9C-4644-A8E5-20D1B7786152}"/>
                </a:ext>
              </a:extLst>
            </p:cNvPr>
            <p:cNvSpPr/>
            <p:nvPr/>
          </p:nvSpPr>
          <p:spPr>
            <a:xfrm>
              <a:off x="3960971" y="3698081"/>
              <a:ext cx="4267200" cy="390525"/>
            </a:xfrm>
            <a:custGeom>
              <a:avLst/>
              <a:gdLst>
                <a:gd name="connsiteX0" fmla="*/ 2127409 w 4267200"/>
                <a:gd name="connsiteY0" fmla="*/ 389096 h 390525"/>
                <a:gd name="connsiteX1" fmla="*/ 1806416 w 4267200"/>
                <a:gd name="connsiteY1" fmla="*/ 120491 h 390525"/>
                <a:gd name="connsiteX2" fmla="*/ 51911 w 4267200"/>
                <a:gd name="connsiteY2" fmla="*/ 330041 h 390525"/>
                <a:gd name="connsiteX3" fmla="*/ 7144 w 4267200"/>
                <a:gd name="connsiteY3" fmla="*/ 294799 h 390525"/>
                <a:gd name="connsiteX4" fmla="*/ 7144 w 4267200"/>
                <a:gd name="connsiteY4" fmla="*/ 251936 h 390525"/>
                <a:gd name="connsiteX5" fmla="*/ 51911 w 4267200"/>
                <a:gd name="connsiteY5" fmla="*/ 216694 h 390525"/>
                <a:gd name="connsiteX6" fmla="*/ 1859756 w 4267200"/>
                <a:gd name="connsiteY6" fmla="*/ 7144 h 390525"/>
                <a:gd name="connsiteX7" fmla="*/ 1915954 w 4267200"/>
                <a:gd name="connsiteY7" fmla="*/ 65246 h 390525"/>
                <a:gd name="connsiteX8" fmla="*/ 2127409 w 4267200"/>
                <a:gd name="connsiteY8" fmla="*/ 275749 h 390525"/>
                <a:gd name="connsiteX9" fmla="*/ 2338864 w 4267200"/>
                <a:gd name="connsiteY9" fmla="*/ 65246 h 390525"/>
                <a:gd name="connsiteX10" fmla="*/ 2395061 w 4267200"/>
                <a:gd name="connsiteY10" fmla="*/ 7144 h 390525"/>
                <a:gd name="connsiteX11" fmla="*/ 4231482 w 4267200"/>
                <a:gd name="connsiteY11" fmla="*/ 216694 h 390525"/>
                <a:gd name="connsiteX12" fmla="*/ 4266724 w 4267200"/>
                <a:gd name="connsiteY12" fmla="*/ 251936 h 390525"/>
                <a:gd name="connsiteX13" fmla="*/ 4266724 w 4267200"/>
                <a:gd name="connsiteY13" fmla="*/ 294799 h 390525"/>
                <a:gd name="connsiteX14" fmla="*/ 4231482 w 4267200"/>
                <a:gd name="connsiteY14" fmla="*/ 330041 h 390525"/>
                <a:gd name="connsiteX15" fmla="*/ 2448401 w 4267200"/>
                <a:gd name="connsiteY15" fmla="*/ 120491 h 390525"/>
                <a:gd name="connsiteX16" fmla="*/ 2127409 w 4267200"/>
                <a:gd name="connsiteY16" fmla="*/ 389096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267200" h="390525">
                  <a:moveTo>
                    <a:pt x="2127409" y="389096"/>
                  </a:moveTo>
                  <a:cubicBezTo>
                    <a:pt x="1967389" y="389096"/>
                    <a:pt x="1834039" y="272891"/>
                    <a:pt x="1806416" y="120491"/>
                  </a:cubicBezTo>
                  <a:lnTo>
                    <a:pt x="51911" y="330041"/>
                  </a:lnTo>
                  <a:cubicBezTo>
                    <a:pt x="31909" y="330041"/>
                    <a:pt x="7144" y="313849"/>
                    <a:pt x="7144" y="294799"/>
                  </a:cubicBezTo>
                  <a:lnTo>
                    <a:pt x="7144" y="251936"/>
                  </a:lnTo>
                  <a:cubicBezTo>
                    <a:pt x="7144" y="231934"/>
                    <a:pt x="32861" y="216694"/>
                    <a:pt x="51911" y="216694"/>
                  </a:cubicBezTo>
                  <a:lnTo>
                    <a:pt x="1859756" y="7144"/>
                  </a:lnTo>
                  <a:cubicBezTo>
                    <a:pt x="1891189" y="7144"/>
                    <a:pt x="1915954" y="32861"/>
                    <a:pt x="1915954" y="65246"/>
                  </a:cubicBezTo>
                  <a:cubicBezTo>
                    <a:pt x="1915954" y="181451"/>
                    <a:pt x="2011204" y="275749"/>
                    <a:pt x="2127409" y="275749"/>
                  </a:cubicBezTo>
                  <a:cubicBezTo>
                    <a:pt x="2243614" y="275749"/>
                    <a:pt x="2338864" y="181451"/>
                    <a:pt x="2338864" y="65246"/>
                  </a:cubicBezTo>
                  <a:cubicBezTo>
                    <a:pt x="2338864" y="33814"/>
                    <a:pt x="2363629" y="7144"/>
                    <a:pt x="2395061" y="7144"/>
                  </a:cubicBezTo>
                  <a:lnTo>
                    <a:pt x="4231482" y="216694"/>
                  </a:lnTo>
                  <a:cubicBezTo>
                    <a:pt x="4251484" y="216694"/>
                    <a:pt x="4266724" y="232886"/>
                    <a:pt x="4266724" y="251936"/>
                  </a:cubicBezTo>
                  <a:lnTo>
                    <a:pt x="4266724" y="294799"/>
                  </a:lnTo>
                  <a:cubicBezTo>
                    <a:pt x="4266724" y="314801"/>
                    <a:pt x="4250532" y="330041"/>
                    <a:pt x="4231482" y="330041"/>
                  </a:cubicBezTo>
                  <a:lnTo>
                    <a:pt x="2448401" y="120491"/>
                  </a:lnTo>
                  <a:cubicBezTo>
                    <a:pt x="2420779" y="272891"/>
                    <a:pt x="2287429" y="389096"/>
                    <a:pt x="2127409" y="389096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00" dirty="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16388DEA-7EFF-4878-98F7-417A594FE6FF}"/>
                </a:ext>
              </a:extLst>
            </p:cNvPr>
            <p:cNvSpPr/>
            <p:nvPr/>
          </p:nvSpPr>
          <p:spPr>
            <a:xfrm>
              <a:off x="6068849" y="2857621"/>
              <a:ext cx="1809750" cy="857250"/>
            </a:xfrm>
            <a:custGeom>
              <a:avLst/>
              <a:gdLst>
                <a:gd name="connsiteX0" fmla="*/ 1806416 w 1809750"/>
                <a:gd name="connsiteY0" fmla="*/ 463748 h 857250"/>
                <a:gd name="connsiteX1" fmla="*/ 423386 w 1809750"/>
                <a:gd name="connsiteY1" fmla="*/ 638056 h 857250"/>
                <a:gd name="connsiteX2" fmla="*/ 437674 w 1809750"/>
                <a:gd name="connsiteY2" fmla="*/ 632341 h 857250"/>
                <a:gd name="connsiteX3" fmla="*/ 1751171 w 1809750"/>
                <a:gd name="connsiteY3" fmla="*/ 395168 h 857250"/>
                <a:gd name="connsiteX4" fmla="*/ 1769269 w 1809750"/>
                <a:gd name="connsiteY4" fmla="*/ 375166 h 857250"/>
                <a:gd name="connsiteX5" fmla="*/ 1749266 w 1809750"/>
                <a:gd name="connsiteY5" fmla="*/ 357068 h 857250"/>
                <a:gd name="connsiteX6" fmla="*/ 421481 w 1809750"/>
                <a:gd name="connsiteY6" fmla="*/ 598051 h 857250"/>
                <a:gd name="connsiteX7" fmla="*/ 343376 w 1809750"/>
                <a:gd name="connsiteY7" fmla="*/ 631388 h 857250"/>
                <a:gd name="connsiteX8" fmla="*/ 1721644 w 1809750"/>
                <a:gd name="connsiteY8" fmla="*/ 305633 h 857250"/>
                <a:gd name="connsiteX9" fmla="*/ 1726406 w 1809750"/>
                <a:gd name="connsiteY9" fmla="*/ 300871 h 857250"/>
                <a:gd name="connsiteX10" fmla="*/ 1721644 w 1809750"/>
                <a:gd name="connsiteY10" fmla="*/ 296108 h 857250"/>
                <a:gd name="connsiteX11" fmla="*/ 381476 w 1809750"/>
                <a:gd name="connsiteY11" fmla="*/ 603766 h 857250"/>
                <a:gd name="connsiteX12" fmla="*/ 454819 w 1809750"/>
                <a:gd name="connsiteY12" fmla="*/ 566618 h 857250"/>
                <a:gd name="connsiteX13" fmla="*/ 1654016 w 1809750"/>
                <a:gd name="connsiteY13" fmla="*/ 252293 h 857250"/>
                <a:gd name="connsiteX14" fmla="*/ 1671161 w 1809750"/>
                <a:gd name="connsiteY14" fmla="*/ 232291 h 857250"/>
                <a:gd name="connsiteX15" fmla="*/ 1650206 w 1809750"/>
                <a:gd name="connsiteY15" fmla="*/ 214193 h 857250"/>
                <a:gd name="connsiteX16" fmla="*/ 435769 w 1809750"/>
                <a:gd name="connsiteY16" fmla="*/ 532328 h 857250"/>
                <a:gd name="connsiteX17" fmla="*/ 104299 w 1809750"/>
                <a:gd name="connsiteY17" fmla="*/ 725686 h 857250"/>
                <a:gd name="connsiteX18" fmla="*/ 1428274 w 1809750"/>
                <a:gd name="connsiteY18" fmla="*/ 17026 h 857250"/>
                <a:gd name="connsiteX19" fmla="*/ 1431131 w 1809750"/>
                <a:gd name="connsiteY19" fmla="*/ 10358 h 857250"/>
                <a:gd name="connsiteX20" fmla="*/ 1424464 w 1809750"/>
                <a:gd name="connsiteY20" fmla="*/ 7501 h 857250"/>
                <a:gd name="connsiteX21" fmla="*/ 57626 w 1809750"/>
                <a:gd name="connsiteY21" fmla="*/ 759023 h 857250"/>
                <a:gd name="connsiteX22" fmla="*/ 9049 w 1809750"/>
                <a:gd name="connsiteY22" fmla="*/ 799028 h 857250"/>
                <a:gd name="connsiteX23" fmla="*/ 21431 w 1809750"/>
                <a:gd name="connsiteY23" fmla="*/ 812363 h 857250"/>
                <a:gd name="connsiteX24" fmla="*/ 7144 w 1809750"/>
                <a:gd name="connsiteY24" fmla="*/ 823793 h 857250"/>
                <a:gd name="connsiteX25" fmla="*/ 31909 w 1809750"/>
                <a:gd name="connsiteY25" fmla="*/ 852368 h 857250"/>
                <a:gd name="connsiteX26" fmla="*/ 327184 w 1809750"/>
                <a:gd name="connsiteY26" fmla="*/ 679013 h 857250"/>
                <a:gd name="connsiteX27" fmla="*/ 330994 w 1809750"/>
                <a:gd name="connsiteY27" fmla="*/ 681871 h 857250"/>
                <a:gd name="connsiteX28" fmla="*/ 332899 w 1809750"/>
                <a:gd name="connsiteY28" fmla="*/ 681871 h 857250"/>
                <a:gd name="connsiteX29" fmla="*/ 1805464 w 1809750"/>
                <a:gd name="connsiteY29" fmla="*/ 472321 h 857250"/>
                <a:gd name="connsiteX30" fmla="*/ 1810226 w 1809750"/>
                <a:gd name="connsiteY30" fmla="*/ 467558 h 857250"/>
                <a:gd name="connsiteX31" fmla="*/ 1806416 w 1809750"/>
                <a:gd name="connsiteY31" fmla="*/ 463748 h 8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09750" h="857250">
                  <a:moveTo>
                    <a:pt x="1806416" y="463748"/>
                  </a:moveTo>
                  <a:cubicBezTo>
                    <a:pt x="1798796" y="463748"/>
                    <a:pt x="1060609" y="411361"/>
                    <a:pt x="423386" y="638056"/>
                  </a:cubicBezTo>
                  <a:cubicBezTo>
                    <a:pt x="428149" y="636151"/>
                    <a:pt x="432911" y="634246"/>
                    <a:pt x="437674" y="632341"/>
                  </a:cubicBezTo>
                  <a:cubicBezTo>
                    <a:pt x="691039" y="529471"/>
                    <a:pt x="1122521" y="420886"/>
                    <a:pt x="1751171" y="395168"/>
                  </a:cubicBezTo>
                  <a:cubicBezTo>
                    <a:pt x="1761649" y="395168"/>
                    <a:pt x="1770221" y="385643"/>
                    <a:pt x="1769269" y="375166"/>
                  </a:cubicBezTo>
                  <a:cubicBezTo>
                    <a:pt x="1769269" y="364688"/>
                    <a:pt x="1759744" y="356116"/>
                    <a:pt x="1749266" y="357068"/>
                  </a:cubicBezTo>
                  <a:cubicBezTo>
                    <a:pt x="1114901" y="383738"/>
                    <a:pt x="676751" y="494228"/>
                    <a:pt x="421481" y="598051"/>
                  </a:cubicBezTo>
                  <a:cubicBezTo>
                    <a:pt x="393859" y="609481"/>
                    <a:pt x="368141" y="619958"/>
                    <a:pt x="343376" y="631388"/>
                  </a:cubicBezTo>
                  <a:cubicBezTo>
                    <a:pt x="999649" y="316111"/>
                    <a:pt x="1713071" y="305633"/>
                    <a:pt x="1721644" y="305633"/>
                  </a:cubicBezTo>
                  <a:cubicBezTo>
                    <a:pt x="1724501" y="305633"/>
                    <a:pt x="1726406" y="303728"/>
                    <a:pt x="1726406" y="300871"/>
                  </a:cubicBezTo>
                  <a:cubicBezTo>
                    <a:pt x="1726406" y="298013"/>
                    <a:pt x="1724501" y="296108"/>
                    <a:pt x="1721644" y="296108"/>
                  </a:cubicBezTo>
                  <a:cubicBezTo>
                    <a:pt x="1713071" y="296108"/>
                    <a:pt x="1027271" y="306586"/>
                    <a:pt x="381476" y="603766"/>
                  </a:cubicBezTo>
                  <a:cubicBezTo>
                    <a:pt x="404336" y="591383"/>
                    <a:pt x="429101" y="579001"/>
                    <a:pt x="454819" y="566618"/>
                  </a:cubicBezTo>
                  <a:cubicBezTo>
                    <a:pt x="708184" y="443746"/>
                    <a:pt x="1073944" y="298013"/>
                    <a:pt x="1654016" y="252293"/>
                  </a:cubicBezTo>
                  <a:cubicBezTo>
                    <a:pt x="1664494" y="251341"/>
                    <a:pt x="1672114" y="242768"/>
                    <a:pt x="1671161" y="232291"/>
                  </a:cubicBezTo>
                  <a:cubicBezTo>
                    <a:pt x="1670209" y="221813"/>
                    <a:pt x="1660684" y="214193"/>
                    <a:pt x="1650206" y="214193"/>
                  </a:cubicBezTo>
                  <a:cubicBezTo>
                    <a:pt x="1062514" y="259913"/>
                    <a:pt x="691991" y="407551"/>
                    <a:pt x="435769" y="532328"/>
                  </a:cubicBezTo>
                  <a:cubicBezTo>
                    <a:pt x="284321" y="605671"/>
                    <a:pt x="174784" y="676156"/>
                    <a:pt x="104299" y="725686"/>
                  </a:cubicBezTo>
                  <a:cubicBezTo>
                    <a:pt x="620554" y="206573"/>
                    <a:pt x="1420654" y="19883"/>
                    <a:pt x="1428274" y="17026"/>
                  </a:cubicBezTo>
                  <a:cubicBezTo>
                    <a:pt x="1431131" y="16073"/>
                    <a:pt x="1432084" y="13216"/>
                    <a:pt x="1431131" y="10358"/>
                  </a:cubicBezTo>
                  <a:cubicBezTo>
                    <a:pt x="1430179" y="7501"/>
                    <a:pt x="1427321" y="6548"/>
                    <a:pt x="1424464" y="7501"/>
                  </a:cubicBezTo>
                  <a:cubicBezTo>
                    <a:pt x="1415891" y="11311"/>
                    <a:pt x="573881" y="207526"/>
                    <a:pt x="57626" y="759023"/>
                  </a:cubicBezTo>
                  <a:cubicBezTo>
                    <a:pt x="27146" y="782836"/>
                    <a:pt x="10954" y="797123"/>
                    <a:pt x="9049" y="799028"/>
                  </a:cubicBezTo>
                  <a:lnTo>
                    <a:pt x="21431" y="812363"/>
                  </a:lnTo>
                  <a:cubicBezTo>
                    <a:pt x="12859" y="819031"/>
                    <a:pt x="8096" y="822841"/>
                    <a:pt x="7144" y="823793"/>
                  </a:cubicBezTo>
                  <a:lnTo>
                    <a:pt x="31909" y="852368"/>
                  </a:lnTo>
                  <a:cubicBezTo>
                    <a:pt x="32861" y="851416"/>
                    <a:pt x="126206" y="772358"/>
                    <a:pt x="327184" y="679013"/>
                  </a:cubicBezTo>
                  <a:cubicBezTo>
                    <a:pt x="328136" y="680918"/>
                    <a:pt x="329089" y="681871"/>
                    <a:pt x="330994" y="681871"/>
                  </a:cubicBezTo>
                  <a:cubicBezTo>
                    <a:pt x="331946" y="681871"/>
                    <a:pt x="332899" y="681871"/>
                    <a:pt x="332899" y="681871"/>
                  </a:cubicBezTo>
                  <a:cubicBezTo>
                    <a:pt x="986314" y="414218"/>
                    <a:pt x="1797844" y="472321"/>
                    <a:pt x="1805464" y="472321"/>
                  </a:cubicBezTo>
                  <a:cubicBezTo>
                    <a:pt x="1808321" y="472321"/>
                    <a:pt x="1810226" y="470416"/>
                    <a:pt x="1810226" y="467558"/>
                  </a:cubicBezTo>
                  <a:cubicBezTo>
                    <a:pt x="1811179" y="465653"/>
                    <a:pt x="1808321" y="463748"/>
                    <a:pt x="1806416" y="463748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00" dirty="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DB4C64B-2027-487F-AE96-A7A3A8516637}"/>
                </a:ext>
              </a:extLst>
            </p:cNvPr>
            <p:cNvSpPr/>
            <p:nvPr/>
          </p:nvSpPr>
          <p:spPr>
            <a:xfrm>
              <a:off x="4297199" y="2767117"/>
              <a:ext cx="1809750" cy="942975"/>
            </a:xfrm>
            <a:custGeom>
              <a:avLst/>
              <a:gdLst>
                <a:gd name="connsiteX0" fmla="*/ 1811179 w 1809750"/>
                <a:gd name="connsiteY0" fmla="*/ 915250 h 942975"/>
                <a:gd name="connsiteX1" fmla="*/ 1796891 w 1809750"/>
                <a:gd name="connsiteY1" fmla="*/ 903820 h 942975"/>
                <a:gd name="connsiteX2" fmla="*/ 1809274 w 1809750"/>
                <a:gd name="connsiteY2" fmla="*/ 890485 h 942975"/>
                <a:gd name="connsiteX3" fmla="*/ 1779746 w 1809750"/>
                <a:gd name="connsiteY3" fmla="*/ 865720 h 942975"/>
                <a:gd name="connsiteX4" fmla="*/ 451009 w 1809750"/>
                <a:gd name="connsiteY4" fmla="*/ 7517 h 942975"/>
                <a:gd name="connsiteX5" fmla="*/ 444341 w 1809750"/>
                <a:gd name="connsiteY5" fmla="*/ 9422 h 942975"/>
                <a:gd name="connsiteX6" fmla="*/ 446246 w 1809750"/>
                <a:gd name="connsiteY6" fmla="*/ 16090 h 942975"/>
                <a:gd name="connsiteX7" fmla="*/ 1745456 w 1809750"/>
                <a:gd name="connsiteY7" fmla="*/ 839050 h 942975"/>
                <a:gd name="connsiteX8" fmla="*/ 1381601 w 1809750"/>
                <a:gd name="connsiteY8" fmla="*/ 621880 h 942975"/>
                <a:gd name="connsiteX9" fmla="*/ 168116 w 1809750"/>
                <a:gd name="connsiteY9" fmla="*/ 304697 h 942975"/>
                <a:gd name="connsiteX10" fmla="*/ 147161 w 1809750"/>
                <a:gd name="connsiteY10" fmla="*/ 322795 h 942975"/>
                <a:gd name="connsiteX11" fmla="*/ 164306 w 1809750"/>
                <a:gd name="connsiteY11" fmla="*/ 342797 h 942975"/>
                <a:gd name="connsiteX12" fmla="*/ 1363504 w 1809750"/>
                <a:gd name="connsiteY12" fmla="*/ 657122 h 942975"/>
                <a:gd name="connsiteX13" fmla="*/ 1436846 w 1809750"/>
                <a:gd name="connsiteY13" fmla="*/ 694270 h 942975"/>
                <a:gd name="connsiteX14" fmla="*/ 97631 w 1809750"/>
                <a:gd name="connsiteY14" fmla="*/ 385660 h 942975"/>
                <a:gd name="connsiteX15" fmla="*/ 92869 w 1809750"/>
                <a:gd name="connsiteY15" fmla="*/ 390422 h 942975"/>
                <a:gd name="connsiteX16" fmla="*/ 97631 w 1809750"/>
                <a:gd name="connsiteY16" fmla="*/ 395185 h 942975"/>
                <a:gd name="connsiteX17" fmla="*/ 1475899 w 1809750"/>
                <a:gd name="connsiteY17" fmla="*/ 720940 h 942975"/>
                <a:gd name="connsiteX18" fmla="*/ 1397794 w 1809750"/>
                <a:gd name="connsiteY18" fmla="*/ 687602 h 942975"/>
                <a:gd name="connsiteX19" fmla="*/ 70009 w 1809750"/>
                <a:gd name="connsiteY19" fmla="*/ 446620 h 942975"/>
                <a:gd name="connsiteX20" fmla="*/ 50006 w 1809750"/>
                <a:gd name="connsiteY20" fmla="*/ 464717 h 942975"/>
                <a:gd name="connsiteX21" fmla="*/ 68104 w 1809750"/>
                <a:gd name="connsiteY21" fmla="*/ 484720 h 942975"/>
                <a:gd name="connsiteX22" fmla="*/ 1381601 w 1809750"/>
                <a:gd name="connsiteY22" fmla="*/ 721892 h 942975"/>
                <a:gd name="connsiteX23" fmla="*/ 1395889 w 1809750"/>
                <a:gd name="connsiteY23" fmla="*/ 727607 h 942975"/>
                <a:gd name="connsiteX24" fmla="*/ 11906 w 1809750"/>
                <a:gd name="connsiteY24" fmla="*/ 554252 h 942975"/>
                <a:gd name="connsiteX25" fmla="*/ 7144 w 1809750"/>
                <a:gd name="connsiteY25" fmla="*/ 559015 h 942975"/>
                <a:gd name="connsiteX26" fmla="*/ 11906 w 1809750"/>
                <a:gd name="connsiteY26" fmla="*/ 563777 h 942975"/>
                <a:gd name="connsiteX27" fmla="*/ 1484471 w 1809750"/>
                <a:gd name="connsiteY27" fmla="*/ 773327 h 942975"/>
                <a:gd name="connsiteX28" fmla="*/ 1486376 w 1809750"/>
                <a:gd name="connsiteY28" fmla="*/ 773327 h 942975"/>
                <a:gd name="connsiteX29" fmla="*/ 1490186 w 1809750"/>
                <a:gd name="connsiteY29" fmla="*/ 770470 h 942975"/>
                <a:gd name="connsiteX30" fmla="*/ 1785461 w 1809750"/>
                <a:gd name="connsiteY30" fmla="*/ 943825 h 942975"/>
                <a:gd name="connsiteX31" fmla="*/ 1811179 w 1809750"/>
                <a:gd name="connsiteY31" fmla="*/ 915250 h 942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09750" h="942975">
                  <a:moveTo>
                    <a:pt x="1811179" y="915250"/>
                  </a:moveTo>
                  <a:cubicBezTo>
                    <a:pt x="1810226" y="914297"/>
                    <a:pt x="1805464" y="910487"/>
                    <a:pt x="1796891" y="903820"/>
                  </a:cubicBezTo>
                  <a:lnTo>
                    <a:pt x="1809274" y="890485"/>
                  </a:lnTo>
                  <a:cubicBezTo>
                    <a:pt x="1807369" y="889532"/>
                    <a:pt x="1797844" y="880007"/>
                    <a:pt x="1779746" y="865720"/>
                  </a:cubicBezTo>
                  <a:cubicBezTo>
                    <a:pt x="1303496" y="268502"/>
                    <a:pt x="459581" y="12280"/>
                    <a:pt x="451009" y="7517"/>
                  </a:cubicBezTo>
                  <a:cubicBezTo>
                    <a:pt x="448151" y="6565"/>
                    <a:pt x="446246" y="7517"/>
                    <a:pt x="444341" y="9422"/>
                  </a:cubicBezTo>
                  <a:cubicBezTo>
                    <a:pt x="443389" y="11327"/>
                    <a:pt x="444341" y="14185"/>
                    <a:pt x="446246" y="16090"/>
                  </a:cubicBezTo>
                  <a:cubicBezTo>
                    <a:pt x="453866" y="19900"/>
                    <a:pt x="1267301" y="266597"/>
                    <a:pt x="1745456" y="839050"/>
                  </a:cubicBezTo>
                  <a:cubicBezTo>
                    <a:pt x="1678781" y="789520"/>
                    <a:pt x="1558766" y="707605"/>
                    <a:pt x="1381601" y="621880"/>
                  </a:cubicBezTo>
                  <a:cubicBezTo>
                    <a:pt x="1126331" y="498055"/>
                    <a:pt x="754856" y="350417"/>
                    <a:pt x="168116" y="304697"/>
                  </a:cubicBezTo>
                  <a:cubicBezTo>
                    <a:pt x="157639" y="303745"/>
                    <a:pt x="148114" y="311365"/>
                    <a:pt x="147161" y="322795"/>
                  </a:cubicBezTo>
                  <a:cubicBezTo>
                    <a:pt x="146209" y="333272"/>
                    <a:pt x="153829" y="341845"/>
                    <a:pt x="164306" y="342797"/>
                  </a:cubicBezTo>
                  <a:cubicBezTo>
                    <a:pt x="744379" y="388517"/>
                    <a:pt x="1110139" y="534250"/>
                    <a:pt x="1363504" y="657122"/>
                  </a:cubicBezTo>
                  <a:cubicBezTo>
                    <a:pt x="1389221" y="669505"/>
                    <a:pt x="1413986" y="681887"/>
                    <a:pt x="1436846" y="694270"/>
                  </a:cubicBezTo>
                  <a:cubicBezTo>
                    <a:pt x="791051" y="396137"/>
                    <a:pt x="105251" y="385660"/>
                    <a:pt x="97631" y="385660"/>
                  </a:cubicBezTo>
                  <a:cubicBezTo>
                    <a:pt x="94774" y="385660"/>
                    <a:pt x="92869" y="387565"/>
                    <a:pt x="92869" y="390422"/>
                  </a:cubicBezTo>
                  <a:cubicBezTo>
                    <a:pt x="92869" y="393280"/>
                    <a:pt x="94774" y="395185"/>
                    <a:pt x="97631" y="395185"/>
                  </a:cubicBezTo>
                  <a:cubicBezTo>
                    <a:pt x="106204" y="395185"/>
                    <a:pt x="819626" y="405662"/>
                    <a:pt x="1475899" y="720940"/>
                  </a:cubicBezTo>
                  <a:cubicBezTo>
                    <a:pt x="1451134" y="710462"/>
                    <a:pt x="1425416" y="699032"/>
                    <a:pt x="1397794" y="687602"/>
                  </a:cubicBezTo>
                  <a:cubicBezTo>
                    <a:pt x="1141571" y="582827"/>
                    <a:pt x="704374" y="473290"/>
                    <a:pt x="70009" y="446620"/>
                  </a:cubicBezTo>
                  <a:cubicBezTo>
                    <a:pt x="59531" y="446620"/>
                    <a:pt x="50959" y="454240"/>
                    <a:pt x="50006" y="464717"/>
                  </a:cubicBezTo>
                  <a:cubicBezTo>
                    <a:pt x="50006" y="475195"/>
                    <a:pt x="57626" y="483767"/>
                    <a:pt x="68104" y="484720"/>
                  </a:cubicBezTo>
                  <a:cubicBezTo>
                    <a:pt x="695801" y="511390"/>
                    <a:pt x="1128236" y="619975"/>
                    <a:pt x="1381601" y="721892"/>
                  </a:cubicBezTo>
                  <a:cubicBezTo>
                    <a:pt x="1386364" y="723797"/>
                    <a:pt x="1391126" y="725702"/>
                    <a:pt x="1395889" y="727607"/>
                  </a:cubicBezTo>
                  <a:cubicBezTo>
                    <a:pt x="758666" y="501865"/>
                    <a:pt x="19526" y="554252"/>
                    <a:pt x="11906" y="554252"/>
                  </a:cubicBezTo>
                  <a:cubicBezTo>
                    <a:pt x="9049" y="554252"/>
                    <a:pt x="7144" y="556157"/>
                    <a:pt x="7144" y="559015"/>
                  </a:cubicBezTo>
                  <a:cubicBezTo>
                    <a:pt x="7144" y="561872"/>
                    <a:pt x="9049" y="563777"/>
                    <a:pt x="11906" y="563777"/>
                  </a:cubicBezTo>
                  <a:cubicBezTo>
                    <a:pt x="20479" y="563777"/>
                    <a:pt x="831056" y="505675"/>
                    <a:pt x="1484471" y="773327"/>
                  </a:cubicBezTo>
                  <a:cubicBezTo>
                    <a:pt x="1485424" y="773327"/>
                    <a:pt x="1486376" y="773327"/>
                    <a:pt x="1486376" y="773327"/>
                  </a:cubicBezTo>
                  <a:cubicBezTo>
                    <a:pt x="1488281" y="773327"/>
                    <a:pt x="1489234" y="772375"/>
                    <a:pt x="1490186" y="770470"/>
                  </a:cubicBezTo>
                  <a:cubicBezTo>
                    <a:pt x="1690211" y="863815"/>
                    <a:pt x="1783556" y="942872"/>
                    <a:pt x="1785461" y="943825"/>
                  </a:cubicBezTo>
                  <a:lnTo>
                    <a:pt x="1811179" y="915250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00"/>
            </a:p>
          </p:txBody>
        </p:sp>
      </p:grpSp>
      <p:grpSp>
        <p:nvGrpSpPr>
          <p:cNvPr id="83" name="Graphic 3">
            <a:extLst>
              <a:ext uri="{FF2B5EF4-FFF2-40B4-BE49-F238E27FC236}">
                <a16:creationId xmlns:a16="http://schemas.microsoft.com/office/drawing/2014/main" id="{19C4EF18-7F43-4D6E-ACAF-E47946F46669}"/>
              </a:ext>
            </a:extLst>
          </p:cNvPr>
          <p:cNvGrpSpPr/>
          <p:nvPr/>
        </p:nvGrpSpPr>
        <p:grpSpPr>
          <a:xfrm rot="21305829" flipH="1">
            <a:off x="388050" y="3006314"/>
            <a:ext cx="1389702" cy="1123553"/>
            <a:chOff x="8338752" y="1211990"/>
            <a:chExt cx="3851961" cy="3114252"/>
          </a:xfrm>
        </p:grpSpPr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7597336B-849F-41FC-8FBF-F6FB448FBA73}"/>
                </a:ext>
              </a:extLst>
            </p:cNvPr>
            <p:cNvSpPr/>
            <p:nvPr/>
          </p:nvSpPr>
          <p:spPr>
            <a:xfrm>
              <a:off x="8338752" y="1211990"/>
              <a:ext cx="3831088" cy="3114252"/>
            </a:xfrm>
            <a:custGeom>
              <a:avLst/>
              <a:gdLst>
                <a:gd name="connsiteX0" fmla="*/ 3817888 w 3831088"/>
                <a:gd name="connsiteY0" fmla="*/ 722004 h 3114252"/>
                <a:gd name="connsiteX1" fmla="*/ 3452269 w 3831088"/>
                <a:gd name="connsiteY1" fmla="*/ 280008 h 3114252"/>
                <a:gd name="connsiteX2" fmla="*/ 2264893 w 3831088"/>
                <a:gd name="connsiteY2" fmla="*/ 2082 h 3114252"/>
                <a:gd name="connsiteX3" fmla="*/ 1600132 w 3831088"/>
                <a:gd name="connsiteY3" fmla="*/ 195852 h 3114252"/>
                <a:gd name="connsiteX4" fmla="*/ 1027306 w 3831088"/>
                <a:gd name="connsiteY4" fmla="*/ 642091 h 3114252"/>
                <a:gd name="connsiteX5" fmla="*/ 513884 w 3831088"/>
                <a:gd name="connsiteY5" fmla="*/ 1130054 h 3114252"/>
                <a:gd name="connsiteX6" fmla="*/ 66231 w 3831088"/>
                <a:gd name="connsiteY6" fmla="*/ 1725510 h 3114252"/>
                <a:gd name="connsiteX7" fmla="*/ 25921 w 3831088"/>
                <a:gd name="connsiteY7" fmla="*/ 2132146 h 3114252"/>
                <a:gd name="connsiteX8" fmla="*/ 907790 w 3831088"/>
                <a:gd name="connsiteY8" fmla="*/ 2922787 h 3114252"/>
                <a:gd name="connsiteX9" fmla="*/ 1745106 w 3831088"/>
                <a:gd name="connsiteY9" fmla="*/ 3109486 h 3114252"/>
                <a:gd name="connsiteX10" fmla="*/ 2197710 w 3831088"/>
                <a:gd name="connsiteY10" fmla="*/ 2873283 h 3114252"/>
                <a:gd name="connsiteX11" fmla="*/ 2551306 w 3831088"/>
                <a:gd name="connsiteY11" fmla="*/ 2477255 h 3114252"/>
                <a:gd name="connsiteX12" fmla="*/ 3064728 w 3831088"/>
                <a:gd name="connsiteY12" fmla="*/ 1989293 h 3114252"/>
                <a:gd name="connsiteX13" fmla="*/ 3629068 w 3831088"/>
                <a:gd name="connsiteY13" fmla="*/ 1458898 h 3114252"/>
                <a:gd name="connsiteX14" fmla="*/ 3817888 w 3831088"/>
                <a:gd name="connsiteY14" fmla="*/ 1005588 h 3114252"/>
                <a:gd name="connsiteX15" fmla="*/ 3817888 w 3831088"/>
                <a:gd name="connsiteY15" fmla="*/ 722004 h 311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831088" h="3114252">
                  <a:moveTo>
                    <a:pt x="3817888" y="722004"/>
                  </a:moveTo>
                  <a:cubicBezTo>
                    <a:pt x="3782528" y="565714"/>
                    <a:pt x="3521574" y="325976"/>
                    <a:pt x="3452269" y="280008"/>
                  </a:cubicBezTo>
                  <a:cubicBezTo>
                    <a:pt x="3124839" y="63607"/>
                    <a:pt x="2569693" y="-14184"/>
                    <a:pt x="2264893" y="2082"/>
                  </a:cubicBezTo>
                  <a:cubicBezTo>
                    <a:pt x="2037176" y="14104"/>
                    <a:pt x="1734498" y="94724"/>
                    <a:pt x="1600132" y="195852"/>
                  </a:cubicBezTo>
                  <a:cubicBezTo>
                    <a:pt x="1465765" y="296981"/>
                    <a:pt x="1179352" y="499238"/>
                    <a:pt x="1027306" y="642091"/>
                  </a:cubicBezTo>
                  <a:cubicBezTo>
                    <a:pt x="875259" y="784944"/>
                    <a:pt x="615719" y="1020439"/>
                    <a:pt x="513884" y="1130054"/>
                  </a:cubicBezTo>
                  <a:cubicBezTo>
                    <a:pt x="419827" y="1231182"/>
                    <a:pt x="105127" y="1612359"/>
                    <a:pt x="66231" y="1725510"/>
                  </a:cubicBezTo>
                  <a:cubicBezTo>
                    <a:pt x="20263" y="1859169"/>
                    <a:pt x="-32776" y="2005558"/>
                    <a:pt x="25921" y="2132146"/>
                  </a:cubicBezTo>
                  <a:cubicBezTo>
                    <a:pt x="168774" y="2511201"/>
                    <a:pt x="751501" y="2843581"/>
                    <a:pt x="907790" y="2922787"/>
                  </a:cubicBezTo>
                  <a:cubicBezTo>
                    <a:pt x="1086002" y="3012600"/>
                    <a:pt x="1487688" y="3140602"/>
                    <a:pt x="1745106" y="3109486"/>
                  </a:cubicBezTo>
                  <a:cubicBezTo>
                    <a:pt x="1995453" y="3079076"/>
                    <a:pt x="2046370" y="3016843"/>
                    <a:pt x="2197710" y="2873283"/>
                  </a:cubicBezTo>
                  <a:cubicBezTo>
                    <a:pt x="2349049" y="2729723"/>
                    <a:pt x="2399967" y="2662540"/>
                    <a:pt x="2551306" y="2477255"/>
                  </a:cubicBezTo>
                  <a:cubicBezTo>
                    <a:pt x="2702645" y="2291971"/>
                    <a:pt x="2904902" y="2089714"/>
                    <a:pt x="3064728" y="1989293"/>
                  </a:cubicBezTo>
                  <a:cubicBezTo>
                    <a:pt x="3224553" y="1888164"/>
                    <a:pt x="3471363" y="1666106"/>
                    <a:pt x="3629068" y="1458898"/>
                  </a:cubicBezTo>
                  <a:cubicBezTo>
                    <a:pt x="3755654" y="1293415"/>
                    <a:pt x="3817888" y="1005588"/>
                    <a:pt x="3817888" y="1005588"/>
                  </a:cubicBezTo>
                  <a:cubicBezTo>
                    <a:pt x="3817888" y="1005588"/>
                    <a:pt x="3847589" y="852127"/>
                    <a:pt x="3817888" y="722004"/>
                  </a:cubicBezTo>
                  <a:close/>
                </a:path>
              </a:pathLst>
            </a:custGeom>
            <a:solidFill>
              <a:srgbClr val="000000"/>
            </a:solidFill>
            <a:ln w="70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5FCBCE89-77CA-4B4E-BDA6-1A6C8C0F5D90}"/>
                </a:ext>
              </a:extLst>
            </p:cNvPr>
            <p:cNvSpPr/>
            <p:nvPr/>
          </p:nvSpPr>
          <p:spPr>
            <a:xfrm>
              <a:off x="8338752" y="1947152"/>
              <a:ext cx="1882301" cy="1882825"/>
            </a:xfrm>
            <a:custGeom>
              <a:avLst/>
              <a:gdLst>
                <a:gd name="connsiteX0" fmla="*/ 1040743 w 1882301"/>
                <a:gd name="connsiteY0" fmla="*/ 1158660 h 1882825"/>
                <a:gd name="connsiteX1" fmla="*/ 1544970 w 1882301"/>
                <a:gd name="connsiteY1" fmla="*/ 517237 h 1882825"/>
                <a:gd name="connsiteX2" fmla="*/ 1882302 w 1882301"/>
                <a:gd name="connsiteY2" fmla="*/ 8765 h 1882825"/>
                <a:gd name="connsiteX3" fmla="*/ 1492638 w 1882301"/>
                <a:gd name="connsiteY3" fmla="*/ 143839 h 1882825"/>
                <a:gd name="connsiteX4" fmla="*/ 1486981 w 1882301"/>
                <a:gd name="connsiteY4" fmla="*/ 149497 h 1882825"/>
                <a:gd name="connsiteX5" fmla="*/ 1482030 w 1882301"/>
                <a:gd name="connsiteY5" fmla="*/ 143132 h 1882825"/>
                <a:gd name="connsiteX6" fmla="*/ 915569 w 1882301"/>
                <a:gd name="connsiteY6" fmla="*/ 12301 h 1882825"/>
                <a:gd name="connsiteX7" fmla="*/ 513884 w 1882301"/>
                <a:gd name="connsiteY7" fmla="*/ 395600 h 1882825"/>
                <a:gd name="connsiteX8" fmla="*/ 66231 w 1882301"/>
                <a:gd name="connsiteY8" fmla="*/ 991056 h 1882825"/>
                <a:gd name="connsiteX9" fmla="*/ 25921 w 1882301"/>
                <a:gd name="connsiteY9" fmla="*/ 1397692 h 1882825"/>
                <a:gd name="connsiteX10" fmla="*/ 375274 w 1882301"/>
                <a:gd name="connsiteY10" fmla="*/ 1727950 h 1882825"/>
                <a:gd name="connsiteX11" fmla="*/ 673710 w 1882301"/>
                <a:gd name="connsiteY11" fmla="*/ 1882826 h 1882825"/>
                <a:gd name="connsiteX12" fmla="*/ 937492 w 1882301"/>
                <a:gd name="connsiteY12" fmla="*/ 1276762 h 1882825"/>
                <a:gd name="connsiteX13" fmla="*/ 1040743 w 1882301"/>
                <a:gd name="connsiteY13" fmla="*/ 1158660 h 1882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82301" h="1882825">
                  <a:moveTo>
                    <a:pt x="1040743" y="1158660"/>
                  </a:moveTo>
                  <a:cubicBezTo>
                    <a:pt x="1044986" y="1153710"/>
                    <a:pt x="1503246" y="603514"/>
                    <a:pt x="1544970" y="517237"/>
                  </a:cubicBezTo>
                  <a:cubicBezTo>
                    <a:pt x="1584573" y="435202"/>
                    <a:pt x="1839162" y="70998"/>
                    <a:pt x="1882302" y="8765"/>
                  </a:cubicBezTo>
                  <a:cubicBezTo>
                    <a:pt x="1718233" y="-28716"/>
                    <a:pt x="1580330" y="61098"/>
                    <a:pt x="1492638" y="143839"/>
                  </a:cubicBezTo>
                  <a:lnTo>
                    <a:pt x="1486981" y="149497"/>
                  </a:lnTo>
                  <a:lnTo>
                    <a:pt x="1482030" y="143132"/>
                  </a:lnTo>
                  <a:cubicBezTo>
                    <a:pt x="1443135" y="87971"/>
                    <a:pt x="1063373" y="29981"/>
                    <a:pt x="915569" y="12301"/>
                  </a:cubicBezTo>
                  <a:cubicBezTo>
                    <a:pt x="769888" y="147375"/>
                    <a:pt x="593796" y="310029"/>
                    <a:pt x="513884" y="395600"/>
                  </a:cubicBezTo>
                  <a:cubicBezTo>
                    <a:pt x="419827" y="496728"/>
                    <a:pt x="105127" y="877905"/>
                    <a:pt x="66231" y="991056"/>
                  </a:cubicBezTo>
                  <a:cubicBezTo>
                    <a:pt x="20263" y="1124715"/>
                    <a:pt x="-32776" y="1271104"/>
                    <a:pt x="25921" y="1397692"/>
                  </a:cubicBezTo>
                  <a:cubicBezTo>
                    <a:pt x="84618" y="1524279"/>
                    <a:pt x="257173" y="1655817"/>
                    <a:pt x="375274" y="1727950"/>
                  </a:cubicBezTo>
                  <a:cubicBezTo>
                    <a:pt x="455894" y="1777454"/>
                    <a:pt x="563388" y="1831908"/>
                    <a:pt x="673710" y="1882826"/>
                  </a:cubicBezTo>
                  <a:cubicBezTo>
                    <a:pt x="702704" y="1725122"/>
                    <a:pt x="896475" y="1331216"/>
                    <a:pt x="937492" y="1276762"/>
                  </a:cubicBezTo>
                  <a:cubicBezTo>
                    <a:pt x="979923" y="1220186"/>
                    <a:pt x="1040035" y="1159368"/>
                    <a:pt x="1040743" y="1158660"/>
                  </a:cubicBezTo>
                  <a:close/>
                </a:path>
              </a:pathLst>
            </a:custGeom>
            <a:solidFill>
              <a:schemeClr val="accent5"/>
            </a:solidFill>
            <a:ln w="70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B3E290C5-17C5-4E8C-84C3-8D553BE9FF39}"/>
                </a:ext>
              </a:extLst>
            </p:cNvPr>
            <p:cNvSpPr/>
            <p:nvPr/>
          </p:nvSpPr>
          <p:spPr>
            <a:xfrm>
              <a:off x="9018827" y="1959453"/>
              <a:ext cx="2123698" cy="2134891"/>
            </a:xfrm>
            <a:custGeom>
              <a:avLst/>
              <a:gdLst>
                <a:gd name="connsiteX0" fmla="*/ 1260924 w 2123698"/>
                <a:gd name="connsiteY0" fmla="*/ 313286 h 2134891"/>
                <a:gd name="connsiteX1" fmla="*/ 1253852 w 2123698"/>
                <a:gd name="connsiteY1" fmla="*/ 310458 h 2134891"/>
                <a:gd name="connsiteX2" fmla="*/ 1256681 w 2123698"/>
                <a:gd name="connsiteY2" fmla="*/ 303386 h 2134891"/>
                <a:gd name="connsiteX3" fmla="*/ 1261631 w 2123698"/>
                <a:gd name="connsiteY3" fmla="*/ 292071 h 2134891"/>
                <a:gd name="connsiteX4" fmla="*/ 1292041 w 2123698"/>
                <a:gd name="connsiteY4" fmla="*/ 71426 h 2134891"/>
                <a:gd name="connsiteX5" fmla="*/ 1216371 w 2123698"/>
                <a:gd name="connsiteY5" fmla="*/ 0 h 2134891"/>
                <a:gd name="connsiteX6" fmla="*/ 877626 w 2123698"/>
                <a:gd name="connsiteY6" fmla="*/ 510593 h 2134891"/>
                <a:gd name="connsiteX7" fmla="*/ 371276 w 2123698"/>
                <a:gd name="connsiteY7" fmla="*/ 1155553 h 2134891"/>
                <a:gd name="connsiteX8" fmla="*/ 268733 w 2123698"/>
                <a:gd name="connsiteY8" fmla="*/ 1272239 h 2134891"/>
                <a:gd name="connsiteX9" fmla="*/ 7072 w 2123698"/>
                <a:gd name="connsiteY9" fmla="*/ 1874060 h 2134891"/>
                <a:gd name="connsiteX10" fmla="*/ 0 w 2123698"/>
                <a:gd name="connsiteY10" fmla="*/ 1872646 h 2134891"/>
                <a:gd name="connsiteX11" fmla="*/ 438459 w 2123698"/>
                <a:gd name="connsiteY11" fmla="*/ 2050151 h 2134891"/>
                <a:gd name="connsiteX12" fmla="*/ 1079883 w 2123698"/>
                <a:gd name="connsiteY12" fmla="*/ 2116627 h 2134891"/>
                <a:gd name="connsiteX13" fmla="*/ 1440551 w 2123698"/>
                <a:gd name="connsiteY13" fmla="*/ 1869110 h 2134891"/>
                <a:gd name="connsiteX14" fmla="*/ 2023985 w 2123698"/>
                <a:gd name="connsiteY14" fmla="*/ 988655 h 2134891"/>
                <a:gd name="connsiteX15" fmla="*/ 2123699 w 2123698"/>
                <a:gd name="connsiteY15" fmla="*/ 858532 h 2134891"/>
                <a:gd name="connsiteX16" fmla="*/ 1260924 w 2123698"/>
                <a:gd name="connsiteY16" fmla="*/ 313286 h 2134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23698" h="2134891">
                  <a:moveTo>
                    <a:pt x="1260924" y="313286"/>
                  </a:moveTo>
                  <a:lnTo>
                    <a:pt x="1253852" y="310458"/>
                  </a:lnTo>
                  <a:lnTo>
                    <a:pt x="1256681" y="303386"/>
                  </a:lnTo>
                  <a:cubicBezTo>
                    <a:pt x="1258095" y="300557"/>
                    <a:pt x="1259510" y="297021"/>
                    <a:pt x="1261631" y="292071"/>
                  </a:cubicBezTo>
                  <a:cubicBezTo>
                    <a:pt x="1278604" y="253175"/>
                    <a:pt x="1324571" y="148510"/>
                    <a:pt x="1292041" y="71426"/>
                  </a:cubicBezTo>
                  <a:cubicBezTo>
                    <a:pt x="1278604" y="39603"/>
                    <a:pt x="1253145" y="15558"/>
                    <a:pt x="1216371" y="0"/>
                  </a:cubicBezTo>
                  <a:cubicBezTo>
                    <a:pt x="1183840" y="46675"/>
                    <a:pt x="916521" y="428559"/>
                    <a:pt x="877626" y="510593"/>
                  </a:cubicBezTo>
                  <a:cubicBezTo>
                    <a:pt x="835194" y="598992"/>
                    <a:pt x="389663" y="1132922"/>
                    <a:pt x="371276" y="1155553"/>
                  </a:cubicBezTo>
                  <a:cubicBezTo>
                    <a:pt x="370568" y="1156967"/>
                    <a:pt x="310457" y="1216371"/>
                    <a:pt x="268733" y="1272239"/>
                  </a:cubicBezTo>
                  <a:cubicBezTo>
                    <a:pt x="228423" y="1325986"/>
                    <a:pt x="35360" y="1718478"/>
                    <a:pt x="7072" y="1874060"/>
                  </a:cubicBezTo>
                  <a:lnTo>
                    <a:pt x="0" y="1872646"/>
                  </a:lnTo>
                  <a:cubicBezTo>
                    <a:pt x="169018" y="1950437"/>
                    <a:pt x="342988" y="2020449"/>
                    <a:pt x="438459" y="2050151"/>
                  </a:cubicBezTo>
                  <a:cubicBezTo>
                    <a:pt x="606771" y="2103191"/>
                    <a:pt x="894599" y="2166838"/>
                    <a:pt x="1079883" y="2116627"/>
                  </a:cubicBezTo>
                  <a:cubicBezTo>
                    <a:pt x="1168989" y="2092583"/>
                    <a:pt x="1310427" y="1991454"/>
                    <a:pt x="1440551" y="1869110"/>
                  </a:cubicBezTo>
                  <a:cubicBezTo>
                    <a:pt x="1695140" y="1628664"/>
                    <a:pt x="1879010" y="1207885"/>
                    <a:pt x="2023985" y="988655"/>
                  </a:cubicBezTo>
                  <a:cubicBezTo>
                    <a:pt x="2050859" y="947638"/>
                    <a:pt x="2084803" y="903792"/>
                    <a:pt x="2123699" y="858532"/>
                  </a:cubicBezTo>
                  <a:cubicBezTo>
                    <a:pt x="2034593" y="741138"/>
                    <a:pt x="1751716" y="490792"/>
                    <a:pt x="1260924" y="313286"/>
                  </a:cubicBezTo>
                  <a:close/>
                </a:path>
              </a:pathLst>
            </a:custGeom>
            <a:solidFill>
              <a:schemeClr val="accent5"/>
            </a:solidFill>
            <a:ln w="70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C2F9C513-FADF-4D04-84EE-961B06D79CF7}"/>
                </a:ext>
              </a:extLst>
            </p:cNvPr>
            <p:cNvSpPr/>
            <p:nvPr/>
          </p:nvSpPr>
          <p:spPr>
            <a:xfrm>
              <a:off x="9256172" y="2170520"/>
              <a:ext cx="815663" cy="1058343"/>
            </a:xfrm>
            <a:custGeom>
              <a:avLst/>
              <a:gdLst>
                <a:gd name="connsiteX0" fmla="*/ 123323 w 815663"/>
                <a:gd name="connsiteY0" fmla="*/ 935292 h 1058343"/>
                <a:gd name="connsiteX1" fmla="*/ 627551 w 815663"/>
                <a:gd name="connsiteY1" fmla="*/ 293869 h 1058343"/>
                <a:gd name="connsiteX2" fmla="*/ 815664 w 815663"/>
                <a:gd name="connsiteY2" fmla="*/ 1798 h 1058343"/>
                <a:gd name="connsiteX3" fmla="*/ 263346 w 815663"/>
                <a:gd name="connsiteY3" fmla="*/ 411970 h 1058343"/>
                <a:gd name="connsiteX4" fmla="*/ 16536 w 815663"/>
                <a:gd name="connsiteY4" fmla="*/ 1058344 h 1058343"/>
                <a:gd name="connsiteX5" fmla="*/ 20072 w 815663"/>
                <a:gd name="connsiteY5" fmla="*/ 1053393 h 1058343"/>
                <a:gd name="connsiteX6" fmla="*/ 123323 w 815663"/>
                <a:gd name="connsiteY6" fmla="*/ 935292 h 1058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663" h="1058343">
                  <a:moveTo>
                    <a:pt x="123323" y="935292"/>
                  </a:moveTo>
                  <a:cubicBezTo>
                    <a:pt x="127566" y="930342"/>
                    <a:pt x="585826" y="380146"/>
                    <a:pt x="627551" y="293869"/>
                  </a:cubicBezTo>
                  <a:cubicBezTo>
                    <a:pt x="648766" y="249316"/>
                    <a:pt x="735044" y="119899"/>
                    <a:pt x="815664" y="1798"/>
                  </a:cubicBezTo>
                  <a:cubicBezTo>
                    <a:pt x="696149" y="-19418"/>
                    <a:pt x="464189" y="148894"/>
                    <a:pt x="263346" y="411970"/>
                  </a:cubicBezTo>
                  <a:cubicBezTo>
                    <a:pt x="58968" y="679289"/>
                    <a:pt x="-42160" y="952972"/>
                    <a:pt x="16536" y="1058344"/>
                  </a:cubicBezTo>
                  <a:cubicBezTo>
                    <a:pt x="17951" y="1056222"/>
                    <a:pt x="19365" y="1054808"/>
                    <a:pt x="20072" y="1053393"/>
                  </a:cubicBezTo>
                  <a:cubicBezTo>
                    <a:pt x="62504" y="996111"/>
                    <a:pt x="122615" y="935999"/>
                    <a:pt x="123323" y="935292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70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75D5EF7-4D68-451A-B3EF-253EC99AC782}"/>
                </a:ext>
              </a:extLst>
            </p:cNvPr>
            <p:cNvSpPr/>
            <p:nvPr/>
          </p:nvSpPr>
          <p:spPr>
            <a:xfrm>
              <a:off x="9281195" y="2175854"/>
              <a:ext cx="868199" cy="1097283"/>
            </a:xfrm>
            <a:custGeom>
              <a:avLst/>
              <a:gdLst>
                <a:gd name="connsiteX0" fmla="*/ 14144 w 868199"/>
                <a:gd name="connsiteY0" fmla="*/ 1079176 h 1097283"/>
                <a:gd name="connsiteX1" fmla="*/ 604650 w 868199"/>
                <a:gd name="connsiteY1" fmla="*/ 685270 h 1097283"/>
                <a:gd name="connsiteX2" fmla="*/ 828829 w 868199"/>
                <a:gd name="connsiteY2" fmla="*/ 12022 h 1097283"/>
                <a:gd name="connsiteX3" fmla="*/ 805493 w 868199"/>
                <a:gd name="connsiteY3" fmla="*/ 0 h 1097283"/>
                <a:gd name="connsiteX4" fmla="*/ 615258 w 868199"/>
                <a:gd name="connsiteY4" fmla="*/ 294899 h 1097283"/>
                <a:gd name="connsiteX5" fmla="*/ 108908 w 868199"/>
                <a:gd name="connsiteY5" fmla="*/ 939859 h 1097283"/>
                <a:gd name="connsiteX6" fmla="*/ 6365 w 868199"/>
                <a:gd name="connsiteY6" fmla="*/ 1056546 h 1097283"/>
                <a:gd name="connsiteX7" fmla="*/ 0 w 868199"/>
                <a:gd name="connsiteY7" fmla="*/ 1065739 h 1097283"/>
                <a:gd name="connsiteX8" fmla="*/ 14144 w 868199"/>
                <a:gd name="connsiteY8" fmla="*/ 1079176 h 109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8199" h="1097283">
                  <a:moveTo>
                    <a:pt x="14144" y="1079176"/>
                  </a:moveTo>
                  <a:cubicBezTo>
                    <a:pt x="115272" y="1156260"/>
                    <a:pt x="379762" y="980169"/>
                    <a:pt x="604650" y="685270"/>
                  </a:cubicBezTo>
                  <a:cubicBezTo>
                    <a:pt x="829536" y="390370"/>
                    <a:pt x="929958" y="89106"/>
                    <a:pt x="828829" y="12022"/>
                  </a:cubicBezTo>
                  <a:cubicBezTo>
                    <a:pt x="821757" y="6365"/>
                    <a:pt x="813979" y="2829"/>
                    <a:pt x="805493" y="0"/>
                  </a:cubicBezTo>
                  <a:cubicBezTo>
                    <a:pt x="724165" y="118808"/>
                    <a:pt x="636473" y="250346"/>
                    <a:pt x="615258" y="294899"/>
                  </a:cubicBezTo>
                  <a:cubicBezTo>
                    <a:pt x="572826" y="383298"/>
                    <a:pt x="127295" y="917229"/>
                    <a:pt x="108908" y="939859"/>
                  </a:cubicBezTo>
                  <a:cubicBezTo>
                    <a:pt x="108200" y="941273"/>
                    <a:pt x="48089" y="1000677"/>
                    <a:pt x="6365" y="1056546"/>
                  </a:cubicBezTo>
                  <a:cubicBezTo>
                    <a:pt x="4243" y="1058667"/>
                    <a:pt x="2121" y="1062203"/>
                    <a:pt x="0" y="1065739"/>
                  </a:cubicBezTo>
                  <a:cubicBezTo>
                    <a:pt x="4243" y="1070690"/>
                    <a:pt x="8486" y="1075640"/>
                    <a:pt x="14144" y="1079176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70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E7E294D0-AABC-44BF-B931-92E93C29B2EC}"/>
                </a:ext>
              </a:extLst>
            </p:cNvPr>
            <p:cNvSpPr/>
            <p:nvPr/>
          </p:nvSpPr>
          <p:spPr>
            <a:xfrm>
              <a:off x="9267758" y="1211990"/>
              <a:ext cx="2922955" cy="1595386"/>
            </a:xfrm>
            <a:custGeom>
              <a:avLst/>
              <a:gdLst>
                <a:gd name="connsiteX0" fmla="*/ 2888882 w 2922955"/>
                <a:gd name="connsiteY0" fmla="*/ 722004 h 1595386"/>
                <a:gd name="connsiteX1" fmla="*/ 2523264 w 2922955"/>
                <a:gd name="connsiteY1" fmla="*/ 280008 h 1595386"/>
                <a:gd name="connsiteX2" fmla="*/ 1335887 w 2922955"/>
                <a:gd name="connsiteY2" fmla="*/ 2082 h 1595386"/>
                <a:gd name="connsiteX3" fmla="*/ 671126 w 2922955"/>
                <a:gd name="connsiteY3" fmla="*/ 195852 h 1595386"/>
                <a:gd name="connsiteX4" fmla="*/ 98300 w 2922955"/>
                <a:gd name="connsiteY4" fmla="*/ 642091 h 1595386"/>
                <a:gd name="connsiteX5" fmla="*/ 0 w 2922955"/>
                <a:gd name="connsiteY5" fmla="*/ 734026 h 1595386"/>
                <a:gd name="connsiteX6" fmla="*/ 559389 w 2922955"/>
                <a:gd name="connsiteY6" fmla="*/ 863442 h 1595386"/>
                <a:gd name="connsiteX7" fmla="*/ 967440 w 2922955"/>
                <a:gd name="connsiteY7" fmla="*/ 732612 h 1595386"/>
                <a:gd name="connsiteX8" fmla="*/ 968147 w 2922955"/>
                <a:gd name="connsiteY8" fmla="*/ 732612 h 1595386"/>
                <a:gd name="connsiteX9" fmla="*/ 1057253 w 2922955"/>
                <a:gd name="connsiteY9" fmla="*/ 813939 h 1595386"/>
                <a:gd name="connsiteX10" fmla="*/ 1026136 w 2922955"/>
                <a:gd name="connsiteY10" fmla="*/ 1045898 h 1595386"/>
                <a:gd name="connsiteX11" fmla="*/ 1024722 w 2922955"/>
                <a:gd name="connsiteY11" fmla="*/ 1050141 h 1595386"/>
                <a:gd name="connsiteX12" fmla="*/ 1884668 w 2922955"/>
                <a:gd name="connsiteY12" fmla="*/ 1595386 h 1595386"/>
                <a:gd name="connsiteX13" fmla="*/ 2581960 w 2922955"/>
                <a:gd name="connsiteY13" fmla="*/ 1103888 h 1595386"/>
                <a:gd name="connsiteX14" fmla="*/ 2888882 w 2922955"/>
                <a:gd name="connsiteY14" fmla="*/ 722004 h 159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22955" h="1595386">
                  <a:moveTo>
                    <a:pt x="2888882" y="722004"/>
                  </a:moveTo>
                  <a:cubicBezTo>
                    <a:pt x="2853522" y="565714"/>
                    <a:pt x="2592568" y="325976"/>
                    <a:pt x="2523264" y="280008"/>
                  </a:cubicBezTo>
                  <a:cubicBezTo>
                    <a:pt x="2195833" y="63607"/>
                    <a:pt x="1640687" y="-14184"/>
                    <a:pt x="1335887" y="2082"/>
                  </a:cubicBezTo>
                  <a:cubicBezTo>
                    <a:pt x="1108170" y="14104"/>
                    <a:pt x="805493" y="94724"/>
                    <a:pt x="671126" y="195852"/>
                  </a:cubicBezTo>
                  <a:cubicBezTo>
                    <a:pt x="536759" y="296981"/>
                    <a:pt x="250346" y="499238"/>
                    <a:pt x="98300" y="642091"/>
                  </a:cubicBezTo>
                  <a:cubicBezTo>
                    <a:pt x="68597" y="669671"/>
                    <a:pt x="35360" y="701495"/>
                    <a:pt x="0" y="734026"/>
                  </a:cubicBezTo>
                  <a:cubicBezTo>
                    <a:pt x="85570" y="744634"/>
                    <a:pt x="492206" y="799795"/>
                    <a:pt x="559389" y="863442"/>
                  </a:cubicBezTo>
                  <a:cubicBezTo>
                    <a:pt x="652031" y="777872"/>
                    <a:pt x="796299" y="688058"/>
                    <a:pt x="967440" y="732612"/>
                  </a:cubicBezTo>
                  <a:lnTo>
                    <a:pt x="968147" y="732612"/>
                  </a:lnTo>
                  <a:cubicBezTo>
                    <a:pt x="1011992" y="749584"/>
                    <a:pt x="1041695" y="777165"/>
                    <a:pt x="1057253" y="813939"/>
                  </a:cubicBezTo>
                  <a:cubicBezTo>
                    <a:pt x="1091906" y="896680"/>
                    <a:pt x="1044523" y="1004881"/>
                    <a:pt x="1026136" y="1045898"/>
                  </a:cubicBezTo>
                  <a:cubicBezTo>
                    <a:pt x="1025429" y="1047312"/>
                    <a:pt x="1024722" y="1048727"/>
                    <a:pt x="1024722" y="1050141"/>
                  </a:cubicBezTo>
                  <a:cubicBezTo>
                    <a:pt x="1510563" y="1226939"/>
                    <a:pt x="1792733" y="1476578"/>
                    <a:pt x="1884668" y="1595386"/>
                  </a:cubicBezTo>
                  <a:cubicBezTo>
                    <a:pt x="2068538" y="1384643"/>
                    <a:pt x="2355658" y="1155513"/>
                    <a:pt x="2581960" y="1103888"/>
                  </a:cubicBezTo>
                  <a:cubicBezTo>
                    <a:pt x="3009105" y="1004881"/>
                    <a:pt x="2930606" y="906581"/>
                    <a:pt x="2888882" y="722004"/>
                  </a:cubicBezTo>
                  <a:close/>
                </a:path>
              </a:pathLst>
            </a:custGeom>
            <a:solidFill>
              <a:schemeClr val="accent5"/>
            </a:solidFill>
            <a:ln w="70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B34A1B24-026B-4C86-A1A6-DAF05C52EA44}"/>
                </a:ext>
              </a:extLst>
            </p:cNvPr>
            <p:cNvSpPr/>
            <p:nvPr/>
          </p:nvSpPr>
          <p:spPr>
            <a:xfrm>
              <a:off x="9012462" y="3829270"/>
              <a:ext cx="7071" cy="2828"/>
            </a:xfrm>
            <a:custGeom>
              <a:avLst/>
              <a:gdLst>
                <a:gd name="connsiteX0" fmla="*/ 0 w 7071"/>
                <a:gd name="connsiteY0" fmla="*/ 1414 h 2828"/>
                <a:gd name="connsiteX1" fmla="*/ 7072 w 7071"/>
                <a:gd name="connsiteY1" fmla="*/ 2829 h 2828"/>
                <a:gd name="connsiteX2" fmla="*/ 707 w 7071"/>
                <a:gd name="connsiteY2" fmla="*/ 0 h 2828"/>
                <a:gd name="connsiteX3" fmla="*/ 0 w 7071"/>
                <a:gd name="connsiteY3" fmla="*/ 1414 h 2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71" h="2828">
                  <a:moveTo>
                    <a:pt x="0" y="1414"/>
                  </a:moveTo>
                  <a:lnTo>
                    <a:pt x="7072" y="2829"/>
                  </a:lnTo>
                  <a:cubicBezTo>
                    <a:pt x="4950" y="2121"/>
                    <a:pt x="2829" y="707"/>
                    <a:pt x="707" y="0"/>
                  </a:cubicBezTo>
                  <a:cubicBezTo>
                    <a:pt x="0" y="707"/>
                    <a:pt x="0" y="1414"/>
                    <a:pt x="0" y="1414"/>
                  </a:cubicBezTo>
                  <a:close/>
                </a:path>
              </a:pathLst>
            </a:custGeom>
            <a:solidFill>
              <a:srgbClr val="ED1C24"/>
            </a:solidFill>
            <a:ln w="70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B2BFA7B-2E28-4C79-B559-1D0B0309EE94}"/>
                </a:ext>
              </a:extLst>
            </p:cNvPr>
            <p:cNvSpPr/>
            <p:nvPr/>
          </p:nvSpPr>
          <p:spPr>
            <a:xfrm>
              <a:off x="9233651" y="2347195"/>
              <a:ext cx="817443" cy="889403"/>
            </a:xfrm>
            <a:custGeom>
              <a:avLst/>
              <a:gdLst>
                <a:gd name="connsiteX0" fmla="*/ 676189 w 817443"/>
                <a:gd name="connsiteY0" fmla="*/ 114374 h 889403"/>
                <a:gd name="connsiteX1" fmla="*/ 549977 w 817443"/>
                <a:gd name="connsiteY1" fmla="*/ 559076 h 889403"/>
                <a:gd name="connsiteX2" fmla="*/ 141255 w 817443"/>
                <a:gd name="connsiteY2" fmla="*/ 775029 h 889403"/>
                <a:gd name="connsiteX3" fmla="*/ 267467 w 817443"/>
                <a:gd name="connsiteY3" fmla="*/ 330328 h 889403"/>
                <a:gd name="connsiteX4" fmla="*/ 676189 w 817443"/>
                <a:gd name="connsiteY4" fmla="*/ 114374 h 889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443" h="889403">
                  <a:moveTo>
                    <a:pt x="676189" y="114374"/>
                  </a:moveTo>
                  <a:cubicBezTo>
                    <a:pt x="754202" y="177542"/>
                    <a:pt x="697694" y="376641"/>
                    <a:pt x="549977" y="559076"/>
                  </a:cubicBezTo>
                  <a:cubicBezTo>
                    <a:pt x="402259" y="741511"/>
                    <a:pt x="219268" y="838196"/>
                    <a:pt x="141255" y="775029"/>
                  </a:cubicBezTo>
                  <a:cubicBezTo>
                    <a:pt x="63242" y="711862"/>
                    <a:pt x="119749" y="512762"/>
                    <a:pt x="267467" y="330328"/>
                  </a:cubicBezTo>
                  <a:cubicBezTo>
                    <a:pt x="415185" y="147893"/>
                    <a:pt x="598176" y="51207"/>
                    <a:pt x="676189" y="114374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70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DC938BF-274F-4644-8F23-CD7AE6676BA0}"/>
              </a:ext>
            </a:extLst>
          </p:cNvPr>
          <p:cNvGrpSpPr/>
          <p:nvPr/>
        </p:nvGrpSpPr>
        <p:grpSpPr>
          <a:xfrm>
            <a:off x="1446763" y="2639278"/>
            <a:ext cx="10061655" cy="2617601"/>
            <a:chOff x="1427713" y="2852132"/>
            <a:chExt cx="10061655" cy="261760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DB454B5-5F77-4C49-9103-B7C97A7995BA}"/>
                </a:ext>
              </a:extLst>
            </p:cNvPr>
            <p:cNvGrpSpPr/>
            <p:nvPr/>
          </p:nvGrpSpPr>
          <p:grpSpPr>
            <a:xfrm>
              <a:off x="1427713" y="2852132"/>
              <a:ext cx="9478349" cy="2617601"/>
              <a:chOff x="2895898" y="2601320"/>
              <a:chExt cx="9478349" cy="2617601"/>
            </a:xfrm>
          </p:grpSpPr>
          <p:sp>
            <p:nvSpPr>
              <p:cNvPr id="109" name="Block Arc 108">
                <a:extLst>
                  <a:ext uri="{FF2B5EF4-FFF2-40B4-BE49-F238E27FC236}">
                    <a16:creationId xmlns:a16="http://schemas.microsoft.com/office/drawing/2014/main" id="{FE8A1025-CBFC-402B-BE6B-AFFE5D4E969B}"/>
                  </a:ext>
                </a:extLst>
              </p:cNvPr>
              <p:cNvSpPr/>
              <p:nvPr/>
            </p:nvSpPr>
            <p:spPr>
              <a:xfrm>
                <a:off x="10539544" y="3374995"/>
                <a:ext cx="1834703" cy="1834703"/>
              </a:xfrm>
              <a:prstGeom prst="blockArc">
                <a:avLst>
                  <a:gd name="adj1" fmla="val 12399071"/>
                  <a:gd name="adj2" fmla="val 16243311"/>
                  <a:gd name="adj3" fmla="val 6643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110" name="Block Arc 109">
                <a:extLst>
                  <a:ext uri="{FF2B5EF4-FFF2-40B4-BE49-F238E27FC236}">
                    <a16:creationId xmlns:a16="http://schemas.microsoft.com/office/drawing/2014/main" id="{5B9948DF-5A0A-4747-B694-A56DACB3FF4D}"/>
                  </a:ext>
                </a:extLst>
              </p:cNvPr>
              <p:cNvSpPr/>
              <p:nvPr/>
            </p:nvSpPr>
            <p:spPr>
              <a:xfrm rot="10800000">
                <a:off x="2895898" y="2601320"/>
                <a:ext cx="1834703" cy="1834703"/>
              </a:xfrm>
              <a:prstGeom prst="blockArc">
                <a:avLst>
                  <a:gd name="adj1" fmla="val 12399071"/>
                  <a:gd name="adj2" fmla="val 20021087"/>
                  <a:gd name="adj3" fmla="val 6481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111" name="Block Arc 110">
                <a:extLst>
                  <a:ext uri="{FF2B5EF4-FFF2-40B4-BE49-F238E27FC236}">
                    <a16:creationId xmlns:a16="http://schemas.microsoft.com/office/drawing/2014/main" id="{E67BDBDC-F19E-406B-B8E2-0E2179EB9E4D}"/>
                  </a:ext>
                </a:extLst>
              </p:cNvPr>
              <p:cNvSpPr/>
              <p:nvPr/>
            </p:nvSpPr>
            <p:spPr>
              <a:xfrm>
                <a:off x="7477560" y="3384218"/>
                <a:ext cx="1834703" cy="1834703"/>
              </a:xfrm>
              <a:prstGeom prst="blockArc">
                <a:avLst>
                  <a:gd name="adj1" fmla="val 12399071"/>
                  <a:gd name="adj2" fmla="val 20021087"/>
                  <a:gd name="adj3" fmla="val 6481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112" name="Block Arc 111">
                <a:extLst>
                  <a:ext uri="{FF2B5EF4-FFF2-40B4-BE49-F238E27FC236}">
                    <a16:creationId xmlns:a16="http://schemas.microsoft.com/office/drawing/2014/main" id="{330036F1-9DAC-4969-B3EF-83EF2CF63EB1}"/>
                  </a:ext>
                </a:extLst>
              </p:cNvPr>
              <p:cNvSpPr/>
              <p:nvPr/>
            </p:nvSpPr>
            <p:spPr>
              <a:xfrm>
                <a:off x="4416280" y="3384218"/>
                <a:ext cx="1834703" cy="1834703"/>
              </a:xfrm>
              <a:prstGeom prst="blockArc">
                <a:avLst>
                  <a:gd name="adj1" fmla="val 12399071"/>
                  <a:gd name="adj2" fmla="val 20021087"/>
                  <a:gd name="adj3" fmla="val 6481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113" name="Block Arc 112">
                <a:extLst>
                  <a:ext uri="{FF2B5EF4-FFF2-40B4-BE49-F238E27FC236}">
                    <a16:creationId xmlns:a16="http://schemas.microsoft.com/office/drawing/2014/main" id="{E40E8946-5E4B-4C26-84C5-466244B4392C}"/>
                  </a:ext>
                </a:extLst>
              </p:cNvPr>
              <p:cNvSpPr/>
              <p:nvPr/>
            </p:nvSpPr>
            <p:spPr>
              <a:xfrm rot="10800000">
                <a:off x="5946920" y="2601320"/>
                <a:ext cx="1834703" cy="1834703"/>
              </a:xfrm>
              <a:prstGeom prst="blockArc">
                <a:avLst>
                  <a:gd name="adj1" fmla="val 12399071"/>
                  <a:gd name="adj2" fmla="val 20021087"/>
                  <a:gd name="adj3" fmla="val 6481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114" name="Block Arc 160">
                <a:extLst>
                  <a:ext uri="{FF2B5EF4-FFF2-40B4-BE49-F238E27FC236}">
                    <a16:creationId xmlns:a16="http://schemas.microsoft.com/office/drawing/2014/main" id="{66238CEF-C54D-4BBA-BA3E-140CFFCE07D7}"/>
                  </a:ext>
                </a:extLst>
              </p:cNvPr>
              <p:cNvSpPr/>
              <p:nvPr/>
            </p:nvSpPr>
            <p:spPr>
              <a:xfrm rot="10800000">
                <a:off x="9008904" y="2601320"/>
                <a:ext cx="1834703" cy="1834703"/>
              </a:xfrm>
              <a:prstGeom prst="blockArc">
                <a:avLst>
                  <a:gd name="adj1" fmla="val 12399071"/>
                  <a:gd name="adj2" fmla="val 20021087"/>
                  <a:gd name="adj3" fmla="val 6481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1BD60E6-79DF-41AA-859E-722ADC1D512C}"/>
                </a:ext>
              </a:extLst>
            </p:cNvPr>
            <p:cNvSpPr/>
            <p:nvPr/>
          </p:nvSpPr>
          <p:spPr>
            <a:xfrm>
              <a:off x="9988709" y="3625806"/>
              <a:ext cx="1500659" cy="11802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15" name="Oval 114">
            <a:extLst>
              <a:ext uri="{FF2B5EF4-FFF2-40B4-BE49-F238E27FC236}">
                <a16:creationId xmlns:a16="http://schemas.microsoft.com/office/drawing/2014/main" id="{7054A256-8CF5-4768-B0E4-8D3ABDC99DD0}"/>
              </a:ext>
            </a:extLst>
          </p:cNvPr>
          <p:cNvSpPr/>
          <p:nvPr/>
        </p:nvSpPr>
        <p:spPr>
          <a:xfrm>
            <a:off x="5072493" y="3384889"/>
            <a:ext cx="693414" cy="69341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478EFDC-91F9-4AB0-86AA-EF757AA65B89}"/>
              </a:ext>
            </a:extLst>
          </p:cNvPr>
          <p:cNvSpPr/>
          <p:nvPr/>
        </p:nvSpPr>
        <p:spPr>
          <a:xfrm>
            <a:off x="3543531" y="3869278"/>
            <a:ext cx="693414" cy="69341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F58C1468-307F-4474-A7C3-796841EE438D}"/>
              </a:ext>
            </a:extLst>
          </p:cNvPr>
          <p:cNvSpPr/>
          <p:nvPr/>
        </p:nvSpPr>
        <p:spPr>
          <a:xfrm>
            <a:off x="2014569" y="3384889"/>
            <a:ext cx="693414" cy="69341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2E9AEEA8-BE6A-406B-BB73-D62F6237E8FD}"/>
              </a:ext>
            </a:extLst>
          </p:cNvPr>
          <p:cNvSpPr/>
          <p:nvPr/>
        </p:nvSpPr>
        <p:spPr>
          <a:xfrm>
            <a:off x="6601454" y="3869278"/>
            <a:ext cx="693414" cy="69341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121" name="Oval 100">
            <a:extLst>
              <a:ext uri="{FF2B5EF4-FFF2-40B4-BE49-F238E27FC236}">
                <a16:creationId xmlns:a16="http://schemas.microsoft.com/office/drawing/2014/main" id="{102A3DBB-340A-440D-BDBC-B66D4D01EFDC}"/>
              </a:ext>
            </a:extLst>
          </p:cNvPr>
          <p:cNvSpPr/>
          <p:nvPr/>
        </p:nvSpPr>
        <p:spPr>
          <a:xfrm>
            <a:off x="8130415" y="3384889"/>
            <a:ext cx="693414" cy="69341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E3CC16F6-2648-4181-8CAB-1BB1F3649E3F}"/>
              </a:ext>
            </a:extLst>
          </p:cNvPr>
          <p:cNvGrpSpPr/>
          <p:nvPr/>
        </p:nvGrpSpPr>
        <p:grpSpPr>
          <a:xfrm>
            <a:off x="2975268" y="5083945"/>
            <a:ext cx="1819678" cy="899495"/>
            <a:chOff x="1985513" y="4307149"/>
            <a:chExt cx="2380861" cy="899495"/>
          </a:xfrm>
        </p:grpSpPr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EEB58CBD-4473-4574-81DE-4FD1A4834E64}"/>
                </a:ext>
              </a:extLst>
            </p:cNvPr>
            <p:cNvSpPr txBox="1"/>
            <p:nvPr/>
          </p:nvSpPr>
          <p:spPr>
            <a:xfrm>
              <a:off x="2004347" y="4560313"/>
              <a:ext cx="234663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Reviewer 1 mengecek draft </a:t>
              </a:r>
              <a:r>
                <a:rPr lang="en-US" altLang="ko-KR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ari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konseptor di menu </a:t>
              </a:r>
              <a:r>
                <a: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raft-Direct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4DA463E9-971E-4FD9-8048-9902F6E52023}"/>
                </a:ext>
              </a:extLst>
            </p:cNvPr>
            <p:cNvSpPr txBox="1"/>
            <p:nvPr/>
          </p:nvSpPr>
          <p:spPr>
            <a:xfrm>
              <a:off x="1985513" y="4307149"/>
              <a:ext cx="23808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Reviewer 1</a:t>
              </a:r>
              <a:endPara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20E6A521-D88B-4C25-99C7-9DB91CCE7A6F}"/>
              </a:ext>
            </a:extLst>
          </p:cNvPr>
          <p:cNvGrpSpPr/>
          <p:nvPr/>
        </p:nvGrpSpPr>
        <p:grpSpPr>
          <a:xfrm>
            <a:off x="1451437" y="1579995"/>
            <a:ext cx="1819678" cy="899495"/>
            <a:chOff x="1985513" y="4307149"/>
            <a:chExt cx="2380861" cy="899495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CF4618F2-4883-423B-AE84-8CF62C57CB54}"/>
                </a:ext>
              </a:extLst>
            </p:cNvPr>
            <p:cNvSpPr txBox="1"/>
            <p:nvPr/>
          </p:nvSpPr>
          <p:spPr>
            <a:xfrm>
              <a:off x="2004347" y="4560313"/>
              <a:ext cx="234663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Konseptor membuat </a:t>
              </a:r>
              <a:r>
                <a:rPr lang="en-US" altLang="ko-KR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urat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(</a:t>
              </a:r>
              <a:r>
                <a: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New Correspondence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)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A03AA2BC-49B1-466E-A167-64AEAF6946A3}"/>
                </a:ext>
              </a:extLst>
            </p:cNvPr>
            <p:cNvSpPr txBox="1"/>
            <p:nvPr/>
          </p:nvSpPr>
          <p:spPr>
            <a:xfrm>
              <a:off x="1985513" y="4307149"/>
              <a:ext cx="23808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onceptor</a:t>
              </a:r>
              <a:endPara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3AA6359F-5131-4A8A-9CA6-6147DD6F9540}"/>
              </a:ext>
            </a:extLst>
          </p:cNvPr>
          <p:cNvGrpSpPr/>
          <p:nvPr/>
        </p:nvGrpSpPr>
        <p:grpSpPr>
          <a:xfrm>
            <a:off x="6051411" y="5083945"/>
            <a:ext cx="1819678" cy="1268827"/>
            <a:chOff x="1985513" y="4307149"/>
            <a:chExt cx="2380861" cy="1268827"/>
          </a:xfrm>
        </p:grpSpPr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A84529F9-1047-4826-8B79-9416E4A16560}"/>
                </a:ext>
              </a:extLst>
            </p:cNvPr>
            <p:cNvSpPr txBox="1"/>
            <p:nvPr/>
          </p:nvSpPr>
          <p:spPr>
            <a:xfrm>
              <a:off x="2004347" y="4560313"/>
              <a:ext cx="2346637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Reviewer 3 mengecek draft </a:t>
              </a:r>
              <a:r>
                <a:rPr lang="en-US" altLang="ko-KR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ari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konseptor yang sudah disetujui oleh Reviewer 1 dan 2 di menu </a:t>
              </a:r>
              <a:r>
                <a: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raft-Direct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FD5A2D58-DFEA-4468-8AB6-33217CB1C083}"/>
                </a:ext>
              </a:extLst>
            </p:cNvPr>
            <p:cNvSpPr txBox="1"/>
            <p:nvPr/>
          </p:nvSpPr>
          <p:spPr>
            <a:xfrm>
              <a:off x="1985513" y="4307149"/>
              <a:ext cx="23808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Reviewer 3</a:t>
              </a:r>
              <a:endPara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DE1F40F6-6F58-4137-BC2B-7B0D3EC72CCA}"/>
              </a:ext>
            </a:extLst>
          </p:cNvPr>
          <p:cNvGrpSpPr/>
          <p:nvPr/>
        </p:nvGrpSpPr>
        <p:grpSpPr>
          <a:xfrm>
            <a:off x="4527580" y="1579995"/>
            <a:ext cx="1819678" cy="1268827"/>
            <a:chOff x="1985513" y="4307149"/>
            <a:chExt cx="2380861" cy="1268827"/>
          </a:xfrm>
        </p:grpSpPr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D5C191C3-10BB-43C7-BB71-6081C453520A}"/>
                </a:ext>
              </a:extLst>
            </p:cNvPr>
            <p:cNvSpPr txBox="1"/>
            <p:nvPr/>
          </p:nvSpPr>
          <p:spPr>
            <a:xfrm>
              <a:off x="2004347" y="4560313"/>
              <a:ext cx="2346637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Reviewer 2 mengecek draft </a:t>
              </a:r>
              <a:r>
                <a:rPr lang="en-US" altLang="ko-KR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ari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konseptor yang sudah disetujui oleh Reviewer 1 di menu </a:t>
              </a:r>
              <a:r>
                <a: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raft-Direct</a:t>
              </a: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B7D88F9D-CB73-474B-89D7-AD94E11DE3D0}"/>
                </a:ext>
              </a:extLst>
            </p:cNvPr>
            <p:cNvSpPr txBox="1"/>
            <p:nvPr/>
          </p:nvSpPr>
          <p:spPr>
            <a:xfrm>
              <a:off x="1985513" y="4307149"/>
              <a:ext cx="23808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Reviewer 2</a:t>
              </a:r>
              <a:endPara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49979540-F977-4FFD-BB36-D7DCF76C6D3D}"/>
              </a:ext>
            </a:extLst>
          </p:cNvPr>
          <p:cNvGrpSpPr/>
          <p:nvPr/>
        </p:nvGrpSpPr>
        <p:grpSpPr>
          <a:xfrm>
            <a:off x="8928922" y="4092507"/>
            <a:ext cx="1819678" cy="1084161"/>
            <a:chOff x="1985513" y="4307149"/>
            <a:chExt cx="2380861" cy="1084161"/>
          </a:xfrm>
        </p:grpSpPr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5467797D-35B8-429F-AEBB-297597EAFB8A}"/>
                </a:ext>
              </a:extLst>
            </p:cNvPr>
            <p:cNvSpPr txBox="1"/>
            <p:nvPr/>
          </p:nvSpPr>
          <p:spPr>
            <a:xfrm>
              <a:off x="2004347" y="4560313"/>
              <a:ext cx="234663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Penerima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</a:t>
              </a:r>
              <a:r>
                <a:rPr lang="en-US" altLang="ko-KR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urat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</a:t>
              </a:r>
              <a:r>
                <a:rPr lang="en-US" altLang="ko-KR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ari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fungsi lain contoh Memorandum di menu </a:t>
              </a:r>
              <a:r>
                <a: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Inbox-Direct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99D64E58-BB63-4D88-88D0-E95109F22BD8}"/>
                </a:ext>
              </a:extLst>
            </p:cNvPr>
            <p:cNvSpPr txBox="1"/>
            <p:nvPr/>
          </p:nvSpPr>
          <p:spPr>
            <a:xfrm>
              <a:off x="1985513" y="4307149"/>
              <a:ext cx="23808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Receiver</a:t>
              </a:r>
              <a:endPara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D369F3C3-68B7-4075-BE2E-8B0358C66755}"/>
              </a:ext>
            </a:extLst>
          </p:cNvPr>
          <p:cNvGrpSpPr/>
          <p:nvPr/>
        </p:nvGrpSpPr>
        <p:grpSpPr>
          <a:xfrm>
            <a:off x="7574794" y="1579995"/>
            <a:ext cx="1819678" cy="1268827"/>
            <a:chOff x="1985513" y="4307149"/>
            <a:chExt cx="2380861" cy="1268827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A13B9285-80FB-4AF7-AADC-36E601DD3EDE}"/>
                </a:ext>
              </a:extLst>
            </p:cNvPr>
            <p:cNvSpPr txBox="1"/>
            <p:nvPr/>
          </p:nvSpPr>
          <p:spPr>
            <a:xfrm>
              <a:off x="2004347" y="4560313"/>
              <a:ext cx="2346637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pprover mengecek draft </a:t>
              </a:r>
              <a:r>
                <a:rPr lang="en-US" altLang="ko-KR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ari</a:t>
              </a:r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konseptor yang sudah disetujui oleh Reviewer 1-3 di menu </a:t>
              </a:r>
              <a:r>
                <a: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raft-Direct</a:t>
              </a: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31571EF2-6CC4-4A91-AB06-18ED808363D1}"/>
                </a:ext>
              </a:extLst>
            </p:cNvPr>
            <p:cNvSpPr txBox="1"/>
            <p:nvPr/>
          </p:nvSpPr>
          <p:spPr>
            <a:xfrm>
              <a:off x="1985513" y="4307149"/>
              <a:ext cx="23808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pprover</a:t>
              </a:r>
              <a:endPara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sp>
        <p:nvSpPr>
          <p:cNvPr id="62" name="Text Placeholder 1">
            <a:extLst>
              <a:ext uri="{FF2B5EF4-FFF2-40B4-BE49-F238E27FC236}">
                <a16:creationId xmlns:a16="http://schemas.microsoft.com/office/drawing/2014/main" id="{EC649F5E-BF94-4216-BD0F-729E9A0405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/>
          <a:lstStyle/>
          <a:p>
            <a:r>
              <a:rPr lang="en-US" sz="2800" dirty="0"/>
              <a:t>Workflow</a:t>
            </a:r>
          </a:p>
        </p:txBody>
      </p:sp>
      <p:sp>
        <p:nvSpPr>
          <p:cNvPr id="63" name="Rectangle 30">
            <a:extLst>
              <a:ext uri="{FF2B5EF4-FFF2-40B4-BE49-F238E27FC236}">
                <a16:creationId xmlns:a16="http://schemas.microsoft.com/office/drawing/2014/main" id="{461683A7-C03F-4616-89F7-7CC56DF2CC9B}"/>
              </a:ext>
            </a:extLst>
          </p:cNvPr>
          <p:cNvSpPr/>
          <p:nvPr/>
        </p:nvSpPr>
        <p:spPr>
          <a:xfrm>
            <a:off x="2196089" y="3496627"/>
            <a:ext cx="364004" cy="397710"/>
          </a:xfrm>
          <a:custGeom>
            <a:avLst/>
            <a:gdLst/>
            <a:ahLst/>
            <a:cxnLst/>
            <a:rect l="l" t="t" r="r" b="b"/>
            <a:pathLst>
              <a:path w="3240000" h="3230531">
                <a:moveTo>
                  <a:pt x="720000" y="2697973"/>
                </a:moveTo>
                <a:cubicBezTo>
                  <a:pt x="680235" y="2697973"/>
                  <a:pt x="648000" y="2730208"/>
                  <a:pt x="648000" y="2769973"/>
                </a:cubicBezTo>
                <a:cubicBezTo>
                  <a:pt x="648000" y="2809738"/>
                  <a:pt x="680235" y="2841973"/>
                  <a:pt x="720000" y="2841973"/>
                </a:cubicBezTo>
                <a:lnTo>
                  <a:pt x="2520000" y="2841973"/>
                </a:lnTo>
                <a:cubicBezTo>
                  <a:pt x="2559765" y="2841973"/>
                  <a:pt x="2592000" y="2809738"/>
                  <a:pt x="2592000" y="2769973"/>
                </a:cubicBezTo>
                <a:cubicBezTo>
                  <a:pt x="2592000" y="2730208"/>
                  <a:pt x="2559765" y="2697973"/>
                  <a:pt x="2520000" y="2697973"/>
                </a:cubicBezTo>
                <a:close/>
                <a:moveTo>
                  <a:pt x="720000" y="2366733"/>
                </a:moveTo>
                <a:cubicBezTo>
                  <a:pt x="680235" y="2366733"/>
                  <a:pt x="648000" y="2398968"/>
                  <a:pt x="648000" y="2438733"/>
                </a:cubicBezTo>
                <a:cubicBezTo>
                  <a:pt x="648000" y="2478498"/>
                  <a:pt x="680235" y="2510733"/>
                  <a:pt x="720000" y="2510733"/>
                </a:cubicBezTo>
                <a:lnTo>
                  <a:pt x="2520000" y="2510733"/>
                </a:lnTo>
                <a:cubicBezTo>
                  <a:pt x="2559765" y="2510733"/>
                  <a:pt x="2592000" y="2478498"/>
                  <a:pt x="2592000" y="2438733"/>
                </a:cubicBezTo>
                <a:cubicBezTo>
                  <a:pt x="2592000" y="2398968"/>
                  <a:pt x="2559765" y="2366733"/>
                  <a:pt x="2520000" y="2366733"/>
                </a:cubicBezTo>
                <a:close/>
                <a:moveTo>
                  <a:pt x="720000" y="2035493"/>
                </a:moveTo>
                <a:cubicBezTo>
                  <a:pt x="680235" y="2035493"/>
                  <a:pt x="648000" y="2067728"/>
                  <a:pt x="648000" y="2107493"/>
                </a:cubicBezTo>
                <a:cubicBezTo>
                  <a:pt x="648000" y="2147258"/>
                  <a:pt x="680235" y="2179493"/>
                  <a:pt x="720000" y="2179493"/>
                </a:cubicBezTo>
                <a:lnTo>
                  <a:pt x="2520000" y="2179493"/>
                </a:lnTo>
                <a:cubicBezTo>
                  <a:pt x="2559765" y="2179493"/>
                  <a:pt x="2592000" y="2147258"/>
                  <a:pt x="2592000" y="2107493"/>
                </a:cubicBezTo>
                <a:cubicBezTo>
                  <a:pt x="2592000" y="2067728"/>
                  <a:pt x="2559765" y="2035493"/>
                  <a:pt x="2520000" y="2035493"/>
                </a:cubicBezTo>
                <a:close/>
                <a:moveTo>
                  <a:pt x="720000" y="1704253"/>
                </a:moveTo>
                <a:cubicBezTo>
                  <a:pt x="680235" y="1704253"/>
                  <a:pt x="648000" y="1736488"/>
                  <a:pt x="648000" y="1776253"/>
                </a:cubicBezTo>
                <a:cubicBezTo>
                  <a:pt x="648000" y="1816018"/>
                  <a:pt x="680235" y="1848253"/>
                  <a:pt x="720000" y="1848253"/>
                </a:cubicBezTo>
                <a:lnTo>
                  <a:pt x="2520000" y="1848253"/>
                </a:lnTo>
                <a:cubicBezTo>
                  <a:pt x="2559765" y="1848253"/>
                  <a:pt x="2592000" y="1816018"/>
                  <a:pt x="2592000" y="1776253"/>
                </a:cubicBezTo>
                <a:cubicBezTo>
                  <a:pt x="2592000" y="1736488"/>
                  <a:pt x="2559765" y="1704253"/>
                  <a:pt x="2520000" y="1704253"/>
                </a:cubicBezTo>
                <a:close/>
                <a:moveTo>
                  <a:pt x="720000" y="1373013"/>
                </a:moveTo>
                <a:cubicBezTo>
                  <a:pt x="680235" y="1373013"/>
                  <a:pt x="648000" y="1405248"/>
                  <a:pt x="648000" y="1445013"/>
                </a:cubicBezTo>
                <a:cubicBezTo>
                  <a:pt x="648000" y="1484778"/>
                  <a:pt x="680235" y="1517013"/>
                  <a:pt x="720000" y="1517013"/>
                </a:cubicBezTo>
                <a:lnTo>
                  <a:pt x="2520000" y="1517013"/>
                </a:lnTo>
                <a:cubicBezTo>
                  <a:pt x="2559765" y="1517013"/>
                  <a:pt x="2592000" y="1484778"/>
                  <a:pt x="2592000" y="1445013"/>
                </a:cubicBezTo>
                <a:cubicBezTo>
                  <a:pt x="2592000" y="1405248"/>
                  <a:pt x="2559765" y="1373013"/>
                  <a:pt x="2520000" y="1373013"/>
                </a:cubicBezTo>
                <a:close/>
                <a:moveTo>
                  <a:pt x="720000" y="1041773"/>
                </a:moveTo>
                <a:cubicBezTo>
                  <a:pt x="680235" y="1041773"/>
                  <a:pt x="648000" y="1074008"/>
                  <a:pt x="648000" y="1113773"/>
                </a:cubicBezTo>
                <a:cubicBezTo>
                  <a:pt x="648000" y="1153538"/>
                  <a:pt x="680235" y="1185773"/>
                  <a:pt x="720000" y="1185773"/>
                </a:cubicBezTo>
                <a:lnTo>
                  <a:pt x="2520000" y="1185773"/>
                </a:lnTo>
                <a:cubicBezTo>
                  <a:pt x="2559765" y="1185773"/>
                  <a:pt x="2592000" y="1153538"/>
                  <a:pt x="2592000" y="1113773"/>
                </a:cubicBezTo>
                <a:cubicBezTo>
                  <a:pt x="2592000" y="1074008"/>
                  <a:pt x="2559765" y="1041773"/>
                  <a:pt x="2520000" y="1041773"/>
                </a:cubicBezTo>
                <a:close/>
                <a:moveTo>
                  <a:pt x="0" y="305988"/>
                </a:moveTo>
                <a:lnTo>
                  <a:pt x="181957" y="305988"/>
                </a:lnTo>
                <a:lnTo>
                  <a:pt x="181957" y="470032"/>
                </a:lnTo>
                <a:cubicBezTo>
                  <a:pt x="181957" y="599267"/>
                  <a:pt x="286722" y="704032"/>
                  <a:pt x="415957" y="704032"/>
                </a:cubicBezTo>
                <a:cubicBezTo>
                  <a:pt x="545192" y="704032"/>
                  <a:pt x="649957" y="599267"/>
                  <a:pt x="649957" y="470032"/>
                </a:cubicBezTo>
                <a:lnTo>
                  <a:pt x="649957" y="305988"/>
                </a:lnTo>
                <a:lnTo>
                  <a:pt x="802357" y="305988"/>
                </a:lnTo>
                <a:lnTo>
                  <a:pt x="802357" y="470031"/>
                </a:lnTo>
                <a:cubicBezTo>
                  <a:pt x="802357" y="599266"/>
                  <a:pt x="907122" y="704031"/>
                  <a:pt x="1036357" y="704031"/>
                </a:cubicBezTo>
                <a:cubicBezTo>
                  <a:pt x="1165592" y="704031"/>
                  <a:pt x="1270357" y="599266"/>
                  <a:pt x="1270357" y="470031"/>
                </a:cubicBezTo>
                <a:lnTo>
                  <a:pt x="1270357" y="305988"/>
                </a:lnTo>
                <a:lnTo>
                  <a:pt x="1422757" y="305988"/>
                </a:lnTo>
                <a:lnTo>
                  <a:pt x="1422757" y="470030"/>
                </a:lnTo>
                <a:cubicBezTo>
                  <a:pt x="1422757" y="599265"/>
                  <a:pt x="1527522" y="704030"/>
                  <a:pt x="1656757" y="704030"/>
                </a:cubicBezTo>
                <a:cubicBezTo>
                  <a:pt x="1785992" y="704030"/>
                  <a:pt x="1890757" y="599265"/>
                  <a:pt x="1890757" y="470030"/>
                </a:cubicBezTo>
                <a:lnTo>
                  <a:pt x="1890757" y="305988"/>
                </a:lnTo>
                <a:lnTo>
                  <a:pt x="2043157" y="305988"/>
                </a:lnTo>
                <a:lnTo>
                  <a:pt x="2043157" y="470029"/>
                </a:lnTo>
                <a:cubicBezTo>
                  <a:pt x="2043157" y="599264"/>
                  <a:pt x="2147922" y="704029"/>
                  <a:pt x="2277157" y="704029"/>
                </a:cubicBezTo>
                <a:cubicBezTo>
                  <a:pt x="2406392" y="704029"/>
                  <a:pt x="2511157" y="599264"/>
                  <a:pt x="2511157" y="470029"/>
                </a:cubicBezTo>
                <a:lnTo>
                  <a:pt x="2511157" y="305988"/>
                </a:lnTo>
                <a:lnTo>
                  <a:pt x="2663557" y="305988"/>
                </a:lnTo>
                <a:lnTo>
                  <a:pt x="2663557" y="470028"/>
                </a:lnTo>
                <a:cubicBezTo>
                  <a:pt x="2663557" y="599263"/>
                  <a:pt x="2768322" y="704028"/>
                  <a:pt x="2897557" y="704028"/>
                </a:cubicBezTo>
                <a:cubicBezTo>
                  <a:pt x="3026792" y="704028"/>
                  <a:pt x="3131557" y="599263"/>
                  <a:pt x="3131557" y="470028"/>
                </a:cubicBezTo>
                <a:lnTo>
                  <a:pt x="3131557" y="305988"/>
                </a:lnTo>
                <a:lnTo>
                  <a:pt x="3240000" y="305988"/>
                </a:lnTo>
                <a:lnTo>
                  <a:pt x="3240000" y="3230531"/>
                </a:lnTo>
                <a:lnTo>
                  <a:pt x="0" y="3230531"/>
                </a:lnTo>
                <a:close/>
                <a:moveTo>
                  <a:pt x="415957" y="4"/>
                </a:moveTo>
                <a:cubicBezTo>
                  <a:pt x="485545" y="4"/>
                  <a:pt x="541957" y="56416"/>
                  <a:pt x="541957" y="126004"/>
                </a:cubicBezTo>
                <a:lnTo>
                  <a:pt x="541957" y="485972"/>
                </a:lnTo>
                <a:cubicBezTo>
                  <a:pt x="541957" y="555560"/>
                  <a:pt x="485545" y="611972"/>
                  <a:pt x="415957" y="611972"/>
                </a:cubicBezTo>
                <a:cubicBezTo>
                  <a:pt x="346369" y="611972"/>
                  <a:pt x="289957" y="555560"/>
                  <a:pt x="289957" y="485972"/>
                </a:cubicBezTo>
                <a:lnTo>
                  <a:pt x="289957" y="126004"/>
                </a:lnTo>
                <a:cubicBezTo>
                  <a:pt x="289957" y="56416"/>
                  <a:pt x="346369" y="4"/>
                  <a:pt x="415957" y="4"/>
                </a:cubicBezTo>
                <a:close/>
                <a:moveTo>
                  <a:pt x="1036357" y="3"/>
                </a:moveTo>
                <a:cubicBezTo>
                  <a:pt x="1105945" y="3"/>
                  <a:pt x="1162357" y="56415"/>
                  <a:pt x="1162357" y="126003"/>
                </a:cubicBezTo>
                <a:lnTo>
                  <a:pt x="1162357" y="485971"/>
                </a:lnTo>
                <a:cubicBezTo>
                  <a:pt x="1162357" y="555559"/>
                  <a:pt x="1105945" y="611971"/>
                  <a:pt x="1036357" y="611971"/>
                </a:cubicBezTo>
                <a:cubicBezTo>
                  <a:pt x="966769" y="611971"/>
                  <a:pt x="910357" y="555559"/>
                  <a:pt x="910357" y="485971"/>
                </a:cubicBezTo>
                <a:lnTo>
                  <a:pt x="910357" y="126003"/>
                </a:lnTo>
                <a:cubicBezTo>
                  <a:pt x="910357" y="56415"/>
                  <a:pt x="966769" y="3"/>
                  <a:pt x="1036357" y="3"/>
                </a:cubicBezTo>
                <a:close/>
                <a:moveTo>
                  <a:pt x="1656757" y="2"/>
                </a:moveTo>
                <a:cubicBezTo>
                  <a:pt x="1726345" y="2"/>
                  <a:pt x="1782757" y="56414"/>
                  <a:pt x="1782757" y="126002"/>
                </a:cubicBezTo>
                <a:lnTo>
                  <a:pt x="1782757" y="485970"/>
                </a:lnTo>
                <a:cubicBezTo>
                  <a:pt x="1782757" y="555558"/>
                  <a:pt x="1726345" y="611970"/>
                  <a:pt x="1656757" y="611970"/>
                </a:cubicBezTo>
                <a:cubicBezTo>
                  <a:pt x="1587169" y="611970"/>
                  <a:pt x="1530757" y="555558"/>
                  <a:pt x="1530757" y="485970"/>
                </a:cubicBezTo>
                <a:lnTo>
                  <a:pt x="1530757" y="126002"/>
                </a:lnTo>
                <a:cubicBezTo>
                  <a:pt x="1530757" y="56414"/>
                  <a:pt x="1587169" y="2"/>
                  <a:pt x="1656757" y="2"/>
                </a:cubicBezTo>
                <a:close/>
                <a:moveTo>
                  <a:pt x="2277157" y="1"/>
                </a:moveTo>
                <a:cubicBezTo>
                  <a:pt x="2346745" y="1"/>
                  <a:pt x="2403157" y="56413"/>
                  <a:pt x="2403157" y="126001"/>
                </a:cubicBezTo>
                <a:lnTo>
                  <a:pt x="2403157" y="485969"/>
                </a:lnTo>
                <a:cubicBezTo>
                  <a:pt x="2403157" y="555557"/>
                  <a:pt x="2346745" y="611969"/>
                  <a:pt x="2277157" y="611969"/>
                </a:cubicBezTo>
                <a:cubicBezTo>
                  <a:pt x="2207569" y="611969"/>
                  <a:pt x="2151157" y="555557"/>
                  <a:pt x="2151157" y="485969"/>
                </a:cubicBezTo>
                <a:lnTo>
                  <a:pt x="2151157" y="126001"/>
                </a:lnTo>
                <a:cubicBezTo>
                  <a:pt x="2151157" y="56413"/>
                  <a:pt x="2207569" y="1"/>
                  <a:pt x="2277157" y="1"/>
                </a:cubicBezTo>
                <a:close/>
                <a:moveTo>
                  <a:pt x="2897557" y="0"/>
                </a:moveTo>
                <a:cubicBezTo>
                  <a:pt x="2967145" y="0"/>
                  <a:pt x="3023557" y="56412"/>
                  <a:pt x="3023557" y="126000"/>
                </a:cubicBezTo>
                <a:lnTo>
                  <a:pt x="3023557" y="485968"/>
                </a:lnTo>
                <a:cubicBezTo>
                  <a:pt x="3023557" y="555556"/>
                  <a:pt x="2967145" y="611968"/>
                  <a:pt x="2897557" y="611968"/>
                </a:cubicBezTo>
                <a:cubicBezTo>
                  <a:pt x="2827969" y="611968"/>
                  <a:pt x="2771557" y="555556"/>
                  <a:pt x="2771557" y="485968"/>
                </a:cubicBezTo>
                <a:lnTo>
                  <a:pt x="2771557" y="126000"/>
                </a:lnTo>
                <a:cubicBezTo>
                  <a:pt x="2771557" y="56412"/>
                  <a:pt x="2827969" y="0"/>
                  <a:pt x="289755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4" name="Oval 44">
            <a:extLst>
              <a:ext uri="{FF2B5EF4-FFF2-40B4-BE49-F238E27FC236}">
                <a16:creationId xmlns:a16="http://schemas.microsoft.com/office/drawing/2014/main" id="{81079508-07EA-4AD1-891D-F441AD28887D}"/>
              </a:ext>
            </a:extLst>
          </p:cNvPr>
          <p:cNvSpPr>
            <a:spLocks noChangeAspect="1"/>
          </p:cNvSpPr>
          <p:nvPr/>
        </p:nvSpPr>
        <p:spPr>
          <a:xfrm>
            <a:off x="3745884" y="3965807"/>
            <a:ext cx="370791" cy="441495"/>
          </a:xfrm>
          <a:custGeom>
            <a:avLst/>
            <a:gdLst/>
            <a:ahLst/>
            <a:cxnLst/>
            <a:rect l="l" t="t" r="r" b="b"/>
            <a:pathLst>
              <a:path w="2721114" h="3240000">
                <a:moveTo>
                  <a:pt x="2519839" y="2469622"/>
                </a:moveTo>
                <a:lnTo>
                  <a:pt x="2201779" y="2787682"/>
                </a:lnTo>
                <a:lnTo>
                  <a:pt x="2003023" y="2588926"/>
                </a:lnTo>
                <a:lnTo>
                  <a:pt x="1901669" y="2690281"/>
                </a:lnTo>
                <a:lnTo>
                  <a:pt x="2203868" y="2992480"/>
                </a:lnTo>
                <a:lnTo>
                  <a:pt x="2305222" y="2891125"/>
                </a:lnTo>
                <a:lnTo>
                  <a:pt x="2303133" y="2889037"/>
                </a:lnTo>
                <a:lnTo>
                  <a:pt x="2621194" y="2570977"/>
                </a:lnTo>
                <a:close/>
                <a:moveTo>
                  <a:pt x="2263914" y="2238970"/>
                </a:moveTo>
                <a:cubicBezTo>
                  <a:pt x="2516419" y="2238970"/>
                  <a:pt x="2721114" y="2443665"/>
                  <a:pt x="2721114" y="2696170"/>
                </a:cubicBezTo>
                <a:cubicBezTo>
                  <a:pt x="2721114" y="2948675"/>
                  <a:pt x="2516419" y="3153370"/>
                  <a:pt x="2263914" y="3153370"/>
                </a:cubicBezTo>
                <a:cubicBezTo>
                  <a:pt x="2011409" y="3153370"/>
                  <a:pt x="1806714" y="2948675"/>
                  <a:pt x="1806714" y="2696170"/>
                </a:cubicBezTo>
                <a:cubicBezTo>
                  <a:pt x="1806714" y="2443665"/>
                  <a:pt x="2011409" y="2238970"/>
                  <a:pt x="2263914" y="2238970"/>
                </a:cubicBezTo>
                <a:close/>
                <a:moveTo>
                  <a:pt x="1576134" y="17032"/>
                </a:moveTo>
                <a:lnTo>
                  <a:pt x="2276728" y="17032"/>
                </a:lnTo>
                <a:lnTo>
                  <a:pt x="2276728" y="17033"/>
                </a:lnTo>
                <a:lnTo>
                  <a:pt x="1576135" y="17033"/>
                </a:lnTo>
                <a:close/>
                <a:moveTo>
                  <a:pt x="0" y="17032"/>
                </a:moveTo>
                <a:lnTo>
                  <a:pt x="1321887" y="17032"/>
                </a:lnTo>
                <a:lnTo>
                  <a:pt x="1321887" y="996125"/>
                </a:lnTo>
                <a:lnTo>
                  <a:pt x="2276728" y="996125"/>
                </a:lnTo>
                <a:lnTo>
                  <a:pt x="2276728" y="2160187"/>
                </a:lnTo>
                <a:cubicBezTo>
                  <a:pt x="1979345" y="2161001"/>
                  <a:pt x="1738579" y="2402384"/>
                  <a:pt x="1738579" y="2700000"/>
                </a:cubicBezTo>
                <a:cubicBezTo>
                  <a:pt x="1738579" y="2997617"/>
                  <a:pt x="1979345" y="3238999"/>
                  <a:pt x="2276728" y="3239814"/>
                </a:cubicBezTo>
                <a:lnTo>
                  <a:pt x="2276728" y="3240000"/>
                </a:lnTo>
                <a:lnTo>
                  <a:pt x="0" y="3240000"/>
                </a:lnTo>
                <a:close/>
                <a:moveTo>
                  <a:pt x="1436085" y="0"/>
                </a:moveTo>
                <a:lnTo>
                  <a:pt x="2287664" y="888809"/>
                </a:lnTo>
                <a:lnTo>
                  <a:pt x="1436085" y="8888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5" name="Oval 44">
            <a:extLst>
              <a:ext uri="{FF2B5EF4-FFF2-40B4-BE49-F238E27FC236}">
                <a16:creationId xmlns:a16="http://schemas.microsoft.com/office/drawing/2014/main" id="{70D0AF33-423D-4B61-AC30-260AD6E003AE}"/>
              </a:ext>
            </a:extLst>
          </p:cNvPr>
          <p:cNvSpPr>
            <a:spLocks noChangeAspect="1"/>
          </p:cNvSpPr>
          <p:nvPr/>
        </p:nvSpPr>
        <p:spPr>
          <a:xfrm>
            <a:off x="5297742" y="3505119"/>
            <a:ext cx="370791" cy="441495"/>
          </a:xfrm>
          <a:custGeom>
            <a:avLst/>
            <a:gdLst/>
            <a:ahLst/>
            <a:cxnLst/>
            <a:rect l="l" t="t" r="r" b="b"/>
            <a:pathLst>
              <a:path w="2721114" h="3240000">
                <a:moveTo>
                  <a:pt x="2519839" y="2469622"/>
                </a:moveTo>
                <a:lnTo>
                  <a:pt x="2201779" y="2787682"/>
                </a:lnTo>
                <a:lnTo>
                  <a:pt x="2003023" y="2588926"/>
                </a:lnTo>
                <a:lnTo>
                  <a:pt x="1901669" y="2690281"/>
                </a:lnTo>
                <a:lnTo>
                  <a:pt x="2203868" y="2992480"/>
                </a:lnTo>
                <a:lnTo>
                  <a:pt x="2305222" y="2891125"/>
                </a:lnTo>
                <a:lnTo>
                  <a:pt x="2303133" y="2889037"/>
                </a:lnTo>
                <a:lnTo>
                  <a:pt x="2621194" y="2570977"/>
                </a:lnTo>
                <a:close/>
                <a:moveTo>
                  <a:pt x="2263914" y="2238970"/>
                </a:moveTo>
                <a:cubicBezTo>
                  <a:pt x="2516419" y="2238970"/>
                  <a:pt x="2721114" y="2443665"/>
                  <a:pt x="2721114" y="2696170"/>
                </a:cubicBezTo>
                <a:cubicBezTo>
                  <a:pt x="2721114" y="2948675"/>
                  <a:pt x="2516419" y="3153370"/>
                  <a:pt x="2263914" y="3153370"/>
                </a:cubicBezTo>
                <a:cubicBezTo>
                  <a:pt x="2011409" y="3153370"/>
                  <a:pt x="1806714" y="2948675"/>
                  <a:pt x="1806714" y="2696170"/>
                </a:cubicBezTo>
                <a:cubicBezTo>
                  <a:pt x="1806714" y="2443665"/>
                  <a:pt x="2011409" y="2238970"/>
                  <a:pt x="2263914" y="2238970"/>
                </a:cubicBezTo>
                <a:close/>
                <a:moveTo>
                  <a:pt x="1576134" y="17032"/>
                </a:moveTo>
                <a:lnTo>
                  <a:pt x="2276728" y="17032"/>
                </a:lnTo>
                <a:lnTo>
                  <a:pt x="2276728" y="17033"/>
                </a:lnTo>
                <a:lnTo>
                  <a:pt x="1576135" y="17033"/>
                </a:lnTo>
                <a:close/>
                <a:moveTo>
                  <a:pt x="0" y="17032"/>
                </a:moveTo>
                <a:lnTo>
                  <a:pt x="1321887" y="17032"/>
                </a:lnTo>
                <a:lnTo>
                  <a:pt x="1321887" y="996125"/>
                </a:lnTo>
                <a:lnTo>
                  <a:pt x="2276728" y="996125"/>
                </a:lnTo>
                <a:lnTo>
                  <a:pt x="2276728" y="2160187"/>
                </a:lnTo>
                <a:cubicBezTo>
                  <a:pt x="1979345" y="2161001"/>
                  <a:pt x="1738579" y="2402384"/>
                  <a:pt x="1738579" y="2700000"/>
                </a:cubicBezTo>
                <a:cubicBezTo>
                  <a:pt x="1738579" y="2997617"/>
                  <a:pt x="1979345" y="3238999"/>
                  <a:pt x="2276728" y="3239814"/>
                </a:cubicBezTo>
                <a:lnTo>
                  <a:pt x="2276728" y="3240000"/>
                </a:lnTo>
                <a:lnTo>
                  <a:pt x="0" y="3240000"/>
                </a:lnTo>
                <a:close/>
                <a:moveTo>
                  <a:pt x="1436085" y="0"/>
                </a:moveTo>
                <a:lnTo>
                  <a:pt x="2287664" y="888809"/>
                </a:lnTo>
                <a:lnTo>
                  <a:pt x="1436085" y="8888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6" name="Oval 44">
            <a:extLst>
              <a:ext uri="{FF2B5EF4-FFF2-40B4-BE49-F238E27FC236}">
                <a16:creationId xmlns:a16="http://schemas.microsoft.com/office/drawing/2014/main" id="{FEDCCFDA-0CA5-4F73-BDC3-2585984D3C2D}"/>
              </a:ext>
            </a:extLst>
          </p:cNvPr>
          <p:cNvSpPr>
            <a:spLocks noChangeAspect="1"/>
          </p:cNvSpPr>
          <p:nvPr/>
        </p:nvSpPr>
        <p:spPr>
          <a:xfrm>
            <a:off x="6822513" y="3965807"/>
            <a:ext cx="370791" cy="441495"/>
          </a:xfrm>
          <a:custGeom>
            <a:avLst/>
            <a:gdLst/>
            <a:ahLst/>
            <a:cxnLst/>
            <a:rect l="l" t="t" r="r" b="b"/>
            <a:pathLst>
              <a:path w="2721114" h="3240000">
                <a:moveTo>
                  <a:pt x="2519839" y="2469622"/>
                </a:moveTo>
                <a:lnTo>
                  <a:pt x="2201779" y="2787682"/>
                </a:lnTo>
                <a:lnTo>
                  <a:pt x="2003023" y="2588926"/>
                </a:lnTo>
                <a:lnTo>
                  <a:pt x="1901669" y="2690281"/>
                </a:lnTo>
                <a:lnTo>
                  <a:pt x="2203868" y="2992480"/>
                </a:lnTo>
                <a:lnTo>
                  <a:pt x="2305222" y="2891125"/>
                </a:lnTo>
                <a:lnTo>
                  <a:pt x="2303133" y="2889037"/>
                </a:lnTo>
                <a:lnTo>
                  <a:pt x="2621194" y="2570977"/>
                </a:lnTo>
                <a:close/>
                <a:moveTo>
                  <a:pt x="2263914" y="2238970"/>
                </a:moveTo>
                <a:cubicBezTo>
                  <a:pt x="2516419" y="2238970"/>
                  <a:pt x="2721114" y="2443665"/>
                  <a:pt x="2721114" y="2696170"/>
                </a:cubicBezTo>
                <a:cubicBezTo>
                  <a:pt x="2721114" y="2948675"/>
                  <a:pt x="2516419" y="3153370"/>
                  <a:pt x="2263914" y="3153370"/>
                </a:cubicBezTo>
                <a:cubicBezTo>
                  <a:pt x="2011409" y="3153370"/>
                  <a:pt x="1806714" y="2948675"/>
                  <a:pt x="1806714" y="2696170"/>
                </a:cubicBezTo>
                <a:cubicBezTo>
                  <a:pt x="1806714" y="2443665"/>
                  <a:pt x="2011409" y="2238970"/>
                  <a:pt x="2263914" y="2238970"/>
                </a:cubicBezTo>
                <a:close/>
                <a:moveTo>
                  <a:pt x="1576134" y="17032"/>
                </a:moveTo>
                <a:lnTo>
                  <a:pt x="2276728" y="17032"/>
                </a:lnTo>
                <a:lnTo>
                  <a:pt x="2276728" y="17033"/>
                </a:lnTo>
                <a:lnTo>
                  <a:pt x="1576135" y="17033"/>
                </a:lnTo>
                <a:close/>
                <a:moveTo>
                  <a:pt x="0" y="17032"/>
                </a:moveTo>
                <a:lnTo>
                  <a:pt x="1321887" y="17032"/>
                </a:lnTo>
                <a:lnTo>
                  <a:pt x="1321887" y="996125"/>
                </a:lnTo>
                <a:lnTo>
                  <a:pt x="2276728" y="996125"/>
                </a:lnTo>
                <a:lnTo>
                  <a:pt x="2276728" y="2160187"/>
                </a:lnTo>
                <a:cubicBezTo>
                  <a:pt x="1979345" y="2161001"/>
                  <a:pt x="1738579" y="2402384"/>
                  <a:pt x="1738579" y="2700000"/>
                </a:cubicBezTo>
                <a:cubicBezTo>
                  <a:pt x="1738579" y="2997617"/>
                  <a:pt x="1979345" y="3238999"/>
                  <a:pt x="2276728" y="3239814"/>
                </a:cubicBezTo>
                <a:lnTo>
                  <a:pt x="2276728" y="3240000"/>
                </a:lnTo>
                <a:lnTo>
                  <a:pt x="0" y="3240000"/>
                </a:lnTo>
                <a:close/>
                <a:moveTo>
                  <a:pt x="1436085" y="0"/>
                </a:moveTo>
                <a:lnTo>
                  <a:pt x="2287664" y="888809"/>
                </a:lnTo>
                <a:lnTo>
                  <a:pt x="1436085" y="8888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7" name="Diamond 5">
            <a:extLst>
              <a:ext uri="{FF2B5EF4-FFF2-40B4-BE49-F238E27FC236}">
                <a16:creationId xmlns:a16="http://schemas.microsoft.com/office/drawing/2014/main" id="{36BC497A-2D61-4B1F-8954-B633BC5045FB}"/>
              </a:ext>
            </a:extLst>
          </p:cNvPr>
          <p:cNvSpPr/>
          <p:nvPr/>
        </p:nvSpPr>
        <p:spPr>
          <a:xfrm>
            <a:off x="8295439" y="3488442"/>
            <a:ext cx="399489" cy="406687"/>
          </a:xfrm>
          <a:custGeom>
            <a:avLst/>
            <a:gdLst/>
            <a:ahLst/>
            <a:cxnLst/>
            <a:rect l="l" t="t" r="r" b="b"/>
            <a:pathLst>
              <a:path w="3240001" h="3249575">
                <a:moveTo>
                  <a:pt x="1275349" y="2002569"/>
                </a:moveTo>
                <a:lnTo>
                  <a:pt x="1625117" y="2233002"/>
                </a:lnTo>
                <a:lnTo>
                  <a:pt x="1968772" y="2006596"/>
                </a:lnTo>
                <a:lnTo>
                  <a:pt x="3240001" y="3249575"/>
                </a:lnTo>
                <a:lnTo>
                  <a:pt x="0" y="3249575"/>
                </a:lnTo>
                <a:close/>
                <a:moveTo>
                  <a:pt x="1067116" y="1473605"/>
                </a:moveTo>
                <a:lnTo>
                  <a:pt x="1067116" y="1581605"/>
                </a:lnTo>
                <a:lnTo>
                  <a:pt x="2183116" y="1581605"/>
                </a:lnTo>
                <a:lnTo>
                  <a:pt x="2183116" y="1473605"/>
                </a:lnTo>
                <a:close/>
                <a:moveTo>
                  <a:pt x="1067116" y="1267205"/>
                </a:moveTo>
                <a:lnTo>
                  <a:pt x="1067116" y="1375205"/>
                </a:lnTo>
                <a:lnTo>
                  <a:pt x="2183116" y="1375205"/>
                </a:lnTo>
                <a:lnTo>
                  <a:pt x="2183116" y="1267205"/>
                </a:lnTo>
                <a:close/>
                <a:moveTo>
                  <a:pt x="3240001" y="1172196"/>
                </a:moveTo>
                <a:lnTo>
                  <a:pt x="3240001" y="3142550"/>
                </a:lnTo>
                <a:lnTo>
                  <a:pt x="2026252" y="1968728"/>
                </a:lnTo>
                <a:lnTo>
                  <a:pt x="3049854" y="1294362"/>
                </a:lnTo>
                <a:close/>
                <a:moveTo>
                  <a:pt x="0" y="1172196"/>
                </a:moveTo>
                <a:lnTo>
                  <a:pt x="602850" y="1559516"/>
                </a:lnTo>
                <a:lnTo>
                  <a:pt x="1217896" y="1964719"/>
                </a:lnTo>
                <a:lnTo>
                  <a:pt x="0" y="3142550"/>
                </a:lnTo>
                <a:close/>
                <a:moveTo>
                  <a:pt x="1067116" y="1060805"/>
                </a:moveTo>
                <a:lnTo>
                  <a:pt x="1067116" y="1168805"/>
                </a:lnTo>
                <a:lnTo>
                  <a:pt x="2183116" y="1168805"/>
                </a:lnTo>
                <a:lnTo>
                  <a:pt x="2183116" y="1060805"/>
                </a:lnTo>
                <a:close/>
                <a:moveTo>
                  <a:pt x="869032" y="816137"/>
                </a:moveTo>
                <a:lnTo>
                  <a:pt x="2381200" y="816137"/>
                </a:lnTo>
                <a:lnTo>
                  <a:pt x="2381200" y="1623491"/>
                </a:lnTo>
                <a:lnTo>
                  <a:pt x="1668045" y="2093329"/>
                </a:lnTo>
                <a:lnTo>
                  <a:pt x="1625116" y="2121611"/>
                </a:lnTo>
                <a:lnTo>
                  <a:pt x="869032" y="1623491"/>
                </a:lnTo>
                <a:close/>
                <a:moveTo>
                  <a:pt x="1625116" y="0"/>
                </a:moveTo>
                <a:lnTo>
                  <a:pt x="3235286" y="1060806"/>
                </a:lnTo>
                <a:lnTo>
                  <a:pt x="2489212" y="1552331"/>
                </a:lnTo>
                <a:lnTo>
                  <a:pt x="2489212" y="708008"/>
                </a:lnTo>
                <a:lnTo>
                  <a:pt x="761020" y="708008"/>
                </a:lnTo>
                <a:lnTo>
                  <a:pt x="761020" y="1552331"/>
                </a:lnTo>
                <a:lnTo>
                  <a:pt x="14946" y="10608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18918025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56610" y="3068053"/>
            <a:ext cx="83980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TERIMA KASIH</a:t>
            </a:r>
          </a:p>
        </p:txBody>
      </p:sp>
    </p:spTree>
    <p:extLst>
      <p:ext uri="{BB962C8B-B14F-4D97-AF65-F5344CB8AC3E}">
        <p14:creationId xmlns:p14="http://schemas.microsoft.com/office/powerpoint/2010/main" val="1472365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0E464311-9535-4C55-87DF-999827EB7B41}"/>
              </a:ext>
            </a:extLst>
          </p:cNvPr>
          <p:cNvSpPr txBox="1"/>
          <p:nvPr/>
        </p:nvSpPr>
        <p:spPr>
          <a:xfrm>
            <a:off x="646632" y="444637"/>
            <a:ext cx="5271418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rPr>
              <a:t>AGENDA</a:t>
            </a:r>
            <a:endParaRPr kumimoji="0" lang="ko-KR" altLang="en-US" sz="4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3BFD897-49E7-406C-8B00-C4BEB08EBEB9}"/>
              </a:ext>
            </a:extLst>
          </p:cNvPr>
          <p:cNvGrpSpPr/>
          <p:nvPr/>
        </p:nvGrpSpPr>
        <p:grpSpPr>
          <a:xfrm>
            <a:off x="6700688" y="2155680"/>
            <a:ext cx="5012892" cy="876040"/>
            <a:chOff x="6626470" y="1884559"/>
            <a:chExt cx="5012892" cy="87604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C6CFDE6-6226-4391-B2EA-8FC52EFA9814}"/>
                </a:ext>
              </a:extLst>
            </p:cNvPr>
            <p:cNvSpPr txBox="1"/>
            <p:nvPr/>
          </p:nvSpPr>
          <p:spPr>
            <a:xfrm>
              <a:off x="6839171" y="2483600"/>
              <a:ext cx="47227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Penjelasan mengenai </a:t>
              </a:r>
              <a:r>
                <a:rPr kumimoji="0" lang="en-US" altLang="ko-KR" sz="12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fitu</a:t>
              </a:r>
              <a:r>
                <a:rPr lang="en-US" altLang="ko-KR" sz="1200" dirty="0">
                  <a:latin typeface="Arial"/>
                  <a:cs typeface="Arial" pitchFamily="34" charset="0"/>
                </a:rPr>
                <a:t>r baru di P-Office</a:t>
              </a:r>
              <a:endParaRPr kumimoji="0" lang="en-US" altLang="ko-K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0ADB468-F392-4E2B-93C3-CCDEDEAC15D2}"/>
                </a:ext>
              </a:extLst>
            </p:cNvPr>
            <p:cNvSpPr txBox="1"/>
            <p:nvPr/>
          </p:nvSpPr>
          <p:spPr>
            <a:xfrm>
              <a:off x="7454630" y="1915336"/>
              <a:ext cx="4184732" cy="461665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What’s New in P-Office</a:t>
              </a:r>
              <a:endParaRPr kumimoji="0" lang="ko-KR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6C41E30-169F-497C-9F33-AEE750E80153}"/>
                </a:ext>
              </a:extLst>
            </p:cNvPr>
            <p:cNvSpPr txBox="1"/>
            <p:nvPr/>
          </p:nvSpPr>
          <p:spPr>
            <a:xfrm>
              <a:off x="6626470" y="1884559"/>
              <a:ext cx="981106" cy="584775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02</a:t>
              </a:r>
              <a:endParaRPr kumimoji="0" lang="ko-KR" alt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D393181-FD01-47FD-B501-46A8698C8A9B}"/>
              </a:ext>
            </a:extLst>
          </p:cNvPr>
          <p:cNvGrpSpPr/>
          <p:nvPr/>
        </p:nvGrpSpPr>
        <p:grpSpPr>
          <a:xfrm>
            <a:off x="6700688" y="3622189"/>
            <a:ext cx="5012892" cy="851409"/>
            <a:chOff x="6626470" y="3048182"/>
            <a:chExt cx="5012892" cy="851409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F25FEEC-E30F-4323-838E-13E379B1AC32}"/>
                </a:ext>
              </a:extLst>
            </p:cNvPr>
            <p:cNvSpPr txBox="1"/>
            <p:nvPr/>
          </p:nvSpPr>
          <p:spPr>
            <a:xfrm>
              <a:off x="6839171" y="3622592"/>
              <a:ext cx="47227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cs typeface="Arial" pitchFamily="34" charset="0"/>
                </a:rPr>
                <a:t>Penjelasan mengenai workflow pada fitur baru di P-Offic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1F79348-52F3-4716-B98C-0E7CD6ACDA50}"/>
                </a:ext>
              </a:extLst>
            </p:cNvPr>
            <p:cNvSpPr txBox="1"/>
            <p:nvPr/>
          </p:nvSpPr>
          <p:spPr>
            <a:xfrm>
              <a:off x="7454630" y="3078959"/>
              <a:ext cx="4184732" cy="523220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Workflow</a:t>
              </a:r>
              <a:endParaRPr kumimoji="0" lang="ko-KR" alt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76639B5-2681-417B-8A82-C85EB05E26B7}"/>
                </a:ext>
              </a:extLst>
            </p:cNvPr>
            <p:cNvSpPr txBox="1"/>
            <p:nvPr/>
          </p:nvSpPr>
          <p:spPr>
            <a:xfrm>
              <a:off x="6626470" y="3048182"/>
              <a:ext cx="981106" cy="584775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03</a:t>
              </a:r>
              <a:endParaRPr kumimoji="0" lang="ko-KR" alt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DE7BB89-B8CC-4001-98E6-F61FA67C9C72}"/>
              </a:ext>
            </a:extLst>
          </p:cNvPr>
          <p:cNvGrpSpPr/>
          <p:nvPr/>
        </p:nvGrpSpPr>
        <p:grpSpPr>
          <a:xfrm>
            <a:off x="6700688" y="5064066"/>
            <a:ext cx="5012892" cy="826778"/>
            <a:chOff x="6626470" y="4211805"/>
            <a:chExt cx="5012892" cy="82677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D5D6F90-0B5E-4320-BC97-13EB813345AF}"/>
                </a:ext>
              </a:extLst>
            </p:cNvPr>
            <p:cNvSpPr txBox="1"/>
            <p:nvPr/>
          </p:nvSpPr>
          <p:spPr>
            <a:xfrm>
              <a:off x="6839171" y="4761584"/>
              <a:ext cx="47227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Demo </a:t>
              </a:r>
              <a:r>
                <a:rPr kumimoji="0" lang="en-US" altLang="ko-KR" sz="12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aplikasi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 Update P-Offic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87A9D0A-E6CC-48F9-89B0-5715ED660A35}"/>
                </a:ext>
              </a:extLst>
            </p:cNvPr>
            <p:cNvSpPr txBox="1"/>
            <p:nvPr/>
          </p:nvSpPr>
          <p:spPr>
            <a:xfrm>
              <a:off x="7454630" y="4242582"/>
              <a:ext cx="4184732" cy="523220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Demo Aplikasi</a:t>
              </a:r>
              <a:endParaRPr kumimoji="0" lang="ko-KR" alt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86A8C1-0BC5-4A52-819C-DCA9CB940857}"/>
                </a:ext>
              </a:extLst>
            </p:cNvPr>
            <p:cNvSpPr txBox="1"/>
            <p:nvPr/>
          </p:nvSpPr>
          <p:spPr>
            <a:xfrm>
              <a:off x="6626470" y="4211805"/>
              <a:ext cx="981106" cy="584775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04</a:t>
              </a:r>
              <a:endParaRPr kumimoji="0" lang="ko-KR" alt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4528B53-16CC-4EFF-BCA5-0C2C42507E51}"/>
              </a:ext>
            </a:extLst>
          </p:cNvPr>
          <p:cNvGrpSpPr/>
          <p:nvPr/>
        </p:nvGrpSpPr>
        <p:grpSpPr>
          <a:xfrm>
            <a:off x="6700688" y="720936"/>
            <a:ext cx="5012892" cy="1028941"/>
            <a:chOff x="6626470" y="720936"/>
            <a:chExt cx="5012892" cy="102894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3694314-AA8E-4AA7-82D4-5127BF64DD4E}"/>
                </a:ext>
              </a:extLst>
            </p:cNvPr>
            <p:cNvSpPr txBox="1"/>
            <p:nvPr/>
          </p:nvSpPr>
          <p:spPr>
            <a:xfrm>
              <a:off x="6839171" y="1288212"/>
              <a:ext cx="472271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altLang="ko-KR" sz="1200" dirty="0">
                  <a:cs typeface="Arial" pitchFamily="34" charset="0"/>
                </a:rPr>
                <a:t>Penjelasan mengenai </a:t>
              </a:r>
              <a:r>
                <a:rPr lang="en-US" altLang="ko-KR" sz="1200" i="1" dirty="0">
                  <a:cs typeface="Arial" pitchFamily="34" charset="0"/>
                </a:rPr>
                <a:t>high level </a:t>
              </a:r>
              <a:r>
                <a:rPr lang="en-US" altLang="ko-KR" sz="1200" dirty="0">
                  <a:cs typeface="Arial" pitchFamily="34" charset="0"/>
                </a:rPr>
                <a:t>fitur-fitur yang terdapat </a:t>
              </a:r>
              <a:r>
                <a:rPr lang="en-US" altLang="ko-KR" sz="1200" dirty="0" err="1">
                  <a:cs typeface="Arial" pitchFamily="34" charset="0"/>
                </a:rPr>
                <a:t>pada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</a:p>
            <a:p>
              <a:r>
                <a:rPr lang="en-US" altLang="ko-KR" sz="1200" dirty="0">
                  <a:cs typeface="Arial" pitchFamily="34" charset="0"/>
                </a:rPr>
                <a:t>P-Office 1.0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038E15-DDA4-472F-A6B2-8E57EE022C60}"/>
                </a:ext>
              </a:extLst>
            </p:cNvPr>
            <p:cNvSpPr txBox="1"/>
            <p:nvPr/>
          </p:nvSpPr>
          <p:spPr>
            <a:xfrm>
              <a:off x="7454630" y="782490"/>
              <a:ext cx="4184732" cy="461665"/>
            </a:xfrm>
            <a:prstGeom prst="rect">
              <a:avLst/>
            </a:prstGeom>
            <a:noFill/>
          </p:spPr>
          <p:txBody>
            <a:bodyPr wrap="square" lIns="108000" rIns="1080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Overview P-Office 1.0</a:t>
              </a:r>
              <a:endParaRPr kumimoji="0" lang="ko-KR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F0D13A2-6C0C-474D-AC51-9C0C454DA484}"/>
                </a:ext>
              </a:extLst>
            </p:cNvPr>
            <p:cNvSpPr txBox="1"/>
            <p:nvPr/>
          </p:nvSpPr>
          <p:spPr>
            <a:xfrm>
              <a:off x="6626470" y="720936"/>
              <a:ext cx="981106" cy="584775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cs typeface="Arial" pitchFamily="34" charset="0"/>
                </a:rPr>
                <a:t>01</a:t>
              </a:r>
              <a:endParaRPr kumimoji="0" lang="ko-KR" alt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9816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3DB569C6-FE0C-4FA7-88C6-517E511B8B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266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FE7DCEF-B48D-402F-A731-74C92E0637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-Office Go Live Journey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CA77AF98-47C8-43C0-A7AC-AFB0DCE354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6753533"/>
              </p:ext>
            </p:extLst>
          </p:nvPr>
        </p:nvGraphicFramePr>
        <p:xfrm>
          <a:off x="414543" y="1272210"/>
          <a:ext cx="7469117" cy="47336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D979E999-4B91-4590-ABE0-47965AAED14F}"/>
              </a:ext>
            </a:extLst>
          </p:cNvPr>
          <p:cNvPicPr>
            <a:picLocks noGrp="1" noChangeAspect="1"/>
          </p:cNvPicPr>
          <p:nvPr>
            <p:ph type="pic" idx="14"/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08" r="18108"/>
          <a:stretch>
            <a:fillRect/>
          </a:stretch>
        </p:blipFill>
        <p:spPr/>
      </p:pic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9F467EB-FC67-4223-9B46-67CA49FBE7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4050339"/>
              </p:ext>
            </p:extLst>
          </p:nvPr>
        </p:nvGraphicFramePr>
        <p:xfrm>
          <a:off x="7332397" y="917982"/>
          <a:ext cx="4859603" cy="32947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5432706E-40FD-4CA2-806B-DFCC25BE7F6A}"/>
              </a:ext>
            </a:extLst>
          </p:cNvPr>
          <p:cNvSpPr txBox="1"/>
          <p:nvPr/>
        </p:nvSpPr>
        <p:spPr>
          <a:xfrm>
            <a:off x="2470839" y="1186308"/>
            <a:ext cx="7566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Roll Out P-Office </a:t>
            </a:r>
            <a:r>
              <a:rPr lang="en-US" dirty="0" err="1">
                <a:solidFill>
                  <a:srgbClr val="002060"/>
                </a:solidFill>
              </a:rPr>
              <a:t>berdasarkan</a:t>
            </a:r>
            <a:r>
              <a:rPr lang="en-US" dirty="0">
                <a:solidFill>
                  <a:srgbClr val="002060"/>
                </a:solidFill>
              </a:rPr>
              <a:t> </a:t>
            </a:r>
            <a:r>
              <a:rPr lang="en-US" dirty="0" err="1">
                <a:solidFill>
                  <a:srgbClr val="002060"/>
                </a:solidFill>
              </a:rPr>
              <a:t>antrian</a:t>
            </a:r>
            <a:r>
              <a:rPr lang="en-US" dirty="0">
                <a:solidFill>
                  <a:srgbClr val="002060"/>
                </a:solidFill>
              </a:rPr>
              <a:t> progress </a:t>
            </a:r>
            <a:r>
              <a:rPr lang="en-US" i="1" dirty="0">
                <a:solidFill>
                  <a:srgbClr val="002060"/>
                </a:solidFill>
              </a:rPr>
              <a:t>readiness Checklist </a:t>
            </a:r>
            <a:r>
              <a:rPr lang="en-US" dirty="0">
                <a:solidFill>
                  <a:srgbClr val="002060"/>
                </a:solidFill>
              </a:rPr>
              <a:t>masing2 tena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7F74DF-5654-435B-A343-AB817A7DA917}"/>
              </a:ext>
            </a:extLst>
          </p:cNvPr>
          <p:cNvSpPr txBox="1"/>
          <p:nvPr/>
        </p:nvSpPr>
        <p:spPr>
          <a:xfrm>
            <a:off x="-1584340" y="5517803"/>
            <a:ext cx="7566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* Roll Out pending </a:t>
            </a:r>
            <a:r>
              <a:rPr lang="en-US" sz="1400" dirty="0" err="1">
                <a:solidFill>
                  <a:srgbClr val="002060"/>
                </a:solidFill>
              </a:rPr>
              <a:t>sd</a:t>
            </a:r>
            <a:r>
              <a:rPr lang="en-US" sz="1400" dirty="0">
                <a:solidFill>
                  <a:srgbClr val="002060"/>
                </a:solidFill>
              </a:rPr>
              <a:t> </a:t>
            </a:r>
            <a:r>
              <a:rPr lang="en-US" sz="1400" dirty="0" err="1">
                <a:solidFill>
                  <a:srgbClr val="002060"/>
                </a:solidFill>
              </a:rPr>
              <a:t>versi</a:t>
            </a:r>
            <a:r>
              <a:rPr lang="en-US" sz="1400" dirty="0">
                <a:solidFill>
                  <a:srgbClr val="002060"/>
                </a:solidFill>
              </a:rPr>
              <a:t> </a:t>
            </a:r>
            <a:r>
              <a:rPr lang="en-US" sz="1400" dirty="0" err="1">
                <a:solidFill>
                  <a:srgbClr val="002060"/>
                </a:solidFill>
              </a:rPr>
              <a:t>terbaru</a:t>
            </a:r>
            <a:r>
              <a:rPr lang="en-US" sz="1400" dirty="0">
                <a:solidFill>
                  <a:srgbClr val="002060"/>
                </a:solidFill>
              </a:rPr>
              <a:t> HSH release</a:t>
            </a:r>
          </a:p>
        </p:txBody>
      </p:sp>
    </p:spTree>
    <p:extLst>
      <p:ext uri="{BB962C8B-B14F-4D97-AF65-F5344CB8AC3E}">
        <p14:creationId xmlns:p14="http://schemas.microsoft.com/office/powerpoint/2010/main" val="27111452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4E5C8153-ED30-4334-9F4E-92589271E7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087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" name="think-cell Slide" r:id="rId70" imgW="470" imgH="469" progId="TCLayout.ActiveDocument.1">
                  <p:embed/>
                </p:oleObj>
              </mc:Choice>
              <mc:Fallback>
                <p:oleObj name="think-cell Slide" r:id="rId70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3FB290C-6CFD-4330-9871-195485274B07}"/>
              </a:ext>
            </a:extLst>
          </p:cNvPr>
          <p:cNvSpPr txBox="1">
            <a:spLocks/>
          </p:cNvSpPr>
          <p:nvPr/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bg1"/>
                </a:solidFill>
              </a:rPr>
              <a:t>Document Growth – Since Sept’20</a:t>
            </a:r>
          </a:p>
        </p:txBody>
      </p:sp>
      <p:graphicFrame>
        <p:nvGraphicFramePr>
          <p:cNvPr id="170" name="Chart 169">
            <a:extLst>
              <a:ext uri="{FF2B5EF4-FFF2-40B4-BE49-F238E27FC236}">
                <a16:creationId xmlns:a16="http://schemas.microsoft.com/office/drawing/2014/main" id="{04904D30-E6FD-4835-8EC3-508D54D26F5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71625269"/>
              </p:ext>
            </p:extLst>
          </p:nvPr>
        </p:nvGraphicFramePr>
        <p:xfrm>
          <a:off x="3811588" y="981075"/>
          <a:ext cx="8020050" cy="4897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4054A62-F411-4666-B0A9-64D0D3EBF71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 flipV="1">
            <a:off x="5345113" y="1870075"/>
            <a:ext cx="98425" cy="66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75F1081-884F-4902-8EA6-FDB82E632EC5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>
            <a:off x="5345113" y="1649413"/>
            <a:ext cx="98425" cy="157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BFDF5B6-4D72-4E8D-8108-C3F59D966D70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H="1" flipV="1">
            <a:off x="5345113" y="1874838"/>
            <a:ext cx="98425" cy="158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BA265A8A-00F3-4759-A623-CC72680CFF83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7308850" y="2773363"/>
            <a:ext cx="98425" cy="952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0E4F14E-2E13-4F62-9EC8-836B5F7CA820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H="1">
            <a:off x="5345113" y="1744663"/>
            <a:ext cx="98425" cy="1143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F0A460C0-C08C-4F52-B6FD-D3E7AF19B66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H="1" flipV="1">
            <a:off x="7308850" y="2870200"/>
            <a:ext cx="98425" cy="952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7A2FCEB4-BF29-4062-A2E3-B2F266F3995B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H="1">
            <a:off x="9272588" y="2392363"/>
            <a:ext cx="98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A9B6B7E4-4322-458E-B9DD-84B5C49BF90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H="1">
            <a:off x="11236325" y="2589213"/>
            <a:ext cx="98425" cy="80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02058B80-52A8-463D-A7BC-9FB1EF62A3BB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 flipV="1">
            <a:off x="11236325" y="2700338"/>
            <a:ext cx="98425" cy="80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013904CD-E95E-40DC-A7AB-4F6C439600BE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4530725" y="1316038"/>
            <a:ext cx="6905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5CC8135-9C15-47BD-900D-FF16BD61E58D}" type="datetime'''''''''''''''''''''''''2''''''''''''''26''''''''''.7''06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26.706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52C193E8-2553-477F-9256-54D2A351C4EB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9371013" y="2297113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3533193-C2F9-4FC9-968C-660DA03CF0A8}" type="datetime'''''''''''''''''''''''0'''''''''''''''''''''''''''''''''">
              <a:rPr lang="en-US" altLang="en-US" sz="14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005812-42E7-47BD-A14F-3E7F3932A635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4530725" y="4259263"/>
            <a:ext cx="6905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EAC8BC-A9C7-4E19-BB40-0EE6076F5A5B}" type="datetime'''''''9''37''''''''''''''.41''''''2'''''''''''''''''''''''''''">
              <a:rPr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37.41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01B8111-463A-4F71-B68B-9155B7070AC2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5443538" y="2033588"/>
            <a:ext cx="2476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0D03ED4-F5F2-4C59-9BD9-D0FC2413126E}" type="datetime'2''''''3'''''''''''''''''''''''''''''''''''''''''''''''">
              <a:rPr lang="en-US" altLang="en-US" sz="14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0FFCB7C9-D2ED-4ED8-842B-65CFC92AC7B6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10471150" y="5821363"/>
            <a:ext cx="5921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E608BC0-3BDA-4424-8167-6D8100E5F469}" type="datetime'''''''2''''''''''''5''''''''''''''''''''.''5''27'''''''''">
              <a:rPr lang="en-US" altLang="en-US" sz="1400" smtClean="0">
                <a:solidFill>
                  <a:schemeClr val="tx1"/>
                </a:solidFill>
              </a:rPr>
              <a:pPr/>
              <a:t>25.52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A9659BE-7A7A-41F7-BE6E-60B6D1DE582A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443538" y="1649413"/>
            <a:ext cx="493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E7E9B00-9C39-4288-A7E1-661BAF4B02D9}" type="datetime'''''''4''''.''0''''''''''''''''''''''''''''''26'''''''''''''''">
              <a:rPr lang="en-US" altLang="en-US" sz="14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.02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AC23FD1-D0B7-4CF0-8E0C-1DBF76C50FE0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8629650" y="1354138"/>
            <a:ext cx="3460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611E20A-D91C-4022-BF4D-B1F9A46A62E3}" type="datetime'''''''''''''''3''''''''''''''''''''''5''''''''''2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2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79D5FE1-D907-4FC4-80CE-2F8EC6A5F3AD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4579938" y="1852613"/>
            <a:ext cx="5921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E356142-8394-4626-9E6F-C3CFFE4F9D88}" type="datetime'4''''''7.''''9''''''''''''''''''4''0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7.940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78B5BA8-8014-4CA8-986B-A01DA12970A4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10520363" y="2263775"/>
            <a:ext cx="493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925EE1-52A7-4CDC-BDCD-E8F73FB3F8BD}" type="datetime'''''''3''''''''''.''''''''''''''33''''''''''''''''''''''5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.335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8C432CF-5921-4B21-B54F-A1104A9D9927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530725" y="2371725"/>
            <a:ext cx="6905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8F653E6-06EE-4608-9573-6FC26095F5D6}" type="datetime'''''''''''''''''''2''''''9''0.''''''7''''''''''''''8''9'">
              <a:rPr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90.789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36DB92-ACFB-4F4C-BE8D-9D758B7D9FC0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4562475" y="792163"/>
            <a:ext cx="6254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6BA2C5C-58A4-4A1F-BCAF-1D374986A8A7}" type="datetime'''''''''P''''''''''''TM''''''K''P'''''''''">
              <a:rPr lang="en-US" altLang="en-US" sz="1400" smtClean="0">
                <a:solidFill>
                  <a:srgbClr val="FFFFFF"/>
                </a:solidFill>
              </a:rPr>
              <a:pPr/>
              <a:t>PTMKP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FA774D-881C-4952-BF56-3B4ED1D442DE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6592888" y="1666875"/>
            <a:ext cx="493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CEE15E2-5598-469C-9712-E9980D10E451}" type="datetime'''''''''''''3''''.''''''4''''''''9''''6''''''''''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.496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86A126A-E529-42C1-8283-D37896E0BB7B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6592888" y="2570163"/>
            <a:ext cx="493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8C40235-51A7-45F3-846E-DFC8B7A512C2}" type="datetime'''''''''1''''''''''''''.''''0''1''9''''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019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E780BD5-F1FE-49F3-A853-4A76362B5800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7407275" y="2678113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7143F2C-0344-4C4E-9EC4-F9E753225058}" type="datetime'''''''''''''''''''''''0'''''''''''''''''''''''''''''''''''''">
              <a:rPr lang="en-US" altLang="en-US" sz="14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AFD52513-0A40-42FE-A112-F6951B8C7D5B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10320338" y="2649538"/>
            <a:ext cx="346075" cy="192088"/>
          </a:xfrm>
          <a:prstGeom prst="rect">
            <a:avLst/>
          </a:prstGeom>
          <a:solidFill>
            <a:srgbClr val="23099D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A8B2A08-3DF2-4901-8BF9-F605C146CEEE}" type="datetime'''''''''''4''''''''''''5''8''''''''''''''''''''''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58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7256164D-C6DC-4356-B8D6-D65131B4DFB1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7407275" y="2870200"/>
            <a:ext cx="2476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7524048-896E-4EB8-9C8A-76B7F654D248}" type="datetime'''''''''''10'''''''''''''''''''''''''">
              <a:rPr lang="en-US" altLang="en-US" sz="14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55CBEE4-6F74-4934-9276-8EE3B7EF042F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6592888" y="3162300"/>
            <a:ext cx="493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127E763-C590-416E-910F-5D5C5F4AA724}" type="datetime'1''.''''''''81''''''''''''''''''''''5'''''''''''''''''''">
              <a:rPr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81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7F50EF5-3124-4AC6-86D9-D28438F57988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7037388" y="2778125"/>
            <a:ext cx="149225" cy="192088"/>
          </a:xfrm>
          <a:prstGeom prst="rect">
            <a:avLst/>
          </a:prstGeom>
          <a:solidFill>
            <a:srgbClr val="F3290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5F9C216-D34D-4DA3-8DA0-B694D2982065}" type="datetime'''''''''2''''''''''''''''''''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4D5398D-5785-41CB-BF6F-DE03091AC5EB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6442075" y="2787650"/>
            <a:ext cx="247650" cy="192088"/>
          </a:xfrm>
          <a:prstGeom prst="rect">
            <a:avLst/>
          </a:prstGeom>
          <a:solidFill>
            <a:srgbClr val="23099D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E95B9B8-7B64-4F53-A710-9E1C928019E6}" type="datetime'''''''''''''''''''''''5''''''''''''''''''''''''''2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2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6D1EC2C9-FA0B-4ECC-BA14-1993138AAFF1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6592888" y="4613275"/>
            <a:ext cx="493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D2C10FF-2777-417D-94B3-390F61879DDA}" type="datetime'''5''''''''''''.''''''''''''4''''''''''4''1'">
              <a:rPr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.441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AC17525-9D91-42DA-B2C5-7738F62E30DE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596063" y="792163"/>
            <a:ext cx="4873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CC19EB-3618-4AD1-A794-F0A819E9900E}" type="datetime'''PT''''''''''''''P''''''''R'''''''''''''''''">
              <a:rPr lang="en-US" altLang="en-US" sz="1400" smtClean="0">
                <a:solidFill>
                  <a:srgbClr val="FFFFFF"/>
                </a:solidFill>
              </a:rPr>
              <a:pPr/>
              <a:t>PTPR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A5AE181-56CC-4B29-9E6E-A52AAADDA303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8629650" y="1939925"/>
            <a:ext cx="3460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1F3D08E-E6E7-42C8-ABD0-AB2A3F00F28A}" type="datetime'''''''''''''''''''''1''8''''''''''3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3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112471E-CCCA-4DA2-9B8F-9DB58DCAE492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8951913" y="2179638"/>
            <a:ext cx="247650" cy="192088"/>
          </a:xfrm>
          <a:prstGeom prst="rect">
            <a:avLst/>
          </a:prstGeom>
          <a:solidFill>
            <a:srgbClr val="DC5E0A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24FA948-EBCA-43AC-959C-667B7EB88C73}" type="datetime'''''''''''3''''''''''''''''''''''''''''''''''''5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663D196B-4818-4B73-A37E-7B4B1393B819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8405813" y="2257425"/>
            <a:ext cx="247650" cy="192088"/>
          </a:xfrm>
          <a:prstGeom prst="rect">
            <a:avLst/>
          </a:prstGeom>
          <a:solidFill>
            <a:srgbClr val="FC4E7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68A35E4-5BF1-400E-A990-05ED7E7DDD17}" type="datetime'''''''''''''''''''''''''''''''''''''''''''''''''36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ADBC3D3-833C-40DC-998E-F49F5DCA05B6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5443538" y="1841500"/>
            <a:ext cx="493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F888D40-0EF2-48D0-B334-A83C2C595B6C}" type="datetime'''''2''''''.9''9''''''''''''1'''''''''''''''''''''''''''''''''">
              <a:rPr lang="en-US" altLang="en-US" sz="14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991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EF4CEE86-776D-485B-B37E-59C8802B1F84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8629650" y="3932238"/>
            <a:ext cx="3460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4737C97-B0A3-4A3C-8EF7-090937F5B39A}" type="datetime'''''''''''4''''''''''''''''''''6''''''6'''''''''''''''">
              <a:rPr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6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889FA814-25EE-425E-91A1-7E57A1A11B1B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8629650" y="5072063"/>
            <a:ext cx="3460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751A26-8959-4C56-9107-019519EFA568}" type="datetime'''5''''''''''''''''''''''7''''3'">
              <a:rPr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73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BBF8EEA-0A8D-4188-8682-9F47597FFED7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11334750" y="2493963"/>
            <a:ext cx="2476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B89D429-15BC-44D5-8B81-02F4F2CB517A}" type="datetime'''''''''''''''''2''''''''''''''''''''0'">
              <a:rPr lang="en-US" altLang="en-US" sz="1400" smtClean="0">
                <a:solidFill>
                  <a:schemeClr val="tx1"/>
                </a:solidFill>
              </a:rPr>
              <a:pPr/>
              <a:t>2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7E5759D-A17D-4968-BFB7-2FC1CD8DE2FE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8648700" y="792163"/>
            <a:ext cx="3095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E619DF4-7128-4FCA-AFCD-ECB7E2FEACA4}" type="datetime'''''''P''H''I'''''''''''''''''''''''''''''">
              <a:rPr lang="en-US" altLang="en-US" sz="1400" smtClean="0">
                <a:solidFill>
                  <a:srgbClr val="FFFFFF"/>
                </a:solidFill>
              </a:rPr>
              <a:pPr/>
              <a:t>PHI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F91A2072-0D31-47A9-B777-91C386D8E581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8629650" y="2859088"/>
            <a:ext cx="3460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F618C13-9F30-4C87-9501-9DC308034DE9}" type="datetime'''''''''''''''''''''''''''''''''''''5''''''1''''''3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13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9FB539C-3A7A-49E9-B8E3-64571143704A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10866438" y="2590800"/>
            <a:ext cx="346075" cy="192088"/>
          </a:xfrm>
          <a:prstGeom prst="rect">
            <a:avLst/>
          </a:prstGeom>
          <a:solidFill>
            <a:srgbClr val="FC4E7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AF4B13-0952-4165-B2E3-E3BD251FDAA6}" type="datetime'''''''''''''''''''1''''''''''''''''4''1''''''''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1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F0478F4-DC70-48C9-A777-DF777ACDF177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4456113" y="5821363"/>
            <a:ext cx="8382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C3EA0A6-0888-460F-9BF4-F1160B70D5F6}" type="datetime'''''1''.''''53''9.''''95''1'''''">
              <a:rPr lang="en-US" altLang="en-US" sz="1400" smtClean="0">
                <a:solidFill>
                  <a:schemeClr val="tx1"/>
                </a:solidFill>
              </a:rPr>
              <a:pPr/>
              <a:t>1.539.951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1E06341C-5582-4926-9485-CC9CA91147C5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11334750" y="2686050"/>
            <a:ext cx="2476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FBD4482-90C8-4393-A1D4-E67C02E5A413}" type="datetime'''''''''''''''''''''''''''''''''''''''''''1''''''9'''''''''">
              <a:rPr lang="en-US" altLang="en-US" sz="14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C8373A92-E4B4-4641-A847-2A38F4EF68A7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10520363" y="1462088"/>
            <a:ext cx="493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C132C44-C75D-4485-9FB7-42324ADBE87E}" type="datetime'''''5.''''''''''''3''''''''''''''''''''2''''''6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.326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AFF8E7D0-9543-4722-AD05-4064C24E3F1B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10471150" y="4567238"/>
            <a:ext cx="5921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DA90329-D770-4FB3-BC1C-33FEA1F32F2B}" type="datetime'''''''1''''''''''2''''''''''''''''''.21''''''6'''''">
              <a:rPr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.21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BA0EE2F7-D726-4D8F-A97F-9F8C4B0FB70D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0523538" y="792163"/>
            <a:ext cx="4873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393FB5-D573-4CA7-808F-5A9EDFA56DF3}" type="datetime'P''''''''''''''''''''''''T''''''''''''''''''P''''N'">
              <a:rPr lang="en-US" altLang="en-US" sz="1400" smtClean="0">
                <a:solidFill>
                  <a:srgbClr val="FFFFFF"/>
                </a:solidFill>
              </a:rPr>
              <a:pPr/>
              <a:t>PTPN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62C768-A333-428F-836D-153F39F40535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6550025" y="5821363"/>
            <a:ext cx="5794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40D4CB9-710F-47FA-A84C-12C9A34E9333}" type="datetime'1''''''''''1''''.''83''''''''''''''''''''''''5'''''">
              <a:rPr lang="en-US" altLang="en-US" sz="1400" smtClean="0">
                <a:solidFill>
                  <a:schemeClr val="tx1"/>
                </a:solidFill>
              </a:rPr>
              <a:pPr/>
              <a:t>11.83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650668-A574-4AFD-AE7F-ED8C23B4A2EE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8556625" y="5821363"/>
            <a:ext cx="493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0BC26E2-2217-4850-AD85-A5166C3E5F04}" type="datetime'''2''''''''''.''''''''''''1''''''''''''''''5''''''''''8'''''">
              <a:rPr lang="en-US" altLang="en-US" sz="1400" smtClean="0">
                <a:solidFill>
                  <a:schemeClr val="tx1"/>
                </a:solidFill>
              </a:rPr>
              <a:pPr/>
              <a:t>2.158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2CF0938-E17E-4BF2-9A24-BB79DFA18EE2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5443538" y="1457325"/>
            <a:ext cx="5921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D5372F5-A5BD-40CB-BF6D-A0A29BD08B6F}" type="datetime'3''''''''''''''0''''''''''''''.''''''''''0''''''''''''6''''4'">
              <a:rPr lang="en-US" altLang="en-US" sz="1400" smtClean="0">
                <a:solidFill>
                  <a:schemeClr val="tx1"/>
                </a:solidFill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.06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D969A337-1141-4F30-AA6B-B473376112BD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10520363" y="3063875"/>
            <a:ext cx="493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B36FFF2-BDF5-4549-8828-CC833C04A338}" type="datetime'''4''''''''''''.''''''''''''''''''''''''0''''''''''''12'''''''">
              <a:rPr lang="en-US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.01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97A14CA7-E00E-4010-9C67-09471A7C1F47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4681538" y="609123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1AA27ADA-65BE-44C7-9D8B-B759E4B2015F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4681538" y="6354763"/>
            <a:ext cx="250825" cy="187325"/>
          </a:xfrm>
          <a:prstGeom prst="rect">
            <a:avLst/>
          </a:prstGeom>
          <a:solidFill>
            <a:srgbClr val="14A60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CA3ADFA-91B5-400F-9490-E61CCD3C1660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6176963" y="6091238"/>
            <a:ext cx="250825" cy="187325"/>
          </a:xfrm>
          <a:prstGeom prst="rect">
            <a:avLst/>
          </a:prstGeom>
          <a:solidFill>
            <a:srgbClr val="DC5E0A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4FA4B9D-A0EB-49DB-A2D1-4152E97398A4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6176963" y="6354763"/>
            <a:ext cx="250825" cy="187325"/>
          </a:xfrm>
          <a:prstGeom prst="rect">
            <a:avLst/>
          </a:prstGeom>
          <a:solidFill>
            <a:srgbClr val="FC4E7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8DD17C44-3BC8-41A7-AEB1-E7E7DE37E7DA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7437438" y="6091238"/>
            <a:ext cx="250825" cy="187325"/>
          </a:xfrm>
          <a:prstGeom prst="rect">
            <a:avLst/>
          </a:prstGeom>
          <a:solidFill>
            <a:srgbClr val="F3290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0B9C9D68-C8C5-4A3F-87B6-835CDC85A7FC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7437438" y="6354763"/>
            <a:ext cx="250825" cy="187325"/>
          </a:xfrm>
          <a:prstGeom prst="rect">
            <a:avLst/>
          </a:prstGeom>
          <a:solidFill>
            <a:srgbClr val="23099D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03E2A7CB-81F3-4659-BABD-9E9C38E93C29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8707438" y="6091238"/>
            <a:ext cx="250825" cy="187325"/>
          </a:xfrm>
          <a:prstGeom prst="rect">
            <a:avLst/>
          </a:prstGeom>
          <a:solidFill>
            <a:srgbClr val="1ADAEA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E76C25B-689F-4FB3-91F5-18D3B12D6FA9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8707438" y="6354763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38BFB15-FCFB-417B-A6BC-FFE9EB6AA845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4983163" y="6086475"/>
            <a:ext cx="10922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268D585-858C-49C8-8333-7008D29ED821}" type="datetime'''''''''''Memo''r''a''''''''n''''''''''''''''du''''''''''m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Memorandum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00A9173-433F-4466-A4EF-07B205A1B19E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6478588" y="6350000"/>
            <a:ext cx="4556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29AB404-9FE7-4284-B748-AA6E5E72C358}" type="datetime'S''P''''''''''3S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SP3S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74EEA1C-1A71-4902-9A9C-EE99EA9EC453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7739063" y="6086475"/>
            <a:ext cx="5937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E8B2560-1F3C-4E97-BA21-8AE985021007}" type="datetime'S''''''''''''''P''''''''''''''PT''''''''''''''''''H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SPPTH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7F9478D-C65F-42B0-8784-A82B04FD3098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4983163" y="6350000"/>
            <a:ext cx="9858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7B0D6AD-AA90-40B7-9EC3-EB2585F782F7}" type="datetime'''S''''''''''''ur''''''at K''''e''''lu''''a''''''r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Surat Keluar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3426587-FB81-4442-ABEC-D8C9905FC5F3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6478588" y="6086475"/>
            <a:ext cx="8572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860D0CC-E137-4707-9181-EC941D638AE0}" type="datetime'''Fa''''x'''''''' ''''''''''Kel''u''''''''''ar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Fax Keluar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D1BA75B-55EC-4A84-BFC4-BB45491C3BDF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7739063" y="6350000"/>
            <a:ext cx="866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2D8D442-01D3-4C9A-A52D-D23C2DC7EB72}" type="datetime'''''''''''Fax'''''''''''' ''Ma''''s''''u''k''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Fax Masuk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487785-0FDE-4FBA-84B4-6B0E5C16E14E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9009063" y="6086475"/>
            <a:ext cx="9953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C99FBD1-1C55-4587-8677-C5C4FAD57805}" type="datetime'''''''''''''Su''''r''''''''''''a''''''''t ''M''as''''u''k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Surat Masuk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5BFB53A-DFCB-4CC8-8D78-4CD170D5A517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9009063" y="6350000"/>
            <a:ext cx="18621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7BF5DD3-A9B3-42CC-AD57-0746BB8B864C}" type="datetime'''''''Disp''osi''''''''s''i''-''Mem''oran''''d''''''um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Disposisi-Memorandum</a:t>
            </a:fld>
            <a:endParaRPr lang="en-US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265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2800" dirty="0"/>
              <a:t>Overview P-Office 1.0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D1E290B-833F-467D-81D5-AB8423F80F75}"/>
              </a:ext>
            </a:extLst>
          </p:cNvPr>
          <p:cNvGrpSpPr/>
          <p:nvPr/>
        </p:nvGrpSpPr>
        <p:grpSpPr>
          <a:xfrm>
            <a:off x="4170615" y="5354680"/>
            <a:ext cx="3357511" cy="841262"/>
            <a:chOff x="2833739" y="5301208"/>
            <a:chExt cx="3357511" cy="841262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7B8C4D3C-31C9-47FD-AB53-67708063B367}"/>
                </a:ext>
              </a:extLst>
            </p:cNvPr>
            <p:cNvSpPr/>
            <p:nvPr/>
          </p:nvSpPr>
          <p:spPr>
            <a:xfrm>
              <a:off x="2833739" y="5301208"/>
              <a:ext cx="3357511" cy="841262"/>
            </a:xfrm>
            <a:prstGeom prst="ellipse">
              <a:avLst/>
            </a:prstGeom>
            <a:solidFill>
              <a:schemeClr val="tx1">
                <a:lumMod val="50000"/>
                <a:lumOff val="50000"/>
                <a:alpha val="51000"/>
              </a:schemeClr>
            </a:soli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CE66991-2F15-466C-8960-98034F820FC0}"/>
                </a:ext>
              </a:extLst>
            </p:cNvPr>
            <p:cNvSpPr/>
            <p:nvPr/>
          </p:nvSpPr>
          <p:spPr>
            <a:xfrm>
              <a:off x="3481626" y="5487505"/>
              <a:ext cx="1728921" cy="433200"/>
            </a:xfrm>
            <a:prstGeom prst="ellipse">
              <a:avLst/>
            </a:prstGeom>
            <a:solidFill>
              <a:schemeClr val="tx1">
                <a:lumMod val="50000"/>
                <a:lumOff val="50000"/>
                <a:alpha val="51000"/>
              </a:schemeClr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6" name="Oval 5">
            <a:extLst>
              <a:ext uri="{FF2B5EF4-FFF2-40B4-BE49-F238E27FC236}">
                <a16:creationId xmlns:a16="http://schemas.microsoft.com/office/drawing/2014/main" id="{D3D22288-4496-4729-83F8-9BB0601A965A}"/>
              </a:ext>
            </a:extLst>
          </p:cNvPr>
          <p:cNvSpPr/>
          <p:nvPr/>
        </p:nvSpPr>
        <p:spPr>
          <a:xfrm>
            <a:off x="7093446" y="2151633"/>
            <a:ext cx="432048" cy="4320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6BA503-C7E2-458D-86CE-14E2BFB22F64}"/>
              </a:ext>
            </a:extLst>
          </p:cNvPr>
          <p:cNvSpPr txBox="1"/>
          <p:nvPr/>
        </p:nvSpPr>
        <p:spPr>
          <a:xfrm>
            <a:off x="7617675" y="2375263"/>
            <a:ext cx="338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gguna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dapat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melakukan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injauan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pada dokumen yang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dilampirkan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atau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konsep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surat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yang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dibuat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oleh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gguna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.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90A295-1094-4995-B9C5-214558A28872}"/>
              </a:ext>
            </a:extLst>
          </p:cNvPr>
          <p:cNvSpPr txBox="1"/>
          <p:nvPr/>
        </p:nvSpPr>
        <p:spPr>
          <a:xfrm>
            <a:off x="7607723" y="2119284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Pratinjau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 Sura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8BC12CD-A055-4D23-AE11-A40AA534A162}"/>
              </a:ext>
            </a:extLst>
          </p:cNvPr>
          <p:cNvCxnSpPr>
            <a:stCxn id="6" idx="6"/>
          </p:cNvCxnSpPr>
          <p:nvPr/>
        </p:nvCxnSpPr>
        <p:spPr>
          <a:xfrm>
            <a:off x="7525494" y="2367657"/>
            <a:ext cx="3600000" cy="2612"/>
          </a:xfrm>
          <a:prstGeom prst="line">
            <a:avLst/>
          </a:prstGeom>
          <a:ln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644BEFAF-3E31-4BED-8C15-194E8692EAF8}"/>
              </a:ext>
            </a:extLst>
          </p:cNvPr>
          <p:cNvSpPr/>
          <p:nvPr/>
        </p:nvSpPr>
        <p:spPr>
          <a:xfrm>
            <a:off x="4695081" y="2945259"/>
            <a:ext cx="432048" cy="43204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8430E1-709F-4FAB-8921-4460DFB1B91C}"/>
              </a:ext>
            </a:extLst>
          </p:cNvPr>
          <p:cNvSpPr txBox="1"/>
          <p:nvPr/>
        </p:nvSpPr>
        <p:spPr>
          <a:xfrm>
            <a:off x="1253047" y="3161284"/>
            <a:ext cx="338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gguna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dapat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melacak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osisi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surat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saat ini untuk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memastikan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surat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terdistribusi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dengan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benar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dan sesuai dengan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tujuan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surat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. 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32EE89-DB4D-44DE-A5C4-89AD1AF9996A}"/>
              </a:ext>
            </a:extLst>
          </p:cNvPr>
          <p:cNvSpPr txBox="1"/>
          <p:nvPr/>
        </p:nvSpPr>
        <p:spPr>
          <a:xfrm>
            <a:off x="1253047" y="2884284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+mn-cs"/>
              </a:rPr>
              <a:t>Pelacakan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+mn-cs"/>
              </a:rPr>
              <a:t> Sura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B2043EA-6852-4A0F-9979-3B60031BEA3F}"/>
              </a:ext>
            </a:extLst>
          </p:cNvPr>
          <p:cNvCxnSpPr>
            <a:cxnSpLocks/>
          </p:cNvCxnSpPr>
          <p:nvPr/>
        </p:nvCxnSpPr>
        <p:spPr>
          <a:xfrm>
            <a:off x="1109911" y="3161283"/>
            <a:ext cx="3600000" cy="0"/>
          </a:xfrm>
          <a:prstGeom prst="line">
            <a:avLst/>
          </a:prstGeom>
          <a:ln>
            <a:solidFill>
              <a:schemeClr val="accent4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6126DCFA-2155-4556-B6B2-A1D10477F8E1}"/>
              </a:ext>
            </a:extLst>
          </p:cNvPr>
          <p:cNvSpPr/>
          <p:nvPr/>
        </p:nvSpPr>
        <p:spPr>
          <a:xfrm>
            <a:off x="7093446" y="3733160"/>
            <a:ext cx="432048" cy="4320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F64A1C-0A53-47B1-84CC-FB02DE978A94}"/>
              </a:ext>
            </a:extLst>
          </p:cNvPr>
          <p:cNvSpPr txBox="1"/>
          <p:nvPr/>
        </p:nvSpPr>
        <p:spPr>
          <a:xfrm>
            <a:off x="7617675" y="3956790"/>
            <a:ext cx="338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gguna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dapat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melihat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informasi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surat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yang terdapat pada aplikasi E-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Corr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 sebelumnya, </a:t>
            </a:r>
            <a:r>
              <a:rPr lang="en-US" altLang="ko-KR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melakukan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 </a:t>
            </a:r>
            <a:r>
              <a:rPr lang="en-US" altLang="ko-KR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pratinjau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 dokumen, </a:t>
            </a:r>
            <a:r>
              <a:rPr lang="en-US" altLang="ko-KR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melihat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 </a:t>
            </a:r>
            <a:r>
              <a:rPr lang="en-US" altLang="ko-KR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informasi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 riwayat </a:t>
            </a:r>
            <a:r>
              <a:rPr lang="en-US" altLang="ko-KR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distribusi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 </a:t>
            </a:r>
            <a:r>
              <a:rPr lang="en-US" altLang="ko-KR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surat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.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E2ED025-0BB5-4246-9649-91BA3E537B90}"/>
              </a:ext>
            </a:extLst>
          </p:cNvPr>
          <p:cNvSpPr txBox="1"/>
          <p:nvPr/>
        </p:nvSpPr>
        <p:spPr>
          <a:xfrm>
            <a:off x="7607723" y="3700810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Integrasi dengan E-</a:t>
            </a:r>
            <a:r>
              <a:rPr lang="en-US" altLang="ko-KR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Cor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887337D-435D-4836-9A63-E71679B64105}"/>
              </a:ext>
            </a:extLst>
          </p:cNvPr>
          <p:cNvCxnSpPr>
            <a:cxnSpLocks/>
            <a:stCxn id="14" idx="6"/>
          </p:cNvCxnSpPr>
          <p:nvPr/>
        </p:nvCxnSpPr>
        <p:spPr>
          <a:xfrm>
            <a:off x="7525494" y="3949184"/>
            <a:ext cx="3600000" cy="2612"/>
          </a:xfrm>
          <a:prstGeom prst="line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id="{2B7A4A55-1731-4D29-AF0D-30D677A2F55C}"/>
              </a:ext>
            </a:extLst>
          </p:cNvPr>
          <p:cNvSpPr/>
          <p:nvPr/>
        </p:nvSpPr>
        <p:spPr>
          <a:xfrm>
            <a:off x="4695081" y="4418221"/>
            <a:ext cx="432048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234AAD-AC05-4A1A-A6E4-ECE64F301D6D}"/>
              </a:ext>
            </a:extLst>
          </p:cNvPr>
          <p:cNvSpPr txBox="1"/>
          <p:nvPr/>
        </p:nvSpPr>
        <p:spPr>
          <a:xfrm>
            <a:off x="1253047" y="4634246"/>
            <a:ext cx="338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gguna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dapat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melakukan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rmintaan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nomor offline dan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mencantumkan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detail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informasi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kebutuhan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rmintaan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tersebut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B38D09-A0FD-4C37-A6F8-5F450BA01968}"/>
              </a:ext>
            </a:extLst>
          </p:cNvPr>
          <p:cNvSpPr txBox="1"/>
          <p:nvPr/>
        </p:nvSpPr>
        <p:spPr>
          <a:xfrm>
            <a:off x="1253047" y="4357246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+mn-cs"/>
              </a:rPr>
              <a:t>Offline Numbe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3117A4-19C3-4167-8B4E-317B7B602005}"/>
              </a:ext>
            </a:extLst>
          </p:cNvPr>
          <p:cNvCxnSpPr>
            <a:cxnSpLocks/>
          </p:cNvCxnSpPr>
          <p:nvPr/>
        </p:nvCxnSpPr>
        <p:spPr>
          <a:xfrm>
            <a:off x="1109911" y="4634245"/>
            <a:ext cx="3600000" cy="0"/>
          </a:xfrm>
          <a:prstGeom prst="line">
            <a:avLst/>
          </a:prstGeom>
          <a:ln>
            <a:solidFill>
              <a:schemeClr val="accent2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5B877E8-FF49-4E36-AC07-6D866E7F9A06}"/>
              </a:ext>
            </a:extLst>
          </p:cNvPr>
          <p:cNvGrpSpPr/>
          <p:nvPr/>
        </p:nvGrpSpPr>
        <p:grpSpPr>
          <a:xfrm>
            <a:off x="5356872" y="1993032"/>
            <a:ext cx="1402743" cy="3758132"/>
            <a:chOff x="2411760" y="1109886"/>
            <a:chExt cx="1752575" cy="4695378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3B073DB-53D1-4FDC-BF4E-68B7113A3A67}"/>
                </a:ext>
              </a:extLst>
            </p:cNvPr>
            <p:cNvSpPr/>
            <p:nvPr/>
          </p:nvSpPr>
          <p:spPr>
            <a:xfrm>
              <a:off x="2411760" y="1109886"/>
              <a:ext cx="936104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scene3d>
              <a:camera prst="obliqueBottomRight">
                <a:rot lat="21299999" lon="0" rev="0"/>
              </a:camera>
              <a:lightRig rig="balanced" dir="t"/>
            </a:scene3d>
            <a:sp3d extrusionH="527050" prstMaterial="matte">
              <a:extrusionClr>
                <a:schemeClr val="accent5"/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6338E53-F799-40E0-AF16-17E6E9465302}"/>
                </a:ext>
              </a:extLst>
            </p:cNvPr>
            <p:cNvSpPr/>
            <p:nvPr/>
          </p:nvSpPr>
          <p:spPr>
            <a:xfrm>
              <a:off x="3228231" y="2036465"/>
              <a:ext cx="936104" cy="9361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scene3d>
              <a:camera prst="obliqueBottomRight">
                <a:rot lat="21299999" lon="0" rev="0"/>
              </a:camera>
              <a:lightRig rig="balanced" dir="t"/>
            </a:scene3d>
            <a:sp3d extrusionH="457200" prstMaterial="matte">
              <a:extrusionClr>
                <a:schemeClr val="accent4"/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F8AA8EA-3F81-4B6B-B558-41B6AC1AE61D}"/>
                </a:ext>
              </a:extLst>
            </p:cNvPr>
            <p:cNvSpPr/>
            <p:nvPr/>
          </p:nvSpPr>
          <p:spPr>
            <a:xfrm>
              <a:off x="2411760" y="2977902"/>
              <a:ext cx="936104" cy="93610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scene3d>
              <a:camera prst="obliqueBottomRight"/>
              <a:lightRig rig="balanced" dir="t"/>
            </a:scene3d>
            <a:sp3d extrusionH="508000" prstMaterial="matte">
              <a:extrusionClr>
                <a:schemeClr val="accent3"/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9354458-87E2-4B01-AD84-7568ECA2B475}"/>
                </a:ext>
              </a:extLst>
            </p:cNvPr>
            <p:cNvSpPr/>
            <p:nvPr/>
          </p:nvSpPr>
          <p:spPr>
            <a:xfrm>
              <a:off x="2411760" y="4869160"/>
              <a:ext cx="936104" cy="936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scene3d>
              <a:camera prst="obliqueTopRight"/>
              <a:lightRig rig="balanced" dir="t"/>
            </a:scene3d>
            <a:sp3d extrusionH="558800" prstMaterial="matte">
              <a:extrusionClr>
                <a:schemeClr val="accent1"/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D3C5BDB-988A-4982-9C86-9D61840FDE39}"/>
                </a:ext>
              </a:extLst>
            </p:cNvPr>
            <p:cNvSpPr/>
            <p:nvPr/>
          </p:nvSpPr>
          <p:spPr>
            <a:xfrm>
              <a:off x="3228231" y="3933056"/>
              <a:ext cx="936104" cy="93610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scene3d>
              <a:camera prst="perspectiveLeft"/>
              <a:lightRig rig="balanced" dir="t"/>
            </a:scene3d>
            <a:sp3d extrusionH="508000" prstMaterial="matte">
              <a:extrusionClr>
                <a:schemeClr val="accent2"/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3BAFD40D-82F5-4CCC-985D-95FE5B3D8B02}"/>
              </a:ext>
            </a:extLst>
          </p:cNvPr>
          <p:cNvSpPr/>
          <p:nvPr/>
        </p:nvSpPr>
        <p:spPr>
          <a:xfrm>
            <a:off x="7093446" y="5131028"/>
            <a:ext cx="432048" cy="43204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4C5E7C0-B6FE-4E2A-9714-601376BF3B97}"/>
              </a:ext>
            </a:extLst>
          </p:cNvPr>
          <p:cNvSpPr txBox="1"/>
          <p:nvPr/>
        </p:nvSpPr>
        <p:spPr>
          <a:xfrm>
            <a:off x="7617675" y="5354658"/>
            <a:ext cx="338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gguna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yang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bertindak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sebagai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administrator dapat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melakukan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pengelolaan data master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seperti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kode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klasifikasi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, template,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dll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A4391DF-8494-44C1-B1E8-45D011C26DE3}"/>
              </a:ext>
            </a:extLst>
          </p:cNvPr>
          <p:cNvSpPr txBox="1"/>
          <p:nvPr/>
        </p:nvSpPr>
        <p:spPr>
          <a:xfrm>
            <a:off x="7607723" y="5098678"/>
            <a:ext cx="338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Data Maste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C6DD1DF-FF4C-4A36-8B2A-7B3EC9489E53}"/>
              </a:ext>
            </a:extLst>
          </p:cNvPr>
          <p:cNvCxnSpPr>
            <a:stCxn id="28" idx="6"/>
          </p:cNvCxnSpPr>
          <p:nvPr/>
        </p:nvCxnSpPr>
        <p:spPr>
          <a:xfrm>
            <a:off x="7525494" y="5347052"/>
            <a:ext cx="3600000" cy="2612"/>
          </a:xfrm>
          <a:prstGeom prst="line">
            <a:avLst/>
          </a:prstGeom>
          <a:ln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6">
            <a:extLst>
              <a:ext uri="{FF2B5EF4-FFF2-40B4-BE49-F238E27FC236}">
                <a16:creationId xmlns:a16="http://schemas.microsoft.com/office/drawing/2014/main" id="{17CA5449-90A0-4C9F-96FB-097077733839}"/>
              </a:ext>
            </a:extLst>
          </p:cNvPr>
          <p:cNvSpPr/>
          <p:nvPr/>
        </p:nvSpPr>
        <p:spPr>
          <a:xfrm rot="2700000">
            <a:off x="6243153" y="2866038"/>
            <a:ext cx="265920" cy="476745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FAA98416-0251-41FF-83E8-7B4F922A38F6}"/>
              </a:ext>
            </a:extLst>
          </p:cNvPr>
          <p:cNvSpPr/>
          <p:nvPr/>
        </p:nvSpPr>
        <p:spPr>
          <a:xfrm>
            <a:off x="5583879" y="2212862"/>
            <a:ext cx="329463" cy="308407"/>
          </a:xfrm>
          <a:custGeom>
            <a:avLst/>
            <a:gdLst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2991331 w 3239999"/>
              <a:gd name="connsiteY3" fmla="*/ 2709748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239999" h="3032924">
                <a:moveTo>
                  <a:pt x="1576606" y="2778202"/>
                </a:moveTo>
                <a:cubicBezTo>
                  <a:pt x="1576606" y="2778795"/>
                  <a:pt x="1663394" y="2792670"/>
                  <a:pt x="1663394" y="2778202"/>
                </a:cubicBezTo>
                <a:lnTo>
                  <a:pt x="1663394" y="2776423"/>
                </a:lnTo>
                <a:cubicBezTo>
                  <a:pt x="2185083" y="2605634"/>
                  <a:pt x="2444552" y="2500589"/>
                  <a:pt x="2991331" y="2709748"/>
                </a:cubicBezTo>
                <a:lnTo>
                  <a:pt x="3000856" y="526981"/>
                </a:lnTo>
                <a:lnTo>
                  <a:pt x="2855082" y="526981"/>
                </a:lnTo>
                <a:cubicBezTo>
                  <a:pt x="2857178" y="1175360"/>
                  <a:pt x="2859273" y="1823738"/>
                  <a:pt x="2861369" y="2472117"/>
                </a:cubicBezTo>
                <a:cubicBezTo>
                  <a:pt x="2483869" y="2318121"/>
                  <a:pt x="2052449" y="2439541"/>
                  <a:pt x="1663394" y="2765302"/>
                </a:cubicBezTo>
                <a:lnTo>
                  <a:pt x="1663394" y="526981"/>
                </a:lnTo>
                <a:lnTo>
                  <a:pt x="1663394" y="430441"/>
                </a:lnTo>
                <a:lnTo>
                  <a:pt x="1663394" y="402054"/>
                </a:lnTo>
                <a:cubicBezTo>
                  <a:pt x="1896442" y="149589"/>
                  <a:pt x="2115835" y="2106"/>
                  <a:pt x="2406065" y="22"/>
                </a:cubicBezTo>
                <a:cubicBezTo>
                  <a:pt x="2537987" y="-925"/>
                  <a:pt x="2684544" y="28169"/>
                  <a:pt x="2853673" y="91100"/>
                </a:cubicBezTo>
                <a:cubicBezTo>
                  <a:pt x="2854039" y="204214"/>
                  <a:pt x="2854404" y="317327"/>
                  <a:pt x="2854770" y="430441"/>
                </a:cubicBezTo>
                <a:lnTo>
                  <a:pt x="3120669" y="428517"/>
                </a:lnTo>
                <a:lnTo>
                  <a:pt x="3120669" y="738345"/>
                </a:lnTo>
                <a:lnTo>
                  <a:pt x="3239999" y="738345"/>
                </a:lnTo>
                <a:lnTo>
                  <a:pt x="3239999" y="3032924"/>
                </a:lnTo>
                <a:lnTo>
                  <a:pt x="0" y="3032924"/>
                </a:lnTo>
                <a:lnTo>
                  <a:pt x="0" y="738345"/>
                </a:lnTo>
                <a:lnTo>
                  <a:pt x="102477" y="738345"/>
                </a:lnTo>
                <a:lnTo>
                  <a:pt x="102477" y="428517"/>
                </a:lnTo>
                <a:lnTo>
                  <a:pt x="385229" y="430441"/>
                </a:lnTo>
                <a:cubicBezTo>
                  <a:pt x="385595" y="317327"/>
                  <a:pt x="385960" y="204214"/>
                  <a:pt x="386326" y="91100"/>
                </a:cubicBezTo>
                <a:cubicBezTo>
                  <a:pt x="555455" y="28169"/>
                  <a:pt x="702013" y="-925"/>
                  <a:pt x="833935" y="22"/>
                </a:cubicBezTo>
                <a:cubicBezTo>
                  <a:pt x="1124164" y="2106"/>
                  <a:pt x="1343558" y="149589"/>
                  <a:pt x="1576606" y="402054"/>
                </a:cubicBezTo>
                <a:lnTo>
                  <a:pt x="1576606" y="430441"/>
                </a:lnTo>
                <a:lnTo>
                  <a:pt x="1576606" y="526981"/>
                </a:lnTo>
                <a:lnTo>
                  <a:pt x="1576606" y="2765302"/>
                </a:lnTo>
                <a:cubicBezTo>
                  <a:pt x="1187550" y="2439541"/>
                  <a:pt x="756130" y="2318121"/>
                  <a:pt x="378630" y="2472117"/>
                </a:cubicBezTo>
                <a:lnTo>
                  <a:pt x="384918" y="526981"/>
                </a:lnTo>
                <a:lnTo>
                  <a:pt x="239143" y="526981"/>
                </a:lnTo>
                <a:lnTo>
                  <a:pt x="229618" y="2690698"/>
                </a:lnTo>
                <a:cubicBezTo>
                  <a:pt x="773243" y="2466244"/>
                  <a:pt x="1081748" y="2626096"/>
                  <a:pt x="1576606" y="277642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6" name="Oval 21">
            <a:extLst>
              <a:ext uri="{FF2B5EF4-FFF2-40B4-BE49-F238E27FC236}">
                <a16:creationId xmlns:a16="http://schemas.microsoft.com/office/drawing/2014/main" id="{1085D00E-9B2E-4F54-9A92-F1B45A952252}"/>
              </a:ext>
            </a:extLst>
          </p:cNvPr>
          <p:cNvSpPr>
            <a:spLocks noChangeAspect="1"/>
          </p:cNvSpPr>
          <p:nvPr/>
        </p:nvSpPr>
        <p:spPr>
          <a:xfrm>
            <a:off x="6221467" y="4449724"/>
            <a:ext cx="354676" cy="357638"/>
          </a:xfrm>
          <a:custGeom>
            <a:avLst/>
            <a:gdLst/>
            <a:ahLst/>
            <a:cxnLst/>
            <a:rect l="l" t="t" r="r" b="b"/>
            <a:pathLst>
              <a:path w="1652142" h="1665940">
                <a:moveTo>
                  <a:pt x="898689" y="548008"/>
                </a:moveTo>
                <a:cubicBezTo>
                  <a:pt x="737950" y="504938"/>
                  <a:pt x="572731" y="600328"/>
                  <a:pt x="529661" y="761066"/>
                </a:cubicBezTo>
                <a:cubicBezTo>
                  <a:pt x="486591" y="921805"/>
                  <a:pt x="581980" y="1087025"/>
                  <a:pt x="742719" y="1130094"/>
                </a:cubicBezTo>
                <a:cubicBezTo>
                  <a:pt x="903458" y="1173164"/>
                  <a:pt x="1068677" y="1077775"/>
                  <a:pt x="1111747" y="917036"/>
                </a:cubicBezTo>
                <a:cubicBezTo>
                  <a:pt x="1154817" y="756297"/>
                  <a:pt x="1059428" y="591077"/>
                  <a:pt x="898689" y="548008"/>
                </a:cubicBezTo>
                <a:close/>
                <a:moveTo>
                  <a:pt x="952303" y="347916"/>
                </a:moveTo>
                <a:cubicBezTo>
                  <a:pt x="1223549" y="420596"/>
                  <a:pt x="1384519" y="699404"/>
                  <a:pt x="1311839" y="970650"/>
                </a:cubicBezTo>
                <a:cubicBezTo>
                  <a:pt x="1239159" y="1241896"/>
                  <a:pt x="960351" y="1402866"/>
                  <a:pt x="689105" y="1330186"/>
                </a:cubicBezTo>
                <a:cubicBezTo>
                  <a:pt x="417859" y="1257506"/>
                  <a:pt x="256889" y="978698"/>
                  <a:pt x="329569" y="707451"/>
                </a:cubicBezTo>
                <a:cubicBezTo>
                  <a:pt x="402249" y="436205"/>
                  <a:pt x="681057" y="275235"/>
                  <a:pt x="952303" y="347916"/>
                </a:cubicBezTo>
                <a:close/>
                <a:moveTo>
                  <a:pt x="971799" y="275155"/>
                </a:moveTo>
                <a:cubicBezTo>
                  <a:pt x="660368" y="191707"/>
                  <a:pt x="340256" y="376524"/>
                  <a:pt x="256808" y="687955"/>
                </a:cubicBezTo>
                <a:cubicBezTo>
                  <a:pt x="173361" y="999387"/>
                  <a:pt x="358178" y="1319499"/>
                  <a:pt x="669609" y="1402947"/>
                </a:cubicBezTo>
                <a:cubicBezTo>
                  <a:pt x="981040" y="1486395"/>
                  <a:pt x="1301152" y="1301577"/>
                  <a:pt x="1384600" y="990146"/>
                </a:cubicBezTo>
                <a:cubicBezTo>
                  <a:pt x="1468047" y="678715"/>
                  <a:pt x="1283230" y="358603"/>
                  <a:pt x="971799" y="275155"/>
                </a:cubicBezTo>
                <a:close/>
                <a:moveTo>
                  <a:pt x="1652142" y="394531"/>
                </a:moveTo>
                <a:lnTo>
                  <a:pt x="1649662" y="403784"/>
                </a:lnTo>
                <a:lnTo>
                  <a:pt x="1647140" y="399895"/>
                </a:lnTo>
                <a:close/>
                <a:moveTo>
                  <a:pt x="1158157" y="65026"/>
                </a:moveTo>
                <a:lnTo>
                  <a:pt x="1154679" y="271718"/>
                </a:lnTo>
                <a:lnTo>
                  <a:pt x="1148331" y="270017"/>
                </a:lnTo>
                <a:cubicBezTo>
                  <a:pt x="1200055" y="299127"/>
                  <a:pt x="1246804" y="334821"/>
                  <a:pt x="1286346" y="377149"/>
                </a:cubicBezTo>
                <a:lnTo>
                  <a:pt x="1470353" y="331395"/>
                </a:lnTo>
                <a:lnTo>
                  <a:pt x="1588305" y="553229"/>
                </a:lnTo>
                <a:lnTo>
                  <a:pt x="1457194" y="671432"/>
                </a:lnTo>
                <a:cubicBezTo>
                  <a:pt x="1473630" y="731297"/>
                  <a:pt x="1481376" y="793983"/>
                  <a:pt x="1478595" y="857704"/>
                </a:cubicBezTo>
                <a:lnTo>
                  <a:pt x="1642362" y="948616"/>
                </a:lnTo>
                <a:lnTo>
                  <a:pt x="1577335" y="1191298"/>
                </a:lnTo>
                <a:lnTo>
                  <a:pt x="1378614" y="1187955"/>
                </a:lnTo>
                <a:cubicBezTo>
                  <a:pt x="1353489" y="1229936"/>
                  <a:pt x="1323048" y="1267799"/>
                  <a:pt x="1288939" y="1301599"/>
                </a:cubicBezTo>
                <a:lnTo>
                  <a:pt x="1354201" y="1471932"/>
                </a:lnTo>
                <a:lnTo>
                  <a:pt x="1148396" y="1616039"/>
                </a:lnTo>
                <a:lnTo>
                  <a:pt x="992294" y="1480516"/>
                </a:lnTo>
                <a:lnTo>
                  <a:pt x="1011291" y="1467215"/>
                </a:lnTo>
                <a:cubicBezTo>
                  <a:pt x="951500" y="1486565"/>
                  <a:pt x="888271" y="1495869"/>
                  <a:pt x="823805" y="1495510"/>
                </a:cubicBezTo>
                <a:lnTo>
                  <a:pt x="729193" y="1665940"/>
                </a:lnTo>
                <a:lnTo>
                  <a:pt x="486511" y="1600914"/>
                </a:lnTo>
                <a:lnTo>
                  <a:pt x="489790" y="1406012"/>
                </a:lnTo>
                <a:cubicBezTo>
                  <a:pt x="438364" y="1376702"/>
                  <a:pt x="391917" y="1340859"/>
                  <a:pt x="352658" y="1298452"/>
                </a:cubicBezTo>
                <a:lnTo>
                  <a:pt x="355803" y="1305197"/>
                </a:lnTo>
                <a:lnTo>
                  <a:pt x="152856" y="1344512"/>
                </a:lnTo>
                <a:lnTo>
                  <a:pt x="46675" y="1116809"/>
                </a:lnTo>
                <a:lnTo>
                  <a:pt x="183929" y="1005520"/>
                </a:lnTo>
                <a:cubicBezTo>
                  <a:pt x="169279" y="951824"/>
                  <a:pt x="161626" y="895865"/>
                  <a:pt x="161615" y="838915"/>
                </a:cubicBezTo>
                <a:lnTo>
                  <a:pt x="0" y="749197"/>
                </a:lnTo>
                <a:lnTo>
                  <a:pt x="65026" y="506515"/>
                </a:lnTo>
                <a:lnTo>
                  <a:pt x="250227" y="509630"/>
                </a:lnTo>
                <a:cubicBezTo>
                  <a:pt x="275353" y="465291"/>
                  <a:pt x="305693" y="424864"/>
                  <a:pt x="340015" y="388679"/>
                </a:cubicBezTo>
                <a:lnTo>
                  <a:pt x="277984" y="197357"/>
                </a:lnTo>
                <a:lnTo>
                  <a:pt x="491050" y="64219"/>
                </a:lnTo>
                <a:lnTo>
                  <a:pt x="639843" y="207726"/>
                </a:lnTo>
                <a:lnTo>
                  <a:pt x="638348" y="208660"/>
                </a:lnTo>
                <a:cubicBezTo>
                  <a:pt x="696840" y="190256"/>
                  <a:pt x="758594" y="181748"/>
                  <a:pt x="821488" y="182440"/>
                </a:cubicBezTo>
                <a:lnTo>
                  <a:pt x="815140" y="180739"/>
                </a:lnTo>
                <a:lnTo>
                  <a:pt x="91547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7" name="Rectangle 16">
            <a:extLst>
              <a:ext uri="{FF2B5EF4-FFF2-40B4-BE49-F238E27FC236}">
                <a16:creationId xmlns:a16="http://schemas.microsoft.com/office/drawing/2014/main" id="{A42E3DEC-DAED-4178-AE9D-70060F413AFE}"/>
              </a:ext>
            </a:extLst>
          </p:cNvPr>
          <p:cNvSpPr/>
          <p:nvPr/>
        </p:nvSpPr>
        <p:spPr>
          <a:xfrm rot="2700000">
            <a:off x="4832023" y="3011504"/>
            <a:ext cx="167088" cy="299558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8" name="Rectangle 9">
            <a:extLst>
              <a:ext uri="{FF2B5EF4-FFF2-40B4-BE49-F238E27FC236}">
                <a16:creationId xmlns:a16="http://schemas.microsoft.com/office/drawing/2014/main" id="{FA91D8AD-48D1-47C6-ACDD-5D93ABDB20D0}"/>
              </a:ext>
            </a:extLst>
          </p:cNvPr>
          <p:cNvSpPr/>
          <p:nvPr/>
        </p:nvSpPr>
        <p:spPr>
          <a:xfrm>
            <a:off x="7210808" y="2255891"/>
            <a:ext cx="207014" cy="193784"/>
          </a:xfrm>
          <a:custGeom>
            <a:avLst/>
            <a:gdLst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2991331 w 3239999"/>
              <a:gd name="connsiteY3" fmla="*/ 2709748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239999" h="3032924">
                <a:moveTo>
                  <a:pt x="1576606" y="2778202"/>
                </a:moveTo>
                <a:cubicBezTo>
                  <a:pt x="1576606" y="2778795"/>
                  <a:pt x="1663394" y="2792670"/>
                  <a:pt x="1663394" y="2778202"/>
                </a:cubicBezTo>
                <a:lnTo>
                  <a:pt x="1663394" y="2776423"/>
                </a:lnTo>
                <a:cubicBezTo>
                  <a:pt x="2185083" y="2605634"/>
                  <a:pt x="2444552" y="2500589"/>
                  <a:pt x="2991331" y="2709748"/>
                </a:cubicBezTo>
                <a:lnTo>
                  <a:pt x="3000856" y="526981"/>
                </a:lnTo>
                <a:lnTo>
                  <a:pt x="2855082" y="526981"/>
                </a:lnTo>
                <a:cubicBezTo>
                  <a:pt x="2857178" y="1175360"/>
                  <a:pt x="2859273" y="1823738"/>
                  <a:pt x="2861369" y="2472117"/>
                </a:cubicBezTo>
                <a:cubicBezTo>
                  <a:pt x="2483869" y="2318121"/>
                  <a:pt x="2052449" y="2439541"/>
                  <a:pt x="1663394" y="2765302"/>
                </a:cubicBezTo>
                <a:lnTo>
                  <a:pt x="1663394" y="526981"/>
                </a:lnTo>
                <a:lnTo>
                  <a:pt x="1663394" y="430441"/>
                </a:lnTo>
                <a:lnTo>
                  <a:pt x="1663394" y="402054"/>
                </a:lnTo>
                <a:cubicBezTo>
                  <a:pt x="1896442" y="149589"/>
                  <a:pt x="2115835" y="2106"/>
                  <a:pt x="2406065" y="22"/>
                </a:cubicBezTo>
                <a:cubicBezTo>
                  <a:pt x="2537987" y="-925"/>
                  <a:pt x="2684544" y="28169"/>
                  <a:pt x="2853673" y="91100"/>
                </a:cubicBezTo>
                <a:cubicBezTo>
                  <a:pt x="2854039" y="204214"/>
                  <a:pt x="2854404" y="317327"/>
                  <a:pt x="2854770" y="430441"/>
                </a:cubicBezTo>
                <a:lnTo>
                  <a:pt x="3120669" y="428517"/>
                </a:lnTo>
                <a:lnTo>
                  <a:pt x="3120669" y="738345"/>
                </a:lnTo>
                <a:lnTo>
                  <a:pt x="3239999" y="738345"/>
                </a:lnTo>
                <a:lnTo>
                  <a:pt x="3239999" y="3032924"/>
                </a:lnTo>
                <a:lnTo>
                  <a:pt x="0" y="3032924"/>
                </a:lnTo>
                <a:lnTo>
                  <a:pt x="0" y="738345"/>
                </a:lnTo>
                <a:lnTo>
                  <a:pt x="102477" y="738345"/>
                </a:lnTo>
                <a:lnTo>
                  <a:pt x="102477" y="428517"/>
                </a:lnTo>
                <a:lnTo>
                  <a:pt x="385229" y="430441"/>
                </a:lnTo>
                <a:cubicBezTo>
                  <a:pt x="385595" y="317327"/>
                  <a:pt x="385960" y="204214"/>
                  <a:pt x="386326" y="91100"/>
                </a:cubicBezTo>
                <a:cubicBezTo>
                  <a:pt x="555455" y="28169"/>
                  <a:pt x="702013" y="-925"/>
                  <a:pt x="833935" y="22"/>
                </a:cubicBezTo>
                <a:cubicBezTo>
                  <a:pt x="1124164" y="2106"/>
                  <a:pt x="1343558" y="149589"/>
                  <a:pt x="1576606" y="402054"/>
                </a:cubicBezTo>
                <a:lnTo>
                  <a:pt x="1576606" y="430441"/>
                </a:lnTo>
                <a:lnTo>
                  <a:pt x="1576606" y="526981"/>
                </a:lnTo>
                <a:lnTo>
                  <a:pt x="1576606" y="2765302"/>
                </a:lnTo>
                <a:cubicBezTo>
                  <a:pt x="1187550" y="2439541"/>
                  <a:pt x="756130" y="2318121"/>
                  <a:pt x="378630" y="2472117"/>
                </a:cubicBezTo>
                <a:lnTo>
                  <a:pt x="384918" y="526981"/>
                </a:lnTo>
                <a:lnTo>
                  <a:pt x="239143" y="526981"/>
                </a:lnTo>
                <a:lnTo>
                  <a:pt x="229618" y="2690698"/>
                </a:lnTo>
                <a:cubicBezTo>
                  <a:pt x="773243" y="2466244"/>
                  <a:pt x="1081748" y="2626096"/>
                  <a:pt x="1576606" y="277642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41" name="Oval 21">
            <a:extLst>
              <a:ext uri="{FF2B5EF4-FFF2-40B4-BE49-F238E27FC236}">
                <a16:creationId xmlns:a16="http://schemas.microsoft.com/office/drawing/2014/main" id="{0D7F3BC7-EB6D-4495-98E4-941ADE8D96AD}"/>
              </a:ext>
            </a:extLst>
          </p:cNvPr>
          <p:cNvSpPr>
            <a:spLocks noChangeAspect="1"/>
          </p:cNvSpPr>
          <p:nvPr/>
        </p:nvSpPr>
        <p:spPr>
          <a:xfrm>
            <a:off x="4801607" y="4529377"/>
            <a:ext cx="222856" cy="224717"/>
          </a:xfrm>
          <a:custGeom>
            <a:avLst/>
            <a:gdLst/>
            <a:ahLst/>
            <a:cxnLst/>
            <a:rect l="l" t="t" r="r" b="b"/>
            <a:pathLst>
              <a:path w="1652142" h="1665940">
                <a:moveTo>
                  <a:pt x="898689" y="548008"/>
                </a:moveTo>
                <a:cubicBezTo>
                  <a:pt x="737950" y="504938"/>
                  <a:pt x="572731" y="600328"/>
                  <a:pt x="529661" y="761066"/>
                </a:cubicBezTo>
                <a:cubicBezTo>
                  <a:pt x="486591" y="921805"/>
                  <a:pt x="581980" y="1087025"/>
                  <a:pt x="742719" y="1130094"/>
                </a:cubicBezTo>
                <a:cubicBezTo>
                  <a:pt x="903458" y="1173164"/>
                  <a:pt x="1068677" y="1077775"/>
                  <a:pt x="1111747" y="917036"/>
                </a:cubicBezTo>
                <a:cubicBezTo>
                  <a:pt x="1154817" y="756297"/>
                  <a:pt x="1059428" y="591077"/>
                  <a:pt x="898689" y="548008"/>
                </a:cubicBezTo>
                <a:close/>
                <a:moveTo>
                  <a:pt x="952303" y="347916"/>
                </a:moveTo>
                <a:cubicBezTo>
                  <a:pt x="1223549" y="420596"/>
                  <a:pt x="1384519" y="699404"/>
                  <a:pt x="1311839" y="970650"/>
                </a:cubicBezTo>
                <a:cubicBezTo>
                  <a:pt x="1239159" y="1241896"/>
                  <a:pt x="960351" y="1402866"/>
                  <a:pt x="689105" y="1330186"/>
                </a:cubicBezTo>
                <a:cubicBezTo>
                  <a:pt x="417859" y="1257506"/>
                  <a:pt x="256889" y="978698"/>
                  <a:pt x="329569" y="707451"/>
                </a:cubicBezTo>
                <a:cubicBezTo>
                  <a:pt x="402249" y="436205"/>
                  <a:pt x="681057" y="275235"/>
                  <a:pt x="952303" y="347916"/>
                </a:cubicBezTo>
                <a:close/>
                <a:moveTo>
                  <a:pt x="971799" y="275155"/>
                </a:moveTo>
                <a:cubicBezTo>
                  <a:pt x="660368" y="191707"/>
                  <a:pt x="340256" y="376524"/>
                  <a:pt x="256808" y="687955"/>
                </a:cubicBezTo>
                <a:cubicBezTo>
                  <a:pt x="173361" y="999387"/>
                  <a:pt x="358178" y="1319499"/>
                  <a:pt x="669609" y="1402947"/>
                </a:cubicBezTo>
                <a:cubicBezTo>
                  <a:pt x="981040" y="1486395"/>
                  <a:pt x="1301152" y="1301577"/>
                  <a:pt x="1384600" y="990146"/>
                </a:cubicBezTo>
                <a:cubicBezTo>
                  <a:pt x="1468047" y="678715"/>
                  <a:pt x="1283230" y="358603"/>
                  <a:pt x="971799" y="275155"/>
                </a:cubicBezTo>
                <a:close/>
                <a:moveTo>
                  <a:pt x="1652142" y="394531"/>
                </a:moveTo>
                <a:lnTo>
                  <a:pt x="1649662" y="403784"/>
                </a:lnTo>
                <a:lnTo>
                  <a:pt x="1647140" y="399895"/>
                </a:lnTo>
                <a:close/>
                <a:moveTo>
                  <a:pt x="1158157" y="65026"/>
                </a:moveTo>
                <a:lnTo>
                  <a:pt x="1154679" y="271718"/>
                </a:lnTo>
                <a:lnTo>
                  <a:pt x="1148331" y="270017"/>
                </a:lnTo>
                <a:cubicBezTo>
                  <a:pt x="1200055" y="299127"/>
                  <a:pt x="1246804" y="334821"/>
                  <a:pt x="1286346" y="377149"/>
                </a:cubicBezTo>
                <a:lnTo>
                  <a:pt x="1470353" y="331395"/>
                </a:lnTo>
                <a:lnTo>
                  <a:pt x="1588305" y="553229"/>
                </a:lnTo>
                <a:lnTo>
                  <a:pt x="1457194" y="671432"/>
                </a:lnTo>
                <a:cubicBezTo>
                  <a:pt x="1473630" y="731297"/>
                  <a:pt x="1481376" y="793983"/>
                  <a:pt x="1478595" y="857704"/>
                </a:cubicBezTo>
                <a:lnTo>
                  <a:pt x="1642362" y="948616"/>
                </a:lnTo>
                <a:lnTo>
                  <a:pt x="1577335" y="1191298"/>
                </a:lnTo>
                <a:lnTo>
                  <a:pt x="1378614" y="1187955"/>
                </a:lnTo>
                <a:cubicBezTo>
                  <a:pt x="1353489" y="1229936"/>
                  <a:pt x="1323048" y="1267799"/>
                  <a:pt x="1288939" y="1301599"/>
                </a:cubicBezTo>
                <a:lnTo>
                  <a:pt x="1354201" y="1471932"/>
                </a:lnTo>
                <a:lnTo>
                  <a:pt x="1148396" y="1616039"/>
                </a:lnTo>
                <a:lnTo>
                  <a:pt x="992294" y="1480516"/>
                </a:lnTo>
                <a:lnTo>
                  <a:pt x="1011291" y="1467215"/>
                </a:lnTo>
                <a:cubicBezTo>
                  <a:pt x="951500" y="1486565"/>
                  <a:pt x="888271" y="1495869"/>
                  <a:pt x="823805" y="1495510"/>
                </a:cubicBezTo>
                <a:lnTo>
                  <a:pt x="729193" y="1665940"/>
                </a:lnTo>
                <a:lnTo>
                  <a:pt x="486511" y="1600914"/>
                </a:lnTo>
                <a:lnTo>
                  <a:pt x="489790" y="1406012"/>
                </a:lnTo>
                <a:cubicBezTo>
                  <a:pt x="438364" y="1376702"/>
                  <a:pt x="391917" y="1340859"/>
                  <a:pt x="352658" y="1298452"/>
                </a:cubicBezTo>
                <a:lnTo>
                  <a:pt x="355803" y="1305197"/>
                </a:lnTo>
                <a:lnTo>
                  <a:pt x="152856" y="1344512"/>
                </a:lnTo>
                <a:lnTo>
                  <a:pt x="46675" y="1116809"/>
                </a:lnTo>
                <a:lnTo>
                  <a:pt x="183929" y="1005520"/>
                </a:lnTo>
                <a:cubicBezTo>
                  <a:pt x="169279" y="951824"/>
                  <a:pt x="161626" y="895865"/>
                  <a:pt x="161615" y="838915"/>
                </a:cubicBezTo>
                <a:lnTo>
                  <a:pt x="0" y="749197"/>
                </a:lnTo>
                <a:lnTo>
                  <a:pt x="65026" y="506515"/>
                </a:lnTo>
                <a:lnTo>
                  <a:pt x="250227" y="509630"/>
                </a:lnTo>
                <a:cubicBezTo>
                  <a:pt x="275353" y="465291"/>
                  <a:pt x="305693" y="424864"/>
                  <a:pt x="340015" y="388679"/>
                </a:cubicBezTo>
                <a:lnTo>
                  <a:pt x="277984" y="197357"/>
                </a:lnTo>
                <a:lnTo>
                  <a:pt x="491050" y="64219"/>
                </a:lnTo>
                <a:lnTo>
                  <a:pt x="639843" y="207726"/>
                </a:lnTo>
                <a:lnTo>
                  <a:pt x="638348" y="208660"/>
                </a:lnTo>
                <a:cubicBezTo>
                  <a:pt x="696840" y="190256"/>
                  <a:pt x="758594" y="181748"/>
                  <a:pt x="821488" y="182440"/>
                </a:cubicBezTo>
                <a:lnTo>
                  <a:pt x="815140" y="180739"/>
                </a:lnTo>
                <a:lnTo>
                  <a:pt x="91547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44" name="Diamond 5">
            <a:extLst>
              <a:ext uri="{FF2B5EF4-FFF2-40B4-BE49-F238E27FC236}">
                <a16:creationId xmlns:a16="http://schemas.microsoft.com/office/drawing/2014/main" id="{F0716042-DB43-463C-A89D-4A3F81F2CC2C}"/>
              </a:ext>
            </a:extLst>
          </p:cNvPr>
          <p:cNvSpPr/>
          <p:nvPr/>
        </p:nvSpPr>
        <p:spPr>
          <a:xfrm>
            <a:off x="5501527" y="3671556"/>
            <a:ext cx="446392" cy="456943"/>
          </a:xfrm>
          <a:custGeom>
            <a:avLst/>
            <a:gdLst/>
            <a:ahLst/>
            <a:cxnLst/>
            <a:rect l="l" t="t" r="r" b="b"/>
            <a:pathLst>
              <a:path w="3240001" h="3249575">
                <a:moveTo>
                  <a:pt x="1275349" y="2002569"/>
                </a:moveTo>
                <a:lnTo>
                  <a:pt x="1625117" y="2233002"/>
                </a:lnTo>
                <a:lnTo>
                  <a:pt x="1968772" y="2006596"/>
                </a:lnTo>
                <a:lnTo>
                  <a:pt x="3240001" y="3249575"/>
                </a:lnTo>
                <a:lnTo>
                  <a:pt x="0" y="3249575"/>
                </a:lnTo>
                <a:close/>
                <a:moveTo>
                  <a:pt x="1067116" y="1473605"/>
                </a:moveTo>
                <a:lnTo>
                  <a:pt x="1067116" y="1581605"/>
                </a:lnTo>
                <a:lnTo>
                  <a:pt x="2183116" y="1581605"/>
                </a:lnTo>
                <a:lnTo>
                  <a:pt x="2183116" y="1473605"/>
                </a:lnTo>
                <a:close/>
                <a:moveTo>
                  <a:pt x="1067116" y="1267205"/>
                </a:moveTo>
                <a:lnTo>
                  <a:pt x="1067116" y="1375205"/>
                </a:lnTo>
                <a:lnTo>
                  <a:pt x="2183116" y="1375205"/>
                </a:lnTo>
                <a:lnTo>
                  <a:pt x="2183116" y="1267205"/>
                </a:lnTo>
                <a:close/>
                <a:moveTo>
                  <a:pt x="3240001" y="1172196"/>
                </a:moveTo>
                <a:lnTo>
                  <a:pt x="3240001" y="3142550"/>
                </a:lnTo>
                <a:lnTo>
                  <a:pt x="2026252" y="1968728"/>
                </a:lnTo>
                <a:lnTo>
                  <a:pt x="3049854" y="1294362"/>
                </a:lnTo>
                <a:close/>
                <a:moveTo>
                  <a:pt x="0" y="1172196"/>
                </a:moveTo>
                <a:lnTo>
                  <a:pt x="602850" y="1559516"/>
                </a:lnTo>
                <a:lnTo>
                  <a:pt x="1217896" y="1964719"/>
                </a:lnTo>
                <a:lnTo>
                  <a:pt x="0" y="3142550"/>
                </a:lnTo>
                <a:close/>
                <a:moveTo>
                  <a:pt x="1067116" y="1060805"/>
                </a:moveTo>
                <a:lnTo>
                  <a:pt x="1067116" y="1168805"/>
                </a:lnTo>
                <a:lnTo>
                  <a:pt x="2183116" y="1168805"/>
                </a:lnTo>
                <a:lnTo>
                  <a:pt x="2183116" y="1060805"/>
                </a:lnTo>
                <a:close/>
                <a:moveTo>
                  <a:pt x="869032" y="816137"/>
                </a:moveTo>
                <a:lnTo>
                  <a:pt x="2381200" y="816137"/>
                </a:lnTo>
                <a:lnTo>
                  <a:pt x="2381200" y="1623491"/>
                </a:lnTo>
                <a:lnTo>
                  <a:pt x="1668045" y="2093329"/>
                </a:lnTo>
                <a:lnTo>
                  <a:pt x="1625116" y="2121611"/>
                </a:lnTo>
                <a:lnTo>
                  <a:pt x="869032" y="1623491"/>
                </a:lnTo>
                <a:close/>
                <a:moveTo>
                  <a:pt x="1625116" y="0"/>
                </a:moveTo>
                <a:lnTo>
                  <a:pt x="3235286" y="1060806"/>
                </a:lnTo>
                <a:lnTo>
                  <a:pt x="2489212" y="1552331"/>
                </a:lnTo>
                <a:lnTo>
                  <a:pt x="2489212" y="708008"/>
                </a:lnTo>
                <a:lnTo>
                  <a:pt x="761020" y="708008"/>
                </a:lnTo>
                <a:lnTo>
                  <a:pt x="761020" y="1552331"/>
                </a:lnTo>
                <a:lnTo>
                  <a:pt x="14946" y="10608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45" name="Diamond 5">
            <a:extLst>
              <a:ext uri="{FF2B5EF4-FFF2-40B4-BE49-F238E27FC236}">
                <a16:creationId xmlns:a16="http://schemas.microsoft.com/office/drawing/2014/main" id="{C59EBC8E-CD28-4C97-A658-C0B3EBCD4B23}"/>
              </a:ext>
            </a:extLst>
          </p:cNvPr>
          <p:cNvSpPr/>
          <p:nvPr/>
        </p:nvSpPr>
        <p:spPr>
          <a:xfrm>
            <a:off x="7193159" y="3813370"/>
            <a:ext cx="232621" cy="235110"/>
          </a:xfrm>
          <a:custGeom>
            <a:avLst/>
            <a:gdLst/>
            <a:ahLst/>
            <a:cxnLst/>
            <a:rect l="l" t="t" r="r" b="b"/>
            <a:pathLst>
              <a:path w="3240001" h="3249575">
                <a:moveTo>
                  <a:pt x="1275349" y="2002569"/>
                </a:moveTo>
                <a:lnTo>
                  <a:pt x="1625117" y="2233002"/>
                </a:lnTo>
                <a:lnTo>
                  <a:pt x="1968772" y="2006596"/>
                </a:lnTo>
                <a:lnTo>
                  <a:pt x="3240001" y="3249575"/>
                </a:lnTo>
                <a:lnTo>
                  <a:pt x="0" y="3249575"/>
                </a:lnTo>
                <a:close/>
                <a:moveTo>
                  <a:pt x="1067116" y="1473605"/>
                </a:moveTo>
                <a:lnTo>
                  <a:pt x="1067116" y="1581605"/>
                </a:lnTo>
                <a:lnTo>
                  <a:pt x="2183116" y="1581605"/>
                </a:lnTo>
                <a:lnTo>
                  <a:pt x="2183116" y="1473605"/>
                </a:lnTo>
                <a:close/>
                <a:moveTo>
                  <a:pt x="1067116" y="1267205"/>
                </a:moveTo>
                <a:lnTo>
                  <a:pt x="1067116" y="1375205"/>
                </a:lnTo>
                <a:lnTo>
                  <a:pt x="2183116" y="1375205"/>
                </a:lnTo>
                <a:lnTo>
                  <a:pt x="2183116" y="1267205"/>
                </a:lnTo>
                <a:close/>
                <a:moveTo>
                  <a:pt x="3240001" y="1172196"/>
                </a:moveTo>
                <a:lnTo>
                  <a:pt x="3240001" y="3142550"/>
                </a:lnTo>
                <a:lnTo>
                  <a:pt x="2026252" y="1968728"/>
                </a:lnTo>
                <a:lnTo>
                  <a:pt x="3049854" y="1294362"/>
                </a:lnTo>
                <a:close/>
                <a:moveTo>
                  <a:pt x="0" y="1172196"/>
                </a:moveTo>
                <a:lnTo>
                  <a:pt x="602850" y="1559516"/>
                </a:lnTo>
                <a:lnTo>
                  <a:pt x="1217896" y="1964719"/>
                </a:lnTo>
                <a:lnTo>
                  <a:pt x="0" y="3142550"/>
                </a:lnTo>
                <a:close/>
                <a:moveTo>
                  <a:pt x="1067116" y="1060805"/>
                </a:moveTo>
                <a:lnTo>
                  <a:pt x="1067116" y="1168805"/>
                </a:lnTo>
                <a:lnTo>
                  <a:pt x="2183116" y="1168805"/>
                </a:lnTo>
                <a:lnTo>
                  <a:pt x="2183116" y="1060805"/>
                </a:lnTo>
                <a:close/>
                <a:moveTo>
                  <a:pt x="869032" y="816137"/>
                </a:moveTo>
                <a:lnTo>
                  <a:pt x="2381200" y="816137"/>
                </a:lnTo>
                <a:lnTo>
                  <a:pt x="2381200" y="1623491"/>
                </a:lnTo>
                <a:lnTo>
                  <a:pt x="1668045" y="2093329"/>
                </a:lnTo>
                <a:lnTo>
                  <a:pt x="1625116" y="2121611"/>
                </a:lnTo>
                <a:lnTo>
                  <a:pt x="869032" y="1623491"/>
                </a:lnTo>
                <a:close/>
                <a:moveTo>
                  <a:pt x="1625116" y="0"/>
                </a:moveTo>
                <a:lnTo>
                  <a:pt x="3235286" y="1060806"/>
                </a:lnTo>
                <a:lnTo>
                  <a:pt x="2489212" y="1552331"/>
                </a:lnTo>
                <a:lnTo>
                  <a:pt x="2489212" y="708008"/>
                </a:lnTo>
                <a:lnTo>
                  <a:pt x="761020" y="708008"/>
                </a:lnTo>
                <a:lnTo>
                  <a:pt x="761020" y="1552331"/>
                </a:lnTo>
                <a:lnTo>
                  <a:pt x="14946" y="10608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46" name="Rectangle 30">
            <a:extLst>
              <a:ext uri="{FF2B5EF4-FFF2-40B4-BE49-F238E27FC236}">
                <a16:creationId xmlns:a16="http://schemas.microsoft.com/office/drawing/2014/main" id="{550ED40F-F34A-4E9D-BA71-64C14F9D4EBC}"/>
              </a:ext>
            </a:extLst>
          </p:cNvPr>
          <p:cNvSpPr/>
          <p:nvPr/>
        </p:nvSpPr>
        <p:spPr>
          <a:xfrm>
            <a:off x="5501528" y="5131028"/>
            <a:ext cx="446392" cy="463135"/>
          </a:xfrm>
          <a:custGeom>
            <a:avLst/>
            <a:gdLst/>
            <a:ahLst/>
            <a:cxnLst/>
            <a:rect l="l" t="t" r="r" b="b"/>
            <a:pathLst>
              <a:path w="3240000" h="3230531">
                <a:moveTo>
                  <a:pt x="720000" y="2697973"/>
                </a:moveTo>
                <a:cubicBezTo>
                  <a:pt x="680235" y="2697973"/>
                  <a:pt x="648000" y="2730208"/>
                  <a:pt x="648000" y="2769973"/>
                </a:cubicBezTo>
                <a:cubicBezTo>
                  <a:pt x="648000" y="2809738"/>
                  <a:pt x="680235" y="2841973"/>
                  <a:pt x="720000" y="2841973"/>
                </a:cubicBezTo>
                <a:lnTo>
                  <a:pt x="2520000" y="2841973"/>
                </a:lnTo>
                <a:cubicBezTo>
                  <a:pt x="2559765" y="2841973"/>
                  <a:pt x="2592000" y="2809738"/>
                  <a:pt x="2592000" y="2769973"/>
                </a:cubicBezTo>
                <a:cubicBezTo>
                  <a:pt x="2592000" y="2730208"/>
                  <a:pt x="2559765" y="2697973"/>
                  <a:pt x="2520000" y="2697973"/>
                </a:cubicBezTo>
                <a:close/>
                <a:moveTo>
                  <a:pt x="720000" y="2366733"/>
                </a:moveTo>
                <a:cubicBezTo>
                  <a:pt x="680235" y="2366733"/>
                  <a:pt x="648000" y="2398968"/>
                  <a:pt x="648000" y="2438733"/>
                </a:cubicBezTo>
                <a:cubicBezTo>
                  <a:pt x="648000" y="2478498"/>
                  <a:pt x="680235" y="2510733"/>
                  <a:pt x="720000" y="2510733"/>
                </a:cubicBezTo>
                <a:lnTo>
                  <a:pt x="2520000" y="2510733"/>
                </a:lnTo>
                <a:cubicBezTo>
                  <a:pt x="2559765" y="2510733"/>
                  <a:pt x="2592000" y="2478498"/>
                  <a:pt x="2592000" y="2438733"/>
                </a:cubicBezTo>
                <a:cubicBezTo>
                  <a:pt x="2592000" y="2398968"/>
                  <a:pt x="2559765" y="2366733"/>
                  <a:pt x="2520000" y="2366733"/>
                </a:cubicBezTo>
                <a:close/>
                <a:moveTo>
                  <a:pt x="720000" y="2035493"/>
                </a:moveTo>
                <a:cubicBezTo>
                  <a:pt x="680235" y="2035493"/>
                  <a:pt x="648000" y="2067728"/>
                  <a:pt x="648000" y="2107493"/>
                </a:cubicBezTo>
                <a:cubicBezTo>
                  <a:pt x="648000" y="2147258"/>
                  <a:pt x="680235" y="2179493"/>
                  <a:pt x="720000" y="2179493"/>
                </a:cubicBezTo>
                <a:lnTo>
                  <a:pt x="2520000" y="2179493"/>
                </a:lnTo>
                <a:cubicBezTo>
                  <a:pt x="2559765" y="2179493"/>
                  <a:pt x="2592000" y="2147258"/>
                  <a:pt x="2592000" y="2107493"/>
                </a:cubicBezTo>
                <a:cubicBezTo>
                  <a:pt x="2592000" y="2067728"/>
                  <a:pt x="2559765" y="2035493"/>
                  <a:pt x="2520000" y="2035493"/>
                </a:cubicBezTo>
                <a:close/>
                <a:moveTo>
                  <a:pt x="720000" y="1704253"/>
                </a:moveTo>
                <a:cubicBezTo>
                  <a:pt x="680235" y="1704253"/>
                  <a:pt x="648000" y="1736488"/>
                  <a:pt x="648000" y="1776253"/>
                </a:cubicBezTo>
                <a:cubicBezTo>
                  <a:pt x="648000" y="1816018"/>
                  <a:pt x="680235" y="1848253"/>
                  <a:pt x="720000" y="1848253"/>
                </a:cubicBezTo>
                <a:lnTo>
                  <a:pt x="2520000" y="1848253"/>
                </a:lnTo>
                <a:cubicBezTo>
                  <a:pt x="2559765" y="1848253"/>
                  <a:pt x="2592000" y="1816018"/>
                  <a:pt x="2592000" y="1776253"/>
                </a:cubicBezTo>
                <a:cubicBezTo>
                  <a:pt x="2592000" y="1736488"/>
                  <a:pt x="2559765" y="1704253"/>
                  <a:pt x="2520000" y="1704253"/>
                </a:cubicBezTo>
                <a:close/>
                <a:moveTo>
                  <a:pt x="720000" y="1373013"/>
                </a:moveTo>
                <a:cubicBezTo>
                  <a:pt x="680235" y="1373013"/>
                  <a:pt x="648000" y="1405248"/>
                  <a:pt x="648000" y="1445013"/>
                </a:cubicBezTo>
                <a:cubicBezTo>
                  <a:pt x="648000" y="1484778"/>
                  <a:pt x="680235" y="1517013"/>
                  <a:pt x="720000" y="1517013"/>
                </a:cubicBezTo>
                <a:lnTo>
                  <a:pt x="2520000" y="1517013"/>
                </a:lnTo>
                <a:cubicBezTo>
                  <a:pt x="2559765" y="1517013"/>
                  <a:pt x="2592000" y="1484778"/>
                  <a:pt x="2592000" y="1445013"/>
                </a:cubicBezTo>
                <a:cubicBezTo>
                  <a:pt x="2592000" y="1405248"/>
                  <a:pt x="2559765" y="1373013"/>
                  <a:pt x="2520000" y="1373013"/>
                </a:cubicBezTo>
                <a:close/>
                <a:moveTo>
                  <a:pt x="720000" y="1041773"/>
                </a:moveTo>
                <a:cubicBezTo>
                  <a:pt x="680235" y="1041773"/>
                  <a:pt x="648000" y="1074008"/>
                  <a:pt x="648000" y="1113773"/>
                </a:cubicBezTo>
                <a:cubicBezTo>
                  <a:pt x="648000" y="1153538"/>
                  <a:pt x="680235" y="1185773"/>
                  <a:pt x="720000" y="1185773"/>
                </a:cubicBezTo>
                <a:lnTo>
                  <a:pt x="2520000" y="1185773"/>
                </a:lnTo>
                <a:cubicBezTo>
                  <a:pt x="2559765" y="1185773"/>
                  <a:pt x="2592000" y="1153538"/>
                  <a:pt x="2592000" y="1113773"/>
                </a:cubicBezTo>
                <a:cubicBezTo>
                  <a:pt x="2592000" y="1074008"/>
                  <a:pt x="2559765" y="1041773"/>
                  <a:pt x="2520000" y="1041773"/>
                </a:cubicBezTo>
                <a:close/>
                <a:moveTo>
                  <a:pt x="0" y="305988"/>
                </a:moveTo>
                <a:lnTo>
                  <a:pt x="181957" y="305988"/>
                </a:lnTo>
                <a:lnTo>
                  <a:pt x="181957" y="470032"/>
                </a:lnTo>
                <a:cubicBezTo>
                  <a:pt x="181957" y="599267"/>
                  <a:pt x="286722" y="704032"/>
                  <a:pt x="415957" y="704032"/>
                </a:cubicBezTo>
                <a:cubicBezTo>
                  <a:pt x="545192" y="704032"/>
                  <a:pt x="649957" y="599267"/>
                  <a:pt x="649957" y="470032"/>
                </a:cubicBezTo>
                <a:lnTo>
                  <a:pt x="649957" y="305988"/>
                </a:lnTo>
                <a:lnTo>
                  <a:pt x="802357" y="305988"/>
                </a:lnTo>
                <a:lnTo>
                  <a:pt x="802357" y="470031"/>
                </a:lnTo>
                <a:cubicBezTo>
                  <a:pt x="802357" y="599266"/>
                  <a:pt x="907122" y="704031"/>
                  <a:pt x="1036357" y="704031"/>
                </a:cubicBezTo>
                <a:cubicBezTo>
                  <a:pt x="1165592" y="704031"/>
                  <a:pt x="1270357" y="599266"/>
                  <a:pt x="1270357" y="470031"/>
                </a:cubicBezTo>
                <a:lnTo>
                  <a:pt x="1270357" y="305988"/>
                </a:lnTo>
                <a:lnTo>
                  <a:pt x="1422757" y="305988"/>
                </a:lnTo>
                <a:lnTo>
                  <a:pt x="1422757" y="470030"/>
                </a:lnTo>
                <a:cubicBezTo>
                  <a:pt x="1422757" y="599265"/>
                  <a:pt x="1527522" y="704030"/>
                  <a:pt x="1656757" y="704030"/>
                </a:cubicBezTo>
                <a:cubicBezTo>
                  <a:pt x="1785992" y="704030"/>
                  <a:pt x="1890757" y="599265"/>
                  <a:pt x="1890757" y="470030"/>
                </a:cubicBezTo>
                <a:lnTo>
                  <a:pt x="1890757" y="305988"/>
                </a:lnTo>
                <a:lnTo>
                  <a:pt x="2043157" y="305988"/>
                </a:lnTo>
                <a:lnTo>
                  <a:pt x="2043157" y="470029"/>
                </a:lnTo>
                <a:cubicBezTo>
                  <a:pt x="2043157" y="599264"/>
                  <a:pt x="2147922" y="704029"/>
                  <a:pt x="2277157" y="704029"/>
                </a:cubicBezTo>
                <a:cubicBezTo>
                  <a:pt x="2406392" y="704029"/>
                  <a:pt x="2511157" y="599264"/>
                  <a:pt x="2511157" y="470029"/>
                </a:cubicBezTo>
                <a:lnTo>
                  <a:pt x="2511157" y="305988"/>
                </a:lnTo>
                <a:lnTo>
                  <a:pt x="2663557" y="305988"/>
                </a:lnTo>
                <a:lnTo>
                  <a:pt x="2663557" y="470028"/>
                </a:lnTo>
                <a:cubicBezTo>
                  <a:pt x="2663557" y="599263"/>
                  <a:pt x="2768322" y="704028"/>
                  <a:pt x="2897557" y="704028"/>
                </a:cubicBezTo>
                <a:cubicBezTo>
                  <a:pt x="3026792" y="704028"/>
                  <a:pt x="3131557" y="599263"/>
                  <a:pt x="3131557" y="470028"/>
                </a:cubicBezTo>
                <a:lnTo>
                  <a:pt x="3131557" y="305988"/>
                </a:lnTo>
                <a:lnTo>
                  <a:pt x="3240000" y="305988"/>
                </a:lnTo>
                <a:lnTo>
                  <a:pt x="3240000" y="3230531"/>
                </a:lnTo>
                <a:lnTo>
                  <a:pt x="0" y="3230531"/>
                </a:lnTo>
                <a:close/>
                <a:moveTo>
                  <a:pt x="415957" y="4"/>
                </a:moveTo>
                <a:cubicBezTo>
                  <a:pt x="485545" y="4"/>
                  <a:pt x="541957" y="56416"/>
                  <a:pt x="541957" y="126004"/>
                </a:cubicBezTo>
                <a:lnTo>
                  <a:pt x="541957" y="485972"/>
                </a:lnTo>
                <a:cubicBezTo>
                  <a:pt x="541957" y="555560"/>
                  <a:pt x="485545" y="611972"/>
                  <a:pt x="415957" y="611972"/>
                </a:cubicBezTo>
                <a:cubicBezTo>
                  <a:pt x="346369" y="611972"/>
                  <a:pt x="289957" y="555560"/>
                  <a:pt x="289957" y="485972"/>
                </a:cubicBezTo>
                <a:lnTo>
                  <a:pt x="289957" y="126004"/>
                </a:lnTo>
                <a:cubicBezTo>
                  <a:pt x="289957" y="56416"/>
                  <a:pt x="346369" y="4"/>
                  <a:pt x="415957" y="4"/>
                </a:cubicBezTo>
                <a:close/>
                <a:moveTo>
                  <a:pt x="1036357" y="3"/>
                </a:moveTo>
                <a:cubicBezTo>
                  <a:pt x="1105945" y="3"/>
                  <a:pt x="1162357" y="56415"/>
                  <a:pt x="1162357" y="126003"/>
                </a:cubicBezTo>
                <a:lnTo>
                  <a:pt x="1162357" y="485971"/>
                </a:lnTo>
                <a:cubicBezTo>
                  <a:pt x="1162357" y="555559"/>
                  <a:pt x="1105945" y="611971"/>
                  <a:pt x="1036357" y="611971"/>
                </a:cubicBezTo>
                <a:cubicBezTo>
                  <a:pt x="966769" y="611971"/>
                  <a:pt x="910357" y="555559"/>
                  <a:pt x="910357" y="485971"/>
                </a:cubicBezTo>
                <a:lnTo>
                  <a:pt x="910357" y="126003"/>
                </a:lnTo>
                <a:cubicBezTo>
                  <a:pt x="910357" y="56415"/>
                  <a:pt x="966769" y="3"/>
                  <a:pt x="1036357" y="3"/>
                </a:cubicBezTo>
                <a:close/>
                <a:moveTo>
                  <a:pt x="1656757" y="2"/>
                </a:moveTo>
                <a:cubicBezTo>
                  <a:pt x="1726345" y="2"/>
                  <a:pt x="1782757" y="56414"/>
                  <a:pt x="1782757" y="126002"/>
                </a:cubicBezTo>
                <a:lnTo>
                  <a:pt x="1782757" y="485970"/>
                </a:lnTo>
                <a:cubicBezTo>
                  <a:pt x="1782757" y="555558"/>
                  <a:pt x="1726345" y="611970"/>
                  <a:pt x="1656757" y="611970"/>
                </a:cubicBezTo>
                <a:cubicBezTo>
                  <a:pt x="1587169" y="611970"/>
                  <a:pt x="1530757" y="555558"/>
                  <a:pt x="1530757" y="485970"/>
                </a:cubicBezTo>
                <a:lnTo>
                  <a:pt x="1530757" y="126002"/>
                </a:lnTo>
                <a:cubicBezTo>
                  <a:pt x="1530757" y="56414"/>
                  <a:pt x="1587169" y="2"/>
                  <a:pt x="1656757" y="2"/>
                </a:cubicBezTo>
                <a:close/>
                <a:moveTo>
                  <a:pt x="2277157" y="1"/>
                </a:moveTo>
                <a:cubicBezTo>
                  <a:pt x="2346745" y="1"/>
                  <a:pt x="2403157" y="56413"/>
                  <a:pt x="2403157" y="126001"/>
                </a:cubicBezTo>
                <a:lnTo>
                  <a:pt x="2403157" y="485969"/>
                </a:lnTo>
                <a:cubicBezTo>
                  <a:pt x="2403157" y="555557"/>
                  <a:pt x="2346745" y="611969"/>
                  <a:pt x="2277157" y="611969"/>
                </a:cubicBezTo>
                <a:cubicBezTo>
                  <a:pt x="2207569" y="611969"/>
                  <a:pt x="2151157" y="555557"/>
                  <a:pt x="2151157" y="485969"/>
                </a:cubicBezTo>
                <a:lnTo>
                  <a:pt x="2151157" y="126001"/>
                </a:lnTo>
                <a:cubicBezTo>
                  <a:pt x="2151157" y="56413"/>
                  <a:pt x="2207569" y="1"/>
                  <a:pt x="2277157" y="1"/>
                </a:cubicBezTo>
                <a:close/>
                <a:moveTo>
                  <a:pt x="2897557" y="0"/>
                </a:moveTo>
                <a:cubicBezTo>
                  <a:pt x="2967145" y="0"/>
                  <a:pt x="3023557" y="56412"/>
                  <a:pt x="3023557" y="126000"/>
                </a:cubicBezTo>
                <a:lnTo>
                  <a:pt x="3023557" y="485968"/>
                </a:lnTo>
                <a:cubicBezTo>
                  <a:pt x="3023557" y="555556"/>
                  <a:pt x="2967145" y="611968"/>
                  <a:pt x="2897557" y="611968"/>
                </a:cubicBezTo>
                <a:cubicBezTo>
                  <a:pt x="2827969" y="611968"/>
                  <a:pt x="2771557" y="555556"/>
                  <a:pt x="2771557" y="485968"/>
                </a:cubicBezTo>
                <a:lnTo>
                  <a:pt x="2771557" y="126000"/>
                </a:lnTo>
                <a:cubicBezTo>
                  <a:pt x="2771557" y="56412"/>
                  <a:pt x="2827969" y="0"/>
                  <a:pt x="289755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47" name="Rectangle 30">
            <a:extLst>
              <a:ext uri="{FF2B5EF4-FFF2-40B4-BE49-F238E27FC236}">
                <a16:creationId xmlns:a16="http://schemas.microsoft.com/office/drawing/2014/main" id="{827F7B57-E659-4FD6-B329-3D2923EDCF02}"/>
              </a:ext>
            </a:extLst>
          </p:cNvPr>
          <p:cNvSpPr/>
          <p:nvPr/>
        </p:nvSpPr>
        <p:spPr>
          <a:xfrm>
            <a:off x="7199927" y="5247999"/>
            <a:ext cx="217895" cy="202515"/>
          </a:xfrm>
          <a:custGeom>
            <a:avLst/>
            <a:gdLst/>
            <a:ahLst/>
            <a:cxnLst/>
            <a:rect l="l" t="t" r="r" b="b"/>
            <a:pathLst>
              <a:path w="3240000" h="3230531">
                <a:moveTo>
                  <a:pt x="720000" y="2697973"/>
                </a:moveTo>
                <a:cubicBezTo>
                  <a:pt x="680235" y="2697973"/>
                  <a:pt x="648000" y="2730208"/>
                  <a:pt x="648000" y="2769973"/>
                </a:cubicBezTo>
                <a:cubicBezTo>
                  <a:pt x="648000" y="2809738"/>
                  <a:pt x="680235" y="2841973"/>
                  <a:pt x="720000" y="2841973"/>
                </a:cubicBezTo>
                <a:lnTo>
                  <a:pt x="2520000" y="2841973"/>
                </a:lnTo>
                <a:cubicBezTo>
                  <a:pt x="2559765" y="2841973"/>
                  <a:pt x="2592000" y="2809738"/>
                  <a:pt x="2592000" y="2769973"/>
                </a:cubicBezTo>
                <a:cubicBezTo>
                  <a:pt x="2592000" y="2730208"/>
                  <a:pt x="2559765" y="2697973"/>
                  <a:pt x="2520000" y="2697973"/>
                </a:cubicBezTo>
                <a:close/>
                <a:moveTo>
                  <a:pt x="720000" y="2366733"/>
                </a:moveTo>
                <a:cubicBezTo>
                  <a:pt x="680235" y="2366733"/>
                  <a:pt x="648000" y="2398968"/>
                  <a:pt x="648000" y="2438733"/>
                </a:cubicBezTo>
                <a:cubicBezTo>
                  <a:pt x="648000" y="2478498"/>
                  <a:pt x="680235" y="2510733"/>
                  <a:pt x="720000" y="2510733"/>
                </a:cubicBezTo>
                <a:lnTo>
                  <a:pt x="2520000" y="2510733"/>
                </a:lnTo>
                <a:cubicBezTo>
                  <a:pt x="2559765" y="2510733"/>
                  <a:pt x="2592000" y="2478498"/>
                  <a:pt x="2592000" y="2438733"/>
                </a:cubicBezTo>
                <a:cubicBezTo>
                  <a:pt x="2592000" y="2398968"/>
                  <a:pt x="2559765" y="2366733"/>
                  <a:pt x="2520000" y="2366733"/>
                </a:cubicBezTo>
                <a:close/>
                <a:moveTo>
                  <a:pt x="720000" y="2035493"/>
                </a:moveTo>
                <a:cubicBezTo>
                  <a:pt x="680235" y="2035493"/>
                  <a:pt x="648000" y="2067728"/>
                  <a:pt x="648000" y="2107493"/>
                </a:cubicBezTo>
                <a:cubicBezTo>
                  <a:pt x="648000" y="2147258"/>
                  <a:pt x="680235" y="2179493"/>
                  <a:pt x="720000" y="2179493"/>
                </a:cubicBezTo>
                <a:lnTo>
                  <a:pt x="2520000" y="2179493"/>
                </a:lnTo>
                <a:cubicBezTo>
                  <a:pt x="2559765" y="2179493"/>
                  <a:pt x="2592000" y="2147258"/>
                  <a:pt x="2592000" y="2107493"/>
                </a:cubicBezTo>
                <a:cubicBezTo>
                  <a:pt x="2592000" y="2067728"/>
                  <a:pt x="2559765" y="2035493"/>
                  <a:pt x="2520000" y="2035493"/>
                </a:cubicBezTo>
                <a:close/>
                <a:moveTo>
                  <a:pt x="720000" y="1704253"/>
                </a:moveTo>
                <a:cubicBezTo>
                  <a:pt x="680235" y="1704253"/>
                  <a:pt x="648000" y="1736488"/>
                  <a:pt x="648000" y="1776253"/>
                </a:cubicBezTo>
                <a:cubicBezTo>
                  <a:pt x="648000" y="1816018"/>
                  <a:pt x="680235" y="1848253"/>
                  <a:pt x="720000" y="1848253"/>
                </a:cubicBezTo>
                <a:lnTo>
                  <a:pt x="2520000" y="1848253"/>
                </a:lnTo>
                <a:cubicBezTo>
                  <a:pt x="2559765" y="1848253"/>
                  <a:pt x="2592000" y="1816018"/>
                  <a:pt x="2592000" y="1776253"/>
                </a:cubicBezTo>
                <a:cubicBezTo>
                  <a:pt x="2592000" y="1736488"/>
                  <a:pt x="2559765" y="1704253"/>
                  <a:pt x="2520000" y="1704253"/>
                </a:cubicBezTo>
                <a:close/>
                <a:moveTo>
                  <a:pt x="720000" y="1373013"/>
                </a:moveTo>
                <a:cubicBezTo>
                  <a:pt x="680235" y="1373013"/>
                  <a:pt x="648000" y="1405248"/>
                  <a:pt x="648000" y="1445013"/>
                </a:cubicBezTo>
                <a:cubicBezTo>
                  <a:pt x="648000" y="1484778"/>
                  <a:pt x="680235" y="1517013"/>
                  <a:pt x="720000" y="1517013"/>
                </a:cubicBezTo>
                <a:lnTo>
                  <a:pt x="2520000" y="1517013"/>
                </a:lnTo>
                <a:cubicBezTo>
                  <a:pt x="2559765" y="1517013"/>
                  <a:pt x="2592000" y="1484778"/>
                  <a:pt x="2592000" y="1445013"/>
                </a:cubicBezTo>
                <a:cubicBezTo>
                  <a:pt x="2592000" y="1405248"/>
                  <a:pt x="2559765" y="1373013"/>
                  <a:pt x="2520000" y="1373013"/>
                </a:cubicBezTo>
                <a:close/>
                <a:moveTo>
                  <a:pt x="720000" y="1041773"/>
                </a:moveTo>
                <a:cubicBezTo>
                  <a:pt x="680235" y="1041773"/>
                  <a:pt x="648000" y="1074008"/>
                  <a:pt x="648000" y="1113773"/>
                </a:cubicBezTo>
                <a:cubicBezTo>
                  <a:pt x="648000" y="1153538"/>
                  <a:pt x="680235" y="1185773"/>
                  <a:pt x="720000" y="1185773"/>
                </a:cubicBezTo>
                <a:lnTo>
                  <a:pt x="2520000" y="1185773"/>
                </a:lnTo>
                <a:cubicBezTo>
                  <a:pt x="2559765" y="1185773"/>
                  <a:pt x="2592000" y="1153538"/>
                  <a:pt x="2592000" y="1113773"/>
                </a:cubicBezTo>
                <a:cubicBezTo>
                  <a:pt x="2592000" y="1074008"/>
                  <a:pt x="2559765" y="1041773"/>
                  <a:pt x="2520000" y="1041773"/>
                </a:cubicBezTo>
                <a:close/>
                <a:moveTo>
                  <a:pt x="0" y="305988"/>
                </a:moveTo>
                <a:lnTo>
                  <a:pt x="181957" y="305988"/>
                </a:lnTo>
                <a:lnTo>
                  <a:pt x="181957" y="470032"/>
                </a:lnTo>
                <a:cubicBezTo>
                  <a:pt x="181957" y="599267"/>
                  <a:pt x="286722" y="704032"/>
                  <a:pt x="415957" y="704032"/>
                </a:cubicBezTo>
                <a:cubicBezTo>
                  <a:pt x="545192" y="704032"/>
                  <a:pt x="649957" y="599267"/>
                  <a:pt x="649957" y="470032"/>
                </a:cubicBezTo>
                <a:lnTo>
                  <a:pt x="649957" y="305988"/>
                </a:lnTo>
                <a:lnTo>
                  <a:pt x="802357" y="305988"/>
                </a:lnTo>
                <a:lnTo>
                  <a:pt x="802357" y="470031"/>
                </a:lnTo>
                <a:cubicBezTo>
                  <a:pt x="802357" y="599266"/>
                  <a:pt x="907122" y="704031"/>
                  <a:pt x="1036357" y="704031"/>
                </a:cubicBezTo>
                <a:cubicBezTo>
                  <a:pt x="1165592" y="704031"/>
                  <a:pt x="1270357" y="599266"/>
                  <a:pt x="1270357" y="470031"/>
                </a:cubicBezTo>
                <a:lnTo>
                  <a:pt x="1270357" y="305988"/>
                </a:lnTo>
                <a:lnTo>
                  <a:pt x="1422757" y="305988"/>
                </a:lnTo>
                <a:lnTo>
                  <a:pt x="1422757" y="470030"/>
                </a:lnTo>
                <a:cubicBezTo>
                  <a:pt x="1422757" y="599265"/>
                  <a:pt x="1527522" y="704030"/>
                  <a:pt x="1656757" y="704030"/>
                </a:cubicBezTo>
                <a:cubicBezTo>
                  <a:pt x="1785992" y="704030"/>
                  <a:pt x="1890757" y="599265"/>
                  <a:pt x="1890757" y="470030"/>
                </a:cubicBezTo>
                <a:lnTo>
                  <a:pt x="1890757" y="305988"/>
                </a:lnTo>
                <a:lnTo>
                  <a:pt x="2043157" y="305988"/>
                </a:lnTo>
                <a:lnTo>
                  <a:pt x="2043157" y="470029"/>
                </a:lnTo>
                <a:cubicBezTo>
                  <a:pt x="2043157" y="599264"/>
                  <a:pt x="2147922" y="704029"/>
                  <a:pt x="2277157" y="704029"/>
                </a:cubicBezTo>
                <a:cubicBezTo>
                  <a:pt x="2406392" y="704029"/>
                  <a:pt x="2511157" y="599264"/>
                  <a:pt x="2511157" y="470029"/>
                </a:cubicBezTo>
                <a:lnTo>
                  <a:pt x="2511157" y="305988"/>
                </a:lnTo>
                <a:lnTo>
                  <a:pt x="2663557" y="305988"/>
                </a:lnTo>
                <a:lnTo>
                  <a:pt x="2663557" y="470028"/>
                </a:lnTo>
                <a:cubicBezTo>
                  <a:pt x="2663557" y="599263"/>
                  <a:pt x="2768322" y="704028"/>
                  <a:pt x="2897557" y="704028"/>
                </a:cubicBezTo>
                <a:cubicBezTo>
                  <a:pt x="3026792" y="704028"/>
                  <a:pt x="3131557" y="599263"/>
                  <a:pt x="3131557" y="470028"/>
                </a:cubicBezTo>
                <a:lnTo>
                  <a:pt x="3131557" y="305988"/>
                </a:lnTo>
                <a:lnTo>
                  <a:pt x="3240000" y="305988"/>
                </a:lnTo>
                <a:lnTo>
                  <a:pt x="3240000" y="3230531"/>
                </a:lnTo>
                <a:lnTo>
                  <a:pt x="0" y="3230531"/>
                </a:lnTo>
                <a:close/>
                <a:moveTo>
                  <a:pt x="415957" y="4"/>
                </a:moveTo>
                <a:cubicBezTo>
                  <a:pt x="485545" y="4"/>
                  <a:pt x="541957" y="56416"/>
                  <a:pt x="541957" y="126004"/>
                </a:cubicBezTo>
                <a:lnTo>
                  <a:pt x="541957" y="485972"/>
                </a:lnTo>
                <a:cubicBezTo>
                  <a:pt x="541957" y="555560"/>
                  <a:pt x="485545" y="611972"/>
                  <a:pt x="415957" y="611972"/>
                </a:cubicBezTo>
                <a:cubicBezTo>
                  <a:pt x="346369" y="611972"/>
                  <a:pt x="289957" y="555560"/>
                  <a:pt x="289957" y="485972"/>
                </a:cubicBezTo>
                <a:lnTo>
                  <a:pt x="289957" y="126004"/>
                </a:lnTo>
                <a:cubicBezTo>
                  <a:pt x="289957" y="56416"/>
                  <a:pt x="346369" y="4"/>
                  <a:pt x="415957" y="4"/>
                </a:cubicBezTo>
                <a:close/>
                <a:moveTo>
                  <a:pt x="1036357" y="3"/>
                </a:moveTo>
                <a:cubicBezTo>
                  <a:pt x="1105945" y="3"/>
                  <a:pt x="1162357" y="56415"/>
                  <a:pt x="1162357" y="126003"/>
                </a:cubicBezTo>
                <a:lnTo>
                  <a:pt x="1162357" y="485971"/>
                </a:lnTo>
                <a:cubicBezTo>
                  <a:pt x="1162357" y="555559"/>
                  <a:pt x="1105945" y="611971"/>
                  <a:pt x="1036357" y="611971"/>
                </a:cubicBezTo>
                <a:cubicBezTo>
                  <a:pt x="966769" y="611971"/>
                  <a:pt x="910357" y="555559"/>
                  <a:pt x="910357" y="485971"/>
                </a:cubicBezTo>
                <a:lnTo>
                  <a:pt x="910357" y="126003"/>
                </a:lnTo>
                <a:cubicBezTo>
                  <a:pt x="910357" y="56415"/>
                  <a:pt x="966769" y="3"/>
                  <a:pt x="1036357" y="3"/>
                </a:cubicBezTo>
                <a:close/>
                <a:moveTo>
                  <a:pt x="1656757" y="2"/>
                </a:moveTo>
                <a:cubicBezTo>
                  <a:pt x="1726345" y="2"/>
                  <a:pt x="1782757" y="56414"/>
                  <a:pt x="1782757" y="126002"/>
                </a:cubicBezTo>
                <a:lnTo>
                  <a:pt x="1782757" y="485970"/>
                </a:lnTo>
                <a:cubicBezTo>
                  <a:pt x="1782757" y="555558"/>
                  <a:pt x="1726345" y="611970"/>
                  <a:pt x="1656757" y="611970"/>
                </a:cubicBezTo>
                <a:cubicBezTo>
                  <a:pt x="1587169" y="611970"/>
                  <a:pt x="1530757" y="555558"/>
                  <a:pt x="1530757" y="485970"/>
                </a:cubicBezTo>
                <a:lnTo>
                  <a:pt x="1530757" y="126002"/>
                </a:lnTo>
                <a:cubicBezTo>
                  <a:pt x="1530757" y="56414"/>
                  <a:pt x="1587169" y="2"/>
                  <a:pt x="1656757" y="2"/>
                </a:cubicBezTo>
                <a:close/>
                <a:moveTo>
                  <a:pt x="2277157" y="1"/>
                </a:moveTo>
                <a:cubicBezTo>
                  <a:pt x="2346745" y="1"/>
                  <a:pt x="2403157" y="56413"/>
                  <a:pt x="2403157" y="126001"/>
                </a:cubicBezTo>
                <a:lnTo>
                  <a:pt x="2403157" y="485969"/>
                </a:lnTo>
                <a:cubicBezTo>
                  <a:pt x="2403157" y="555557"/>
                  <a:pt x="2346745" y="611969"/>
                  <a:pt x="2277157" y="611969"/>
                </a:cubicBezTo>
                <a:cubicBezTo>
                  <a:pt x="2207569" y="611969"/>
                  <a:pt x="2151157" y="555557"/>
                  <a:pt x="2151157" y="485969"/>
                </a:cubicBezTo>
                <a:lnTo>
                  <a:pt x="2151157" y="126001"/>
                </a:lnTo>
                <a:cubicBezTo>
                  <a:pt x="2151157" y="56413"/>
                  <a:pt x="2207569" y="1"/>
                  <a:pt x="2277157" y="1"/>
                </a:cubicBezTo>
                <a:close/>
                <a:moveTo>
                  <a:pt x="2897557" y="0"/>
                </a:moveTo>
                <a:cubicBezTo>
                  <a:pt x="2967145" y="0"/>
                  <a:pt x="3023557" y="56412"/>
                  <a:pt x="3023557" y="126000"/>
                </a:cubicBezTo>
                <a:lnTo>
                  <a:pt x="3023557" y="485968"/>
                </a:lnTo>
                <a:cubicBezTo>
                  <a:pt x="3023557" y="555556"/>
                  <a:pt x="2967145" y="611968"/>
                  <a:pt x="2897557" y="611968"/>
                </a:cubicBezTo>
                <a:cubicBezTo>
                  <a:pt x="2827969" y="611968"/>
                  <a:pt x="2771557" y="555556"/>
                  <a:pt x="2771557" y="485968"/>
                </a:cubicBezTo>
                <a:lnTo>
                  <a:pt x="2771557" y="126000"/>
                </a:lnTo>
                <a:cubicBezTo>
                  <a:pt x="2771557" y="56412"/>
                  <a:pt x="2827969" y="0"/>
                  <a:pt x="289755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31821937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D2C9B2-8D6C-482C-83A6-4B7B34D6DA1A}"/>
              </a:ext>
            </a:extLst>
          </p:cNvPr>
          <p:cNvSpPr txBox="1">
            <a:spLocks/>
          </p:cNvSpPr>
          <p:nvPr/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Why P-Office 2.0</a:t>
            </a:r>
          </a:p>
        </p:txBody>
      </p:sp>
      <p:grpSp>
        <p:nvGrpSpPr>
          <p:cNvPr id="3" name="그룹 76">
            <a:extLst>
              <a:ext uri="{FF2B5EF4-FFF2-40B4-BE49-F238E27FC236}">
                <a16:creationId xmlns:a16="http://schemas.microsoft.com/office/drawing/2014/main" id="{F2877C97-9549-4C66-8C6A-554A827A8315}"/>
              </a:ext>
            </a:extLst>
          </p:cNvPr>
          <p:cNvGrpSpPr/>
          <p:nvPr/>
        </p:nvGrpSpPr>
        <p:grpSpPr>
          <a:xfrm flipH="1">
            <a:off x="6244297" y="1806373"/>
            <a:ext cx="1211932" cy="2707164"/>
            <a:chOff x="4748872" y="1806373"/>
            <a:chExt cx="1211932" cy="2707164"/>
          </a:xfrm>
        </p:grpSpPr>
        <p:cxnSp>
          <p:nvCxnSpPr>
            <p:cNvPr id="4" name="Elbow Connector 49">
              <a:extLst>
                <a:ext uri="{FF2B5EF4-FFF2-40B4-BE49-F238E27FC236}">
                  <a16:creationId xmlns:a16="http://schemas.microsoft.com/office/drawing/2014/main" id="{357DE18C-89D9-456A-BE30-3A5A236DFE85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716625" y="3874095"/>
              <a:ext cx="671689" cy="607195"/>
            </a:xfrm>
            <a:prstGeom prst="bentConnector3">
              <a:avLst>
                <a:gd name="adj1" fmla="val 101050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Elbow Connector 50">
              <a:extLst>
                <a:ext uri="{FF2B5EF4-FFF2-40B4-BE49-F238E27FC236}">
                  <a16:creationId xmlns:a16="http://schemas.microsoft.com/office/drawing/2014/main" id="{6C50A5CC-5DE0-4FDC-B90C-DA62A36B8D4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068193" y="2620926"/>
              <a:ext cx="2707163" cy="1078058"/>
            </a:xfrm>
            <a:prstGeom prst="bentConnector3">
              <a:avLst>
                <a:gd name="adj1" fmla="val 99962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Elbow Connector 51">
              <a:extLst>
                <a:ext uri="{FF2B5EF4-FFF2-40B4-BE49-F238E27FC236}">
                  <a16:creationId xmlns:a16="http://schemas.microsoft.com/office/drawing/2014/main" id="{34A0D703-DFD4-4E3C-8F4C-B3D74A3D58F5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404557" y="3260679"/>
              <a:ext cx="1677348" cy="828368"/>
            </a:xfrm>
            <a:prstGeom prst="bentConnector3">
              <a:avLst>
                <a:gd name="adj1" fmla="val 99972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29FABFC-0D70-4C25-91E0-C0F0831FCF39}"/>
              </a:ext>
            </a:extLst>
          </p:cNvPr>
          <p:cNvGrpSpPr/>
          <p:nvPr/>
        </p:nvGrpSpPr>
        <p:grpSpPr>
          <a:xfrm>
            <a:off x="4500643" y="4644688"/>
            <a:ext cx="3220608" cy="1548961"/>
            <a:chOff x="2591472" y="4529905"/>
            <a:chExt cx="2892231" cy="1391027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6444504-E11D-4CBD-8235-35C720BC8F22}"/>
                </a:ext>
              </a:extLst>
            </p:cNvPr>
            <p:cNvGrpSpPr/>
            <p:nvPr userDrawn="1"/>
          </p:nvGrpSpPr>
          <p:grpSpPr>
            <a:xfrm>
              <a:off x="2591472" y="4529905"/>
              <a:ext cx="2513902" cy="1391026"/>
              <a:chOff x="1618104" y="4774278"/>
              <a:chExt cx="2513902" cy="1391026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DC9EAE07-35CF-442B-A4C4-8C0056D8137F}"/>
                  </a:ext>
                </a:extLst>
              </p:cNvPr>
              <p:cNvSpPr/>
              <p:nvPr userDrawn="1"/>
            </p:nvSpPr>
            <p:spPr>
              <a:xfrm>
                <a:off x="1919176" y="4818888"/>
                <a:ext cx="1881566" cy="117060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3567E08D-AC71-4836-9B21-A44889F17AEC}"/>
                  </a:ext>
                </a:extLst>
              </p:cNvPr>
              <p:cNvGrpSpPr/>
              <p:nvPr userDrawn="1"/>
            </p:nvGrpSpPr>
            <p:grpSpPr>
              <a:xfrm>
                <a:off x="1618104" y="4774278"/>
                <a:ext cx="2513902" cy="1391026"/>
                <a:chOff x="395536" y="2564904"/>
                <a:chExt cx="4749925" cy="2628292"/>
              </a:xfrm>
              <a:solidFill>
                <a:schemeClr val="tx1"/>
              </a:solidFill>
            </p:grpSpPr>
            <p:grpSp>
              <p:nvGrpSpPr>
                <p:cNvPr id="22" name="Group 21">
                  <a:extLst>
                    <a:ext uri="{FF2B5EF4-FFF2-40B4-BE49-F238E27FC236}">
                      <a16:creationId xmlns:a16="http://schemas.microsoft.com/office/drawing/2014/main" id="{67D03CD5-3004-478A-A6AC-57EE80F10A14}"/>
                    </a:ext>
                  </a:extLst>
                </p:cNvPr>
                <p:cNvGrpSpPr/>
                <p:nvPr userDrawn="1"/>
              </p:nvGrpSpPr>
              <p:grpSpPr>
                <a:xfrm>
                  <a:off x="395536" y="2564904"/>
                  <a:ext cx="4749925" cy="2628292"/>
                  <a:chOff x="395536" y="2204864"/>
                  <a:chExt cx="5400600" cy="2988332"/>
                </a:xfrm>
                <a:grpFill/>
              </p:grpSpPr>
              <p:sp>
                <p:nvSpPr>
                  <p:cNvPr id="24" name="Rounded Rectangle 3">
                    <a:extLst>
                      <a:ext uri="{FF2B5EF4-FFF2-40B4-BE49-F238E27FC236}">
                        <a16:creationId xmlns:a16="http://schemas.microsoft.com/office/drawing/2014/main" id="{064EE69B-BC8D-4345-94DD-61C7026352D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71600" y="2204864"/>
                    <a:ext cx="4248472" cy="27363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248472" h="2736304">
                        <a:moveTo>
                          <a:pt x="144016" y="144016"/>
                        </a:moveTo>
                        <a:lnTo>
                          <a:pt x="144016" y="2520280"/>
                        </a:lnTo>
                        <a:lnTo>
                          <a:pt x="4104456" y="2520280"/>
                        </a:lnTo>
                        <a:lnTo>
                          <a:pt x="4104456" y="144016"/>
                        </a:lnTo>
                        <a:close/>
                        <a:moveTo>
                          <a:pt x="119332" y="0"/>
                        </a:moveTo>
                        <a:lnTo>
                          <a:pt x="4129140" y="0"/>
                        </a:lnTo>
                        <a:cubicBezTo>
                          <a:pt x="4195045" y="0"/>
                          <a:pt x="4248472" y="53427"/>
                          <a:pt x="4248472" y="119332"/>
                        </a:cubicBezTo>
                        <a:lnTo>
                          <a:pt x="4248472" y="2736304"/>
                        </a:lnTo>
                        <a:lnTo>
                          <a:pt x="0" y="2736304"/>
                        </a:lnTo>
                        <a:lnTo>
                          <a:pt x="0" y="119332"/>
                        </a:lnTo>
                        <a:cubicBezTo>
                          <a:pt x="0" y="53427"/>
                          <a:pt x="53427" y="0"/>
                          <a:pt x="119332" y="0"/>
                        </a:cubicBezTo>
                        <a:close/>
                      </a:path>
                    </a:pathLst>
                  </a:custGeom>
                  <a:grpFill/>
                  <a:ln w="12700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/>
                    <a:endParaRPr lang="en-US" sz="2700"/>
                  </a:p>
                </p:txBody>
              </p:sp>
              <p:sp>
                <p:nvSpPr>
                  <p:cNvPr id="25" name="Rectangle 24">
                    <a:extLst>
                      <a:ext uri="{FF2B5EF4-FFF2-40B4-BE49-F238E27FC236}">
                        <a16:creationId xmlns:a16="http://schemas.microsoft.com/office/drawing/2014/main" id="{642CD209-D03E-4218-B4C7-976A32F0492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395536" y="4941168"/>
                    <a:ext cx="5400600" cy="144016"/>
                  </a:xfrm>
                  <a:prstGeom prst="rect">
                    <a:avLst/>
                  </a:prstGeom>
                  <a:grpFill/>
                  <a:ln w="12700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/>
                    <a:endParaRPr lang="en-US" sz="2700"/>
                  </a:p>
                </p:txBody>
              </p:sp>
              <p:sp>
                <p:nvSpPr>
                  <p:cNvPr id="26" name="Trapezoid 25">
                    <a:extLst>
                      <a:ext uri="{FF2B5EF4-FFF2-40B4-BE49-F238E27FC236}">
                        <a16:creationId xmlns:a16="http://schemas.microsoft.com/office/drawing/2014/main" id="{844F3BA8-82C4-4D86-B4BE-0B11658B4CC0}"/>
                      </a:ext>
                    </a:extLst>
                  </p:cNvPr>
                  <p:cNvSpPr/>
                  <p:nvPr userDrawn="1"/>
                </p:nvSpPr>
                <p:spPr>
                  <a:xfrm rot="10800000">
                    <a:off x="395536" y="5085184"/>
                    <a:ext cx="5400600" cy="108012"/>
                  </a:xfrm>
                  <a:prstGeom prst="trapezoid">
                    <a:avLst>
                      <a:gd name="adj" fmla="val 129851"/>
                    </a:avLst>
                  </a:prstGeom>
                  <a:grpFill/>
                  <a:ln w="12700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/>
                    <a:endParaRPr lang="en-US" sz="2700"/>
                  </a:p>
                </p:txBody>
              </p:sp>
            </p:grp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FB883921-CCBB-4149-B0B5-8A5C9C16BE0B}"/>
                    </a:ext>
                  </a:extLst>
                </p:cNvPr>
                <p:cNvSpPr/>
                <p:nvPr userDrawn="1"/>
              </p:nvSpPr>
              <p:spPr>
                <a:xfrm>
                  <a:off x="2518470" y="5009698"/>
                  <a:ext cx="504056" cy="45719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/>
                  <a:endParaRPr lang="en-US" sz="2700"/>
                </a:p>
              </p:txBody>
            </p:sp>
          </p:grp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DC1D9D5-7EF0-4030-89F1-11B750300A67}"/>
                </a:ext>
              </a:extLst>
            </p:cNvPr>
            <p:cNvGrpSpPr/>
            <p:nvPr userDrawn="1"/>
          </p:nvGrpSpPr>
          <p:grpSpPr>
            <a:xfrm>
              <a:off x="4346521" y="4706362"/>
              <a:ext cx="981407" cy="1214570"/>
              <a:chOff x="-1940789" y="4697306"/>
              <a:chExt cx="981407" cy="1214570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383F64E-863E-4866-BE3E-9D4A7ED8F5A4}"/>
                  </a:ext>
                </a:extLst>
              </p:cNvPr>
              <p:cNvSpPr/>
              <p:nvPr userDrawn="1"/>
            </p:nvSpPr>
            <p:spPr>
              <a:xfrm>
                <a:off x="-1881566" y="4758350"/>
                <a:ext cx="866582" cy="112494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9F751ED6-2FD3-43AA-B076-3117277D4F74}"/>
                  </a:ext>
                </a:extLst>
              </p:cNvPr>
              <p:cNvGrpSpPr/>
              <p:nvPr userDrawn="1"/>
            </p:nvGrpSpPr>
            <p:grpSpPr>
              <a:xfrm>
                <a:off x="-1940789" y="4697306"/>
                <a:ext cx="981407" cy="1214570"/>
                <a:chOff x="7452320" y="1988840"/>
                <a:chExt cx="1512168" cy="2088232"/>
              </a:xfrm>
            </p:grpSpPr>
            <p:sp>
              <p:nvSpPr>
                <p:cNvPr id="18" name="Rounded Rectangle 1">
                  <a:extLst>
                    <a:ext uri="{FF2B5EF4-FFF2-40B4-BE49-F238E27FC236}">
                      <a16:creationId xmlns:a16="http://schemas.microsoft.com/office/drawing/2014/main" id="{F3669B6E-7AD9-4ABB-B302-20BED01541F7}"/>
                    </a:ext>
                  </a:extLst>
                </p:cNvPr>
                <p:cNvSpPr/>
                <p:nvPr userDrawn="1"/>
              </p:nvSpPr>
              <p:spPr>
                <a:xfrm>
                  <a:off x="7452320" y="1988840"/>
                  <a:ext cx="1512168" cy="20882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12168" h="2088232">
                      <a:moveTo>
                        <a:pt x="167516" y="181585"/>
                      </a:moveTo>
                      <a:lnTo>
                        <a:pt x="167516" y="1906647"/>
                      </a:lnTo>
                      <a:lnTo>
                        <a:pt x="1344652" y="1906647"/>
                      </a:lnTo>
                      <a:lnTo>
                        <a:pt x="1344652" y="181585"/>
                      </a:lnTo>
                      <a:close/>
                      <a:moveTo>
                        <a:pt x="90110" y="0"/>
                      </a:moveTo>
                      <a:lnTo>
                        <a:pt x="1422058" y="0"/>
                      </a:lnTo>
                      <a:cubicBezTo>
                        <a:pt x="1471824" y="0"/>
                        <a:pt x="1512168" y="40344"/>
                        <a:pt x="1512168" y="90110"/>
                      </a:cubicBezTo>
                      <a:lnTo>
                        <a:pt x="1512168" y="1998122"/>
                      </a:lnTo>
                      <a:cubicBezTo>
                        <a:pt x="1512168" y="2047888"/>
                        <a:pt x="1471824" y="2088232"/>
                        <a:pt x="1422058" y="2088232"/>
                      </a:cubicBezTo>
                      <a:lnTo>
                        <a:pt x="90110" y="2088232"/>
                      </a:lnTo>
                      <a:cubicBezTo>
                        <a:pt x="40344" y="2088232"/>
                        <a:pt x="0" y="2047888"/>
                        <a:pt x="0" y="1998122"/>
                      </a:cubicBezTo>
                      <a:lnTo>
                        <a:pt x="0" y="90110"/>
                      </a:lnTo>
                      <a:cubicBezTo>
                        <a:pt x="0" y="40344"/>
                        <a:pt x="40344" y="0"/>
                        <a:pt x="90110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/>
                </a:p>
              </p:txBody>
            </p:sp>
            <p:sp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DFCECDE1-A601-4F5C-8A35-397D1092D002}"/>
                    </a:ext>
                  </a:extLst>
                </p:cNvPr>
                <p:cNvSpPr/>
                <p:nvPr userDrawn="1"/>
              </p:nvSpPr>
              <p:spPr>
                <a:xfrm>
                  <a:off x="8160965" y="3933056"/>
                  <a:ext cx="94878" cy="94878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/>
                </a:p>
              </p:txBody>
            </p: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1BED038-B8C8-49EA-A755-649BA1130E4B}"/>
                </a:ext>
              </a:extLst>
            </p:cNvPr>
            <p:cNvGrpSpPr/>
            <p:nvPr userDrawn="1"/>
          </p:nvGrpSpPr>
          <p:grpSpPr>
            <a:xfrm>
              <a:off x="5056500" y="5206313"/>
              <a:ext cx="427203" cy="711251"/>
              <a:chOff x="-684584" y="5278238"/>
              <a:chExt cx="427203" cy="711251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8C569ADE-7CE3-4DFE-A74F-8D0CE5B5BAD5}"/>
                  </a:ext>
                </a:extLst>
              </p:cNvPr>
              <p:cNvSpPr/>
              <p:nvPr userDrawn="1"/>
            </p:nvSpPr>
            <p:spPr>
              <a:xfrm>
                <a:off x="-648007" y="5329968"/>
                <a:ext cx="360040" cy="59105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93DF20B7-85FE-4BA1-AB5F-2801E9E0FAB9}"/>
                  </a:ext>
                </a:extLst>
              </p:cNvPr>
              <p:cNvGrpSpPr/>
              <p:nvPr userDrawn="1"/>
            </p:nvGrpSpPr>
            <p:grpSpPr>
              <a:xfrm>
                <a:off x="-684584" y="5278238"/>
                <a:ext cx="427203" cy="711251"/>
                <a:chOff x="701317" y="1844824"/>
                <a:chExt cx="2371375" cy="3948112"/>
              </a:xfrm>
            </p:grpSpPr>
            <p:sp>
              <p:nvSpPr>
                <p:cNvPr id="13" name="Freeform 6">
                  <a:extLst>
                    <a:ext uri="{FF2B5EF4-FFF2-40B4-BE49-F238E27FC236}">
                      <a16:creationId xmlns:a16="http://schemas.microsoft.com/office/drawing/2014/main" id="{AD9E9AFA-260D-4E20-8BD4-45562FEE39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1317" y="1844824"/>
                  <a:ext cx="2371375" cy="3948112"/>
                </a:xfrm>
                <a:custGeom>
                  <a:avLst/>
                  <a:gdLst>
                    <a:gd name="T0" fmla="*/ 530 w 566"/>
                    <a:gd name="T1" fmla="*/ 0 h 1053"/>
                    <a:gd name="T2" fmla="*/ 36 w 566"/>
                    <a:gd name="T3" fmla="*/ 0 h 1053"/>
                    <a:gd name="T4" fmla="*/ 0 w 566"/>
                    <a:gd name="T5" fmla="*/ 36 h 1053"/>
                    <a:gd name="T6" fmla="*/ 0 w 566"/>
                    <a:gd name="T7" fmla="*/ 1017 h 1053"/>
                    <a:gd name="T8" fmla="*/ 36 w 566"/>
                    <a:gd name="T9" fmla="*/ 1053 h 1053"/>
                    <a:gd name="T10" fmla="*/ 530 w 566"/>
                    <a:gd name="T11" fmla="*/ 1053 h 1053"/>
                    <a:gd name="T12" fmla="*/ 566 w 566"/>
                    <a:gd name="T13" fmla="*/ 1017 h 1053"/>
                    <a:gd name="T14" fmla="*/ 566 w 566"/>
                    <a:gd name="T15" fmla="*/ 36 h 1053"/>
                    <a:gd name="T16" fmla="*/ 530 w 566"/>
                    <a:gd name="T17" fmla="*/ 0 h 1053"/>
                    <a:gd name="T18" fmla="*/ 520 w 566"/>
                    <a:gd name="T19" fmla="*/ 911 h 1053"/>
                    <a:gd name="T20" fmla="*/ 48 w 566"/>
                    <a:gd name="T21" fmla="*/ 911 h 1053"/>
                    <a:gd name="T22" fmla="*/ 48 w 566"/>
                    <a:gd name="T23" fmla="*/ 108 h 1053"/>
                    <a:gd name="T24" fmla="*/ 520 w 566"/>
                    <a:gd name="T25" fmla="*/ 108 h 1053"/>
                    <a:gd name="T26" fmla="*/ 520 w 566"/>
                    <a:gd name="T27" fmla="*/ 911 h 10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66" h="1053">
                      <a:moveTo>
                        <a:pt x="530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6"/>
                        <a:pt x="0" y="36"/>
                      </a:cubicBezTo>
                      <a:cubicBezTo>
                        <a:pt x="0" y="1017"/>
                        <a:pt x="0" y="1017"/>
                        <a:pt x="0" y="1017"/>
                      </a:cubicBezTo>
                      <a:cubicBezTo>
                        <a:pt x="0" y="1037"/>
                        <a:pt x="16" y="1053"/>
                        <a:pt x="36" y="1053"/>
                      </a:cubicBezTo>
                      <a:cubicBezTo>
                        <a:pt x="530" y="1053"/>
                        <a:pt x="530" y="1053"/>
                        <a:pt x="530" y="1053"/>
                      </a:cubicBezTo>
                      <a:cubicBezTo>
                        <a:pt x="550" y="1053"/>
                        <a:pt x="566" y="1037"/>
                        <a:pt x="566" y="1017"/>
                      </a:cubicBezTo>
                      <a:cubicBezTo>
                        <a:pt x="566" y="36"/>
                        <a:pt x="566" y="36"/>
                        <a:pt x="566" y="36"/>
                      </a:cubicBezTo>
                      <a:cubicBezTo>
                        <a:pt x="566" y="16"/>
                        <a:pt x="550" y="0"/>
                        <a:pt x="530" y="0"/>
                      </a:cubicBezTo>
                      <a:close/>
                      <a:moveTo>
                        <a:pt x="520" y="911"/>
                      </a:moveTo>
                      <a:cubicBezTo>
                        <a:pt x="48" y="911"/>
                        <a:pt x="48" y="911"/>
                        <a:pt x="48" y="911"/>
                      </a:cubicBezTo>
                      <a:cubicBezTo>
                        <a:pt x="48" y="108"/>
                        <a:pt x="48" y="108"/>
                        <a:pt x="48" y="108"/>
                      </a:cubicBezTo>
                      <a:cubicBezTo>
                        <a:pt x="520" y="108"/>
                        <a:pt x="520" y="108"/>
                        <a:pt x="520" y="108"/>
                      </a:cubicBezTo>
                      <a:lnTo>
                        <a:pt x="520" y="911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700"/>
                </a:p>
              </p:txBody>
            </p:sp>
            <p:sp>
              <p:nvSpPr>
                <p:cNvPr id="14" name="Rounded Rectangle 60">
                  <a:extLst>
                    <a:ext uri="{FF2B5EF4-FFF2-40B4-BE49-F238E27FC236}">
                      <a16:creationId xmlns:a16="http://schemas.microsoft.com/office/drawing/2014/main" id="{4857E2C7-CC66-4824-8198-840FFD1C744D}"/>
                    </a:ext>
                  </a:extLst>
                </p:cNvPr>
                <p:cNvSpPr/>
                <p:nvPr/>
              </p:nvSpPr>
              <p:spPr>
                <a:xfrm>
                  <a:off x="1707005" y="2042848"/>
                  <a:ext cx="360000" cy="360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/>
                </a:p>
              </p:txBody>
            </p:sp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E71F4A89-7DF0-44A0-B02A-8575C76D8112}"/>
                    </a:ext>
                  </a:extLst>
                </p:cNvPr>
                <p:cNvSpPr/>
                <p:nvPr/>
              </p:nvSpPr>
              <p:spPr>
                <a:xfrm>
                  <a:off x="1715855" y="5362110"/>
                  <a:ext cx="342299" cy="342299"/>
                </a:xfrm>
                <a:prstGeom prst="ellipse">
                  <a:avLst/>
                </a:pr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/>
                </a:p>
              </p:txBody>
            </p:sp>
          </p:grpSp>
        </p:grpSp>
      </p:grpSp>
      <p:grpSp>
        <p:nvGrpSpPr>
          <p:cNvPr id="27" name="그룹 27">
            <a:extLst>
              <a:ext uri="{FF2B5EF4-FFF2-40B4-BE49-F238E27FC236}">
                <a16:creationId xmlns:a16="http://schemas.microsoft.com/office/drawing/2014/main" id="{3D73FF4D-1B4E-44DF-9409-FB9AFDE31756}"/>
              </a:ext>
            </a:extLst>
          </p:cNvPr>
          <p:cNvGrpSpPr/>
          <p:nvPr/>
        </p:nvGrpSpPr>
        <p:grpSpPr>
          <a:xfrm>
            <a:off x="4748872" y="1806373"/>
            <a:ext cx="1211932" cy="2707164"/>
            <a:chOff x="4748872" y="1806373"/>
            <a:chExt cx="1211932" cy="2707164"/>
          </a:xfrm>
        </p:grpSpPr>
        <p:cxnSp>
          <p:nvCxnSpPr>
            <p:cNvPr id="28" name="Elbow Connector 49">
              <a:extLst>
                <a:ext uri="{FF2B5EF4-FFF2-40B4-BE49-F238E27FC236}">
                  <a16:creationId xmlns:a16="http://schemas.microsoft.com/office/drawing/2014/main" id="{1B1FD608-9105-4447-BBEF-856F914AA886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716625" y="3874095"/>
              <a:ext cx="671689" cy="607195"/>
            </a:xfrm>
            <a:prstGeom prst="bentConnector3">
              <a:avLst>
                <a:gd name="adj1" fmla="val 101050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Elbow Connector 50">
              <a:extLst>
                <a:ext uri="{FF2B5EF4-FFF2-40B4-BE49-F238E27FC236}">
                  <a16:creationId xmlns:a16="http://schemas.microsoft.com/office/drawing/2014/main" id="{270113EC-89B4-48B4-A0FE-77E3394FF16D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068193" y="2620926"/>
              <a:ext cx="2707163" cy="1078058"/>
            </a:xfrm>
            <a:prstGeom prst="bentConnector3">
              <a:avLst>
                <a:gd name="adj1" fmla="val 99962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Elbow Connector 51">
              <a:extLst>
                <a:ext uri="{FF2B5EF4-FFF2-40B4-BE49-F238E27FC236}">
                  <a16:creationId xmlns:a16="http://schemas.microsoft.com/office/drawing/2014/main" id="{EA304CAE-B781-47D2-A2FB-790B6F589F8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404557" y="3260679"/>
              <a:ext cx="1677348" cy="828368"/>
            </a:xfrm>
            <a:prstGeom prst="bentConnector3">
              <a:avLst>
                <a:gd name="adj1" fmla="val 99972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Oval 30">
            <a:extLst>
              <a:ext uri="{FF2B5EF4-FFF2-40B4-BE49-F238E27FC236}">
                <a16:creationId xmlns:a16="http://schemas.microsoft.com/office/drawing/2014/main" id="{1DC44BFC-23DB-44F9-8AB5-65C0EC1EAD12}"/>
              </a:ext>
            </a:extLst>
          </p:cNvPr>
          <p:cNvSpPr/>
          <p:nvPr/>
        </p:nvSpPr>
        <p:spPr>
          <a:xfrm>
            <a:off x="4280881" y="1494699"/>
            <a:ext cx="671669" cy="671669"/>
          </a:xfrm>
          <a:prstGeom prst="ellipse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CE5C208-9F77-4AD5-BC97-F564C27186BC}"/>
              </a:ext>
            </a:extLst>
          </p:cNvPr>
          <p:cNvSpPr/>
          <p:nvPr/>
        </p:nvSpPr>
        <p:spPr>
          <a:xfrm>
            <a:off x="7259565" y="2500356"/>
            <a:ext cx="671669" cy="671669"/>
          </a:xfrm>
          <a:prstGeom prst="ellipse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0EF5891-834B-4BCB-A0E8-F9B395A28759}"/>
              </a:ext>
            </a:extLst>
          </p:cNvPr>
          <p:cNvSpPr/>
          <p:nvPr/>
        </p:nvSpPr>
        <p:spPr>
          <a:xfrm>
            <a:off x="7259565" y="3506035"/>
            <a:ext cx="671669" cy="671669"/>
          </a:xfrm>
          <a:prstGeom prst="ellipse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20C160F-38E3-4289-A374-B6E97DAC8ADB}"/>
              </a:ext>
            </a:extLst>
          </p:cNvPr>
          <p:cNvSpPr/>
          <p:nvPr/>
        </p:nvSpPr>
        <p:spPr>
          <a:xfrm>
            <a:off x="7259565" y="1494699"/>
            <a:ext cx="671669" cy="671669"/>
          </a:xfrm>
          <a:prstGeom prst="ellipse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DE0BBEB-43E0-4636-A84C-C42F5C383BA0}"/>
              </a:ext>
            </a:extLst>
          </p:cNvPr>
          <p:cNvSpPr/>
          <p:nvPr/>
        </p:nvSpPr>
        <p:spPr>
          <a:xfrm>
            <a:off x="4280881" y="2500356"/>
            <a:ext cx="671669" cy="671669"/>
          </a:xfrm>
          <a:prstGeom prst="ellipse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24E6051-3ACA-4236-AE14-92A5C0161CFB}"/>
              </a:ext>
            </a:extLst>
          </p:cNvPr>
          <p:cNvSpPr/>
          <p:nvPr/>
        </p:nvSpPr>
        <p:spPr>
          <a:xfrm>
            <a:off x="4280881" y="3506035"/>
            <a:ext cx="671669" cy="671669"/>
          </a:xfrm>
          <a:prstGeom prst="ellipse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37" name="Donut 15">
            <a:extLst>
              <a:ext uri="{FF2B5EF4-FFF2-40B4-BE49-F238E27FC236}">
                <a16:creationId xmlns:a16="http://schemas.microsoft.com/office/drawing/2014/main" id="{87FB07E7-7945-40AE-B6E7-F592C92CFFC9}"/>
              </a:ext>
            </a:extLst>
          </p:cNvPr>
          <p:cNvSpPr>
            <a:spLocks/>
          </p:cNvSpPr>
          <p:nvPr/>
        </p:nvSpPr>
        <p:spPr>
          <a:xfrm>
            <a:off x="4409240" y="2629066"/>
            <a:ext cx="414246" cy="414246"/>
          </a:xfrm>
          <a:custGeom>
            <a:avLst/>
            <a:gdLst/>
            <a:ahLst/>
            <a:cxnLst/>
            <a:rect l="l" t="t" r="r" b="b"/>
            <a:pathLst>
              <a:path w="3821708" h="3795110">
                <a:moveTo>
                  <a:pt x="1910854" y="903842"/>
                </a:moveTo>
                <a:lnTo>
                  <a:pt x="1793831" y="1129420"/>
                </a:lnTo>
                <a:lnTo>
                  <a:pt x="1791613" y="1129420"/>
                </a:lnTo>
                <a:lnTo>
                  <a:pt x="1791892" y="1133157"/>
                </a:lnTo>
                <a:lnTo>
                  <a:pt x="1791613" y="1133695"/>
                </a:lnTo>
                <a:lnTo>
                  <a:pt x="1791933" y="1133695"/>
                </a:lnTo>
                <a:lnTo>
                  <a:pt x="1833002" y="1683464"/>
                </a:lnTo>
                <a:cubicBezTo>
                  <a:pt x="1744939" y="1714584"/>
                  <a:pt x="1682254" y="1798749"/>
                  <a:pt x="1682254" y="1897555"/>
                </a:cubicBezTo>
                <a:cubicBezTo>
                  <a:pt x="1682254" y="2023808"/>
                  <a:pt x="1784602" y="2126156"/>
                  <a:pt x="1910855" y="2126156"/>
                </a:cubicBezTo>
                <a:cubicBezTo>
                  <a:pt x="1975561" y="2126156"/>
                  <a:pt x="2033988" y="2099273"/>
                  <a:pt x="2075304" y="2055803"/>
                </a:cubicBezTo>
                <a:lnTo>
                  <a:pt x="2443125" y="2288080"/>
                </a:lnTo>
                <a:lnTo>
                  <a:pt x="2443003" y="2288309"/>
                </a:lnTo>
                <a:lnTo>
                  <a:pt x="2443494" y="2288314"/>
                </a:lnTo>
                <a:lnTo>
                  <a:pt x="2446061" y="2289935"/>
                </a:lnTo>
                <a:lnTo>
                  <a:pt x="2446904" y="2288348"/>
                </a:lnTo>
                <a:lnTo>
                  <a:pt x="2652725" y="2290436"/>
                </a:lnTo>
                <a:lnTo>
                  <a:pt x="2535900" y="2120971"/>
                </a:lnTo>
                <a:lnTo>
                  <a:pt x="2536744" y="2119385"/>
                </a:lnTo>
                <a:lnTo>
                  <a:pt x="2533964" y="2118163"/>
                </a:lnTo>
                <a:lnTo>
                  <a:pt x="2533686" y="2117759"/>
                </a:lnTo>
                <a:lnTo>
                  <a:pt x="2533565" y="2117988"/>
                </a:lnTo>
                <a:lnTo>
                  <a:pt x="2134900" y="1942755"/>
                </a:lnTo>
                <a:cubicBezTo>
                  <a:pt x="2137918" y="1928156"/>
                  <a:pt x="2139456" y="1913035"/>
                  <a:pt x="2139456" y="1897555"/>
                </a:cubicBezTo>
                <a:cubicBezTo>
                  <a:pt x="2139456" y="1798748"/>
                  <a:pt x="2076770" y="1714583"/>
                  <a:pt x="1988706" y="1683463"/>
                </a:cubicBezTo>
                <a:lnTo>
                  <a:pt x="2029775" y="1133695"/>
                </a:lnTo>
                <a:lnTo>
                  <a:pt x="2030094" y="1133695"/>
                </a:lnTo>
                <a:lnTo>
                  <a:pt x="2029815" y="1133157"/>
                </a:lnTo>
                <a:lnTo>
                  <a:pt x="2030094" y="1129420"/>
                </a:lnTo>
                <a:lnTo>
                  <a:pt x="2027877" y="1129420"/>
                </a:lnTo>
                <a:close/>
                <a:moveTo>
                  <a:pt x="1910854" y="565406"/>
                </a:moveTo>
                <a:cubicBezTo>
                  <a:pt x="2646579" y="565406"/>
                  <a:pt x="3243002" y="1161829"/>
                  <a:pt x="3243002" y="1897554"/>
                </a:cubicBezTo>
                <a:cubicBezTo>
                  <a:pt x="3243002" y="2633279"/>
                  <a:pt x="2646579" y="3229702"/>
                  <a:pt x="1910854" y="3229702"/>
                </a:cubicBezTo>
                <a:cubicBezTo>
                  <a:pt x="1175129" y="3229702"/>
                  <a:pt x="578706" y="2633279"/>
                  <a:pt x="578706" y="1897554"/>
                </a:cubicBezTo>
                <a:cubicBezTo>
                  <a:pt x="578706" y="1161829"/>
                  <a:pt x="1175129" y="565406"/>
                  <a:pt x="1910854" y="565406"/>
                </a:cubicBezTo>
                <a:close/>
                <a:moveTo>
                  <a:pt x="1766837" y="367010"/>
                </a:moveTo>
                <a:cubicBezTo>
                  <a:pt x="1050362" y="432397"/>
                  <a:pt x="475174" y="981146"/>
                  <a:pt x="377476" y="1681610"/>
                </a:cubicBezTo>
                <a:lnTo>
                  <a:pt x="426306" y="1681610"/>
                </a:lnTo>
                <a:cubicBezTo>
                  <a:pt x="510474" y="1681610"/>
                  <a:pt x="578706" y="1746088"/>
                  <a:pt x="578706" y="1825626"/>
                </a:cubicBezTo>
                <a:cubicBezTo>
                  <a:pt x="578706" y="1905164"/>
                  <a:pt x="510474" y="1969642"/>
                  <a:pt x="426306" y="1969642"/>
                </a:cubicBezTo>
                <a:lnTo>
                  <a:pt x="364094" y="1969642"/>
                </a:lnTo>
                <a:cubicBezTo>
                  <a:pt x="398055" y="2738400"/>
                  <a:pt x="1003246" y="3359660"/>
                  <a:pt x="1769417" y="3427809"/>
                </a:cubicBezTo>
                <a:lnTo>
                  <a:pt x="1769417" y="3382101"/>
                </a:lnTo>
                <a:cubicBezTo>
                  <a:pt x="1769417" y="3297933"/>
                  <a:pt x="1833895" y="3229701"/>
                  <a:pt x="1913433" y="3229701"/>
                </a:cubicBezTo>
                <a:cubicBezTo>
                  <a:pt x="1992971" y="3229701"/>
                  <a:pt x="2057449" y="3297933"/>
                  <a:pt x="2057449" y="3382101"/>
                </a:cubicBezTo>
                <a:lnTo>
                  <a:pt x="2057449" y="3427707"/>
                </a:lnTo>
                <a:cubicBezTo>
                  <a:pt x="2804164" y="3358467"/>
                  <a:pt x="3396856" y="2764020"/>
                  <a:pt x="3455018" y="2020616"/>
                </a:cubicBezTo>
                <a:lnTo>
                  <a:pt x="3395402" y="2020616"/>
                </a:lnTo>
                <a:cubicBezTo>
                  <a:pt x="3311234" y="2020616"/>
                  <a:pt x="3243002" y="1956138"/>
                  <a:pt x="3243002" y="1876600"/>
                </a:cubicBezTo>
                <a:cubicBezTo>
                  <a:pt x="3243002" y="1797062"/>
                  <a:pt x="3311234" y="1732584"/>
                  <a:pt x="3395402" y="1732584"/>
                </a:cubicBezTo>
                <a:lnTo>
                  <a:pt x="3451747" y="1732584"/>
                </a:lnTo>
                <a:cubicBezTo>
                  <a:pt x="3374444" y="1008025"/>
                  <a:pt x="2788738" y="434055"/>
                  <a:pt x="2054869" y="367632"/>
                </a:cubicBezTo>
                <a:lnTo>
                  <a:pt x="2054869" y="407296"/>
                </a:lnTo>
                <a:cubicBezTo>
                  <a:pt x="2054869" y="491464"/>
                  <a:pt x="1990391" y="559696"/>
                  <a:pt x="1910853" y="559696"/>
                </a:cubicBezTo>
                <a:cubicBezTo>
                  <a:pt x="1831315" y="559696"/>
                  <a:pt x="1766837" y="491464"/>
                  <a:pt x="1766837" y="407296"/>
                </a:cubicBezTo>
                <a:close/>
                <a:moveTo>
                  <a:pt x="1910854" y="0"/>
                </a:moveTo>
                <a:cubicBezTo>
                  <a:pt x="2966190" y="0"/>
                  <a:pt x="3821708" y="849564"/>
                  <a:pt x="3821708" y="1897555"/>
                </a:cubicBezTo>
                <a:cubicBezTo>
                  <a:pt x="3821708" y="2945546"/>
                  <a:pt x="2966190" y="3795110"/>
                  <a:pt x="1910854" y="3795110"/>
                </a:cubicBezTo>
                <a:cubicBezTo>
                  <a:pt x="855518" y="3795110"/>
                  <a:pt x="0" y="2945546"/>
                  <a:pt x="0" y="1897555"/>
                </a:cubicBezTo>
                <a:cubicBezTo>
                  <a:pt x="0" y="849564"/>
                  <a:pt x="855518" y="0"/>
                  <a:pt x="191085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38" name="Rounded Rectangle 2">
            <a:extLst>
              <a:ext uri="{FF2B5EF4-FFF2-40B4-BE49-F238E27FC236}">
                <a16:creationId xmlns:a16="http://schemas.microsoft.com/office/drawing/2014/main" id="{CD928450-29AC-4D3E-AA44-4A676CFAED9A}"/>
              </a:ext>
            </a:extLst>
          </p:cNvPr>
          <p:cNvSpPr/>
          <p:nvPr/>
        </p:nvSpPr>
        <p:spPr>
          <a:xfrm>
            <a:off x="7416476" y="3663299"/>
            <a:ext cx="357141" cy="357141"/>
          </a:xfrm>
          <a:custGeom>
            <a:avLst/>
            <a:gdLst/>
            <a:ahLst/>
            <a:cxnLst/>
            <a:rect l="l" t="t" r="r" b="b"/>
            <a:pathLst>
              <a:path w="3960000" h="3960000">
                <a:moveTo>
                  <a:pt x="2784484" y="2487854"/>
                </a:moveTo>
                <a:cubicBezTo>
                  <a:pt x="2774989" y="2487391"/>
                  <a:pt x="2765365" y="2488860"/>
                  <a:pt x="2756439" y="2492301"/>
                </a:cubicBezTo>
                <a:cubicBezTo>
                  <a:pt x="2734854" y="2500620"/>
                  <a:pt x="2720969" y="2519027"/>
                  <a:pt x="2720969" y="2539323"/>
                </a:cubicBezTo>
                <a:lnTo>
                  <a:pt x="2718062" y="2539323"/>
                </a:lnTo>
                <a:lnTo>
                  <a:pt x="2718062" y="2636901"/>
                </a:lnTo>
                <a:lnTo>
                  <a:pt x="2844095" y="2636901"/>
                </a:lnTo>
                <a:lnTo>
                  <a:pt x="2844095" y="2547101"/>
                </a:lnTo>
                <a:lnTo>
                  <a:pt x="2840575" y="2546667"/>
                </a:lnTo>
                <a:cubicBezTo>
                  <a:pt x="2844038" y="2526031"/>
                  <a:pt x="2832667" y="2505637"/>
                  <a:pt x="2811763" y="2494994"/>
                </a:cubicBezTo>
                <a:cubicBezTo>
                  <a:pt x="2803348" y="2490709"/>
                  <a:pt x="2793980" y="2488316"/>
                  <a:pt x="2784484" y="2487854"/>
                </a:cubicBezTo>
                <a:close/>
                <a:moveTo>
                  <a:pt x="2218919" y="2459568"/>
                </a:moveTo>
                <a:cubicBezTo>
                  <a:pt x="2198232" y="2462191"/>
                  <a:pt x="2177586" y="2476073"/>
                  <a:pt x="2165645" y="2505359"/>
                </a:cubicBezTo>
                <a:lnTo>
                  <a:pt x="2165645" y="2981896"/>
                </a:lnTo>
                <a:cubicBezTo>
                  <a:pt x="2176061" y="3034481"/>
                  <a:pt x="2243614" y="3053730"/>
                  <a:pt x="2282578" y="2996778"/>
                </a:cubicBezTo>
                <a:lnTo>
                  <a:pt x="2282578" y="2521099"/>
                </a:lnTo>
                <a:cubicBezTo>
                  <a:pt x="2287988" y="2482101"/>
                  <a:pt x="2253397" y="2455196"/>
                  <a:pt x="2218919" y="2459568"/>
                </a:cubicBezTo>
                <a:close/>
                <a:moveTo>
                  <a:pt x="1724507" y="2341658"/>
                </a:moveTo>
                <a:lnTo>
                  <a:pt x="1886507" y="2341658"/>
                </a:lnTo>
                <a:lnTo>
                  <a:pt x="1886507" y="3157984"/>
                </a:lnTo>
                <a:lnTo>
                  <a:pt x="1724507" y="3157984"/>
                </a:lnTo>
                <a:lnTo>
                  <a:pt x="1724507" y="3071637"/>
                </a:lnTo>
                <a:cubicBezTo>
                  <a:pt x="1508936" y="3302583"/>
                  <a:pt x="1432071" y="3083964"/>
                  <a:pt x="1448980" y="3019402"/>
                </a:cubicBezTo>
                <a:cubicBezTo>
                  <a:pt x="1449173" y="3019371"/>
                  <a:pt x="1449367" y="3019341"/>
                  <a:pt x="1449560" y="3019310"/>
                </a:cubicBezTo>
                <a:lnTo>
                  <a:pt x="1449560" y="2341867"/>
                </a:lnTo>
                <a:lnTo>
                  <a:pt x="1611560" y="2341867"/>
                </a:lnTo>
                <a:lnTo>
                  <a:pt x="1611560" y="3005106"/>
                </a:lnTo>
                <a:cubicBezTo>
                  <a:pt x="1619060" y="3048622"/>
                  <a:pt x="1686890" y="2980715"/>
                  <a:pt x="1724507" y="2960399"/>
                </a:cubicBezTo>
                <a:close/>
                <a:moveTo>
                  <a:pt x="2794634" y="2323257"/>
                </a:moveTo>
                <a:cubicBezTo>
                  <a:pt x="2833672" y="2325523"/>
                  <a:pt x="2872097" y="2337568"/>
                  <a:pt x="2905793" y="2359152"/>
                </a:cubicBezTo>
                <a:cubicBezTo>
                  <a:pt x="2968205" y="2399130"/>
                  <a:pt x="3005231" y="2465918"/>
                  <a:pt x="3003877" y="2536796"/>
                </a:cubicBezTo>
                <a:lnTo>
                  <a:pt x="3006095" y="2536796"/>
                </a:lnTo>
                <a:lnTo>
                  <a:pt x="3006095" y="2785572"/>
                </a:lnTo>
                <a:lnTo>
                  <a:pt x="2925095" y="2785572"/>
                </a:lnTo>
                <a:lnTo>
                  <a:pt x="2844095" y="2785572"/>
                </a:lnTo>
                <a:lnTo>
                  <a:pt x="2718062" y="2785572"/>
                </a:lnTo>
                <a:lnTo>
                  <a:pt x="2718062" y="2967727"/>
                </a:lnTo>
                <a:lnTo>
                  <a:pt x="2721583" y="2968162"/>
                </a:lnTo>
                <a:cubicBezTo>
                  <a:pt x="2718120" y="2988798"/>
                  <a:pt x="2729491" y="3009192"/>
                  <a:pt x="2750395" y="3019835"/>
                </a:cubicBezTo>
                <a:cubicBezTo>
                  <a:pt x="2767225" y="3028404"/>
                  <a:pt x="2787866" y="3029409"/>
                  <a:pt x="2805719" y="3022528"/>
                </a:cubicBezTo>
                <a:cubicBezTo>
                  <a:pt x="2827304" y="3014209"/>
                  <a:pt x="2841189" y="2995802"/>
                  <a:pt x="2841189" y="2975506"/>
                </a:cubicBezTo>
                <a:lnTo>
                  <a:pt x="2843676" y="2975506"/>
                </a:lnTo>
                <a:lnTo>
                  <a:pt x="2843676" y="2857044"/>
                </a:lnTo>
                <a:lnTo>
                  <a:pt x="3005676" y="2857044"/>
                </a:lnTo>
                <a:lnTo>
                  <a:pt x="3005676" y="2975506"/>
                </a:lnTo>
                <a:lnTo>
                  <a:pt x="3006096" y="2975506"/>
                </a:lnTo>
                <a:lnTo>
                  <a:pt x="3005676" y="2978387"/>
                </a:lnTo>
                <a:lnTo>
                  <a:pt x="3005676" y="2981431"/>
                </a:lnTo>
                <a:lnTo>
                  <a:pt x="3005233" y="2981431"/>
                </a:lnTo>
                <a:cubicBezTo>
                  <a:pt x="3003752" y="3060853"/>
                  <a:pt x="2956391" y="3132900"/>
                  <a:pt x="2882363" y="3168797"/>
                </a:cubicBezTo>
                <a:cubicBezTo>
                  <a:pt x="2810063" y="3203855"/>
                  <a:pt x="2723757" y="3198845"/>
                  <a:pt x="2656365" y="3155677"/>
                </a:cubicBezTo>
                <a:cubicBezTo>
                  <a:pt x="2604277" y="3122312"/>
                  <a:pt x="2569872" y="3070275"/>
                  <a:pt x="2559993" y="3012681"/>
                </a:cubicBezTo>
                <a:lnTo>
                  <a:pt x="2556062" y="3012681"/>
                </a:lnTo>
                <a:lnTo>
                  <a:pt x="2556062" y="2539323"/>
                </a:lnTo>
                <a:cubicBezTo>
                  <a:pt x="2556062" y="2457588"/>
                  <a:pt x="2603922" y="2382823"/>
                  <a:pt x="2679795" y="2346032"/>
                </a:cubicBezTo>
                <a:cubicBezTo>
                  <a:pt x="2715945" y="2328503"/>
                  <a:pt x="2755596" y="2320991"/>
                  <a:pt x="2794634" y="2323257"/>
                </a:cubicBezTo>
                <a:close/>
                <a:moveTo>
                  <a:pt x="921754" y="2059382"/>
                </a:moveTo>
                <a:lnTo>
                  <a:pt x="1461754" y="2059382"/>
                </a:lnTo>
                <a:lnTo>
                  <a:pt x="1461754" y="2221382"/>
                </a:lnTo>
                <a:lnTo>
                  <a:pt x="1263754" y="2221382"/>
                </a:lnTo>
                <a:lnTo>
                  <a:pt x="1263754" y="3160488"/>
                </a:lnTo>
                <a:lnTo>
                  <a:pt x="1101754" y="3160488"/>
                </a:lnTo>
                <a:lnTo>
                  <a:pt x="1101754" y="2221382"/>
                </a:lnTo>
                <a:lnTo>
                  <a:pt x="921754" y="2221382"/>
                </a:lnTo>
                <a:close/>
                <a:moveTo>
                  <a:pt x="2003645" y="2056877"/>
                </a:moveTo>
                <a:lnTo>
                  <a:pt x="2165645" y="2056877"/>
                </a:lnTo>
                <a:lnTo>
                  <a:pt x="2165645" y="2406047"/>
                </a:lnTo>
                <a:cubicBezTo>
                  <a:pt x="2295483" y="2259477"/>
                  <a:pt x="2455251" y="2328666"/>
                  <a:pt x="2444578" y="2520484"/>
                </a:cubicBezTo>
                <a:cubicBezTo>
                  <a:pt x="2454106" y="2682617"/>
                  <a:pt x="2444578" y="2839987"/>
                  <a:pt x="2444578" y="2999738"/>
                </a:cubicBezTo>
                <a:cubicBezTo>
                  <a:pt x="2437328" y="3271827"/>
                  <a:pt x="2180048" y="3158151"/>
                  <a:pt x="2165645" y="3094482"/>
                </a:cubicBezTo>
                <a:lnTo>
                  <a:pt x="2165645" y="3157983"/>
                </a:lnTo>
                <a:lnTo>
                  <a:pt x="2003645" y="3157983"/>
                </a:lnTo>
                <a:close/>
                <a:moveTo>
                  <a:pt x="1082145" y="1835984"/>
                </a:moveTo>
                <a:cubicBezTo>
                  <a:pt x="901872" y="1835984"/>
                  <a:pt x="755732" y="1982124"/>
                  <a:pt x="755732" y="2162397"/>
                </a:cubicBezTo>
                <a:lnTo>
                  <a:pt x="755732" y="3086444"/>
                </a:lnTo>
                <a:cubicBezTo>
                  <a:pt x="755732" y="3266717"/>
                  <a:pt x="901872" y="3412857"/>
                  <a:pt x="1082145" y="3412857"/>
                </a:cubicBezTo>
                <a:lnTo>
                  <a:pt x="2845706" y="3412857"/>
                </a:lnTo>
                <a:cubicBezTo>
                  <a:pt x="3025979" y="3412857"/>
                  <a:pt x="3172119" y="3266717"/>
                  <a:pt x="3172119" y="3086444"/>
                </a:cubicBezTo>
                <a:lnTo>
                  <a:pt x="3172119" y="2162397"/>
                </a:lnTo>
                <a:cubicBezTo>
                  <a:pt x="3172119" y="1982124"/>
                  <a:pt x="3025979" y="1835984"/>
                  <a:pt x="2845706" y="1835984"/>
                </a:cubicBezTo>
                <a:close/>
                <a:moveTo>
                  <a:pt x="1918669" y="998231"/>
                </a:moveTo>
                <a:cubicBezTo>
                  <a:pt x="1949783" y="998231"/>
                  <a:pt x="1975005" y="1022442"/>
                  <a:pt x="1975005" y="1052309"/>
                </a:cubicBezTo>
                <a:cubicBezTo>
                  <a:pt x="1975005" y="1200582"/>
                  <a:pt x="1975004" y="1348856"/>
                  <a:pt x="1975004" y="1497129"/>
                </a:cubicBezTo>
                <a:cubicBezTo>
                  <a:pt x="1975004" y="1526996"/>
                  <a:pt x="1949782" y="1551207"/>
                  <a:pt x="1918668" y="1551207"/>
                </a:cubicBezTo>
                <a:lnTo>
                  <a:pt x="1918669" y="1551206"/>
                </a:lnTo>
                <a:cubicBezTo>
                  <a:pt x="1887555" y="1551206"/>
                  <a:pt x="1862333" y="1526995"/>
                  <a:pt x="1862333" y="1497128"/>
                </a:cubicBezTo>
                <a:lnTo>
                  <a:pt x="1862333" y="1052309"/>
                </a:lnTo>
                <a:cubicBezTo>
                  <a:pt x="1862333" y="1022442"/>
                  <a:pt x="1887555" y="998231"/>
                  <a:pt x="1918669" y="998231"/>
                </a:cubicBezTo>
                <a:close/>
                <a:moveTo>
                  <a:pt x="2539373" y="865097"/>
                </a:moveTo>
                <a:lnTo>
                  <a:pt x="2539373" y="1483838"/>
                </a:lnTo>
                <a:cubicBezTo>
                  <a:pt x="2501756" y="1504154"/>
                  <a:pt x="2433926" y="1572061"/>
                  <a:pt x="2426426" y="1528545"/>
                </a:cubicBezTo>
                <a:lnTo>
                  <a:pt x="2426426" y="865306"/>
                </a:lnTo>
                <a:lnTo>
                  <a:pt x="2264426" y="865306"/>
                </a:lnTo>
                <a:lnTo>
                  <a:pt x="2264426" y="1542749"/>
                </a:lnTo>
                <a:cubicBezTo>
                  <a:pt x="2264233" y="1542780"/>
                  <a:pt x="2264039" y="1542810"/>
                  <a:pt x="2263846" y="1542841"/>
                </a:cubicBezTo>
                <a:cubicBezTo>
                  <a:pt x="2246937" y="1607403"/>
                  <a:pt x="2323802" y="1826022"/>
                  <a:pt x="2539373" y="1595076"/>
                </a:cubicBezTo>
                <a:lnTo>
                  <a:pt x="2539373" y="1681423"/>
                </a:lnTo>
                <a:lnTo>
                  <a:pt x="2701373" y="1681423"/>
                </a:lnTo>
                <a:lnTo>
                  <a:pt x="2701373" y="865097"/>
                </a:lnTo>
                <a:close/>
                <a:moveTo>
                  <a:pt x="1918668" y="840143"/>
                </a:moveTo>
                <a:cubicBezTo>
                  <a:pt x="1799361" y="840143"/>
                  <a:pt x="1702644" y="932984"/>
                  <a:pt x="1702644" y="1047509"/>
                </a:cubicBezTo>
                <a:lnTo>
                  <a:pt x="1702644" y="1501930"/>
                </a:lnTo>
                <a:cubicBezTo>
                  <a:pt x="1702644" y="1616455"/>
                  <a:pt x="1799361" y="1709295"/>
                  <a:pt x="1918668" y="1709295"/>
                </a:cubicBezTo>
                <a:cubicBezTo>
                  <a:pt x="2037975" y="1709295"/>
                  <a:pt x="2134692" y="1616455"/>
                  <a:pt x="2134692" y="1501930"/>
                </a:cubicBezTo>
                <a:lnTo>
                  <a:pt x="2134692" y="1047509"/>
                </a:lnTo>
                <a:cubicBezTo>
                  <a:pt x="2134692" y="932984"/>
                  <a:pt x="2037975" y="840143"/>
                  <a:pt x="1918668" y="840143"/>
                </a:cubicBezTo>
                <a:close/>
                <a:moveTo>
                  <a:pt x="1544554" y="609793"/>
                </a:moveTo>
                <a:lnTo>
                  <a:pt x="1425758" y="1008757"/>
                </a:lnTo>
                <a:lnTo>
                  <a:pt x="1311048" y="623516"/>
                </a:lnTo>
                <a:lnTo>
                  <a:pt x="1152958" y="623516"/>
                </a:lnTo>
                <a:lnTo>
                  <a:pt x="1345929" y="1271588"/>
                </a:lnTo>
                <a:lnTo>
                  <a:pt x="1347249" y="1271588"/>
                </a:lnTo>
                <a:lnTo>
                  <a:pt x="1347249" y="1698532"/>
                </a:lnTo>
                <a:lnTo>
                  <a:pt x="1509249" y="1698532"/>
                </a:lnTo>
                <a:lnTo>
                  <a:pt x="1509249" y="1257865"/>
                </a:lnTo>
                <a:lnTo>
                  <a:pt x="1509673" y="1257865"/>
                </a:lnTo>
                <a:lnTo>
                  <a:pt x="1702644" y="609793"/>
                </a:ln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39" name="Rectangle 7">
            <a:extLst>
              <a:ext uri="{FF2B5EF4-FFF2-40B4-BE49-F238E27FC236}">
                <a16:creationId xmlns:a16="http://schemas.microsoft.com/office/drawing/2014/main" id="{937AA20E-75C2-4D2C-A660-AAEBDF941E98}"/>
              </a:ext>
            </a:extLst>
          </p:cNvPr>
          <p:cNvSpPr/>
          <p:nvPr/>
        </p:nvSpPr>
        <p:spPr>
          <a:xfrm>
            <a:off x="4405569" y="1608521"/>
            <a:ext cx="404150" cy="403447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01869" y="2055482"/>
                </a:moveTo>
                <a:lnTo>
                  <a:pt x="869869" y="2055482"/>
                </a:lnTo>
                <a:lnTo>
                  <a:pt x="869869" y="2919482"/>
                </a:lnTo>
                <a:lnTo>
                  <a:pt x="401869" y="2919482"/>
                </a:lnTo>
                <a:close/>
                <a:moveTo>
                  <a:pt x="1121949" y="1695482"/>
                </a:moveTo>
                <a:lnTo>
                  <a:pt x="1589949" y="1695482"/>
                </a:lnTo>
                <a:lnTo>
                  <a:pt x="1589949" y="2919482"/>
                </a:lnTo>
                <a:lnTo>
                  <a:pt x="1121949" y="2919482"/>
                </a:lnTo>
                <a:close/>
                <a:moveTo>
                  <a:pt x="1842029" y="1335482"/>
                </a:moveTo>
                <a:lnTo>
                  <a:pt x="2310029" y="1335482"/>
                </a:lnTo>
                <a:lnTo>
                  <a:pt x="2310029" y="2919482"/>
                </a:lnTo>
                <a:lnTo>
                  <a:pt x="1842029" y="2919482"/>
                </a:lnTo>
                <a:close/>
                <a:moveTo>
                  <a:pt x="2562109" y="975482"/>
                </a:moveTo>
                <a:lnTo>
                  <a:pt x="3030109" y="975482"/>
                </a:lnTo>
                <a:lnTo>
                  <a:pt x="3030109" y="2919482"/>
                </a:lnTo>
                <a:lnTo>
                  <a:pt x="2562109" y="2919482"/>
                </a:lnTo>
                <a:close/>
                <a:moveTo>
                  <a:pt x="2321888" y="224805"/>
                </a:moveTo>
                <a:lnTo>
                  <a:pt x="2880631" y="247420"/>
                </a:lnTo>
                <a:lnTo>
                  <a:pt x="2620844" y="742612"/>
                </a:lnTo>
                <a:lnTo>
                  <a:pt x="2546105" y="613161"/>
                </a:lnTo>
                <a:lnTo>
                  <a:pt x="541555" y="1770488"/>
                </a:lnTo>
                <a:lnTo>
                  <a:pt x="392077" y="1511585"/>
                </a:lnTo>
                <a:lnTo>
                  <a:pt x="2396627" y="354257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3059999"/>
                </a:lnTo>
                <a:lnTo>
                  <a:pt x="3240000" y="3059999"/>
                </a:lnTo>
                <a:lnTo>
                  <a:pt x="3240000" y="3239999"/>
                </a:lnTo>
                <a:lnTo>
                  <a:pt x="180000" y="3239999"/>
                </a:lnTo>
                <a:lnTo>
                  <a:pt x="180000" y="3240000"/>
                </a:lnTo>
                <a:lnTo>
                  <a:pt x="0" y="3240000"/>
                </a:lnTo>
                <a:lnTo>
                  <a:pt x="0" y="3239999"/>
                </a:lnTo>
                <a:lnTo>
                  <a:pt x="0" y="305999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40" name="Diamond 5">
            <a:extLst>
              <a:ext uri="{FF2B5EF4-FFF2-40B4-BE49-F238E27FC236}">
                <a16:creationId xmlns:a16="http://schemas.microsoft.com/office/drawing/2014/main" id="{2D47A98F-B4ED-447A-B2B5-890D99067D2C}"/>
              </a:ext>
            </a:extLst>
          </p:cNvPr>
          <p:cNvSpPr/>
          <p:nvPr/>
        </p:nvSpPr>
        <p:spPr>
          <a:xfrm>
            <a:off x="4412597" y="3596857"/>
            <a:ext cx="407532" cy="387232"/>
          </a:xfrm>
          <a:custGeom>
            <a:avLst/>
            <a:gdLst/>
            <a:ahLst/>
            <a:cxnLst/>
            <a:rect l="l" t="t" r="r" b="b"/>
            <a:pathLst>
              <a:path w="3240001" h="3249575">
                <a:moveTo>
                  <a:pt x="1275349" y="2002569"/>
                </a:moveTo>
                <a:lnTo>
                  <a:pt x="1625117" y="2233002"/>
                </a:lnTo>
                <a:lnTo>
                  <a:pt x="1968772" y="2006596"/>
                </a:lnTo>
                <a:lnTo>
                  <a:pt x="3240001" y="3249575"/>
                </a:lnTo>
                <a:lnTo>
                  <a:pt x="0" y="3249575"/>
                </a:lnTo>
                <a:close/>
                <a:moveTo>
                  <a:pt x="1067116" y="1473605"/>
                </a:moveTo>
                <a:lnTo>
                  <a:pt x="1067116" y="1581605"/>
                </a:lnTo>
                <a:lnTo>
                  <a:pt x="2183116" y="1581605"/>
                </a:lnTo>
                <a:lnTo>
                  <a:pt x="2183116" y="1473605"/>
                </a:lnTo>
                <a:close/>
                <a:moveTo>
                  <a:pt x="1067116" y="1267205"/>
                </a:moveTo>
                <a:lnTo>
                  <a:pt x="1067116" y="1375205"/>
                </a:lnTo>
                <a:lnTo>
                  <a:pt x="2183116" y="1375205"/>
                </a:lnTo>
                <a:lnTo>
                  <a:pt x="2183116" y="1267205"/>
                </a:lnTo>
                <a:close/>
                <a:moveTo>
                  <a:pt x="3240001" y="1172196"/>
                </a:moveTo>
                <a:lnTo>
                  <a:pt x="3240001" y="3142550"/>
                </a:lnTo>
                <a:lnTo>
                  <a:pt x="2026252" y="1968728"/>
                </a:lnTo>
                <a:lnTo>
                  <a:pt x="3049854" y="1294362"/>
                </a:lnTo>
                <a:close/>
                <a:moveTo>
                  <a:pt x="0" y="1172196"/>
                </a:moveTo>
                <a:lnTo>
                  <a:pt x="602850" y="1559516"/>
                </a:lnTo>
                <a:lnTo>
                  <a:pt x="1217896" y="1964719"/>
                </a:lnTo>
                <a:lnTo>
                  <a:pt x="0" y="3142550"/>
                </a:lnTo>
                <a:close/>
                <a:moveTo>
                  <a:pt x="1067116" y="1060805"/>
                </a:moveTo>
                <a:lnTo>
                  <a:pt x="1067116" y="1168805"/>
                </a:lnTo>
                <a:lnTo>
                  <a:pt x="2183116" y="1168805"/>
                </a:lnTo>
                <a:lnTo>
                  <a:pt x="2183116" y="1060805"/>
                </a:lnTo>
                <a:close/>
                <a:moveTo>
                  <a:pt x="869032" y="816137"/>
                </a:moveTo>
                <a:lnTo>
                  <a:pt x="2381200" y="816137"/>
                </a:lnTo>
                <a:lnTo>
                  <a:pt x="2381200" y="1623491"/>
                </a:lnTo>
                <a:lnTo>
                  <a:pt x="1668045" y="2093329"/>
                </a:lnTo>
                <a:lnTo>
                  <a:pt x="1625116" y="2121611"/>
                </a:lnTo>
                <a:lnTo>
                  <a:pt x="869032" y="1623491"/>
                </a:lnTo>
                <a:close/>
                <a:moveTo>
                  <a:pt x="1625116" y="0"/>
                </a:moveTo>
                <a:lnTo>
                  <a:pt x="3235286" y="1060806"/>
                </a:lnTo>
                <a:lnTo>
                  <a:pt x="2489212" y="1552331"/>
                </a:lnTo>
                <a:lnTo>
                  <a:pt x="2489212" y="708008"/>
                </a:lnTo>
                <a:lnTo>
                  <a:pt x="761020" y="708008"/>
                </a:lnTo>
                <a:lnTo>
                  <a:pt x="761020" y="1552331"/>
                </a:lnTo>
                <a:lnTo>
                  <a:pt x="14946" y="10608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41" name="Oval 44">
            <a:extLst>
              <a:ext uri="{FF2B5EF4-FFF2-40B4-BE49-F238E27FC236}">
                <a16:creationId xmlns:a16="http://schemas.microsoft.com/office/drawing/2014/main" id="{F3544F21-5FFD-4D9C-A810-624CA2CCF7BD}"/>
              </a:ext>
            </a:extLst>
          </p:cNvPr>
          <p:cNvSpPr>
            <a:spLocks noChangeAspect="1"/>
          </p:cNvSpPr>
          <p:nvPr/>
        </p:nvSpPr>
        <p:spPr>
          <a:xfrm>
            <a:off x="7470268" y="1600934"/>
            <a:ext cx="334337" cy="398090"/>
          </a:xfrm>
          <a:custGeom>
            <a:avLst/>
            <a:gdLst/>
            <a:ahLst/>
            <a:cxnLst/>
            <a:rect l="l" t="t" r="r" b="b"/>
            <a:pathLst>
              <a:path w="2721114" h="3240000">
                <a:moveTo>
                  <a:pt x="2519839" y="2469622"/>
                </a:moveTo>
                <a:lnTo>
                  <a:pt x="2201779" y="2787682"/>
                </a:lnTo>
                <a:lnTo>
                  <a:pt x="2003023" y="2588926"/>
                </a:lnTo>
                <a:lnTo>
                  <a:pt x="1901669" y="2690281"/>
                </a:lnTo>
                <a:lnTo>
                  <a:pt x="2203868" y="2992480"/>
                </a:lnTo>
                <a:lnTo>
                  <a:pt x="2305222" y="2891125"/>
                </a:lnTo>
                <a:lnTo>
                  <a:pt x="2303133" y="2889037"/>
                </a:lnTo>
                <a:lnTo>
                  <a:pt x="2621194" y="2570977"/>
                </a:lnTo>
                <a:close/>
                <a:moveTo>
                  <a:pt x="2263914" y="2238970"/>
                </a:moveTo>
                <a:cubicBezTo>
                  <a:pt x="2516419" y="2238970"/>
                  <a:pt x="2721114" y="2443665"/>
                  <a:pt x="2721114" y="2696170"/>
                </a:cubicBezTo>
                <a:cubicBezTo>
                  <a:pt x="2721114" y="2948675"/>
                  <a:pt x="2516419" y="3153370"/>
                  <a:pt x="2263914" y="3153370"/>
                </a:cubicBezTo>
                <a:cubicBezTo>
                  <a:pt x="2011409" y="3153370"/>
                  <a:pt x="1806714" y="2948675"/>
                  <a:pt x="1806714" y="2696170"/>
                </a:cubicBezTo>
                <a:cubicBezTo>
                  <a:pt x="1806714" y="2443665"/>
                  <a:pt x="2011409" y="2238970"/>
                  <a:pt x="2263914" y="2238970"/>
                </a:cubicBezTo>
                <a:close/>
                <a:moveTo>
                  <a:pt x="1576134" y="17032"/>
                </a:moveTo>
                <a:lnTo>
                  <a:pt x="2276728" y="17032"/>
                </a:lnTo>
                <a:lnTo>
                  <a:pt x="2276728" y="17033"/>
                </a:lnTo>
                <a:lnTo>
                  <a:pt x="1576135" y="17033"/>
                </a:lnTo>
                <a:close/>
                <a:moveTo>
                  <a:pt x="0" y="17032"/>
                </a:moveTo>
                <a:lnTo>
                  <a:pt x="1321887" y="17032"/>
                </a:lnTo>
                <a:lnTo>
                  <a:pt x="1321887" y="996125"/>
                </a:lnTo>
                <a:lnTo>
                  <a:pt x="2276728" y="996125"/>
                </a:lnTo>
                <a:lnTo>
                  <a:pt x="2276728" y="2160187"/>
                </a:lnTo>
                <a:cubicBezTo>
                  <a:pt x="1979345" y="2161001"/>
                  <a:pt x="1738579" y="2402384"/>
                  <a:pt x="1738579" y="2700000"/>
                </a:cubicBezTo>
                <a:cubicBezTo>
                  <a:pt x="1738579" y="2997617"/>
                  <a:pt x="1979345" y="3238999"/>
                  <a:pt x="2276728" y="3239814"/>
                </a:cubicBezTo>
                <a:lnTo>
                  <a:pt x="2276728" y="3240000"/>
                </a:lnTo>
                <a:lnTo>
                  <a:pt x="0" y="3240000"/>
                </a:lnTo>
                <a:close/>
                <a:moveTo>
                  <a:pt x="1436085" y="0"/>
                </a:moveTo>
                <a:lnTo>
                  <a:pt x="2287664" y="888809"/>
                </a:lnTo>
                <a:lnTo>
                  <a:pt x="1436085" y="8888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42" name="Diamond 5">
            <a:extLst>
              <a:ext uri="{FF2B5EF4-FFF2-40B4-BE49-F238E27FC236}">
                <a16:creationId xmlns:a16="http://schemas.microsoft.com/office/drawing/2014/main" id="{1FF4151E-EE31-49B5-BC92-1D13CCA229B0}"/>
              </a:ext>
            </a:extLst>
          </p:cNvPr>
          <p:cNvSpPr/>
          <p:nvPr/>
        </p:nvSpPr>
        <p:spPr>
          <a:xfrm>
            <a:off x="7391280" y="2621439"/>
            <a:ext cx="407532" cy="387232"/>
          </a:xfrm>
          <a:custGeom>
            <a:avLst/>
            <a:gdLst/>
            <a:ahLst/>
            <a:cxnLst/>
            <a:rect l="l" t="t" r="r" b="b"/>
            <a:pathLst>
              <a:path w="3240001" h="3249575">
                <a:moveTo>
                  <a:pt x="1275349" y="2002569"/>
                </a:moveTo>
                <a:lnTo>
                  <a:pt x="1625117" y="2233002"/>
                </a:lnTo>
                <a:lnTo>
                  <a:pt x="1968772" y="2006596"/>
                </a:lnTo>
                <a:lnTo>
                  <a:pt x="3240001" y="3249575"/>
                </a:lnTo>
                <a:lnTo>
                  <a:pt x="0" y="3249575"/>
                </a:lnTo>
                <a:close/>
                <a:moveTo>
                  <a:pt x="1067116" y="1473605"/>
                </a:moveTo>
                <a:lnTo>
                  <a:pt x="1067116" y="1581605"/>
                </a:lnTo>
                <a:lnTo>
                  <a:pt x="2183116" y="1581605"/>
                </a:lnTo>
                <a:lnTo>
                  <a:pt x="2183116" y="1473605"/>
                </a:lnTo>
                <a:close/>
                <a:moveTo>
                  <a:pt x="1067116" y="1267205"/>
                </a:moveTo>
                <a:lnTo>
                  <a:pt x="1067116" y="1375205"/>
                </a:lnTo>
                <a:lnTo>
                  <a:pt x="2183116" y="1375205"/>
                </a:lnTo>
                <a:lnTo>
                  <a:pt x="2183116" y="1267205"/>
                </a:lnTo>
                <a:close/>
                <a:moveTo>
                  <a:pt x="3240001" y="1172196"/>
                </a:moveTo>
                <a:lnTo>
                  <a:pt x="3240001" y="3142550"/>
                </a:lnTo>
                <a:lnTo>
                  <a:pt x="2026252" y="1968728"/>
                </a:lnTo>
                <a:lnTo>
                  <a:pt x="3049854" y="1294362"/>
                </a:lnTo>
                <a:close/>
                <a:moveTo>
                  <a:pt x="0" y="1172196"/>
                </a:moveTo>
                <a:lnTo>
                  <a:pt x="602850" y="1559516"/>
                </a:lnTo>
                <a:lnTo>
                  <a:pt x="1217896" y="1964719"/>
                </a:lnTo>
                <a:lnTo>
                  <a:pt x="0" y="3142550"/>
                </a:lnTo>
                <a:close/>
                <a:moveTo>
                  <a:pt x="1067116" y="1060805"/>
                </a:moveTo>
                <a:lnTo>
                  <a:pt x="1067116" y="1168805"/>
                </a:lnTo>
                <a:lnTo>
                  <a:pt x="2183116" y="1168805"/>
                </a:lnTo>
                <a:lnTo>
                  <a:pt x="2183116" y="1060805"/>
                </a:lnTo>
                <a:close/>
                <a:moveTo>
                  <a:pt x="869032" y="816137"/>
                </a:moveTo>
                <a:lnTo>
                  <a:pt x="2381200" y="816137"/>
                </a:lnTo>
                <a:lnTo>
                  <a:pt x="2381200" y="1623491"/>
                </a:lnTo>
                <a:lnTo>
                  <a:pt x="1668045" y="2093329"/>
                </a:lnTo>
                <a:lnTo>
                  <a:pt x="1625116" y="2121611"/>
                </a:lnTo>
                <a:lnTo>
                  <a:pt x="869032" y="1623491"/>
                </a:lnTo>
                <a:close/>
                <a:moveTo>
                  <a:pt x="1625116" y="0"/>
                </a:moveTo>
                <a:lnTo>
                  <a:pt x="3235286" y="1060806"/>
                </a:lnTo>
                <a:lnTo>
                  <a:pt x="2489212" y="1552331"/>
                </a:lnTo>
                <a:lnTo>
                  <a:pt x="2489212" y="708008"/>
                </a:lnTo>
                <a:lnTo>
                  <a:pt x="761020" y="708008"/>
                </a:lnTo>
                <a:lnTo>
                  <a:pt x="761020" y="1552331"/>
                </a:lnTo>
                <a:lnTo>
                  <a:pt x="14946" y="10608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C3E5F69-00BB-4AE1-875F-5B0F7AE93868}"/>
              </a:ext>
            </a:extLst>
          </p:cNvPr>
          <p:cNvSpPr txBox="1"/>
          <p:nvPr/>
        </p:nvSpPr>
        <p:spPr>
          <a:xfrm>
            <a:off x="324528" y="1483207"/>
            <a:ext cx="36738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Mengakomodir</a:t>
            </a:r>
            <a:r>
              <a:rPr lang="en-US" dirty="0"/>
              <a:t> </a:t>
            </a:r>
            <a:r>
              <a:rPr lang="en-US" dirty="0" err="1"/>
              <a:t>Kebutuhan</a:t>
            </a:r>
            <a:r>
              <a:rPr lang="en-US" dirty="0"/>
              <a:t> Proses </a:t>
            </a:r>
            <a:r>
              <a:rPr lang="en-US" dirty="0" err="1"/>
              <a:t>Bisnis</a:t>
            </a:r>
            <a:r>
              <a:rPr lang="en-US" dirty="0"/>
              <a:t> Holding dan Sub Holding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2296ADB-BC4F-403E-B36D-6C033EFE51EC}"/>
              </a:ext>
            </a:extLst>
          </p:cNvPr>
          <p:cNvSpPr txBox="1"/>
          <p:nvPr/>
        </p:nvSpPr>
        <p:spPr>
          <a:xfrm>
            <a:off x="332939" y="2396981"/>
            <a:ext cx="36738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Mengefisiensikan</a:t>
            </a:r>
            <a:r>
              <a:rPr lang="en-US" dirty="0"/>
              <a:t> proses </a:t>
            </a:r>
            <a:r>
              <a:rPr lang="en-US" dirty="0" err="1"/>
              <a:t>korespondensi</a:t>
            </a:r>
            <a:r>
              <a:rPr lang="en-US" dirty="0"/>
              <a:t> Holding dan Sub Holdin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95AFC64-082C-44D6-AA73-03F8CF8B0E13}"/>
              </a:ext>
            </a:extLst>
          </p:cNvPr>
          <p:cNvSpPr txBox="1"/>
          <p:nvPr/>
        </p:nvSpPr>
        <p:spPr>
          <a:xfrm>
            <a:off x="332939" y="3571189"/>
            <a:ext cx="36738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Meningkatkan</a:t>
            </a:r>
            <a:r>
              <a:rPr lang="en-US" dirty="0"/>
              <a:t> </a:t>
            </a:r>
            <a:r>
              <a:rPr lang="en-US" dirty="0" err="1"/>
              <a:t>Otentifikasi</a:t>
            </a:r>
            <a:r>
              <a:rPr lang="en-US" dirty="0"/>
              <a:t>, Non-Repudiation dan Integrity </a:t>
            </a:r>
            <a:r>
              <a:rPr lang="en-US" dirty="0" err="1"/>
              <a:t>Korespondensi</a:t>
            </a:r>
            <a:endParaRPr lang="en-US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1EFE10B-BEE3-4915-8406-3C01A65E9398}"/>
              </a:ext>
            </a:extLst>
          </p:cNvPr>
          <p:cNvSpPr txBox="1"/>
          <p:nvPr/>
        </p:nvSpPr>
        <p:spPr>
          <a:xfrm>
            <a:off x="8079146" y="1525436"/>
            <a:ext cx="36738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Integrasi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</a:p>
          <a:p>
            <a:pPr algn="ctr"/>
            <a:r>
              <a:rPr lang="en-US" dirty="0"/>
              <a:t>Pertamina Digital Signature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E309C3D-68AD-4DCE-916D-EECAFEFB7494}"/>
              </a:ext>
            </a:extLst>
          </p:cNvPr>
          <p:cNvSpPr txBox="1"/>
          <p:nvPr/>
        </p:nvSpPr>
        <p:spPr>
          <a:xfrm>
            <a:off x="7927127" y="2513022"/>
            <a:ext cx="36738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Peningkatan</a:t>
            </a:r>
            <a:r>
              <a:rPr lang="en-US" dirty="0"/>
              <a:t> </a:t>
            </a:r>
          </a:p>
          <a:p>
            <a:pPr algn="ctr"/>
            <a:r>
              <a:rPr lang="en-US" dirty="0"/>
              <a:t> Fundamental Services </a:t>
            </a:r>
          </a:p>
          <a:p>
            <a:pPr algn="ctr"/>
            <a:r>
              <a:rPr lang="en-US" dirty="0"/>
              <a:t>P-Office 1.0 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92341D9-F017-4A06-AB56-DBEB8012A9A2}"/>
              </a:ext>
            </a:extLst>
          </p:cNvPr>
          <p:cNvSpPr txBox="1"/>
          <p:nvPr/>
        </p:nvSpPr>
        <p:spPr>
          <a:xfrm>
            <a:off x="8034235" y="3627387"/>
            <a:ext cx="36738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Memenuhi</a:t>
            </a:r>
            <a:r>
              <a:rPr lang="en-US" dirty="0"/>
              <a:t> </a:t>
            </a:r>
            <a:r>
              <a:rPr lang="en-US" dirty="0" err="1"/>
              <a:t>Perwira</a:t>
            </a:r>
            <a:r>
              <a:rPr lang="en-US" dirty="0"/>
              <a:t> Wishlist</a:t>
            </a:r>
          </a:p>
        </p:txBody>
      </p:sp>
    </p:spTree>
    <p:extLst>
      <p:ext uri="{BB962C8B-B14F-4D97-AF65-F5344CB8AC3E}">
        <p14:creationId xmlns:p14="http://schemas.microsoft.com/office/powerpoint/2010/main" val="27675917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76">
            <a:extLst>
              <a:ext uri="{FF2B5EF4-FFF2-40B4-BE49-F238E27FC236}">
                <a16:creationId xmlns:a16="http://schemas.microsoft.com/office/drawing/2014/main" id="{D1E0C3EA-9803-4F48-A395-D76194C72CAE}"/>
              </a:ext>
            </a:extLst>
          </p:cNvPr>
          <p:cNvGrpSpPr/>
          <p:nvPr/>
        </p:nvGrpSpPr>
        <p:grpSpPr>
          <a:xfrm flipH="1">
            <a:off x="6244297" y="1806373"/>
            <a:ext cx="1211932" cy="2707164"/>
            <a:chOff x="4748872" y="1806373"/>
            <a:chExt cx="1211932" cy="2707164"/>
          </a:xfrm>
        </p:grpSpPr>
        <p:cxnSp>
          <p:nvCxnSpPr>
            <p:cNvPr id="4" name="Elbow Connector 49">
              <a:extLst>
                <a:ext uri="{FF2B5EF4-FFF2-40B4-BE49-F238E27FC236}">
                  <a16:creationId xmlns:a16="http://schemas.microsoft.com/office/drawing/2014/main" id="{09C0C09A-B2BF-464B-A9BF-1B5E00B47BF9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716625" y="3874095"/>
              <a:ext cx="671689" cy="607195"/>
            </a:xfrm>
            <a:prstGeom prst="bentConnector3">
              <a:avLst>
                <a:gd name="adj1" fmla="val 101050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Elbow Connector 50">
              <a:extLst>
                <a:ext uri="{FF2B5EF4-FFF2-40B4-BE49-F238E27FC236}">
                  <a16:creationId xmlns:a16="http://schemas.microsoft.com/office/drawing/2014/main" id="{A448AEBC-246A-43B5-97B3-01C73F6F67F6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068193" y="2620926"/>
              <a:ext cx="2707163" cy="1078058"/>
            </a:xfrm>
            <a:prstGeom prst="bentConnector3">
              <a:avLst>
                <a:gd name="adj1" fmla="val 99962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Elbow Connector 51">
              <a:extLst>
                <a:ext uri="{FF2B5EF4-FFF2-40B4-BE49-F238E27FC236}">
                  <a16:creationId xmlns:a16="http://schemas.microsoft.com/office/drawing/2014/main" id="{979B3077-4B93-4EC8-9404-BAFB7569E71A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404557" y="3260679"/>
              <a:ext cx="1677348" cy="828368"/>
            </a:xfrm>
            <a:prstGeom prst="bentConnector3">
              <a:avLst>
                <a:gd name="adj1" fmla="val 99972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AAEC5CC-F028-40CF-AC8E-2CF8EF250B9A}"/>
              </a:ext>
            </a:extLst>
          </p:cNvPr>
          <p:cNvGrpSpPr/>
          <p:nvPr/>
        </p:nvGrpSpPr>
        <p:grpSpPr>
          <a:xfrm>
            <a:off x="4500643" y="4644688"/>
            <a:ext cx="3220608" cy="1548961"/>
            <a:chOff x="2591472" y="4529905"/>
            <a:chExt cx="2892231" cy="139102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4D9FF23-0EBF-482B-8162-E9AE8D465818}"/>
                </a:ext>
              </a:extLst>
            </p:cNvPr>
            <p:cNvGrpSpPr/>
            <p:nvPr userDrawn="1"/>
          </p:nvGrpSpPr>
          <p:grpSpPr>
            <a:xfrm>
              <a:off x="2591472" y="4529905"/>
              <a:ext cx="2513902" cy="1391026"/>
              <a:chOff x="1618104" y="4774278"/>
              <a:chExt cx="2513902" cy="1391026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EF49879-6DA3-4EFB-8AC6-7D63A945A2AE}"/>
                  </a:ext>
                </a:extLst>
              </p:cNvPr>
              <p:cNvSpPr/>
              <p:nvPr userDrawn="1"/>
            </p:nvSpPr>
            <p:spPr>
              <a:xfrm>
                <a:off x="1919176" y="4818888"/>
                <a:ext cx="1881566" cy="117060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F4B947D5-6813-4CF5-8C8A-1898DF7B1284}"/>
                  </a:ext>
                </a:extLst>
              </p:cNvPr>
              <p:cNvGrpSpPr/>
              <p:nvPr userDrawn="1"/>
            </p:nvGrpSpPr>
            <p:grpSpPr>
              <a:xfrm>
                <a:off x="1618104" y="4774278"/>
                <a:ext cx="2513902" cy="1391026"/>
                <a:chOff x="395536" y="2564904"/>
                <a:chExt cx="4749925" cy="2628292"/>
              </a:xfrm>
              <a:solidFill>
                <a:schemeClr val="tx1"/>
              </a:solidFill>
            </p:grpSpPr>
            <p:grpSp>
              <p:nvGrpSpPr>
                <p:cNvPr id="23" name="Group 22">
                  <a:extLst>
                    <a:ext uri="{FF2B5EF4-FFF2-40B4-BE49-F238E27FC236}">
                      <a16:creationId xmlns:a16="http://schemas.microsoft.com/office/drawing/2014/main" id="{82159EDC-BA4D-4244-90E4-987D067E3A52}"/>
                    </a:ext>
                  </a:extLst>
                </p:cNvPr>
                <p:cNvGrpSpPr/>
                <p:nvPr userDrawn="1"/>
              </p:nvGrpSpPr>
              <p:grpSpPr>
                <a:xfrm>
                  <a:off x="395536" y="2564904"/>
                  <a:ext cx="4749925" cy="2628292"/>
                  <a:chOff x="395536" y="2204864"/>
                  <a:chExt cx="5400600" cy="2988332"/>
                </a:xfrm>
                <a:grpFill/>
              </p:grpSpPr>
              <p:sp>
                <p:nvSpPr>
                  <p:cNvPr id="25" name="Rounded Rectangle 3">
                    <a:extLst>
                      <a:ext uri="{FF2B5EF4-FFF2-40B4-BE49-F238E27FC236}">
                        <a16:creationId xmlns:a16="http://schemas.microsoft.com/office/drawing/2014/main" id="{AE51DDAF-65F3-44C8-AF89-4768C4DFA5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71600" y="2204864"/>
                    <a:ext cx="4248472" cy="27363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248472" h="2736304">
                        <a:moveTo>
                          <a:pt x="144016" y="144016"/>
                        </a:moveTo>
                        <a:lnTo>
                          <a:pt x="144016" y="2520280"/>
                        </a:lnTo>
                        <a:lnTo>
                          <a:pt x="4104456" y="2520280"/>
                        </a:lnTo>
                        <a:lnTo>
                          <a:pt x="4104456" y="144016"/>
                        </a:lnTo>
                        <a:close/>
                        <a:moveTo>
                          <a:pt x="119332" y="0"/>
                        </a:moveTo>
                        <a:lnTo>
                          <a:pt x="4129140" y="0"/>
                        </a:lnTo>
                        <a:cubicBezTo>
                          <a:pt x="4195045" y="0"/>
                          <a:pt x="4248472" y="53427"/>
                          <a:pt x="4248472" y="119332"/>
                        </a:cubicBezTo>
                        <a:lnTo>
                          <a:pt x="4248472" y="2736304"/>
                        </a:lnTo>
                        <a:lnTo>
                          <a:pt x="0" y="2736304"/>
                        </a:lnTo>
                        <a:lnTo>
                          <a:pt x="0" y="119332"/>
                        </a:lnTo>
                        <a:cubicBezTo>
                          <a:pt x="0" y="53427"/>
                          <a:pt x="53427" y="0"/>
                          <a:pt x="119332" y="0"/>
                        </a:cubicBezTo>
                        <a:close/>
                      </a:path>
                    </a:pathLst>
                  </a:custGeom>
                  <a:grpFill/>
                  <a:ln w="12700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/>
                    <a:endParaRPr lang="en-US" sz="2700"/>
                  </a:p>
                </p:txBody>
              </p:sp>
              <p:sp>
                <p:nvSpPr>
                  <p:cNvPr id="26" name="Rectangle 25">
                    <a:extLst>
                      <a:ext uri="{FF2B5EF4-FFF2-40B4-BE49-F238E27FC236}">
                        <a16:creationId xmlns:a16="http://schemas.microsoft.com/office/drawing/2014/main" id="{D3729118-3A3A-4991-B80A-11625E2FE7A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395536" y="4941168"/>
                    <a:ext cx="5400600" cy="144016"/>
                  </a:xfrm>
                  <a:prstGeom prst="rect">
                    <a:avLst/>
                  </a:prstGeom>
                  <a:grpFill/>
                  <a:ln w="12700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/>
                    <a:endParaRPr lang="en-US" sz="2700"/>
                  </a:p>
                </p:txBody>
              </p:sp>
              <p:sp>
                <p:nvSpPr>
                  <p:cNvPr id="27" name="Trapezoid 26">
                    <a:extLst>
                      <a:ext uri="{FF2B5EF4-FFF2-40B4-BE49-F238E27FC236}">
                        <a16:creationId xmlns:a16="http://schemas.microsoft.com/office/drawing/2014/main" id="{DAC987ED-A016-40A2-866D-31FB458626D9}"/>
                      </a:ext>
                    </a:extLst>
                  </p:cNvPr>
                  <p:cNvSpPr/>
                  <p:nvPr userDrawn="1"/>
                </p:nvSpPr>
                <p:spPr>
                  <a:xfrm rot="10800000">
                    <a:off x="395536" y="5085184"/>
                    <a:ext cx="5400600" cy="108012"/>
                  </a:xfrm>
                  <a:prstGeom prst="trapezoid">
                    <a:avLst>
                      <a:gd name="adj" fmla="val 129851"/>
                    </a:avLst>
                  </a:prstGeom>
                  <a:grpFill/>
                  <a:ln w="12700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/>
                    <a:endParaRPr lang="en-US" sz="2700"/>
                  </a:p>
                </p:txBody>
              </p:sp>
            </p:grpSp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E5ACAF8C-C72A-4789-842B-A5396174E4E7}"/>
                    </a:ext>
                  </a:extLst>
                </p:cNvPr>
                <p:cNvSpPr/>
                <p:nvPr userDrawn="1"/>
              </p:nvSpPr>
              <p:spPr>
                <a:xfrm>
                  <a:off x="2518470" y="5009698"/>
                  <a:ext cx="504056" cy="45719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/>
                  <a:endParaRPr lang="en-US" sz="2700"/>
                </a:p>
              </p:txBody>
            </p: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A5B8E710-24C3-4CAC-BA8F-D32680D2351E}"/>
                </a:ext>
              </a:extLst>
            </p:cNvPr>
            <p:cNvGrpSpPr/>
            <p:nvPr userDrawn="1"/>
          </p:nvGrpSpPr>
          <p:grpSpPr>
            <a:xfrm>
              <a:off x="4346521" y="4706362"/>
              <a:ext cx="981407" cy="1214570"/>
              <a:chOff x="-1940789" y="4697306"/>
              <a:chExt cx="981407" cy="1214570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EC4E760C-F2F6-4446-872B-A6375858807D}"/>
                  </a:ext>
                </a:extLst>
              </p:cNvPr>
              <p:cNvSpPr/>
              <p:nvPr userDrawn="1"/>
            </p:nvSpPr>
            <p:spPr>
              <a:xfrm>
                <a:off x="-1881566" y="4758350"/>
                <a:ext cx="866582" cy="112494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D42E5662-6310-4BB4-A47F-FAC5372C4ABA}"/>
                  </a:ext>
                </a:extLst>
              </p:cNvPr>
              <p:cNvGrpSpPr/>
              <p:nvPr userDrawn="1"/>
            </p:nvGrpSpPr>
            <p:grpSpPr>
              <a:xfrm>
                <a:off x="-1940789" y="4697306"/>
                <a:ext cx="981407" cy="1214570"/>
                <a:chOff x="7452320" y="1988840"/>
                <a:chExt cx="1512168" cy="2088232"/>
              </a:xfrm>
            </p:grpSpPr>
            <p:sp>
              <p:nvSpPr>
                <p:cNvPr id="19" name="Rounded Rectangle 1">
                  <a:extLst>
                    <a:ext uri="{FF2B5EF4-FFF2-40B4-BE49-F238E27FC236}">
                      <a16:creationId xmlns:a16="http://schemas.microsoft.com/office/drawing/2014/main" id="{7C2CD549-F4EB-4621-ABCA-C321C5DFD6B1}"/>
                    </a:ext>
                  </a:extLst>
                </p:cNvPr>
                <p:cNvSpPr/>
                <p:nvPr userDrawn="1"/>
              </p:nvSpPr>
              <p:spPr>
                <a:xfrm>
                  <a:off x="7452320" y="1988840"/>
                  <a:ext cx="1512168" cy="20882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12168" h="2088232">
                      <a:moveTo>
                        <a:pt x="167516" y="181585"/>
                      </a:moveTo>
                      <a:lnTo>
                        <a:pt x="167516" y="1906647"/>
                      </a:lnTo>
                      <a:lnTo>
                        <a:pt x="1344652" y="1906647"/>
                      </a:lnTo>
                      <a:lnTo>
                        <a:pt x="1344652" y="181585"/>
                      </a:lnTo>
                      <a:close/>
                      <a:moveTo>
                        <a:pt x="90110" y="0"/>
                      </a:moveTo>
                      <a:lnTo>
                        <a:pt x="1422058" y="0"/>
                      </a:lnTo>
                      <a:cubicBezTo>
                        <a:pt x="1471824" y="0"/>
                        <a:pt x="1512168" y="40344"/>
                        <a:pt x="1512168" y="90110"/>
                      </a:cubicBezTo>
                      <a:lnTo>
                        <a:pt x="1512168" y="1998122"/>
                      </a:lnTo>
                      <a:cubicBezTo>
                        <a:pt x="1512168" y="2047888"/>
                        <a:pt x="1471824" y="2088232"/>
                        <a:pt x="1422058" y="2088232"/>
                      </a:cubicBezTo>
                      <a:lnTo>
                        <a:pt x="90110" y="2088232"/>
                      </a:lnTo>
                      <a:cubicBezTo>
                        <a:pt x="40344" y="2088232"/>
                        <a:pt x="0" y="2047888"/>
                        <a:pt x="0" y="1998122"/>
                      </a:cubicBezTo>
                      <a:lnTo>
                        <a:pt x="0" y="90110"/>
                      </a:lnTo>
                      <a:cubicBezTo>
                        <a:pt x="0" y="40344"/>
                        <a:pt x="40344" y="0"/>
                        <a:pt x="90110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/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E33D80C6-ED12-4A7F-B9D7-F43E98715C73}"/>
                    </a:ext>
                  </a:extLst>
                </p:cNvPr>
                <p:cNvSpPr/>
                <p:nvPr userDrawn="1"/>
              </p:nvSpPr>
              <p:spPr>
                <a:xfrm>
                  <a:off x="8160965" y="3933056"/>
                  <a:ext cx="94878" cy="94878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/>
                </a:p>
              </p:txBody>
            </p: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976E215-6E7C-4D14-B39D-E3FB7FD7168A}"/>
                </a:ext>
              </a:extLst>
            </p:cNvPr>
            <p:cNvGrpSpPr/>
            <p:nvPr userDrawn="1"/>
          </p:nvGrpSpPr>
          <p:grpSpPr>
            <a:xfrm>
              <a:off x="5056500" y="5206313"/>
              <a:ext cx="427203" cy="711251"/>
              <a:chOff x="-684584" y="5278238"/>
              <a:chExt cx="427203" cy="711251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03704405-2F8B-4D8C-B59D-A56AFE9302D7}"/>
                  </a:ext>
                </a:extLst>
              </p:cNvPr>
              <p:cNvSpPr/>
              <p:nvPr userDrawn="1"/>
            </p:nvSpPr>
            <p:spPr>
              <a:xfrm>
                <a:off x="-648007" y="5329968"/>
                <a:ext cx="360040" cy="59105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2696EE58-8645-4556-BEB0-98A8829F7858}"/>
                  </a:ext>
                </a:extLst>
              </p:cNvPr>
              <p:cNvGrpSpPr/>
              <p:nvPr userDrawn="1"/>
            </p:nvGrpSpPr>
            <p:grpSpPr>
              <a:xfrm>
                <a:off x="-684584" y="5278238"/>
                <a:ext cx="427203" cy="711251"/>
                <a:chOff x="701317" y="1844824"/>
                <a:chExt cx="2371375" cy="3948112"/>
              </a:xfrm>
            </p:grpSpPr>
            <p:sp>
              <p:nvSpPr>
                <p:cNvPr id="14" name="Freeform 6">
                  <a:extLst>
                    <a:ext uri="{FF2B5EF4-FFF2-40B4-BE49-F238E27FC236}">
                      <a16:creationId xmlns:a16="http://schemas.microsoft.com/office/drawing/2014/main" id="{FFF0C791-1946-4B6D-9275-68BE6D49BB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1317" y="1844824"/>
                  <a:ext cx="2371375" cy="3948112"/>
                </a:xfrm>
                <a:custGeom>
                  <a:avLst/>
                  <a:gdLst>
                    <a:gd name="T0" fmla="*/ 530 w 566"/>
                    <a:gd name="T1" fmla="*/ 0 h 1053"/>
                    <a:gd name="T2" fmla="*/ 36 w 566"/>
                    <a:gd name="T3" fmla="*/ 0 h 1053"/>
                    <a:gd name="T4" fmla="*/ 0 w 566"/>
                    <a:gd name="T5" fmla="*/ 36 h 1053"/>
                    <a:gd name="T6" fmla="*/ 0 w 566"/>
                    <a:gd name="T7" fmla="*/ 1017 h 1053"/>
                    <a:gd name="T8" fmla="*/ 36 w 566"/>
                    <a:gd name="T9" fmla="*/ 1053 h 1053"/>
                    <a:gd name="T10" fmla="*/ 530 w 566"/>
                    <a:gd name="T11" fmla="*/ 1053 h 1053"/>
                    <a:gd name="T12" fmla="*/ 566 w 566"/>
                    <a:gd name="T13" fmla="*/ 1017 h 1053"/>
                    <a:gd name="T14" fmla="*/ 566 w 566"/>
                    <a:gd name="T15" fmla="*/ 36 h 1053"/>
                    <a:gd name="T16" fmla="*/ 530 w 566"/>
                    <a:gd name="T17" fmla="*/ 0 h 1053"/>
                    <a:gd name="T18" fmla="*/ 520 w 566"/>
                    <a:gd name="T19" fmla="*/ 911 h 1053"/>
                    <a:gd name="T20" fmla="*/ 48 w 566"/>
                    <a:gd name="T21" fmla="*/ 911 h 1053"/>
                    <a:gd name="T22" fmla="*/ 48 w 566"/>
                    <a:gd name="T23" fmla="*/ 108 h 1053"/>
                    <a:gd name="T24" fmla="*/ 520 w 566"/>
                    <a:gd name="T25" fmla="*/ 108 h 1053"/>
                    <a:gd name="T26" fmla="*/ 520 w 566"/>
                    <a:gd name="T27" fmla="*/ 911 h 10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66" h="1053">
                      <a:moveTo>
                        <a:pt x="530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6"/>
                        <a:pt x="0" y="36"/>
                      </a:cubicBezTo>
                      <a:cubicBezTo>
                        <a:pt x="0" y="1017"/>
                        <a:pt x="0" y="1017"/>
                        <a:pt x="0" y="1017"/>
                      </a:cubicBezTo>
                      <a:cubicBezTo>
                        <a:pt x="0" y="1037"/>
                        <a:pt x="16" y="1053"/>
                        <a:pt x="36" y="1053"/>
                      </a:cubicBezTo>
                      <a:cubicBezTo>
                        <a:pt x="530" y="1053"/>
                        <a:pt x="530" y="1053"/>
                        <a:pt x="530" y="1053"/>
                      </a:cubicBezTo>
                      <a:cubicBezTo>
                        <a:pt x="550" y="1053"/>
                        <a:pt x="566" y="1037"/>
                        <a:pt x="566" y="1017"/>
                      </a:cubicBezTo>
                      <a:cubicBezTo>
                        <a:pt x="566" y="36"/>
                        <a:pt x="566" y="36"/>
                        <a:pt x="566" y="36"/>
                      </a:cubicBezTo>
                      <a:cubicBezTo>
                        <a:pt x="566" y="16"/>
                        <a:pt x="550" y="0"/>
                        <a:pt x="530" y="0"/>
                      </a:cubicBezTo>
                      <a:close/>
                      <a:moveTo>
                        <a:pt x="520" y="911"/>
                      </a:moveTo>
                      <a:cubicBezTo>
                        <a:pt x="48" y="911"/>
                        <a:pt x="48" y="911"/>
                        <a:pt x="48" y="911"/>
                      </a:cubicBezTo>
                      <a:cubicBezTo>
                        <a:pt x="48" y="108"/>
                        <a:pt x="48" y="108"/>
                        <a:pt x="48" y="108"/>
                      </a:cubicBezTo>
                      <a:cubicBezTo>
                        <a:pt x="520" y="108"/>
                        <a:pt x="520" y="108"/>
                        <a:pt x="520" y="108"/>
                      </a:cubicBezTo>
                      <a:lnTo>
                        <a:pt x="520" y="911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700"/>
                </a:p>
              </p:txBody>
            </p:sp>
            <p:sp>
              <p:nvSpPr>
                <p:cNvPr id="15" name="Rounded Rectangle 60">
                  <a:extLst>
                    <a:ext uri="{FF2B5EF4-FFF2-40B4-BE49-F238E27FC236}">
                      <a16:creationId xmlns:a16="http://schemas.microsoft.com/office/drawing/2014/main" id="{E453ED4E-035E-4924-B16A-CDFDC69D7042}"/>
                    </a:ext>
                  </a:extLst>
                </p:cNvPr>
                <p:cNvSpPr/>
                <p:nvPr/>
              </p:nvSpPr>
              <p:spPr>
                <a:xfrm>
                  <a:off x="1707005" y="2042848"/>
                  <a:ext cx="360000" cy="360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/>
                </a:p>
              </p:txBody>
            </p:sp>
            <p:sp>
              <p:nvSpPr>
                <p:cNvPr id="16" name="Oval 15">
                  <a:extLst>
                    <a:ext uri="{FF2B5EF4-FFF2-40B4-BE49-F238E27FC236}">
                      <a16:creationId xmlns:a16="http://schemas.microsoft.com/office/drawing/2014/main" id="{C74A02C0-F041-4C96-B837-448BF062E8EB}"/>
                    </a:ext>
                  </a:extLst>
                </p:cNvPr>
                <p:cNvSpPr/>
                <p:nvPr/>
              </p:nvSpPr>
              <p:spPr>
                <a:xfrm>
                  <a:off x="1715855" y="5362110"/>
                  <a:ext cx="342299" cy="342299"/>
                </a:xfrm>
                <a:prstGeom prst="ellipse">
                  <a:avLst/>
                </a:pr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/>
                </a:p>
              </p:txBody>
            </p:sp>
          </p:grpSp>
        </p:grpSp>
      </p:grp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0F0BEE4B-224C-4865-BA56-63DD3F81DEEA}"/>
              </a:ext>
            </a:extLst>
          </p:cNvPr>
          <p:cNvGrpSpPr/>
          <p:nvPr/>
        </p:nvGrpSpPr>
        <p:grpSpPr>
          <a:xfrm>
            <a:off x="4748872" y="1806373"/>
            <a:ext cx="1211932" cy="2707164"/>
            <a:chOff x="4748872" y="1806373"/>
            <a:chExt cx="1211932" cy="2707164"/>
          </a:xfrm>
        </p:grpSpPr>
        <p:cxnSp>
          <p:nvCxnSpPr>
            <p:cNvPr id="29" name="Elbow Connector 49">
              <a:extLst>
                <a:ext uri="{FF2B5EF4-FFF2-40B4-BE49-F238E27FC236}">
                  <a16:creationId xmlns:a16="http://schemas.microsoft.com/office/drawing/2014/main" id="{3C5A7F50-1B29-4C5C-8FB4-481FF5C812C5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716625" y="3874095"/>
              <a:ext cx="671689" cy="607195"/>
            </a:xfrm>
            <a:prstGeom prst="bentConnector3">
              <a:avLst>
                <a:gd name="adj1" fmla="val 101050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Elbow Connector 50">
              <a:extLst>
                <a:ext uri="{FF2B5EF4-FFF2-40B4-BE49-F238E27FC236}">
                  <a16:creationId xmlns:a16="http://schemas.microsoft.com/office/drawing/2014/main" id="{3443B610-47ED-41B9-9449-54DB47DDE15C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068193" y="2620926"/>
              <a:ext cx="2707163" cy="1078058"/>
            </a:xfrm>
            <a:prstGeom prst="bentConnector3">
              <a:avLst>
                <a:gd name="adj1" fmla="val 99962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Elbow Connector 51">
              <a:extLst>
                <a:ext uri="{FF2B5EF4-FFF2-40B4-BE49-F238E27FC236}">
                  <a16:creationId xmlns:a16="http://schemas.microsoft.com/office/drawing/2014/main" id="{2881CEE5-7680-4B86-8A8D-9C16C5BE6649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404557" y="3260679"/>
              <a:ext cx="1677348" cy="828368"/>
            </a:xfrm>
            <a:prstGeom prst="bentConnector3">
              <a:avLst>
                <a:gd name="adj1" fmla="val 99972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Oval 31">
            <a:extLst>
              <a:ext uri="{FF2B5EF4-FFF2-40B4-BE49-F238E27FC236}">
                <a16:creationId xmlns:a16="http://schemas.microsoft.com/office/drawing/2014/main" id="{D79B1F18-EBF5-4F6A-9EB1-5AAD08CCBE71}"/>
              </a:ext>
            </a:extLst>
          </p:cNvPr>
          <p:cNvSpPr/>
          <p:nvPr/>
        </p:nvSpPr>
        <p:spPr>
          <a:xfrm>
            <a:off x="4280881" y="1494699"/>
            <a:ext cx="671669" cy="671669"/>
          </a:xfrm>
          <a:prstGeom prst="ellipse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787B80C-8F1C-4935-AAA0-6A7272531908}"/>
              </a:ext>
            </a:extLst>
          </p:cNvPr>
          <p:cNvSpPr txBox="1"/>
          <p:nvPr/>
        </p:nvSpPr>
        <p:spPr>
          <a:xfrm>
            <a:off x="628651" y="1507368"/>
            <a:ext cx="35296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D BOC Dashboard</a:t>
            </a:r>
          </a:p>
          <a:p>
            <a:pPr algn="just"/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gguna dapat membuat Catatan Rapat Direksi (CRD),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Risalah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Rapat BOC dan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Risalah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Rapat BOC BOD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  <a:p>
            <a:pPr algn="r"/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2C3F605-5FED-4124-A150-FA30621C05E8}"/>
              </a:ext>
            </a:extLst>
          </p:cNvPr>
          <p:cNvSpPr/>
          <p:nvPr/>
        </p:nvSpPr>
        <p:spPr>
          <a:xfrm>
            <a:off x="7259565" y="2500356"/>
            <a:ext cx="671669" cy="671669"/>
          </a:xfrm>
          <a:prstGeom prst="ellipse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5841534-89AD-41CC-8C19-E6B17A2C1DE2}"/>
              </a:ext>
            </a:extLst>
          </p:cNvPr>
          <p:cNvSpPr txBox="1"/>
          <p:nvPr/>
        </p:nvSpPr>
        <p:spPr>
          <a:xfrm>
            <a:off x="8046975" y="2513024"/>
            <a:ext cx="35354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lding, Subholding Dapat </a:t>
            </a:r>
            <a:r>
              <a:rPr lang="en-US" altLang="ko-KR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erkirim</a:t>
            </a: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urat Keluar, Fax Keluar</a:t>
            </a:r>
          </a:p>
          <a:p>
            <a:pPr algn="just"/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ngguna dapat mengirimkan Surat Keluar dan Fax Keluar kepada Pengguna di tenant lain atau </a:t>
            </a:r>
            <a:r>
              <a:rPr lang="en-US" altLang="ko-KR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intas</a:t>
            </a:r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company code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260BB1C-A1B1-4D07-A4CC-FAF43C65AFCD}"/>
              </a:ext>
            </a:extLst>
          </p:cNvPr>
          <p:cNvSpPr/>
          <p:nvPr/>
        </p:nvSpPr>
        <p:spPr>
          <a:xfrm>
            <a:off x="7259565" y="3506035"/>
            <a:ext cx="671669" cy="671669"/>
          </a:xfrm>
          <a:prstGeom prst="ellipse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7D29F6-9D26-40AA-A067-E3D3D2A18126}"/>
              </a:ext>
            </a:extLst>
          </p:cNvPr>
          <p:cNvSpPr txBox="1"/>
          <p:nvPr/>
        </p:nvSpPr>
        <p:spPr>
          <a:xfrm>
            <a:off x="8046975" y="3518704"/>
            <a:ext cx="35354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esimen Tanda Tangan Sesuai Organisasi</a:t>
            </a:r>
          </a:p>
          <a:p>
            <a:pPr algn="just"/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esimen tanda tangan </a:t>
            </a:r>
            <a:r>
              <a:rPr lang="en-US" altLang="ko-KR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sesuaikan</a:t>
            </a:r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mana</a:t>
            </a:r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engguna tersebut berada dengan </a:t>
            </a:r>
            <a:r>
              <a:rPr lang="en-US" altLang="ko-KR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ncantumkan</a:t>
            </a:r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logo Organisasi pada spesimen tanda tangan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6BD6083C-1D63-418F-B3B5-370477CD9B48}"/>
              </a:ext>
            </a:extLst>
          </p:cNvPr>
          <p:cNvSpPr/>
          <p:nvPr/>
        </p:nvSpPr>
        <p:spPr>
          <a:xfrm>
            <a:off x="7259565" y="1494699"/>
            <a:ext cx="671669" cy="671669"/>
          </a:xfrm>
          <a:prstGeom prst="ellipse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44A6AE4-B588-458B-8402-87C71AFB86C7}"/>
              </a:ext>
            </a:extLst>
          </p:cNvPr>
          <p:cNvSpPr txBox="1"/>
          <p:nvPr/>
        </p:nvSpPr>
        <p:spPr>
          <a:xfrm>
            <a:off x="8046975" y="1507368"/>
            <a:ext cx="35354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si dengan P-Sign</a:t>
            </a:r>
          </a:p>
          <a:p>
            <a:pPr algn="just"/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gguna dapat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menyetujui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surat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internal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seperti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Memorandum, SP3S menggunakan layanan digital signature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rtamina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Sign (P-Sign)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  <a:p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503C814-5747-4F47-9D70-66932AD7C1CA}"/>
              </a:ext>
            </a:extLst>
          </p:cNvPr>
          <p:cNvSpPr/>
          <p:nvPr/>
        </p:nvSpPr>
        <p:spPr>
          <a:xfrm>
            <a:off x="4280881" y="2500356"/>
            <a:ext cx="671669" cy="671669"/>
          </a:xfrm>
          <a:prstGeom prst="ellipse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B0C0036-8A2B-43FD-9FC4-F80AA4731C60}"/>
              </a:ext>
            </a:extLst>
          </p:cNvPr>
          <p:cNvSpPr txBox="1"/>
          <p:nvPr/>
        </p:nvSpPr>
        <p:spPr>
          <a:xfrm>
            <a:off x="628651" y="2513024"/>
            <a:ext cx="35296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yTask</a:t>
            </a:r>
            <a:endParaRPr lang="en-US" altLang="ko-K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/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gguna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dapat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menerima </a:t>
            </a:r>
            <a:r>
              <a:rPr kumimoji="0" lang="en-US" altLang="ko-KR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assignment </a:t>
            </a:r>
            <a:r>
              <a:rPr kumimoji="0" lang="en-US" altLang="ko-KR" sz="1200" b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yang </a:t>
            </a:r>
            <a:r>
              <a:rPr kumimoji="0" lang="en-US" altLang="ko-KR" sz="1200" b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rlu</a:t>
            </a:r>
            <a:r>
              <a:rPr kumimoji="0" lang="en-US" altLang="ko-KR" sz="1200" b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ditindaklanjuti </a:t>
            </a:r>
            <a:r>
              <a:rPr kumimoji="0" lang="en-US" altLang="ko-KR" sz="1200" b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melalui</a:t>
            </a:r>
            <a:r>
              <a:rPr kumimoji="0" lang="en-US" altLang="ko-KR" sz="1200" b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MyTask</a:t>
            </a:r>
            <a:r>
              <a:rPr kumimoji="0" lang="en-US" altLang="ko-KR" sz="1200" b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(</a:t>
            </a:r>
            <a:r>
              <a:rPr kumimoji="0" lang="en-US" altLang="ko-KR" sz="1200" b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Saat</a:t>
            </a:r>
            <a:r>
              <a:rPr kumimoji="0" lang="en-US" altLang="ko-KR" sz="1200" b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ini</a:t>
            </a:r>
            <a:r>
              <a:rPr kumimoji="0" lang="en-US" altLang="ko-KR" sz="1200" b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piloting </a:t>
            </a:r>
            <a:r>
              <a:rPr kumimoji="0" lang="en-US" altLang="ko-KR" sz="1200" b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digunakan</a:t>
            </a:r>
            <a:r>
              <a:rPr kumimoji="0" lang="en-US" altLang="ko-KR" sz="1200" b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itchFamily="34" charset="0"/>
              </a:rPr>
              <a:t>di </a:t>
            </a:r>
            <a:r>
              <a:rPr lang="en-US" altLang="ko-KR" sz="1200" dirty="0" err="1">
                <a:solidFill>
                  <a:prstClr val="black">
                    <a:lumMod val="75000"/>
                    <a:lumOff val="25000"/>
                  </a:prstClr>
                </a:solidFill>
                <a:cs typeface="Arial" pitchFamily="34" charset="0"/>
              </a:rPr>
              <a:t>fungsi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itchFamily="34" charset="0"/>
              </a:rPr>
              <a:t> BOD dan BOC)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  <a:p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1E96354-9E2E-4FC7-84F3-4974114C5A08}"/>
              </a:ext>
            </a:extLst>
          </p:cNvPr>
          <p:cNvSpPr/>
          <p:nvPr/>
        </p:nvSpPr>
        <p:spPr>
          <a:xfrm>
            <a:off x="4280881" y="3506035"/>
            <a:ext cx="671669" cy="671669"/>
          </a:xfrm>
          <a:prstGeom prst="ellipse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96A2A41-D532-4ED6-9439-B5AACEDF08AE}"/>
              </a:ext>
            </a:extLst>
          </p:cNvPr>
          <p:cNvSpPr txBox="1"/>
          <p:nvPr/>
        </p:nvSpPr>
        <p:spPr>
          <a:xfrm>
            <a:off x="628651" y="3518704"/>
            <a:ext cx="35296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rat Belum Bernomor </a:t>
            </a:r>
            <a:r>
              <a:rPr lang="en-US" altLang="ko-KR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rsimpan</a:t>
            </a: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i Draft</a:t>
            </a:r>
          </a:p>
          <a:p>
            <a:pPr algn="just"/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gguna sebagai </a:t>
            </a:r>
            <a:r>
              <a:rPr kumimoji="0" lang="en-US" altLang="ko-KR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reviewer </a:t>
            </a:r>
            <a:r>
              <a:rPr kumimoji="0" lang="en-US" altLang="ko-KR" sz="1200" b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dan </a:t>
            </a:r>
            <a:r>
              <a:rPr kumimoji="0" lang="en-US" altLang="ko-KR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approver </a:t>
            </a:r>
            <a:r>
              <a:rPr kumimoji="0" lang="en-US" altLang="ko-KR" sz="1200" b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dapat menindaklanjuti draft atau </a:t>
            </a:r>
            <a:r>
              <a:rPr kumimoji="0" lang="en-US" altLang="ko-KR" sz="1200" b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konsep</a:t>
            </a:r>
            <a:r>
              <a:rPr kumimoji="0" lang="en-US" altLang="ko-KR" sz="1200" b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surat</a:t>
            </a:r>
            <a:r>
              <a:rPr kumimoji="0" lang="en-US" altLang="ko-KR" sz="1200" b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untuk disetujui dan dicek di menu Draft</a:t>
            </a:r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Donut 15">
            <a:extLst>
              <a:ext uri="{FF2B5EF4-FFF2-40B4-BE49-F238E27FC236}">
                <a16:creationId xmlns:a16="http://schemas.microsoft.com/office/drawing/2014/main" id="{05D5A266-7FAB-450D-A4C2-5886F61142C5}"/>
              </a:ext>
            </a:extLst>
          </p:cNvPr>
          <p:cNvSpPr>
            <a:spLocks/>
          </p:cNvSpPr>
          <p:nvPr/>
        </p:nvSpPr>
        <p:spPr>
          <a:xfrm>
            <a:off x="4409240" y="2629066"/>
            <a:ext cx="414246" cy="414246"/>
          </a:xfrm>
          <a:custGeom>
            <a:avLst/>
            <a:gdLst/>
            <a:ahLst/>
            <a:cxnLst/>
            <a:rect l="l" t="t" r="r" b="b"/>
            <a:pathLst>
              <a:path w="3821708" h="3795110">
                <a:moveTo>
                  <a:pt x="1910854" y="903842"/>
                </a:moveTo>
                <a:lnTo>
                  <a:pt x="1793831" y="1129420"/>
                </a:lnTo>
                <a:lnTo>
                  <a:pt x="1791613" y="1129420"/>
                </a:lnTo>
                <a:lnTo>
                  <a:pt x="1791892" y="1133157"/>
                </a:lnTo>
                <a:lnTo>
                  <a:pt x="1791613" y="1133695"/>
                </a:lnTo>
                <a:lnTo>
                  <a:pt x="1791933" y="1133695"/>
                </a:lnTo>
                <a:lnTo>
                  <a:pt x="1833002" y="1683464"/>
                </a:lnTo>
                <a:cubicBezTo>
                  <a:pt x="1744939" y="1714584"/>
                  <a:pt x="1682254" y="1798749"/>
                  <a:pt x="1682254" y="1897555"/>
                </a:cubicBezTo>
                <a:cubicBezTo>
                  <a:pt x="1682254" y="2023808"/>
                  <a:pt x="1784602" y="2126156"/>
                  <a:pt x="1910855" y="2126156"/>
                </a:cubicBezTo>
                <a:cubicBezTo>
                  <a:pt x="1975561" y="2126156"/>
                  <a:pt x="2033988" y="2099273"/>
                  <a:pt x="2075304" y="2055803"/>
                </a:cubicBezTo>
                <a:lnTo>
                  <a:pt x="2443125" y="2288080"/>
                </a:lnTo>
                <a:lnTo>
                  <a:pt x="2443003" y="2288309"/>
                </a:lnTo>
                <a:lnTo>
                  <a:pt x="2443494" y="2288314"/>
                </a:lnTo>
                <a:lnTo>
                  <a:pt x="2446061" y="2289935"/>
                </a:lnTo>
                <a:lnTo>
                  <a:pt x="2446904" y="2288348"/>
                </a:lnTo>
                <a:lnTo>
                  <a:pt x="2652725" y="2290436"/>
                </a:lnTo>
                <a:lnTo>
                  <a:pt x="2535900" y="2120971"/>
                </a:lnTo>
                <a:lnTo>
                  <a:pt x="2536744" y="2119385"/>
                </a:lnTo>
                <a:lnTo>
                  <a:pt x="2533964" y="2118163"/>
                </a:lnTo>
                <a:lnTo>
                  <a:pt x="2533686" y="2117759"/>
                </a:lnTo>
                <a:lnTo>
                  <a:pt x="2533565" y="2117988"/>
                </a:lnTo>
                <a:lnTo>
                  <a:pt x="2134900" y="1942755"/>
                </a:lnTo>
                <a:cubicBezTo>
                  <a:pt x="2137918" y="1928156"/>
                  <a:pt x="2139456" y="1913035"/>
                  <a:pt x="2139456" y="1897555"/>
                </a:cubicBezTo>
                <a:cubicBezTo>
                  <a:pt x="2139456" y="1798748"/>
                  <a:pt x="2076770" y="1714583"/>
                  <a:pt x="1988706" y="1683463"/>
                </a:cubicBezTo>
                <a:lnTo>
                  <a:pt x="2029775" y="1133695"/>
                </a:lnTo>
                <a:lnTo>
                  <a:pt x="2030094" y="1133695"/>
                </a:lnTo>
                <a:lnTo>
                  <a:pt x="2029815" y="1133157"/>
                </a:lnTo>
                <a:lnTo>
                  <a:pt x="2030094" y="1129420"/>
                </a:lnTo>
                <a:lnTo>
                  <a:pt x="2027877" y="1129420"/>
                </a:lnTo>
                <a:close/>
                <a:moveTo>
                  <a:pt x="1910854" y="565406"/>
                </a:moveTo>
                <a:cubicBezTo>
                  <a:pt x="2646579" y="565406"/>
                  <a:pt x="3243002" y="1161829"/>
                  <a:pt x="3243002" y="1897554"/>
                </a:cubicBezTo>
                <a:cubicBezTo>
                  <a:pt x="3243002" y="2633279"/>
                  <a:pt x="2646579" y="3229702"/>
                  <a:pt x="1910854" y="3229702"/>
                </a:cubicBezTo>
                <a:cubicBezTo>
                  <a:pt x="1175129" y="3229702"/>
                  <a:pt x="578706" y="2633279"/>
                  <a:pt x="578706" y="1897554"/>
                </a:cubicBezTo>
                <a:cubicBezTo>
                  <a:pt x="578706" y="1161829"/>
                  <a:pt x="1175129" y="565406"/>
                  <a:pt x="1910854" y="565406"/>
                </a:cubicBezTo>
                <a:close/>
                <a:moveTo>
                  <a:pt x="1766837" y="367010"/>
                </a:moveTo>
                <a:cubicBezTo>
                  <a:pt x="1050362" y="432397"/>
                  <a:pt x="475174" y="981146"/>
                  <a:pt x="377476" y="1681610"/>
                </a:cubicBezTo>
                <a:lnTo>
                  <a:pt x="426306" y="1681610"/>
                </a:lnTo>
                <a:cubicBezTo>
                  <a:pt x="510474" y="1681610"/>
                  <a:pt x="578706" y="1746088"/>
                  <a:pt x="578706" y="1825626"/>
                </a:cubicBezTo>
                <a:cubicBezTo>
                  <a:pt x="578706" y="1905164"/>
                  <a:pt x="510474" y="1969642"/>
                  <a:pt x="426306" y="1969642"/>
                </a:cubicBezTo>
                <a:lnTo>
                  <a:pt x="364094" y="1969642"/>
                </a:lnTo>
                <a:cubicBezTo>
                  <a:pt x="398055" y="2738400"/>
                  <a:pt x="1003246" y="3359660"/>
                  <a:pt x="1769417" y="3427809"/>
                </a:cubicBezTo>
                <a:lnTo>
                  <a:pt x="1769417" y="3382101"/>
                </a:lnTo>
                <a:cubicBezTo>
                  <a:pt x="1769417" y="3297933"/>
                  <a:pt x="1833895" y="3229701"/>
                  <a:pt x="1913433" y="3229701"/>
                </a:cubicBezTo>
                <a:cubicBezTo>
                  <a:pt x="1992971" y="3229701"/>
                  <a:pt x="2057449" y="3297933"/>
                  <a:pt x="2057449" y="3382101"/>
                </a:cubicBezTo>
                <a:lnTo>
                  <a:pt x="2057449" y="3427707"/>
                </a:lnTo>
                <a:cubicBezTo>
                  <a:pt x="2804164" y="3358467"/>
                  <a:pt x="3396856" y="2764020"/>
                  <a:pt x="3455018" y="2020616"/>
                </a:cubicBezTo>
                <a:lnTo>
                  <a:pt x="3395402" y="2020616"/>
                </a:lnTo>
                <a:cubicBezTo>
                  <a:pt x="3311234" y="2020616"/>
                  <a:pt x="3243002" y="1956138"/>
                  <a:pt x="3243002" y="1876600"/>
                </a:cubicBezTo>
                <a:cubicBezTo>
                  <a:pt x="3243002" y="1797062"/>
                  <a:pt x="3311234" y="1732584"/>
                  <a:pt x="3395402" y="1732584"/>
                </a:cubicBezTo>
                <a:lnTo>
                  <a:pt x="3451747" y="1732584"/>
                </a:lnTo>
                <a:cubicBezTo>
                  <a:pt x="3374444" y="1008025"/>
                  <a:pt x="2788738" y="434055"/>
                  <a:pt x="2054869" y="367632"/>
                </a:cubicBezTo>
                <a:lnTo>
                  <a:pt x="2054869" y="407296"/>
                </a:lnTo>
                <a:cubicBezTo>
                  <a:pt x="2054869" y="491464"/>
                  <a:pt x="1990391" y="559696"/>
                  <a:pt x="1910853" y="559696"/>
                </a:cubicBezTo>
                <a:cubicBezTo>
                  <a:pt x="1831315" y="559696"/>
                  <a:pt x="1766837" y="491464"/>
                  <a:pt x="1766837" y="407296"/>
                </a:cubicBezTo>
                <a:close/>
                <a:moveTo>
                  <a:pt x="1910854" y="0"/>
                </a:moveTo>
                <a:cubicBezTo>
                  <a:pt x="2966190" y="0"/>
                  <a:pt x="3821708" y="849564"/>
                  <a:pt x="3821708" y="1897555"/>
                </a:cubicBezTo>
                <a:cubicBezTo>
                  <a:pt x="3821708" y="2945546"/>
                  <a:pt x="2966190" y="3795110"/>
                  <a:pt x="1910854" y="3795110"/>
                </a:cubicBezTo>
                <a:cubicBezTo>
                  <a:pt x="855518" y="3795110"/>
                  <a:pt x="0" y="2945546"/>
                  <a:pt x="0" y="1897555"/>
                </a:cubicBezTo>
                <a:cubicBezTo>
                  <a:pt x="0" y="849564"/>
                  <a:pt x="855518" y="0"/>
                  <a:pt x="191085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49" name="Rounded Rectangle 2">
            <a:extLst>
              <a:ext uri="{FF2B5EF4-FFF2-40B4-BE49-F238E27FC236}">
                <a16:creationId xmlns:a16="http://schemas.microsoft.com/office/drawing/2014/main" id="{2CC9E4D8-EE18-436C-8048-E7C97508214A}"/>
              </a:ext>
            </a:extLst>
          </p:cNvPr>
          <p:cNvSpPr/>
          <p:nvPr/>
        </p:nvSpPr>
        <p:spPr>
          <a:xfrm>
            <a:off x="7416476" y="3663299"/>
            <a:ext cx="357141" cy="357141"/>
          </a:xfrm>
          <a:custGeom>
            <a:avLst/>
            <a:gdLst/>
            <a:ahLst/>
            <a:cxnLst/>
            <a:rect l="l" t="t" r="r" b="b"/>
            <a:pathLst>
              <a:path w="3960000" h="3960000">
                <a:moveTo>
                  <a:pt x="2784484" y="2487854"/>
                </a:moveTo>
                <a:cubicBezTo>
                  <a:pt x="2774989" y="2487391"/>
                  <a:pt x="2765365" y="2488860"/>
                  <a:pt x="2756439" y="2492301"/>
                </a:cubicBezTo>
                <a:cubicBezTo>
                  <a:pt x="2734854" y="2500620"/>
                  <a:pt x="2720969" y="2519027"/>
                  <a:pt x="2720969" y="2539323"/>
                </a:cubicBezTo>
                <a:lnTo>
                  <a:pt x="2718062" y="2539323"/>
                </a:lnTo>
                <a:lnTo>
                  <a:pt x="2718062" y="2636901"/>
                </a:lnTo>
                <a:lnTo>
                  <a:pt x="2844095" y="2636901"/>
                </a:lnTo>
                <a:lnTo>
                  <a:pt x="2844095" y="2547101"/>
                </a:lnTo>
                <a:lnTo>
                  <a:pt x="2840575" y="2546667"/>
                </a:lnTo>
                <a:cubicBezTo>
                  <a:pt x="2844038" y="2526031"/>
                  <a:pt x="2832667" y="2505637"/>
                  <a:pt x="2811763" y="2494994"/>
                </a:cubicBezTo>
                <a:cubicBezTo>
                  <a:pt x="2803348" y="2490709"/>
                  <a:pt x="2793980" y="2488316"/>
                  <a:pt x="2784484" y="2487854"/>
                </a:cubicBezTo>
                <a:close/>
                <a:moveTo>
                  <a:pt x="2218919" y="2459568"/>
                </a:moveTo>
                <a:cubicBezTo>
                  <a:pt x="2198232" y="2462191"/>
                  <a:pt x="2177586" y="2476073"/>
                  <a:pt x="2165645" y="2505359"/>
                </a:cubicBezTo>
                <a:lnTo>
                  <a:pt x="2165645" y="2981896"/>
                </a:lnTo>
                <a:cubicBezTo>
                  <a:pt x="2176061" y="3034481"/>
                  <a:pt x="2243614" y="3053730"/>
                  <a:pt x="2282578" y="2996778"/>
                </a:cubicBezTo>
                <a:lnTo>
                  <a:pt x="2282578" y="2521099"/>
                </a:lnTo>
                <a:cubicBezTo>
                  <a:pt x="2287988" y="2482101"/>
                  <a:pt x="2253397" y="2455196"/>
                  <a:pt x="2218919" y="2459568"/>
                </a:cubicBezTo>
                <a:close/>
                <a:moveTo>
                  <a:pt x="1724507" y="2341658"/>
                </a:moveTo>
                <a:lnTo>
                  <a:pt x="1886507" y="2341658"/>
                </a:lnTo>
                <a:lnTo>
                  <a:pt x="1886507" y="3157984"/>
                </a:lnTo>
                <a:lnTo>
                  <a:pt x="1724507" y="3157984"/>
                </a:lnTo>
                <a:lnTo>
                  <a:pt x="1724507" y="3071637"/>
                </a:lnTo>
                <a:cubicBezTo>
                  <a:pt x="1508936" y="3302583"/>
                  <a:pt x="1432071" y="3083964"/>
                  <a:pt x="1448980" y="3019402"/>
                </a:cubicBezTo>
                <a:cubicBezTo>
                  <a:pt x="1449173" y="3019371"/>
                  <a:pt x="1449367" y="3019341"/>
                  <a:pt x="1449560" y="3019310"/>
                </a:cubicBezTo>
                <a:lnTo>
                  <a:pt x="1449560" y="2341867"/>
                </a:lnTo>
                <a:lnTo>
                  <a:pt x="1611560" y="2341867"/>
                </a:lnTo>
                <a:lnTo>
                  <a:pt x="1611560" y="3005106"/>
                </a:lnTo>
                <a:cubicBezTo>
                  <a:pt x="1619060" y="3048622"/>
                  <a:pt x="1686890" y="2980715"/>
                  <a:pt x="1724507" y="2960399"/>
                </a:cubicBezTo>
                <a:close/>
                <a:moveTo>
                  <a:pt x="2794634" y="2323257"/>
                </a:moveTo>
                <a:cubicBezTo>
                  <a:pt x="2833672" y="2325523"/>
                  <a:pt x="2872097" y="2337568"/>
                  <a:pt x="2905793" y="2359152"/>
                </a:cubicBezTo>
                <a:cubicBezTo>
                  <a:pt x="2968205" y="2399130"/>
                  <a:pt x="3005231" y="2465918"/>
                  <a:pt x="3003877" y="2536796"/>
                </a:cubicBezTo>
                <a:lnTo>
                  <a:pt x="3006095" y="2536796"/>
                </a:lnTo>
                <a:lnTo>
                  <a:pt x="3006095" y="2785572"/>
                </a:lnTo>
                <a:lnTo>
                  <a:pt x="2925095" y="2785572"/>
                </a:lnTo>
                <a:lnTo>
                  <a:pt x="2844095" y="2785572"/>
                </a:lnTo>
                <a:lnTo>
                  <a:pt x="2718062" y="2785572"/>
                </a:lnTo>
                <a:lnTo>
                  <a:pt x="2718062" y="2967727"/>
                </a:lnTo>
                <a:lnTo>
                  <a:pt x="2721583" y="2968162"/>
                </a:lnTo>
                <a:cubicBezTo>
                  <a:pt x="2718120" y="2988798"/>
                  <a:pt x="2729491" y="3009192"/>
                  <a:pt x="2750395" y="3019835"/>
                </a:cubicBezTo>
                <a:cubicBezTo>
                  <a:pt x="2767225" y="3028404"/>
                  <a:pt x="2787866" y="3029409"/>
                  <a:pt x="2805719" y="3022528"/>
                </a:cubicBezTo>
                <a:cubicBezTo>
                  <a:pt x="2827304" y="3014209"/>
                  <a:pt x="2841189" y="2995802"/>
                  <a:pt x="2841189" y="2975506"/>
                </a:cubicBezTo>
                <a:lnTo>
                  <a:pt x="2843676" y="2975506"/>
                </a:lnTo>
                <a:lnTo>
                  <a:pt x="2843676" y="2857044"/>
                </a:lnTo>
                <a:lnTo>
                  <a:pt x="3005676" y="2857044"/>
                </a:lnTo>
                <a:lnTo>
                  <a:pt x="3005676" y="2975506"/>
                </a:lnTo>
                <a:lnTo>
                  <a:pt x="3006096" y="2975506"/>
                </a:lnTo>
                <a:lnTo>
                  <a:pt x="3005676" y="2978387"/>
                </a:lnTo>
                <a:lnTo>
                  <a:pt x="3005676" y="2981431"/>
                </a:lnTo>
                <a:lnTo>
                  <a:pt x="3005233" y="2981431"/>
                </a:lnTo>
                <a:cubicBezTo>
                  <a:pt x="3003752" y="3060853"/>
                  <a:pt x="2956391" y="3132900"/>
                  <a:pt x="2882363" y="3168797"/>
                </a:cubicBezTo>
                <a:cubicBezTo>
                  <a:pt x="2810063" y="3203855"/>
                  <a:pt x="2723757" y="3198845"/>
                  <a:pt x="2656365" y="3155677"/>
                </a:cubicBezTo>
                <a:cubicBezTo>
                  <a:pt x="2604277" y="3122312"/>
                  <a:pt x="2569872" y="3070275"/>
                  <a:pt x="2559993" y="3012681"/>
                </a:cubicBezTo>
                <a:lnTo>
                  <a:pt x="2556062" y="3012681"/>
                </a:lnTo>
                <a:lnTo>
                  <a:pt x="2556062" y="2539323"/>
                </a:lnTo>
                <a:cubicBezTo>
                  <a:pt x="2556062" y="2457588"/>
                  <a:pt x="2603922" y="2382823"/>
                  <a:pt x="2679795" y="2346032"/>
                </a:cubicBezTo>
                <a:cubicBezTo>
                  <a:pt x="2715945" y="2328503"/>
                  <a:pt x="2755596" y="2320991"/>
                  <a:pt x="2794634" y="2323257"/>
                </a:cubicBezTo>
                <a:close/>
                <a:moveTo>
                  <a:pt x="921754" y="2059382"/>
                </a:moveTo>
                <a:lnTo>
                  <a:pt x="1461754" y="2059382"/>
                </a:lnTo>
                <a:lnTo>
                  <a:pt x="1461754" y="2221382"/>
                </a:lnTo>
                <a:lnTo>
                  <a:pt x="1263754" y="2221382"/>
                </a:lnTo>
                <a:lnTo>
                  <a:pt x="1263754" y="3160488"/>
                </a:lnTo>
                <a:lnTo>
                  <a:pt x="1101754" y="3160488"/>
                </a:lnTo>
                <a:lnTo>
                  <a:pt x="1101754" y="2221382"/>
                </a:lnTo>
                <a:lnTo>
                  <a:pt x="921754" y="2221382"/>
                </a:lnTo>
                <a:close/>
                <a:moveTo>
                  <a:pt x="2003645" y="2056877"/>
                </a:moveTo>
                <a:lnTo>
                  <a:pt x="2165645" y="2056877"/>
                </a:lnTo>
                <a:lnTo>
                  <a:pt x="2165645" y="2406047"/>
                </a:lnTo>
                <a:cubicBezTo>
                  <a:pt x="2295483" y="2259477"/>
                  <a:pt x="2455251" y="2328666"/>
                  <a:pt x="2444578" y="2520484"/>
                </a:cubicBezTo>
                <a:cubicBezTo>
                  <a:pt x="2454106" y="2682617"/>
                  <a:pt x="2444578" y="2839987"/>
                  <a:pt x="2444578" y="2999738"/>
                </a:cubicBezTo>
                <a:cubicBezTo>
                  <a:pt x="2437328" y="3271827"/>
                  <a:pt x="2180048" y="3158151"/>
                  <a:pt x="2165645" y="3094482"/>
                </a:cubicBezTo>
                <a:lnTo>
                  <a:pt x="2165645" y="3157983"/>
                </a:lnTo>
                <a:lnTo>
                  <a:pt x="2003645" y="3157983"/>
                </a:lnTo>
                <a:close/>
                <a:moveTo>
                  <a:pt x="1082145" y="1835984"/>
                </a:moveTo>
                <a:cubicBezTo>
                  <a:pt x="901872" y="1835984"/>
                  <a:pt x="755732" y="1982124"/>
                  <a:pt x="755732" y="2162397"/>
                </a:cubicBezTo>
                <a:lnTo>
                  <a:pt x="755732" y="3086444"/>
                </a:lnTo>
                <a:cubicBezTo>
                  <a:pt x="755732" y="3266717"/>
                  <a:pt x="901872" y="3412857"/>
                  <a:pt x="1082145" y="3412857"/>
                </a:cubicBezTo>
                <a:lnTo>
                  <a:pt x="2845706" y="3412857"/>
                </a:lnTo>
                <a:cubicBezTo>
                  <a:pt x="3025979" y="3412857"/>
                  <a:pt x="3172119" y="3266717"/>
                  <a:pt x="3172119" y="3086444"/>
                </a:cubicBezTo>
                <a:lnTo>
                  <a:pt x="3172119" y="2162397"/>
                </a:lnTo>
                <a:cubicBezTo>
                  <a:pt x="3172119" y="1982124"/>
                  <a:pt x="3025979" y="1835984"/>
                  <a:pt x="2845706" y="1835984"/>
                </a:cubicBezTo>
                <a:close/>
                <a:moveTo>
                  <a:pt x="1918669" y="998231"/>
                </a:moveTo>
                <a:cubicBezTo>
                  <a:pt x="1949783" y="998231"/>
                  <a:pt x="1975005" y="1022442"/>
                  <a:pt x="1975005" y="1052309"/>
                </a:cubicBezTo>
                <a:cubicBezTo>
                  <a:pt x="1975005" y="1200582"/>
                  <a:pt x="1975004" y="1348856"/>
                  <a:pt x="1975004" y="1497129"/>
                </a:cubicBezTo>
                <a:cubicBezTo>
                  <a:pt x="1975004" y="1526996"/>
                  <a:pt x="1949782" y="1551207"/>
                  <a:pt x="1918668" y="1551207"/>
                </a:cubicBezTo>
                <a:lnTo>
                  <a:pt x="1918669" y="1551206"/>
                </a:lnTo>
                <a:cubicBezTo>
                  <a:pt x="1887555" y="1551206"/>
                  <a:pt x="1862333" y="1526995"/>
                  <a:pt x="1862333" y="1497128"/>
                </a:cubicBezTo>
                <a:lnTo>
                  <a:pt x="1862333" y="1052309"/>
                </a:lnTo>
                <a:cubicBezTo>
                  <a:pt x="1862333" y="1022442"/>
                  <a:pt x="1887555" y="998231"/>
                  <a:pt x="1918669" y="998231"/>
                </a:cubicBezTo>
                <a:close/>
                <a:moveTo>
                  <a:pt x="2539373" y="865097"/>
                </a:moveTo>
                <a:lnTo>
                  <a:pt x="2539373" y="1483838"/>
                </a:lnTo>
                <a:cubicBezTo>
                  <a:pt x="2501756" y="1504154"/>
                  <a:pt x="2433926" y="1572061"/>
                  <a:pt x="2426426" y="1528545"/>
                </a:cubicBezTo>
                <a:lnTo>
                  <a:pt x="2426426" y="865306"/>
                </a:lnTo>
                <a:lnTo>
                  <a:pt x="2264426" y="865306"/>
                </a:lnTo>
                <a:lnTo>
                  <a:pt x="2264426" y="1542749"/>
                </a:lnTo>
                <a:cubicBezTo>
                  <a:pt x="2264233" y="1542780"/>
                  <a:pt x="2264039" y="1542810"/>
                  <a:pt x="2263846" y="1542841"/>
                </a:cubicBezTo>
                <a:cubicBezTo>
                  <a:pt x="2246937" y="1607403"/>
                  <a:pt x="2323802" y="1826022"/>
                  <a:pt x="2539373" y="1595076"/>
                </a:cubicBezTo>
                <a:lnTo>
                  <a:pt x="2539373" y="1681423"/>
                </a:lnTo>
                <a:lnTo>
                  <a:pt x="2701373" y="1681423"/>
                </a:lnTo>
                <a:lnTo>
                  <a:pt x="2701373" y="865097"/>
                </a:lnTo>
                <a:close/>
                <a:moveTo>
                  <a:pt x="1918668" y="840143"/>
                </a:moveTo>
                <a:cubicBezTo>
                  <a:pt x="1799361" y="840143"/>
                  <a:pt x="1702644" y="932984"/>
                  <a:pt x="1702644" y="1047509"/>
                </a:cubicBezTo>
                <a:lnTo>
                  <a:pt x="1702644" y="1501930"/>
                </a:lnTo>
                <a:cubicBezTo>
                  <a:pt x="1702644" y="1616455"/>
                  <a:pt x="1799361" y="1709295"/>
                  <a:pt x="1918668" y="1709295"/>
                </a:cubicBezTo>
                <a:cubicBezTo>
                  <a:pt x="2037975" y="1709295"/>
                  <a:pt x="2134692" y="1616455"/>
                  <a:pt x="2134692" y="1501930"/>
                </a:cubicBezTo>
                <a:lnTo>
                  <a:pt x="2134692" y="1047509"/>
                </a:lnTo>
                <a:cubicBezTo>
                  <a:pt x="2134692" y="932984"/>
                  <a:pt x="2037975" y="840143"/>
                  <a:pt x="1918668" y="840143"/>
                </a:cubicBezTo>
                <a:close/>
                <a:moveTo>
                  <a:pt x="1544554" y="609793"/>
                </a:moveTo>
                <a:lnTo>
                  <a:pt x="1425758" y="1008757"/>
                </a:lnTo>
                <a:lnTo>
                  <a:pt x="1311048" y="623516"/>
                </a:lnTo>
                <a:lnTo>
                  <a:pt x="1152958" y="623516"/>
                </a:lnTo>
                <a:lnTo>
                  <a:pt x="1345929" y="1271588"/>
                </a:lnTo>
                <a:lnTo>
                  <a:pt x="1347249" y="1271588"/>
                </a:lnTo>
                <a:lnTo>
                  <a:pt x="1347249" y="1698532"/>
                </a:lnTo>
                <a:lnTo>
                  <a:pt x="1509249" y="1698532"/>
                </a:lnTo>
                <a:lnTo>
                  <a:pt x="1509249" y="1257865"/>
                </a:lnTo>
                <a:lnTo>
                  <a:pt x="1509673" y="1257865"/>
                </a:lnTo>
                <a:lnTo>
                  <a:pt x="1702644" y="609793"/>
                </a:ln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51" name="Rectangle 7">
            <a:extLst>
              <a:ext uri="{FF2B5EF4-FFF2-40B4-BE49-F238E27FC236}">
                <a16:creationId xmlns:a16="http://schemas.microsoft.com/office/drawing/2014/main" id="{A4DD3930-BF43-44CD-8988-35B6E8BD7A63}"/>
              </a:ext>
            </a:extLst>
          </p:cNvPr>
          <p:cNvSpPr/>
          <p:nvPr/>
        </p:nvSpPr>
        <p:spPr>
          <a:xfrm>
            <a:off x="4405569" y="1608521"/>
            <a:ext cx="404150" cy="403447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01869" y="2055482"/>
                </a:moveTo>
                <a:lnTo>
                  <a:pt x="869869" y="2055482"/>
                </a:lnTo>
                <a:lnTo>
                  <a:pt x="869869" y="2919482"/>
                </a:lnTo>
                <a:lnTo>
                  <a:pt x="401869" y="2919482"/>
                </a:lnTo>
                <a:close/>
                <a:moveTo>
                  <a:pt x="1121949" y="1695482"/>
                </a:moveTo>
                <a:lnTo>
                  <a:pt x="1589949" y="1695482"/>
                </a:lnTo>
                <a:lnTo>
                  <a:pt x="1589949" y="2919482"/>
                </a:lnTo>
                <a:lnTo>
                  <a:pt x="1121949" y="2919482"/>
                </a:lnTo>
                <a:close/>
                <a:moveTo>
                  <a:pt x="1842029" y="1335482"/>
                </a:moveTo>
                <a:lnTo>
                  <a:pt x="2310029" y="1335482"/>
                </a:lnTo>
                <a:lnTo>
                  <a:pt x="2310029" y="2919482"/>
                </a:lnTo>
                <a:lnTo>
                  <a:pt x="1842029" y="2919482"/>
                </a:lnTo>
                <a:close/>
                <a:moveTo>
                  <a:pt x="2562109" y="975482"/>
                </a:moveTo>
                <a:lnTo>
                  <a:pt x="3030109" y="975482"/>
                </a:lnTo>
                <a:lnTo>
                  <a:pt x="3030109" y="2919482"/>
                </a:lnTo>
                <a:lnTo>
                  <a:pt x="2562109" y="2919482"/>
                </a:lnTo>
                <a:close/>
                <a:moveTo>
                  <a:pt x="2321888" y="224805"/>
                </a:moveTo>
                <a:lnTo>
                  <a:pt x="2880631" y="247420"/>
                </a:lnTo>
                <a:lnTo>
                  <a:pt x="2620844" y="742612"/>
                </a:lnTo>
                <a:lnTo>
                  <a:pt x="2546105" y="613161"/>
                </a:lnTo>
                <a:lnTo>
                  <a:pt x="541555" y="1770488"/>
                </a:lnTo>
                <a:lnTo>
                  <a:pt x="392077" y="1511585"/>
                </a:lnTo>
                <a:lnTo>
                  <a:pt x="2396627" y="354257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3059999"/>
                </a:lnTo>
                <a:lnTo>
                  <a:pt x="3240000" y="3059999"/>
                </a:lnTo>
                <a:lnTo>
                  <a:pt x="3240000" y="3239999"/>
                </a:lnTo>
                <a:lnTo>
                  <a:pt x="180000" y="3239999"/>
                </a:lnTo>
                <a:lnTo>
                  <a:pt x="180000" y="3240000"/>
                </a:lnTo>
                <a:lnTo>
                  <a:pt x="0" y="3240000"/>
                </a:lnTo>
                <a:lnTo>
                  <a:pt x="0" y="3239999"/>
                </a:lnTo>
                <a:lnTo>
                  <a:pt x="0" y="305999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2" name="Diamond 5">
            <a:extLst>
              <a:ext uri="{FF2B5EF4-FFF2-40B4-BE49-F238E27FC236}">
                <a16:creationId xmlns:a16="http://schemas.microsoft.com/office/drawing/2014/main" id="{C25A0039-228C-4585-B6C4-A849C5C87A35}"/>
              </a:ext>
            </a:extLst>
          </p:cNvPr>
          <p:cNvSpPr/>
          <p:nvPr/>
        </p:nvSpPr>
        <p:spPr>
          <a:xfrm>
            <a:off x="4412597" y="3596857"/>
            <a:ext cx="407532" cy="387232"/>
          </a:xfrm>
          <a:custGeom>
            <a:avLst/>
            <a:gdLst/>
            <a:ahLst/>
            <a:cxnLst/>
            <a:rect l="l" t="t" r="r" b="b"/>
            <a:pathLst>
              <a:path w="3240001" h="3249575">
                <a:moveTo>
                  <a:pt x="1275349" y="2002569"/>
                </a:moveTo>
                <a:lnTo>
                  <a:pt x="1625117" y="2233002"/>
                </a:lnTo>
                <a:lnTo>
                  <a:pt x="1968772" y="2006596"/>
                </a:lnTo>
                <a:lnTo>
                  <a:pt x="3240001" y="3249575"/>
                </a:lnTo>
                <a:lnTo>
                  <a:pt x="0" y="3249575"/>
                </a:lnTo>
                <a:close/>
                <a:moveTo>
                  <a:pt x="1067116" y="1473605"/>
                </a:moveTo>
                <a:lnTo>
                  <a:pt x="1067116" y="1581605"/>
                </a:lnTo>
                <a:lnTo>
                  <a:pt x="2183116" y="1581605"/>
                </a:lnTo>
                <a:lnTo>
                  <a:pt x="2183116" y="1473605"/>
                </a:lnTo>
                <a:close/>
                <a:moveTo>
                  <a:pt x="1067116" y="1267205"/>
                </a:moveTo>
                <a:lnTo>
                  <a:pt x="1067116" y="1375205"/>
                </a:lnTo>
                <a:lnTo>
                  <a:pt x="2183116" y="1375205"/>
                </a:lnTo>
                <a:lnTo>
                  <a:pt x="2183116" y="1267205"/>
                </a:lnTo>
                <a:close/>
                <a:moveTo>
                  <a:pt x="3240001" y="1172196"/>
                </a:moveTo>
                <a:lnTo>
                  <a:pt x="3240001" y="3142550"/>
                </a:lnTo>
                <a:lnTo>
                  <a:pt x="2026252" y="1968728"/>
                </a:lnTo>
                <a:lnTo>
                  <a:pt x="3049854" y="1294362"/>
                </a:lnTo>
                <a:close/>
                <a:moveTo>
                  <a:pt x="0" y="1172196"/>
                </a:moveTo>
                <a:lnTo>
                  <a:pt x="602850" y="1559516"/>
                </a:lnTo>
                <a:lnTo>
                  <a:pt x="1217896" y="1964719"/>
                </a:lnTo>
                <a:lnTo>
                  <a:pt x="0" y="3142550"/>
                </a:lnTo>
                <a:close/>
                <a:moveTo>
                  <a:pt x="1067116" y="1060805"/>
                </a:moveTo>
                <a:lnTo>
                  <a:pt x="1067116" y="1168805"/>
                </a:lnTo>
                <a:lnTo>
                  <a:pt x="2183116" y="1168805"/>
                </a:lnTo>
                <a:lnTo>
                  <a:pt x="2183116" y="1060805"/>
                </a:lnTo>
                <a:close/>
                <a:moveTo>
                  <a:pt x="869032" y="816137"/>
                </a:moveTo>
                <a:lnTo>
                  <a:pt x="2381200" y="816137"/>
                </a:lnTo>
                <a:lnTo>
                  <a:pt x="2381200" y="1623491"/>
                </a:lnTo>
                <a:lnTo>
                  <a:pt x="1668045" y="2093329"/>
                </a:lnTo>
                <a:lnTo>
                  <a:pt x="1625116" y="2121611"/>
                </a:lnTo>
                <a:lnTo>
                  <a:pt x="869032" y="1623491"/>
                </a:lnTo>
                <a:close/>
                <a:moveTo>
                  <a:pt x="1625116" y="0"/>
                </a:moveTo>
                <a:lnTo>
                  <a:pt x="3235286" y="1060806"/>
                </a:lnTo>
                <a:lnTo>
                  <a:pt x="2489212" y="1552331"/>
                </a:lnTo>
                <a:lnTo>
                  <a:pt x="2489212" y="708008"/>
                </a:lnTo>
                <a:lnTo>
                  <a:pt x="761020" y="708008"/>
                </a:lnTo>
                <a:lnTo>
                  <a:pt x="761020" y="1552331"/>
                </a:lnTo>
                <a:lnTo>
                  <a:pt x="14946" y="10608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4" name="Oval 44">
            <a:extLst>
              <a:ext uri="{FF2B5EF4-FFF2-40B4-BE49-F238E27FC236}">
                <a16:creationId xmlns:a16="http://schemas.microsoft.com/office/drawing/2014/main" id="{480C1F48-D190-42DC-B903-13A14CE3FD12}"/>
              </a:ext>
            </a:extLst>
          </p:cNvPr>
          <p:cNvSpPr>
            <a:spLocks noChangeAspect="1"/>
          </p:cNvSpPr>
          <p:nvPr/>
        </p:nvSpPr>
        <p:spPr>
          <a:xfrm>
            <a:off x="7470268" y="1600934"/>
            <a:ext cx="334337" cy="398090"/>
          </a:xfrm>
          <a:custGeom>
            <a:avLst/>
            <a:gdLst/>
            <a:ahLst/>
            <a:cxnLst/>
            <a:rect l="l" t="t" r="r" b="b"/>
            <a:pathLst>
              <a:path w="2721114" h="3240000">
                <a:moveTo>
                  <a:pt x="2519839" y="2469622"/>
                </a:moveTo>
                <a:lnTo>
                  <a:pt x="2201779" y="2787682"/>
                </a:lnTo>
                <a:lnTo>
                  <a:pt x="2003023" y="2588926"/>
                </a:lnTo>
                <a:lnTo>
                  <a:pt x="1901669" y="2690281"/>
                </a:lnTo>
                <a:lnTo>
                  <a:pt x="2203868" y="2992480"/>
                </a:lnTo>
                <a:lnTo>
                  <a:pt x="2305222" y="2891125"/>
                </a:lnTo>
                <a:lnTo>
                  <a:pt x="2303133" y="2889037"/>
                </a:lnTo>
                <a:lnTo>
                  <a:pt x="2621194" y="2570977"/>
                </a:lnTo>
                <a:close/>
                <a:moveTo>
                  <a:pt x="2263914" y="2238970"/>
                </a:moveTo>
                <a:cubicBezTo>
                  <a:pt x="2516419" y="2238970"/>
                  <a:pt x="2721114" y="2443665"/>
                  <a:pt x="2721114" y="2696170"/>
                </a:cubicBezTo>
                <a:cubicBezTo>
                  <a:pt x="2721114" y="2948675"/>
                  <a:pt x="2516419" y="3153370"/>
                  <a:pt x="2263914" y="3153370"/>
                </a:cubicBezTo>
                <a:cubicBezTo>
                  <a:pt x="2011409" y="3153370"/>
                  <a:pt x="1806714" y="2948675"/>
                  <a:pt x="1806714" y="2696170"/>
                </a:cubicBezTo>
                <a:cubicBezTo>
                  <a:pt x="1806714" y="2443665"/>
                  <a:pt x="2011409" y="2238970"/>
                  <a:pt x="2263914" y="2238970"/>
                </a:cubicBezTo>
                <a:close/>
                <a:moveTo>
                  <a:pt x="1576134" y="17032"/>
                </a:moveTo>
                <a:lnTo>
                  <a:pt x="2276728" y="17032"/>
                </a:lnTo>
                <a:lnTo>
                  <a:pt x="2276728" y="17033"/>
                </a:lnTo>
                <a:lnTo>
                  <a:pt x="1576135" y="17033"/>
                </a:lnTo>
                <a:close/>
                <a:moveTo>
                  <a:pt x="0" y="17032"/>
                </a:moveTo>
                <a:lnTo>
                  <a:pt x="1321887" y="17032"/>
                </a:lnTo>
                <a:lnTo>
                  <a:pt x="1321887" y="996125"/>
                </a:lnTo>
                <a:lnTo>
                  <a:pt x="2276728" y="996125"/>
                </a:lnTo>
                <a:lnTo>
                  <a:pt x="2276728" y="2160187"/>
                </a:lnTo>
                <a:cubicBezTo>
                  <a:pt x="1979345" y="2161001"/>
                  <a:pt x="1738579" y="2402384"/>
                  <a:pt x="1738579" y="2700000"/>
                </a:cubicBezTo>
                <a:cubicBezTo>
                  <a:pt x="1738579" y="2997617"/>
                  <a:pt x="1979345" y="3238999"/>
                  <a:pt x="2276728" y="3239814"/>
                </a:cubicBezTo>
                <a:lnTo>
                  <a:pt x="2276728" y="3240000"/>
                </a:lnTo>
                <a:lnTo>
                  <a:pt x="0" y="3240000"/>
                </a:lnTo>
                <a:close/>
                <a:moveTo>
                  <a:pt x="1436085" y="0"/>
                </a:moveTo>
                <a:lnTo>
                  <a:pt x="2287664" y="888809"/>
                </a:lnTo>
                <a:lnTo>
                  <a:pt x="1436085" y="8888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5" name="Diamond 5">
            <a:extLst>
              <a:ext uri="{FF2B5EF4-FFF2-40B4-BE49-F238E27FC236}">
                <a16:creationId xmlns:a16="http://schemas.microsoft.com/office/drawing/2014/main" id="{2069EE72-C451-4725-851E-AD104865B64B}"/>
              </a:ext>
            </a:extLst>
          </p:cNvPr>
          <p:cNvSpPr/>
          <p:nvPr/>
        </p:nvSpPr>
        <p:spPr>
          <a:xfrm>
            <a:off x="7391280" y="2621439"/>
            <a:ext cx="407532" cy="387232"/>
          </a:xfrm>
          <a:custGeom>
            <a:avLst/>
            <a:gdLst/>
            <a:ahLst/>
            <a:cxnLst/>
            <a:rect l="l" t="t" r="r" b="b"/>
            <a:pathLst>
              <a:path w="3240001" h="3249575">
                <a:moveTo>
                  <a:pt x="1275349" y="2002569"/>
                </a:moveTo>
                <a:lnTo>
                  <a:pt x="1625117" y="2233002"/>
                </a:lnTo>
                <a:lnTo>
                  <a:pt x="1968772" y="2006596"/>
                </a:lnTo>
                <a:lnTo>
                  <a:pt x="3240001" y="3249575"/>
                </a:lnTo>
                <a:lnTo>
                  <a:pt x="0" y="3249575"/>
                </a:lnTo>
                <a:close/>
                <a:moveTo>
                  <a:pt x="1067116" y="1473605"/>
                </a:moveTo>
                <a:lnTo>
                  <a:pt x="1067116" y="1581605"/>
                </a:lnTo>
                <a:lnTo>
                  <a:pt x="2183116" y="1581605"/>
                </a:lnTo>
                <a:lnTo>
                  <a:pt x="2183116" y="1473605"/>
                </a:lnTo>
                <a:close/>
                <a:moveTo>
                  <a:pt x="1067116" y="1267205"/>
                </a:moveTo>
                <a:lnTo>
                  <a:pt x="1067116" y="1375205"/>
                </a:lnTo>
                <a:lnTo>
                  <a:pt x="2183116" y="1375205"/>
                </a:lnTo>
                <a:lnTo>
                  <a:pt x="2183116" y="1267205"/>
                </a:lnTo>
                <a:close/>
                <a:moveTo>
                  <a:pt x="3240001" y="1172196"/>
                </a:moveTo>
                <a:lnTo>
                  <a:pt x="3240001" y="3142550"/>
                </a:lnTo>
                <a:lnTo>
                  <a:pt x="2026252" y="1968728"/>
                </a:lnTo>
                <a:lnTo>
                  <a:pt x="3049854" y="1294362"/>
                </a:lnTo>
                <a:close/>
                <a:moveTo>
                  <a:pt x="0" y="1172196"/>
                </a:moveTo>
                <a:lnTo>
                  <a:pt x="602850" y="1559516"/>
                </a:lnTo>
                <a:lnTo>
                  <a:pt x="1217896" y="1964719"/>
                </a:lnTo>
                <a:lnTo>
                  <a:pt x="0" y="3142550"/>
                </a:lnTo>
                <a:close/>
                <a:moveTo>
                  <a:pt x="1067116" y="1060805"/>
                </a:moveTo>
                <a:lnTo>
                  <a:pt x="1067116" y="1168805"/>
                </a:lnTo>
                <a:lnTo>
                  <a:pt x="2183116" y="1168805"/>
                </a:lnTo>
                <a:lnTo>
                  <a:pt x="2183116" y="1060805"/>
                </a:lnTo>
                <a:close/>
                <a:moveTo>
                  <a:pt x="869032" y="816137"/>
                </a:moveTo>
                <a:lnTo>
                  <a:pt x="2381200" y="816137"/>
                </a:lnTo>
                <a:lnTo>
                  <a:pt x="2381200" y="1623491"/>
                </a:lnTo>
                <a:lnTo>
                  <a:pt x="1668045" y="2093329"/>
                </a:lnTo>
                <a:lnTo>
                  <a:pt x="1625116" y="2121611"/>
                </a:lnTo>
                <a:lnTo>
                  <a:pt x="869032" y="1623491"/>
                </a:lnTo>
                <a:close/>
                <a:moveTo>
                  <a:pt x="1625116" y="0"/>
                </a:moveTo>
                <a:lnTo>
                  <a:pt x="3235286" y="1060806"/>
                </a:lnTo>
                <a:lnTo>
                  <a:pt x="2489212" y="1552331"/>
                </a:lnTo>
                <a:lnTo>
                  <a:pt x="2489212" y="708008"/>
                </a:lnTo>
                <a:lnTo>
                  <a:pt x="761020" y="708008"/>
                </a:lnTo>
                <a:lnTo>
                  <a:pt x="761020" y="1552331"/>
                </a:lnTo>
                <a:lnTo>
                  <a:pt x="14946" y="10608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8" name="Text Placeholder 1">
            <a:extLst>
              <a:ext uri="{FF2B5EF4-FFF2-40B4-BE49-F238E27FC236}">
                <a16:creationId xmlns:a16="http://schemas.microsoft.com/office/drawing/2014/main" id="{88DBA12B-F783-4E88-B039-F32B172E3E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/>
          <a:lstStyle/>
          <a:p>
            <a:r>
              <a:rPr lang="en-US" sz="2800" dirty="0"/>
              <a:t>What’s New in P-Office</a:t>
            </a:r>
          </a:p>
        </p:txBody>
      </p:sp>
    </p:spTree>
    <p:extLst>
      <p:ext uri="{BB962C8B-B14F-4D97-AF65-F5344CB8AC3E}">
        <p14:creationId xmlns:p14="http://schemas.microsoft.com/office/powerpoint/2010/main" val="401886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76">
            <a:extLst>
              <a:ext uri="{FF2B5EF4-FFF2-40B4-BE49-F238E27FC236}">
                <a16:creationId xmlns:a16="http://schemas.microsoft.com/office/drawing/2014/main" id="{D1E0C3EA-9803-4F48-A395-D76194C72CAE}"/>
              </a:ext>
            </a:extLst>
          </p:cNvPr>
          <p:cNvGrpSpPr/>
          <p:nvPr/>
        </p:nvGrpSpPr>
        <p:grpSpPr>
          <a:xfrm flipH="1">
            <a:off x="6244297" y="1806373"/>
            <a:ext cx="1211932" cy="2707164"/>
            <a:chOff x="4748872" y="1806373"/>
            <a:chExt cx="1211932" cy="2707164"/>
          </a:xfrm>
        </p:grpSpPr>
        <p:cxnSp>
          <p:nvCxnSpPr>
            <p:cNvPr id="4" name="Elbow Connector 49">
              <a:extLst>
                <a:ext uri="{FF2B5EF4-FFF2-40B4-BE49-F238E27FC236}">
                  <a16:creationId xmlns:a16="http://schemas.microsoft.com/office/drawing/2014/main" id="{09C0C09A-B2BF-464B-A9BF-1B5E00B47BF9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716625" y="3874095"/>
              <a:ext cx="671689" cy="607195"/>
            </a:xfrm>
            <a:prstGeom prst="bentConnector3">
              <a:avLst>
                <a:gd name="adj1" fmla="val 101050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Elbow Connector 50">
              <a:extLst>
                <a:ext uri="{FF2B5EF4-FFF2-40B4-BE49-F238E27FC236}">
                  <a16:creationId xmlns:a16="http://schemas.microsoft.com/office/drawing/2014/main" id="{A448AEBC-246A-43B5-97B3-01C73F6F67F6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068193" y="2620926"/>
              <a:ext cx="2707163" cy="1078058"/>
            </a:xfrm>
            <a:prstGeom prst="bentConnector3">
              <a:avLst>
                <a:gd name="adj1" fmla="val 99962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Elbow Connector 51">
              <a:extLst>
                <a:ext uri="{FF2B5EF4-FFF2-40B4-BE49-F238E27FC236}">
                  <a16:creationId xmlns:a16="http://schemas.microsoft.com/office/drawing/2014/main" id="{979B3077-4B93-4EC8-9404-BAFB7569E71A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404557" y="3260679"/>
              <a:ext cx="1677348" cy="828368"/>
            </a:xfrm>
            <a:prstGeom prst="bentConnector3">
              <a:avLst>
                <a:gd name="adj1" fmla="val 99972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AAEC5CC-F028-40CF-AC8E-2CF8EF250B9A}"/>
              </a:ext>
            </a:extLst>
          </p:cNvPr>
          <p:cNvGrpSpPr/>
          <p:nvPr/>
        </p:nvGrpSpPr>
        <p:grpSpPr>
          <a:xfrm>
            <a:off x="4500643" y="4644688"/>
            <a:ext cx="3220608" cy="1548961"/>
            <a:chOff x="2591472" y="4529905"/>
            <a:chExt cx="2892231" cy="139102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4D9FF23-0EBF-482B-8162-E9AE8D465818}"/>
                </a:ext>
              </a:extLst>
            </p:cNvPr>
            <p:cNvGrpSpPr/>
            <p:nvPr userDrawn="1"/>
          </p:nvGrpSpPr>
          <p:grpSpPr>
            <a:xfrm>
              <a:off x="2591472" y="4529905"/>
              <a:ext cx="2513902" cy="1391026"/>
              <a:chOff x="1618104" y="4774278"/>
              <a:chExt cx="2513902" cy="1391026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EF49879-6DA3-4EFB-8AC6-7D63A945A2AE}"/>
                  </a:ext>
                </a:extLst>
              </p:cNvPr>
              <p:cNvSpPr/>
              <p:nvPr userDrawn="1"/>
            </p:nvSpPr>
            <p:spPr>
              <a:xfrm>
                <a:off x="1919176" y="4818888"/>
                <a:ext cx="1881566" cy="117060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F4B947D5-6813-4CF5-8C8A-1898DF7B1284}"/>
                  </a:ext>
                </a:extLst>
              </p:cNvPr>
              <p:cNvGrpSpPr/>
              <p:nvPr userDrawn="1"/>
            </p:nvGrpSpPr>
            <p:grpSpPr>
              <a:xfrm>
                <a:off x="1618104" y="4774278"/>
                <a:ext cx="2513902" cy="1391026"/>
                <a:chOff x="395536" y="2564904"/>
                <a:chExt cx="4749925" cy="2628292"/>
              </a:xfrm>
              <a:solidFill>
                <a:schemeClr val="tx1"/>
              </a:solidFill>
            </p:grpSpPr>
            <p:grpSp>
              <p:nvGrpSpPr>
                <p:cNvPr id="23" name="Group 22">
                  <a:extLst>
                    <a:ext uri="{FF2B5EF4-FFF2-40B4-BE49-F238E27FC236}">
                      <a16:creationId xmlns:a16="http://schemas.microsoft.com/office/drawing/2014/main" id="{82159EDC-BA4D-4244-90E4-987D067E3A52}"/>
                    </a:ext>
                  </a:extLst>
                </p:cNvPr>
                <p:cNvGrpSpPr/>
                <p:nvPr userDrawn="1"/>
              </p:nvGrpSpPr>
              <p:grpSpPr>
                <a:xfrm>
                  <a:off x="395536" y="2564904"/>
                  <a:ext cx="4749925" cy="2628292"/>
                  <a:chOff x="395536" y="2204864"/>
                  <a:chExt cx="5400600" cy="2988332"/>
                </a:xfrm>
                <a:grpFill/>
              </p:grpSpPr>
              <p:sp>
                <p:nvSpPr>
                  <p:cNvPr id="25" name="Rounded Rectangle 3">
                    <a:extLst>
                      <a:ext uri="{FF2B5EF4-FFF2-40B4-BE49-F238E27FC236}">
                        <a16:creationId xmlns:a16="http://schemas.microsoft.com/office/drawing/2014/main" id="{AE51DDAF-65F3-44C8-AF89-4768C4DFA5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71600" y="2204864"/>
                    <a:ext cx="4248472" cy="27363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248472" h="2736304">
                        <a:moveTo>
                          <a:pt x="144016" y="144016"/>
                        </a:moveTo>
                        <a:lnTo>
                          <a:pt x="144016" y="2520280"/>
                        </a:lnTo>
                        <a:lnTo>
                          <a:pt x="4104456" y="2520280"/>
                        </a:lnTo>
                        <a:lnTo>
                          <a:pt x="4104456" y="144016"/>
                        </a:lnTo>
                        <a:close/>
                        <a:moveTo>
                          <a:pt x="119332" y="0"/>
                        </a:moveTo>
                        <a:lnTo>
                          <a:pt x="4129140" y="0"/>
                        </a:lnTo>
                        <a:cubicBezTo>
                          <a:pt x="4195045" y="0"/>
                          <a:pt x="4248472" y="53427"/>
                          <a:pt x="4248472" y="119332"/>
                        </a:cubicBezTo>
                        <a:lnTo>
                          <a:pt x="4248472" y="2736304"/>
                        </a:lnTo>
                        <a:lnTo>
                          <a:pt x="0" y="2736304"/>
                        </a:lnTo>
                        <a:lnTo>
                          <a:pt x="0" y="119332"/>
                        </a:lnTo>
                        <a:cubicBezTo>
                          <a:pt x="0" y="53427"/>
                          <a:pt x="53427" y="0"/>
                          <a:pt x="119332" y="0"/>
                        </a:cubicBezTo>
                        <a:close/>
                      </a:path>
                    </a:pathLst>
                  </a:custGeom>
                  <a:grpFill/>
                  <a:ln w="12700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/>
                    <a:endParaRPr lang="en-US" sz="2700"/>
                  </a:p>
                </p:txBody>
              </p:sp>
              <p:sp>
                <p:nvSpPr>
                  <p:cNvPr id="26" name="Rectangle 25">
                    <a:extLst>
                      <a:ext uri="{FF2B5EF4-FFF2-40B4-BE49-F238E27FC236}">
                        <a16:creationId xmlns:a16="http://schemas.microsoft.com/office/drawing/2014/main" id="{D3729118-3A3A-4991-B80A-11625E2FE7A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395536" y="4941168"/>
                    <a:ext cx="5400600" cy="144016"/>
                  </a:xfrm>
                  <a:prstGeom prst="rect">
                    <a:avLst/>
                  </a:prstGeom>
                  <a:grpFill/>
                  <a:ln w="12700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/>
                    <a:endParaRPr lang="en-US" sz="2700"/>
                  </a:p>
                </p:txBody>
              </p:sp>
              <p:sp>
                <p:nvSpPr>
                  <p:cNvPr id="27" name="Trapezoid 26">
                    <a:extLst>
                      <a:ext uri="{FF2B5EF4-FFF2-40B4-BE49-F238E27FC236}">
                        <a16:creationId xmlns:a16="http://schemas.microsoft.com/office/drawing/2014/main" id="{DAC987ED-A016-40A2-866D-31FB458626D9}"/>
                      </a:ext>
                    </a:extLst>
                  </p:cNvPr>
                  <p:cNvSpPr/>
                  <p:nvPr userDrawn="1"/>
                </p:nvSpPr>
                <p:spPr>
                  <a:xfrm rot="10800000">
                    <a:off x="395536" y="5085184"/>
                    <a:ext cx="5400600" cy="108012"/>
                  </a:xfrm>
                  <a:prstGeom prst="trapezoid">
                    <a:avLst>
                      <a:gd name="adj" fmla="val 129851"/>
                    </a:avLst>
                  </a:prstGeom>
                  <a:grpFill/>
                  <a:ln w="12700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/>
                    <a:endParaRPr lang="en-US" sz="2700"/>
                  </a:p>
                </p:txBody>
              </p:sp>
            </p:grpSp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E5ACAF8C-C72A-4789-842B-A5396174E4E7}"/>
                    </a:ext>
                  </a:extLst>
                </p:cNvPr>
                <p:cNvSpPr/>
                <p:nvPr userDrawn="1"/>
              </p:nvSpPr>
              <p:spPr>
                <a:xfrm>
                  <a:off x="2518470" y="5009698"/>
                  <a:ext cx="504056" cy="45719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/>
                  <a:endParaRPr lang="en-US" sz="2700"/>
                </a:p>
              </p:txBody>
            </p: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A5B8E710-24C3-4CAC-BA8F-D32680D2351E}"/>
                </a:ext>
              </a:extLst>
            </p:cNvPr>
            <p:cNvGrpSpPr/>
            <p:nvPr userDrawn="1"/>
          </p:nvGrpSpPr>
          <p:grpSpPr>
            <a:xfrm>
              <a:off x="4346521" y="4706362"/>
              <a:ext cx="981407" cy="1214570"/>
              <a:chOff x="-1940789" y="4697306"/>
              <a:chExt cx="981407" cy="1214570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EC4E760C-F2F6-4446-872B-A6375858807D}"/>
                  </a:ext>
                </a:extLst>
              </p:cNvPr>
              <p:cNvSpPr/>
              <p:nvPr userDrawn="1"/>
            </p:nvSpPr>
            <p:spPr>
              <a:xfrm>
                <a:off x="-1881566" y="4758350"/>
                <a:ext cx="866582" cy="112494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D42E5662-6310-4BB4-A47F-FAC5372C4ABA}"/>
                  </a:ext>
                </a:extLst>
              </p:cNvPr>
              <p:cNvGrpSpPr/>
              <p:nvPr userDrawn="1"/>
            </p:nvGrpSpPr>
            <p:grpSpPr>
              <a:xfrm>
                <a:off x="-1940789" y="4697306"/>
                <a:ext cx="981407" cy="1214570"/>
                <a:chOff x="7452320" y="1988840"/>
                <a:chExt cx="1512168" cy="2088232"/>
              </a:xfrm>
            </p:grpSpPr>
            <p:sp>
              <p:nvSpPr>
                <p:cNvPr id="19" name="Rounded Rectangle 1">
                  <a:extLst>
                    <a:ext uri="{FF2B5EF4-FFF2-40B4-BE49-F238E27FC236}">
                      <a16:creationId xmlns:a16="http://schemas.microsoft.com/office/drawing/2014/main" id="{7C2CD549-F4EB-4621-ABCA-C321C5DFD6B1}"/>
                    </a:ext>
                  </a:extLst>
                </p:cNvPr>
                <p:cNvSpPr/>
                <p:nvPr userDrawn="1"/>
              </p:nvSpPr>
              <p:spPr>
                <a:xfrm>
                  <a:off x="7452320" y="1988840"/>
                  <a:ext cx="1512168" cy="20882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12168" h="2088232">
                      <a:moveTo>
                        <a:pt x="167516" y="181585"/>
                      </a:moveTo>
                      <a:lnTo>
                        <a:pt x="167516" y="1906647"/>
                      </a:lnTo>
                      <a:lnTo>
                        <a:pt x="1344652" y="1906647"/>
                      </a:lnTo>
                      <a:lnTo>
                        <a:pt x="1344652" y="181585"/>
                      </a:lnTo>
                      <a:close/>
                      <a:moveTo>
                        <a:pt x="90110" y="0"/>
                      </a:moveTo>
                      <a:lnTo>
                        <a:pt x="1422058" y="0"/>
                      </a:lnTo>
                      <a:cubicBezTo>
                        <a:pt x="1471824" y="0"/>
                        <a:pt x="1512168" y="40344"/>
                        <a:pt x="1512168" y="90110"/>
                      </a:cubicBezTo>
                      <a:lnTo>
                        <a:pt x="1512168" y="1998122"/>
                      </a:lnTo>
                      <a:cubicBezTo>
                        <a:pt x="1512168" y="2047888"/>
                        <a:pt x="1471824" y="2088232"/>
                        <a:pt x="1422058" y="2088232"/>
                      </a:cubicBezTo>
                      <a:lnTo>
                        <a:pt x="90110" y="2088232"/>
                      </a:lnTo>
                      <a:cubicBezTo>
                        <a:pt x="40344" y="2088232"/>
                        <a:pt x="0" y="2047888"/>
                        <a:pt x="0" y="1998122"/>
                      </a:cubicBezTo>
                      <a:lnTo>
                        <a:pt x="0" y="90110"/>
                      </a:lnTo>
                      <a:cubicBezTo>
                        <a:pt x="0" y="40344"/>
                        <a:pt x="40344" y="0"/>
                        <a:pt x="90110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/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E33D80C6-ED12-4A7F-B9D7-F43E98715C73}"/>
                    </a:ext>
                  </a:extLst>
                </p:cNvPr>
                <p:cNvSpPr/>
                <p:nvPr userDrawn="1"/>
              </p:nvSpPr>
              <p:spPr>
                <a:xfrm>
                  <a:off x="8160965" y="3933056"/>
                  <a:ext cx="94878" cy="94878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/>
                </a:p>
              </p:txBody>
            </p: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976E215-6E7C-4D14-B39D-E3FB7FD7168A}"/>
                </a:ext>
              </a:extLst>
            </p:cNvPr>
            <p:cNvGrpSpPr/>
            <p:nvPr userDrawn="1"/>
          </p:nvGrpSpPr>
          <p:grpSpPr>
            <a:xfrm>
              <a:off x="5056500" y="5206313"/>
              <a:ext cx="427203" cy="711251"/>
              <a:chOff x="-684584" y="5278238"/>
              <a:chExt cx="427203" cy="711251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03704405-2F8B-4D8C-B59D-A56AFE9302D7}"/>
                  </a:ext>
                </a:extLst>
              </p:cNvPr>
              <p:cNvSpPr/>
              <p:nvPr userDrawn="1"/>
            </p:nvSpPr>
            <p:spPr>
              <a:xfrm>
                <a:off x="-648007" y="5329968"/>
                <a:ext cx="360040" cy="59105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2696EE58-8645-4556-BEB0-98A8829F7858}"/>
                  </a:ext>
                </a:extLst>
              </p:cNvPr>
              <p:cNvGrpSpPr/>
              <p:nvPr userDrawn="1"/>
            </p:nvGrpSpPr>
            <p:grpSpPr>
              <a:xfrm>
                <a:off x="-684584" y="5278238"/>
                <a:ext cx="427203" cy="711251"/>
                <a:chOff x="701317" y="1844824"/>
                <a:chExt cx="2371375" cy="3948112"/>
              </a:xfrm>
            </p:grpSpPr>
            <p:sp>
              <p:nvSpPr>
                <p:cNvPr id="14" name="Freeform 6">
                  <a:extLst>
                    <a:ext uri="{FF2B5EF4-FFF2-40B4-BE49-F238E27FC236}">
                      <a16:creationId xmlns:a16="http://schemas.microsoft.com/office/drawing/2014/main" id="{FFF0C791-1946-4B6D-9275-68BE6D49BB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1317" y="1844824"/>
                  <a:ext cx="2371375" cy="3948112"/>
                </a:xfrm>
                <a:custGeom>
                  <a:avLst/>
                  <a:gdLst>
                    <a:gd name="T0" fmla="*/ 530 w 566"/>
                    <a:gd name="T1" fmla="*/ 0 h 1053"/>
                    <a:gd name="T2" fmla="*/ 36 w 566"/>
                    <a:gd name="T3" fmla="*/ 0 h 1053"/>
                    <a:gd name="T4" fmla="*/ 0 w 566"/>
                    <a:gd name="T5" fmla="*/ 36 h 1053"/>
                    <a:gd name="T6" fmla="*/ 0 w 566"/>
                    <a:gd name="T7" fmla="*/ 1017 h 1053"/>
                    <a:gd name="T8" fmla="*/ 36 w 566"/>
                    <a:gd name="T9" fmla="*/ 1053 h 1053"/>
                    <a:gd name="T10" fmla="*/ 530 w 566"/>
                    <a:gd name="T11" fmla="*/ 1053 h 1053"/>
                    <a:gd name="T12" fmla="*/ 566 w 566"/>
                    <a:gd name="T13" fmla="*/ 1017 h 1053"/>
                    <a:gd name="T14" fmla="*/ 566 w 566"/>
                    <a:gd name="T15" fmla="*/ 36 h 1053"/>
                    <a:gd name="T16" fmla="*/ 530 w 566"/>
                    <a:gd name="T17" fmla="*/ 0 h 1053"/>
                    <a:gd name="T18" fmla="*/ 520 w 566"/>
                    <a:gd name="T19" fmla="*/ 911 h 1053"/>
                    <a:gd name="T20" fmla="*/ 48 w 566"/>
                    <a:gd name="T21" fmla="*/ 911 h 1053"/>
                    <a:gd name="T22" fmla="*/ 48 w 566"/>
                    <a:gd name="T23" fmla="*/ 108 h 1053"/>
                    <a:gd name="T24" fmla="*/ 520 w 566"/>
                    <a:gd name="T25" fmla="*/ 108 h 1053"/>
                    <a:gd name="T26" fmla="*/ 520 w 566"/>
                    <a:gd name="T27" fmla="*/ 911 h 10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66" h="1053">
                      <a:moveTo>
                        <a:pt x="530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6"/>
                        <a:pt x="0" y="36"/>
                      </a:cubicBezTo>
                      <a:cubicBezTo>
                        <a:pt x="0" y="1017"/>
                        <a:pt x="0" y="1017"/>
                        <a:pt x="0" y="1017"/>
                      </a:cubicBezTo>
                      <a:cubicBezTo>
                        <a:pt x="0" y="1037"/>
                        <a:pt x="16" y="1053"/>
                        <a:pt x="36" y="1053"/>
                      </a:cubicBezTo>
                      <a:cubicBezTo>
                        <a:pt x="530" y="1053"/>
                        <a:pt x="530" y="1053"/>
                        <a:pt x="530" y="1053"/>
                      </a:cubicBezTo>
                      <a:cubicBezTo>
                        <a:pt x="550" y="1053"/>
                        <a:pt x="566" y="1037"/>
                        <a:pt x="566" y="1017"/>
                      </a:cubicBezTo>
                      <a:cubicBezTo>
                        <a:pt x="566" y="36"/>
                        <a:pt x="566" y="36"/>
                        <a:pt x="566" y="36"/>
                      </a:cubicBezTo>
                      <a:cubicBezTo>
                        <a:pt x="566" y="16"/>
                        <a:pt x="550" y="0"/>
                        <a:pt x="530" y="0"/>
                      </a:cubicBezTo>
                      <a:close/>
                      <a:moveTo>
                        <a:pt x="520" y="911"/>
                      </a:moveTo>
                      <a:cubicBezTo>
                        <a:pt x="48" y="911"/>
                        <a:pt x="48" y="911"/>
                        <a:pt x="48" y="911"/>
                      </a:cubicBezTo>
                      <a:cubicBezTo>
                        <a:pt x="48" y="108"/>
                        <a:pt x="48" y="108"/>
                        <a:pt x="48" y="108"/>
                      </a:cubicBezTo>
                      <a:cubicBezTo>
                        <a:pt x="520" y="108"/>
                        <a:pt x="520" y="108"/>
                        <a:pt x="520" y="108"/>
                      </a:cubicBezTo>
                      <a:lnTo>
                        <a:pt x="520" y="911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700"/>
                </a:p>
              </p:txBody>
            </p:sp>
            <p:sp>
              <p:nvSpPr>
                <p:cNvPr id="15" name="Rounded Rectangle 60">
                  <a:extLst>
                    <a:ext uri="{FF2B5EF4-FFF2-40B4-BE49-F238E27FC236}">
                      <a16:creationId xmlns:a16="http://schemas.microsoft.com/office/drawing/2014/main" id="{E453ED4E-035E-4924-B16A-CDFDC69D7042}"/>
                    </a:ext>
                  </a:extLst>
                </p:cNvPr>
                <p:cNvSpPr/>
                <p:nvPr/>
              </p:nvSpPr>
              <p:spPr>
                <a:xfrm>
                  <a:off x="1707005" y="2042848"/>
                  <a:ext cx="360000" cy="360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/>
                </a:p>
              </p:txBody>
            </p:sp>
            <p:sp>
              <p:nvSpPr>
                <p:cNvPr id="16" name="Oval 15">
                  <a:extLst>
                    <a:ext uri="{FF2B5EF4-FFF2-40B4-BE49-F238E27FC236}">
                      <a16:creationId xmlns:a16="http://schemas.microsoft.com/office/drawing/2014/main" id="{C74A02C0-F041-4C96-B837-448BF062E8EB}"/>
                    </a:ext>
                  </a:extLst>
                </p:cNvPr>
                <p:cNvSpPr/>
                <p:nvPr/>
              </p:nvSpPr>
              <p:spPr>
                <a:xfrm>
                  <a:off x="1715855" y="5362110"/>
                  <a:ext cx="342299" cy="342299"/>
                </a:xfrm>
                <a:prstGeom prst="ellipse">
                  <a:avLst/>
                </a:pr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700"/>
                </a:p>
              </p:txBody>
            </p:sp>
          </p:grpSp>
        </p:grpSp>
      </p:grp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0F0BEE4B-224C-4865-BA56-63DD3F81DEEA}"/>
              </a:ext>
            </a:extLst>
          </p:cNvPr>
          <p:cNvGrpSpPr/>
          <p:nvPr/>
        </p:nvGrpSpPr>
        <p:grpSpPr>
          <a:xfrm>
            <a:off x="4748872" y="1806373"/>
            <a:ext cx="1211932" cy="2707164"/>
            <a:chOff x="4748872" y="1806373"/>
            <a:chExt cx="1211932" cy="2707164"/>
          </a:xfrm>
        </p:grpSpPr>
        <p:cxnSp>
          <p:nvCxnSpPr>
            <p:cNvPr id="29" name="Elbow Connector 49">
              <a:extLst>
                <a:ext uri="{FF2B5EF4-FFF2-40B4-BE49-F238E27FC236}">
                  <a16:creationId xmlns:a16="http://schemas.microsoft.com/office/drawing/2014/main" id="{3C5A7F50-1B29-4C5C-8FB4-481FF5C812C5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716625" y="3874095"/>
              <a:ext cx="671689" cy="607195"/>
            </a:xfrm>
            <a:prstGeom prst="bentConnector3">
              <a:avLst>
                <a:gd name="adj1" fmla="val 101050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Elbow Connector 50">
              <a:extLst>
                <a:ext uri="{FF2B5EF4-FFF2-40B4-BE49-F238E27FC236}">
                  <a16:creationId xmlns:a16="http://schemas.microsoft.com/office/drawing/2014/main" id="{3443B610-47ED-41B9-9449-54DB47DDE15C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068193" y="2620926"/>
              <a:ext cx="2707163" cy="1078058"/>
            </a:xfrm>
            <a:prstGeom prst="bentConnector3">
              <a:avLst>
                <a:gd name="adj1" fmla="val 99962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Elbow Connector 51">
              <a:extLst>
                <a:ext uri="{FF2B5EF4-FFF2-40B4-BE49-F238E27FC236}">
                  <a16:creationId xmlns:a16="http://schemas.microsoft.com/office/drawing/2014/main" id="{2881CEE5-7680-4B86-8A8D-9C16C5BE6649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4404557" y="3260679"/>
              <a:ext cx="1677348" cy="828368"/>
            </a:xfrm>
            <a:prstGeom prst="bentConnector3">
              <a:avLst>
                <a:gd name="adj1" fmla="val 99972"/>
              </a:avLst>
            </a:prstGeom>
            <a:ln w="50800">
              <a:solidFill>
                <a:schemeClr val="tx1">
                  <a:lumMod val="75000"/>
                  <a:lumOff val="2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Oval 31">
            <a:extLst>
              <a:ext uri="{FF2B5EF4-FFF2-40B4-BE49-F238E27FC236}">
                <a16:creationId xmlns:a16="http://schemas.microsoft.com/office/drawing/2014/main" id="{D79B1F18-EBF5-4F6A-9EB1-5AAD08CCBE71}"/>
              </a:ext>
            </a:extLst>
          </p:cNvPr>
          <p:cNvSpPr/>
          <p:nvPr/>
        </p:nvSpPr>
        <p:spPr>
          <a:xfrm>
            <a:off x="4280881" y="1494699"/>
            <a:ext cx="671669" cy="671669"/>
          </a:xfrm>
          <a:prstGeom prst="ellipse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787B80C-8F1C-4935-AAA0-6A7272531908}"/>
              </a:ext>
            </a:extLst>
          </p:cNvPr>
          <p:cNvSpPr txBox="1"/>
          <p:nvPr/>
        </p:nvSpPr>
        <p:spPr>
          <a:xfrm>
            <a:off x="628651" y="1507368"/>
            <a:ext cx="35296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port Disposisi</a:t>
            </a:r>
          </a:p>
          <a:p>
            <a:pPr algn="just"/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gguna dapat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melakukan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export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informasi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disposisi yang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berisi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p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erinta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h disposisi, catatan disposisi dalam 1 garis </a:t>
            </a:r>
            <a:r>
              <a:rPr lang="en-US" altLang="ko-KR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cs typeface="Arial" pitchFamily="34" charset="0"/>
              </a:rPr>
              <a:t>komando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  <a:p>
            <a:pPr algn="r"/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2C3F605-5FED-4124-A150-FA30621C05E8}"/>
              </a:ext>
            </a:extLst>
          </p:cNvPr>
          <p:cNvSpPr/>
          <p:nvPr/>
        </p:nvSpPr>
        <p:spPr>
          <a:xfrm>
            <a:off x="7259565" y="2500356"/>
            <a:ext cx="671669" cy="671669"/>
          </a:xfrm>
          <a:prstGeom prst="ellipse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5841534-89AD-41CC-8C19-E6B17A2C1DE2}"/>
              </a:ext>
            </a:extLst>
          </p:cNvPr>
          <p:cNvSpPr txBox="1"/>
          <p:nvPr/>
        </p:nvSpPr>
        <p:spPr>
          <a:xfrm>
            <a:off x="8046975" y="2513024"/>
            <a:ext cx="35354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nambahan Sub List Approval di Doc Control</a:t>
            </a:r>
          </a:p>
          <a:p>
            <a:pPr algn="just"/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nambahan sub open list dan closed list untuk approver offline number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260BB1C-A1B1-4D07-A4CC-FAF43C65AFCD}"/>
              </a:ext>
            </a:extLst>
          </p:cNvPr>
          <p:cNvSpPr/>
          <p:nvPr/>
        </p:nvSpPr>
        <p:spPr>
          <a:xfrm>
            <a:off x="7259565" y="3506035"/>
            <a:ext cx="671669" cy="671669"/>
          </a:xfrm>
          <a:prstGeom prst="ellipse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7D29F6-9D26-40AA-A067-E3D3D2A18126}"/>
              </a:ext>
            </a:extLst>
          </p:cNvPr>
          <p:cNvSpPr txBox="1"/>
          <p:nvPr/>
        </p:nvSpPr>
        <p:spPr>
          <a:xfrm>
            <a:off x="8046975" y="3518704"/>
            <a:ext cx="35354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ko-KR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erubahan</a:t>
            </a: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ada Alur Approval Offline Number</a:t>
            </a:r>
          </a:p>
          <a:p>
            <a:pPr algn="just"/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nyesuaian pada alur pengajuan offline number </a:t>
            </a:r>
            <a:r>
              <a:rPr lang="en-US" altLang="ko-KR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ampai</a:t>
            </a:r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engajuan tersebut disetujui atau </a:t>
            </a:r>
            <a:r>
              <a:rPr lang="en-US" altLang="ko-KR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tolak</a:t>
            </a:r>
            <a:r>
              <a:rPr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leh approver offline number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6BD6083C-1D63-418F-B3B5-370477CD9B48}"/>
              </a:ext>
            </a:extLst>
          </p:cNvPr>
          <p:cNvSpPr/>
          <p:nvPr/>
        </p:nvSpPr>
        <p:spPr>
          <a:xfrm>
            <a:off x="7259565" y="1494699"/>
            <a:ext cx="671669" cy="671669"/>
          </a:xfrm>
          <a:prstGeom prst="ellipse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44A6AE4-B588-458B-8402-87C71AFB86C7}"/>
              </a:ext>
            </a:extLst>
          </p:cNvPr>
          <p:cNvSpPr txBox="1"/>
          <p:nvPr/>
        </p:nvSpPr>
        <p:spPr>
          <a:xfrm>
            <a:off x="8046975" y="1507368"/>
            <a:ext cx="35354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nambahan Detail Approval di Doc Control</a:t>
            </a:r>
          </a:p>
          <a:p>
            <a:pPr algn="just"/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ambahan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informasi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nomor KBO, requestor, timestamp untuk approver offline numbe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  <a:p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503C814-5747-4F47-9D70-66932AD7C1CA}"/>
              </a:ext>
            </a:extLst>
          </p:cNvPr>
          <p:cNvSpPr/>
          <p:nvPr/>
        </p:nvSpPr>
        <p:spPr>
          <a:xfrm>
            <a:off x="4280881" y="2500356"/>
            <a:ext cx="671669" cy="671669"/>
          </a:xfrm>
          <a:prstGeom prst="ellipse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B0C0036-8A2B-43FD-9FC4-F80AA4731C60}"/>
              </a:ext>
            </a:extLst>
          </p:cNvPr>
          <p:cNvSpPr txBox="1"/>
          <p:nvPr/>
        </p:nvSpPr>
        <p:spPr>
          <a:xfrm>
            <a:off x="628651" y="2513024"/>
            <a:ext cx="35296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nyesuaian Pada Alamat Kantor di Surat Keluar dan Fax Keluar</a:t>
            </a:r>
          </a:p>
          <a:p>
            <a:pPr algn="just"/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gguna dapat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memilih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alamat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kantor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sesuai alamat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kantor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di fungsi kerja Pengguna tersebut pada Surat Keluar dan Fax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Kelur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  <a:p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1E96354-9E2E-4FC7-84F3-4974114C5A08}"/>
              </a:ext>
            </a:extLst>
          </p:cNvPr>
          <p:cNvSpPr/>
          <p:nvPr/>
        </p:nvSpPr>
        <p:spPr>
          <a:xfrm>
            <a:off x="4280881" y="3506035"/>
            <a:ext cx="671669" cy="671669"/>
          </a:xfrm>
          <a:prstGeom prst="ellipse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96A2A41-D532-4ED6-9439-B5AACEDF08AE}"/>
              </a:ext>
            </a:extLst>
          </p:cNvPr>
          <p:cNvSpPr txBox="1"/>
          <p:nvPr/>
        </p:nvSpPr>
        <p:spPr>
          <a:xfrm>
            <a:off x="628651" y="3518704"/>
            <a:ext cx="35296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rat Dibatalkan </a:t>
            </a:r>
            <a:r>
              <a:rPr lang="en-US" altLang="ko-KR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rsimpan</a:t>
            </a: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i Rejected</a:t>
            </a:r>
          </a:p>
          <a:p>
            <a:pPr algn="just"/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Surat yang dibatalkan oleh pengirim, di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penerima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surat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 dipindahkan ke menu Rejected</a:t>
            </a:r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Donut 15">
            <a:extLst>
              <a:ext uri="{FF2B5EF4-FFF2-40B4-BE49-F238E27FC236}">
                <a16:creationId xmlns:a16="http://schemas.microsoft.com/office/drawing/2014/main" id="{05D5A266-7FAB-450D-A4C2-5886F61142C5}"/>
              </a:ext>
            </a:extLst>
          </p:cNvPr>
          <p:cNvSpPr>
            <a:spLocks/>
          </p:cNvSpPr>
          <p:nvPr/>
        </p:nvSpPr>
        <p:spPr>
          <a:xfrm>
            <a:off x="4409240" y="2629066"/>
            <a:ext cx="414246" cy="414246"/>
          </a:xfrm>
          <a:custGeom>
            <a:avLst/>
            <a:gdLst/>
            <a:ahLst/>
            <a:cxnLst/>
            <a:rect l="l" t="t" r="r" b="b"/>
            <a:pathLst>
              <a:path w="3821708" h="3795110">
                <a:moveTo>
                  <a:pt x="1910854" y="903842"/>
                </a:moveTo>
                <a:lnTo>
                  <a:pt x="1793831" y="1129420"/>
                </a:lnTo>
                <a:lnTo>
                  <a:pt x="1791613" y="1129420"/>
                </a:lnTo>
                <a:lnTo>
                  <a:pt x="1791892" y="1133157"/>
                </a:lnTo>
                <a:lnTo>
                  <a:pt x="1791613" y="1133695"/>
                </a:lnTo>
                <a:lnTo>
                  <a:pt x="1791933" y="1133695"/>
                </a:lnTo>
                <a:lnTo>
                  <a:pt x="1833002" y="1683464"/>
                </a:lnTo>
                <a:cubicBezTo>
                  <a:pt x="1744939" y="1714584"/>
                  <a:pt x="1682254" y="1798749"/>
                  <a:pt x="1682254" y="1897555"/>
                </a:cubicBezTo>
                <a:cubicBezTo>
                  <a:pt x="1682254" y="2023808"/>
                  <a:pt x="1784602" y="2126156"/>
                  <a:pt x="1910855" y="2126156"/>
                </a:cubicBezTo>
                <a:cubicBezTo>
                  <a:pt x="1975561" y="2126156"/>
                  <a:pt x="2033988" y="2099273"/>
                  <a:pt x="2075304" y="2055803"/>
                </a:cubicBezTo>
                <a:lnTo>
                  <a:pt x="2443125" y="2288080"/>
                </a:lnTo>
                <a:lnTo>
                  <a:pt x="2443003" y="2288309"/>
                </a:lnTo>
                <a:lnTo>
                  <a:pt x="2443494" y="2288314"/>
                </a:lnTo>
                <a:lnTo>
                  <a:pt x="2446061" y="2289935"/>
                </a:lnTo>
                <a:lnTo>
                  <a:pt x="2446904" y="2288348"/>
                </a:lnTo>
                <a:lnTo>
                  <a:pt x="2652725" y="2290436"/>
                </a:lnTo>
                <a:lnTo>
                  <a:pt x="2535900" y="2120971"/>
                </a:lnTo>
                <a:lnTo>
                  <a:pt x="2536744" y="2119385"/>
                </a:lnTo>
                <a:lnTo>
                  <a:pt x="2533964" y="2118163"/>
                </a:lnTo>
                <a:lnTo>
                  <a:pt x="2533686" y="2117759"/>
                </a:lnTo>
                <a:lnTo>
                  <a:pt x="2533565" y="2117988"/>
                </a:lnTo>
                <a:lnTo>
                  <a:pt x="2134900" y="1942755"/>
                </a:lnTo>
                <a:cubicBezTo>
                  <a:pt x="2137918" y="1928156"/>
                  <a:pt x="2139456" y="1913035"/>
                  <a:pt x="2139456" y="1897555"/>
                </a:cubicBezTo>
                <a:cubicBezTo>
                  <a:pt x="2139456" y="1798748"/>
                  <a:pt x="2076770" y="1714583"/>
                  <a:pt x="1988706" y="1683463"/>
                </a:cubicBezTo>
                <a:lnTo>
                  <a:pt x="2029775" y="1133695"/>
                </a:lnTo>
                <a:lnTo>
                  <a:pt x="2030094" y="1133695"/>
                </a:lnTo>
                <a:lnTo>
                  <a:pt x="2029815" y="1133157"/>
                </a:lnTo>
                <a:lnTo>
                  <a:pt x="2030094" y="1129420"/>
                </a:lnTo>
                <a:lnTo>
                  <a:pt x="2027877" y="1129420"/>
                </a:lnTo>
                <a:close/>
                <a:moveTo>
                  <a:pt x="1910854" y="565406"/>
                </a:moveTo>
                <a:cubicBezTo>
                  <a:pt x="2646579" y="565406"/>
                  <a:pt x="3243002" y="1161829"/>
                  <a:pt x="3243002" y="1897554"/>
                </a:cubicBezTo>
                <a:cubicBezTo>
                  <a:pt x="3243002" y="2633279"/>
                  <a:pt x="2646579" y="3229702"/>
                  <a:pt x="1910854" y="3229702"/>
                </a:cubicBezTo>
                <a:cubicBezTo>
                  <a:pt x="1175129" y="3229702"/>
                  <a:pt x="578706" y="2633279"/>
                  <a:pt x="578706" y="1897554"/>
                </a:cubicBezTo>
                <a:cubicBezTo>
                  <a:pt x="578706" y="1161829"/>
                  <a:pt x="1175129" y="565406"/>
                  <a:pt x="1910854" y="565406"/>
                </a:cubicBezTo>
                <a:close/>
                <a:moveTo>
                  <a:pt x="1766837" y="367010"/>
                </a:moveTo>
                <a:cubicBezTo>
                  <a:pt x="1050362" y="432397"/>
                  <a:pt x="475174" y="981146"/>
                  <a:pt x="377476" y="1681610"/>
                </a:cubicBezTo>
                <a:lnTo>
                  <a:pt x="426306" y="1681610"/>
                </a:lnTo>
                <a:cubicBezTo>
                  <a:pt x="510474" y="1681610"/>
                  <a:pt x="578706" y="1746088"/>
                  <a:pt x="578706" y="1825626"/>
                </a:cubicBezTo>
                <a:cubicBezTo>
                  <a:pt x="578706" y="1905164"/>
                  <a:pt x="510474" y="1969642"/>
                  <a:pt x="426306" y="1969642"/>
                </a:cubicBezTo>
                <a:lnTo>
                  <a:pt x="364094" y="1969642"/>
                </a:lnTo>
                <a:cubicBezTo>
                  <a:pt x="398055" y="2738400"/>
                  <a:pt x="1003246" y="3359660"/>
                  <a:pt x="1769417" y="3427809"/>
                </a:cubicBezTo>
                <a:lnTo>
                  <a:pt x="1769417" y="3382101"/>
                </a:lnTo>
                <a:cubicBezTo>
                  <a:pt x="1769417" y="3297933"/>
                  <a:pt x="1833895" y="3229701"/>
                  <a:pt x="1913433" y="3229701"/>
                </a:cubicBezTo>
                <a:cubicBezTo>
                  <a:pt x="1992971" y="3229701"/>
                  <a:pt x="2057449" y="3297933"/>
                  <a:pt x="2057449" y="3382101"/>
                </a:cubicBezTo>
                <a:lnTo>
                  <a:pt x="2057449" y="3427707"/>
                </a:lnTo>
                <a:cubicBezTo>
                  <a:pt x="2804164" y="3358467"/>
                  <a:pt x="3396856" y="2764020"/>
                  <a:pt x="3455018" y="2020616"/>
                </a:cubicBezTo>
                <a:lnTo>
                  <a:pt x="3395402" y="2020616"/>
                </a:lnTo>
                <a:cubicBezTo>
                  <a:pt x="3311234" y="2020616"/>
                  <a:pt x="3243002" y="1956138"/>
                  <a:pt x="3243002" y="1876600"/>
                </a:cubicBezTo>
                <a:cubicBezTo>
                  <a:pt x="3243002" y="1797062"/>
                  <a:pt x="3311234" y="1732584"/>
                  <a:pt x="3395402" y="1732584"/>
                </a:cubicBezTo>
                <a:lnTo>
                  <a:pt x="3451747" y="1732584"/>
                </a:lnTo>
                <a:cubicBezTo>
                  <a:pt x="3374444" y="1008025"/>
                  <a:pt x="2788738" y="434055"/>
                  <a:pt x="2054869" y="367632"/>
                </a:cubicBezTo>
                <a:lnTo>
                  <a:pt x="2054869" y="407296"/>
                </a:lnTo>
                <a:cubicBezTo>
                  <a:pt x="2054869" y="491464"/>
                  <a:pt x="1990391" y="559696"/>
                  <a:pt x="1910853" y="559696"/>
                </a:cubicBezTo>
                <a:cubicBezTo>
                  <a:pt x="1831315" y="559696"/>
                  <a:pt x="1766837" y="491464"/>
                  <a:pt x="1766837" y="407296"/>
                </a:cubicBezTo>
                <a:close/>
                <a:moveTo>
                  <a:pt x="1910854" y="0"/>
                </a:moveTo>
                <a:cubicBezTo>
                  <a:pt x="2966190" y="0"/>
                  <a:pt x="3821708" y="849564"/>
                  <a:pt x="3821708" y="1897555"/>
                </a:cubicBezTo>
                <a:cubicBezTo>
                  <a:pt x="3821708" y="2945546"/>
                  <a:pt x="2966190" y="3795110"/>
                  <a:pt x="1910854" y="3795110"/>
                </a:cubicBezTo>
                <a:cubicBezTo>
                  <a:pt x="855518" y="3795110"/>
                  <a:pt x="0" y="2945546"/>
                  <a:pt x="0" y="1897555"/>
                </a:cubicBezTo>
                <a:cubicBezTo>
                  <a:pt x="0" y="849564"/>
                  <a:pt x="855518" y="0"/>
                  <a:pt x="191085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49" name="Rounded Rectangle 2">
            <a:extLst>
              <a:ext uri="{FF2B5EF4-FFF2-40B4-BE49-F238E27FC236}">
                <a16:creationId xmlns:a16="http://schemas.microsoft.com/office/drawing/2014/main" id="{2CC9E4D8-EE18-436C-8048-E7C97508214A}"/>
              </a:ext>
            </a:extLst>
          </p:cNvPr>
          <p:cNvSpPr/>
          <p:nvPr/>
        </p:nvSpPr>
        <p:spPr>
          <a:xfrm>
            <a:off x="7416476" y="3663299"/>
            <a:ext cx="357141" cy="357141"/>
          </a:xfrm>
          <a:custGeom>
            <a:avLst/>
            <a:gdLst/>
            <a:ahLst/>
            <a:cxnLst/>
            <a:rect l="l" t="t" r="r" b="b"/>
            <a:pathLst>
              <a:path w="3960000" h="3960000">
                <a:moveTo>
                  <a:pt x="2784484" y="2487854"/>
                </a:moveTo>
                <a:cubicBezTo>
                  <a:pt x="2774989" y="2487391"/>
                  <a:pt x="2765365" y="2488860"/>
                  <a:pt x="2756439" y="2492301"/>
                </a:cubicBezTo>
                <a:cubicBezTo>
                  <a:pt x="2734854" y="2500620"/>
                  <a:pt x="2720969" y="2519027"/>
                  <a:pt x="2720969" y="2539323"/>
                </a:cubicBezTo>
                <a:lnTo>
                  <a:pt x="2718062" y="2539323"/>
                </a:lnTo>
                <a:lnTo>
                  <a:pt x="2718062" y="2636901"/>
                </a:lnTo>
                <a:lnTo>
                  <a:pt x="2844095" y="2636901"/>
                </a:lnTo>
                <a:lnTo>
                  <a:pt x="2844095" y="2547101"/>
                </a:lnTo>
                <a:lnTo>
                  <a:pt x="2840575" y="2546667"/>
                </a:lnTo>
                <a:cubicBezTo>
                  <a:pt x="2844038" y="2526031"/>
                  <a:pt x="2832667" y="2505637"/>
                  <a:pt x="2811763" y="2494994"/>
                </a:cubicBezTo>
                <a:cubicBezTo>
                  <a:pt x="2803348" y="2490709"/>
                  <a:pt x="2793980" y="2488316"/>
                  <a:pt x="2784484" y="2487854"/>
                </a:cubicBezTo>
                <a:close/>
                <a:moveTo>
                  <a:pt x="2218919" y="2459568"/>
                </a:moveTo>
                <a:cubicBezTo>
                  <a:pt x="2198232" y="2462191"/>
                  <a:pt x="2177586" y="2476073"/>
                  <a:pt x="2165645" y="2505359"/>
                </a:cubicBezTo>
                <a:lnTo>
                  <a:pt x="2165645" y="2981896"/>
                </a:lnTo>
                <a:cubicBezTo>
                  <a:pt x="2176061" y="3034481"/>
                  <a:pt x="2243614" y="3053730"/>
                  <a:pt x="2282578" y="2996778"/>
                </a:cubicBezTo>
                <a:lnTo>
                  <a:pt x="2282578" y="2521099"/>
                </a:lnTo>
                <a:cubicBezTo>
                  <a:pt x="2287988" y="2482101"/>
                  <a:pt x="2253397" y="2455196"/>
                  <a:pt x="2218919" y="2459568"/>
                </a:cubicBezTo>
                <a:close/>
                <a:moveTo>
                  <a:pt x="1724507" y="2341658"/>
                </a:moveTo>
                <a:lnTo>
                  <a:pt x="1886507" y="2341658"/>
                </a:lnTo>
                <a:lnTo>
                  <a:pt x="1886507" y="3157984"/>
                </a:lnTo>
                <a:lnTo>
                  <a:pt x="1724507" y="3157984"/>
                </a:lnTo>
                <a:lnTo>
                  <a:pt x="1724507" y="3071637"/>
                </a:lnTo>
                <a:cubicBezTo>
                  <a:pt x="1508936" y="3302583"/>
                  <a:pt x="1432071" y="3083964"/>
                  <a:pt x="1448980" y="3019402"/>
                </a:cubicBezTo>
                <a:cubicBezTo>
                  <a:pt x="1449173" y="3019371"/>
                  <a:pt x="1449367" y="3019341"/>
                  <a:pt x="1449560" y="3019310"/>
                </a:cubicBezTo>
                <a:lnTo>
                  <a:pt x="1449560" y="2341867"/>
                </a:lnTo>
                <a:lnTo>
                  <a:pt x="1611560" y="2341867"/>
                </a:lnTo>
                <a:lnTo>
                  <a:pt x="1611560" y="3005106"/>
                </a:lnTo>
                <a:cubicBezTo>
                  <a:pt x="1619060" y="3048622"/>
                  <a:pt x="1686890" y="2980715"/>
                  <a:pt x="1724507" y="2960399"/>
                </a:cubicBezTo>
                <a:close/>
                <a:moveTo>
                  <a:pt x="2794634" y="2323257"/>
                </a:moveTo>
                <a:cubicBezTo>
                  <a:pt x="2833672" y="2325523"/>
                  <a:pt x="2872097" y="2337568"/>
                  <a:pt x="2905793" y="2359152"/>
                </a:cubicBezTo>
                <a:cubicBezTo>
                  <a:pt x="2968205" y="2399130"/>
                  <a:pt x="3005231" y="2465918"/>
                  <a:pt x="3003877" y="2536796"/>
                </a:cubicBezTo>
                <a:lnTo>
                  <a:pt x="3006095" y="2536796"/>
                </a:lnTo>
                <a:lnTo>
                  <a:pt x="3006095" y="2785572"/>
                </a:lnTo>
                <a:lnTo>
                  <a:pt x="2925095" y="2785572"/>
                </a:lnTo>
                <a:lnTo>
                  <a:pt x="2844095" y="2785572"/>
                </a:lnTo>
                <a:lnTo>
                  <a:pt x="2718062" y="2785572"/>
                </a:lnTo>
                <a:lnTo>
                  <a:pt x="2718062" y="2967727"/>
                </a:lnTo>
                <a:lnTo>
                  <a:pt x="2721583" y="2968162"/>
                </a:lnTo>
                <a:cubicBezTo>
                  <a:pt x="2718120" y="2988798"/>
                  <a:pt x="2729491" y="3009192"/>
                  <a:pt x="2750395" y="3019835"/>
                </a:cubicBezTo>
                <a:cubicBezTo>
                  <a:pt x="2767225" y="3028404"/>
                  <a:pt x="2787866" y="3029409"/>
                  <a:pt x="2805719" y="3022528"/>
                </a:cubicBezTo>
                <a:cubicBezTo>
                  <a:pt x="2827304" y="3014209"/>
                  <a:pt x="2841189" y="2995802"/>
                  <a:pt x="2841189" y="2975506"/>
                </a:cubicBezTo>
                <a:lnTo>
                  <a:pt x="2843676" y="2975506"/>
                </a:lnTo>
                <a:lnTo>
                  <a:pt x="2843676" y="2857044"/>
                </a:lnTo>
                <a:lnTo>
                  <a:pt x="3005676" y="2857044"/>
                </a:lnTo>
                <a:lnTo>
                  <a:pt x="3005676" y="2975506"/>
                </a:lnTo>
                <a:lnTo>
                  <a:pt x="3006096" y="2975506"/>
                </a:lnTo>
                <a:lnTo>
                  <a:pt x="3005676" y="2978387"/>
                </a:lnTo>
                <a:lnTo>
                  <a:pt x="3005676" y="2981431"/>
                </a:lnTo>
                <a:lnTo>
                  <a:pt x="3005233" y="2981431"/>
                </a:lnTo>
                <a:cubicBezTo>
                  <a:pt x="3003752" y="3060853"/>
                  <a:pt x="2956391" y="3132900"/>
                  <a:pt x="2882363" y="3168797"/>
                </a:cubicBezTo>
                <a:cubicBezTo>
                  <a:pt x="2810063" y="3203855"/>
                  <a:pt x="2723757" y="3198845"/>
                  <a:pt x="2656365" y="3155677"/>
                </a:cubicBezTo>
                <a:cubicBezTo>
                  <a:pt x="2604277" y="3122312"/>
                  <a:pt x="2569872" y="3070275"/>
                  <a:pt x="2559993" y="3012681"/>
                </a:cubicBezTo>
                <a:lnTo>
                  <a:pt x="2556062" y="3012681"/>
                </a:lnTo>
                <a:lnTo>
                  <a:pt x="2556062" y="2539323"/>
                </a:lnTo>
                <a:cubicBezTo>
                  <a:pt x="2556062" y="2457588"/>
                  <a:pt x="2603922" y="2382823"/>
                  <a:pt x="2679795" y="2346032"/>
                </a:cubicBezTo>
                <a:cubicBezTo>
                  <a:pt x="2715945" y="2328503"/>
                  <a:pt x="2755596" y="2320991"/>
                  <a:pt x="2794634" y="2323257"/>
                </a:cubicBezTo>
                <a:close/>
                <a:moveTo>
                  <a:pt x="921754" y="2059382"/>
                </a:moveTo>
                <a:lnTo>
                  <a:pt x="1461754" y="2059382"/>
                </a:lnTo>
                <a:lnTo>
                  <a:pt x="1461754" y="2221382"/>
                </a:lnTo>
                <a:lnTo>
                  <a:pt x="1263754" y="2221382"/>
                </a:lnTo>
                <a:lnTo>
                  <a:pt x="1263754" y="3160488"/>
                </a:lnTo>
                <a:lnTo>
                  <a:pt x="1101754" y="3160488"/>
                </a:lnTo>
                <a:lnTo>
                  <a:pt x="1101754" y="2221382"/>
                </a:lnTo>
                <a:lnTo>
                  <a:pt x="921754" y="2221382"/>
                </a:lnTo>
                <a:close/>
                <a:moveTo>
                  <a:pt x="2003645" y="2056877"/>
                </a:moveTo>
                <a:lnTo>
                  <a:pt x="2165645" y="2056877"/>
                </a:lnTo>
                <a:lnTo>
                  <a:pt x="2165645" y="2406047"/>
                </a:lnTo>
                <a:cubicBezTo>
                  <a:pt x="2295483" y="2259477"/>
                  <a:pt x="2455251" y="2328666"/>
                  <a:pt x="2444578" y="2520484"/>
                </a:cubicBezTo>
                <a:cubicBezTo>
                  <a:pt x="2454106" y="2682617"/>
                  <a:pt x="2444578" y="2839987"/>
                  <a:pt x="2444578" y="2999738"/>
                </a:cubicBezTo>
                <a:cubicBezTo>
                  <a:pt x="2437328" y="3271827"/>
                  <a:pt x="2180048" y="3158151"/>
                  <a:pt x="2165645" y="3094482"/>
                </a:cubicBezTo>
                <a:lnTo>
                  <a:pt x="2165645" y="3157983"/>
                </a:lnTo>
                <a:lnTo>
                  <a:pt x="2003645" y="3157983"/>
                </a:lnTo>
                <a:close/>
                <a:moveTo>
                  <a:pt x="1082145" y="1835984"/>
                </a:moveTo>
                <a:cubicBezTo>
                  <a:pt x="901872" y="1835984"/>
                  <a:pt x="755732" y="1982124"/>
                  <a:pt x="755732" y="2162397"/>
                </a:cubicBezTo>
                <a:lnTo>
                  <a:pt x="755732" y="3086444"/>
                </a:lnTo>
                <a:cubicBezTo>
                  <a:pt x="755732" y="3266717"/>
                  <a:pt x="901872" y="3412857"/>
                  <a:pt x="1082145" y="3412857"/>
                </a:cubicBezTo>
                <a:lnTo>
                  <a:pt x="2845706" y="3412857"/>
                </a:lnTo>
                <a:cubicBezTo>
                  <a:pt x="3025979" y="3412857"/>
                  <a:pt x="3172119" y="3266717"/>
                  <a:pt x="3172119" y="3086444"/>
                </a:cubicBezTo>
                <a:lnTo>
                  <a:pt x="3172119" y="2162397"/>
                </a:lnTo>
                <a:cubicBezTo>
                  <a:pt x="3172119" y="1982124"/>
                  <a:pt x="3025979" y="1835984"/>
                  <a:pt x="2845706" y="1835984"/>
                </a:cubicBezTo>
                <a:close/>
                <a:moveTo>
                  <a:pt x="1918669" y="998231"/>
                </a:moveTo>
                <a:cubicBezTo>
                  <a:pt x="1949783" y="998231"/>
                  <a:pt x="1975005" y="1022442"/>
                  <a:pt x="1975005" y="1052309"/>
                </a:cubicBezTo>
                <a:cubicBezTo>
                  <a:pt x="1975005" y="1200582"/>
                  <a:pt x="1975004" y="1348856"/>
                  <a:pt x="1975004" y="1497129"/>
                </a:cubicBezTo>
                <a:cubicBezTo>
                  <a:pt x="1975004" y="1526996"/>
                  <a:pt x="1949782" y="1551207"/>
                  <a:pt x="1918668" y="1551207"/>
                </a:cubicBezTo>
                <a:lnTo>
                  <a:pt x="1918669" y="1551206"/>
                </a:lnTo>
                <a:cubicBezTo>
                  <a:pt x="1887555" y="1551206"/>
                  <a:pt x="1862333" y="1526995"/>
                  <a:pt x="1862333" y="1497128"/>
                </a:cubicBezTo>
                <a:lnTo>
                  <a:pt x="1862333" y="1052309"/>
                </a:lnTo>
                <a:cubicBezTo>
                  <a:pt x="1862333" y="1022442"/>
                  <a:pt x="1887555" y="998231"/>
                  <a:pt x="1918669" y="998231"/>
                </a:cubicBezTo>
                <a:close/>
                <a:moveTo>
                  <a:pt x="2539373" y="865097"/>
                </a:moveTo>
                <a:lnTo>
                  <a:pt x="2539373" y="1483838"/>
                </a:lnTo>
                <a:cubicBezTo>
                  <a:pt x="2501756" y="1504154"/>
                  <a:pt x="2433926" y="1572061"/>
                  <a:pt x="2426426" y="1528545"/>
                </a:cubicBezTo>
                <a:lnTo>
                  <a:pt x="2426426" y="865306"/>
                </a:lnTo>
                <a:lnTo>
                  <a:pt x="2264426" y="865306"/>
                </a:lnTo>
                <a:lnTo>
                  <a:pt x="2264426" y="1542749"/>
                </a:lnTo>
                <a:cubicBezTo>
                  <a:pt x="2264233" y="1542780"/>
                  <a:pt x="2264039" y="1542810"/>
                  <a:pt x="2263846" y="1542841"/>
                </a:cubicBezTo>
                <a:cubicBezTo>
                  <a:pt x="2246937" y="1607403"/>
                  <a:pt x="2323802" y="1826022"/>
                  <a:pt x="2539373" y="1595076"/>
                </a:cubicBezTo>
                <a:lnTo>
                  <a:pt x="2539373" y="1681423"/>
                </a:lnTo>
                <a:lnTo>
                  <a:pt x="2701373" y="1681423"/>
                </a:lnTo>
                <a:lnTo>
                  <a:pt x="2701373" y="865097"/>
                </a:lnTo>
                <a:close/>
                <a:moveTo>
                  <a:pt x="1918668" y="840143"/>
                </a:moveTo>
                <a:cubicBezTo>
                  <a:pt x="1799361" y="840143"/>
                  <a:pt x="1702644" y="932984"/>
                  <a:pt x="1702644" y="1047509"/>
                </a:cubicBezTo>
                <a:lnTo>
                  <a:pt x="1702644" y="1501930"/>
                </a:lnTo>
                <a:cubicBezTo>
                  <a:pt x="1702644" y="1616455"/>
                  <a:pt x="1799361" y="1709295"/>
                  <a:pt x="1918668" y="1709295"/>
                </a:cubicBezTo>
                <a:cubicBezTo>
                  <a:pt x="2037975" y="1709295"/>
                  <a:pt x="2134692" y="1616455"/>
                  <a:pt x="2134692" y="1501930"/>
                </a:cubicBezTo>
                <a:lnTo>
                  <a:pt x="2134692" y="1047509"/>
                </a:lnTo>
                <a:cubicBezTo>
                  <a:pt x="2134692" y="932984"/>
                  <a:pt x="2037975" y="840143"/>
                  <a:pt x="1918668" y="840143"/>
                </a:cubicBezTo>
                <a:close/>
                <a:moveTo>
                  <a:pt x="1544554" y="609793"/>
                </a:moveTo>
                <a:lnTo>
                  <a:pt x="1425758" y="1008757"/>
                </a:lnTo>
                <a:lnTo>
                  <a:pt x="1311048" y="623516"/>
                </a:lnTo>
                <a:lnTo>
                  <a:pt x="1152958" y="623516"/>
                </a:lnTo>
                <a:lnTo>
                  <a:pt x="1345929" y="1271588"/>
                </a:lnTo>
                <a:lnTo>
                  <a:pt x="1347249" y="1271588"/>
                </a:lnTo>
                <a:lnTo>
                  <a:pt x="1347249" y="1698532"/>
                </a:lnTo>
                <a:lnTo>
                  <a:pt x="1509249" y="1698532"/>
                </a:lnTo>
                <a:lnTo>
                  <a:pt x="1509249" y="1257865"/>
                </a:lnTo>
                <a:lnTo>
                  <a:pt x="1509673" y="1257865"/>
                </a:lnTo>
                <a:lnTo>
                  <a:pt x="1702644" y="609793"/>
                </a:ln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51" name="Rectangle 7">
            <a:extLst>
              <a:ext uri="{FF2B5EF4-FFF2-40B4-BE49-F238E27FC236}">
                <a16:creationId xmlns:a16="http://schemas.microsoft.com/office/drawing/2014/main" id="{A4DD3930-BF43-44CD-8988-35B6E8BD7A63}"/>
              </a:ext>
            </a:extLst>
          </p:cNvPr>
          <p:cNvSpPr/>
          <p:nvPr/>
        </p:nvSpPr>
        <p:spPr>
          <a:xfrm>
            <a:off x="4405569" y="1608521"/>
            <a:ext cx="404150" cy="403447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01869" y="2055482"/>
                </a:moveTo>
                <a:lnTo>
                  <a:pt x="869869" y="2055482"/>
                </a:lnTo>
                <a:lnTo>
                  <a:pt x="869869" y="2919482"/>
                </a:lnTo>
                <a:lnTo>
                  <a:pt x="401869" y="2919482"/>
                </a:lnTo>
                <a:close/>
                <a:moveTo>
                  <a:pt x="1121949" y="1695482"/>
                </a:moveTo>
                <a:lnTo>
                  <a:pt x="1589949" y="1695482"/>
                </a:lnTo>
                <a:lnTo>
                  <a:pt x="1589949" y="2919482"/>
                </a:lnTo>
                <a:lnTo>
                  <a:pt x="1121949" y="2919482"/>
                </a:lnTo>
                <a:close/>
                <a:moveTo>
                  <a:pt x="1842029" y="1335482"/>
                </a:moveTo>
                <a:lnTo>
                  <a:pt x="2310029" y="1335482"/>
                </a:lnTo>
                <a:lnTo>
                  <a:pt x="2310029" y="2919482"/>
                </a:lnTo>
                <a:lnTo>
                  <a:pt x="1842029" y="2919482"/>
                </a:lnTo>
                <a:close/>
                <a:moveTo>
                  <a:pt x="2562109" y="975482"/>
                </a:moveTo>
                <a:lnTo>
                  <a:pt x="3030109" y="975482"/>
                </a:lnTo>
                <a:lnTo>
                  <a:pt x="3030109" y="2919482"/>
                </a:lnTo>
                <a:lnTo>
                  <a:pt x="2562109" y="2919482"/>
                </a:lnTo>
                <a:close/>
                <a:moveTo>
                  <a:pt x="2321888" y="224805"/>
                </a:moveTo>
                <a:lnTo>
                  <a:pt x="2880631" y="247420"/>
                </a:lnTo>
                <a:lnTo>
                  <a:pt x="2620844" y="742612"/>
                </a:lnTo>
                <a:lnTo>
                  <a:pt x="2546105" y="613161"/>
                </a:lnTo>
                <a:lnTo>
                  <a:pt x="541555" y="1770488"/>
                </a:lnTo>
                <a:lnTo>
                  <a:pt x="392077" y="1511585"/>
                </a:lnTo>
                <a:lnTo>
                  <a:pt x="2396627" y="354257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3059999"/>
                </a:lnTo>
                <a:lnTo>
                  <a:pt x="3240000" y="3059999"/>
                </a:lnTo>
                <a:lnTo>
                  <a:pt x="3240000" y="3239999"/>
                </a:lnTo>
                <a:lnTo>
                  <a:pt x="180000" y="3239999"/>
                </a:lnTo>
                <a:lnTo>
                  <a:pt x="180000" y="3240000"/>
                </a:lnTo>
                <a:lnTo>
                  <a:pt x="0" y="3240000"/>
                </a:lnTo>
                <a:lnTo>
                  <a:pt x="0" y="3239999"/>
                </a:lnTo>
                <a:lnTo>
                  <a:pt x="0" y="305999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2" name="Diamond 5">
            <a:extLst>
              <a:ext uri="{FF2B5EF4-FFF2-40B4-BE49-F238E27FC236}">
                <a16:creationId xmlns:a16="http://schemas.microsoft.com/office/drawing/2014/main" id="{C25A0039-228C-4585-B6C4-A849C5C87A35}"/>
              </a:ext>
            </a:extLst>
          </p:cNvPr>
          <p:cNvSpPr/>
          <p:nvPr/>
        </p:nvSpPr>
        <p:spPr>
          <a:xfrm>
            <a:off x="4412597" y="3596857"/>
            <a:ext cx="407532" cy="387232"/>
          </a:xfrm>
          <a:custGeom>
            <a:avLst/>
            <a:gdLst/>
            <a:ahLst/>
            <a:cxnLst/>
            <a:rect l="l" t="t" r="r" b="b"/>
            <a:pathLst>
              <a:path w="3240001" h="3249575">
                <a:moveTo>
                  <a:pt x="1275349" y="2002569"/>
                </a:moveTo>
                <a:lnTo>
                  <a:pt x="1625117" y="2233002"/>
                </a:lnTo>
                <a:lnTo>
                  <a:pt x="1968772" y="2006596"/>
                </a:lnTo>
                <a:lnTo>
                  <a:pt x="3240001" y="3249575"/>
                </a:lnTo>
                <a:lnTo>
                  <a:pt x="0" y="3249575"/>
                </a:lnTo>
                <a:close/>
                <a:moveTo>
                  <a:pt x="1067116" y="1473605"/>
                </a:moveTo>
                <a:lnTo>
                  <a:pt x="1067116" y="1581605"/>
                </a:lnTo>
                <a:lnTo>
                  <a:pt x="2183116" y="1581605"/>
                </a:lnTo>
                <a:lnTo>
                  <a:pt x="2183116" y="1473605"/>
                </a:lnTo>
                <a:close/>
                <a:moveTo>
                  <a:pt x="1067116" y="1267205"/>
                </a:moveTo>
                <a:lnTo>
                  <a:pt x="1067116" y="1375205"/>
                </a:lnTo>
                <a:lnTo>
                  <a:pt x="2183116" y="1375205"/>
                </a:lnTo>
                <a:lnTo>
                  <a:pt x="2183116" y="1267205"/>
                </a:lnTo>
                <a:close/>
                <a:moveTo>
                  <a:pt x="3240001" y="1172196"/>
                </a:moveTo>
                <a:lnTo>
                  <a:pt x="3240001" y="3142550"/>
                </a:lnTo>
                <a:lnTo>
                  <a:pt x="2026252" y="1968728"/>
                </a:lnTo>
                <a:lnTo>
                  <a:pt x="3049854" y="1294362"/>
                </a:lnTo>
                <a:close/>
                <a:moveTo>
                  <a:pt x="0" y="1172196"/>
                </a:moveTo>
                <a:lnTo>
                  <a:pt x="602850" y="1559516"/>
                </a:lnTo>
                <a:lnTo>
                  <a:pt x="1217896" y="1964719"/>
                </a:lnTo>
                <a:lnTo>
                  <a:pt x="0" y="3142550"/>
                </a:lnTo>
                <a:close/>
                <a:moveTo>
                  <a:pt x="1067116" y="1060805"/>
                </a:moveTo>
                <a:lnTo>
                  <a:pt x="1067116" y="1168805"/>
                </a:lnTo>
                <a:lnTo>
                  <a:pt x="2183116" y="1168805"/>
                </a:lnTo>
                <a:lnTo>
                  <a:pt x="2183116" y="1060805"/>
                </a:lnTo>
                <a:close/>
                <a:moveTo>
                  <a:pt x="869032" y="816137"/>
                </a:moveTo>
                <a:lnTo>
                  <a:pt x="2381200" y="816137"/>
                </a:lnTo>
                <a:lnTo>
                  <a:pt x="2381200" y="1623491"/>
                </a:lnTo>
                <a:lnTo>
                  <a:pt x="1668045" y="2093329"/>
                </a:lnTo>
                <a:lnTo>
                  <a:pt x="1625116" y="2121611"/>
                </a:lnTo>
                <a:lnTo>
                  <a:pt x="869032" y="1623491"/>
                </a:lnTo>
                <a:close/>
                <a:moveTo>
                  <a:pt x="1625116" y="0"/>
                </a:moveTo>
                <a:lnTo>
                  <a:pt x="3235286" y="1060806"/>
                </a:lnTo>
                <a:lnTo>
                  <a:pt x="2489212" y="1552331"/>
                </a:lnTo>
                <a:lnTo>
                  <a:pt x="2489212" y="708008"/>
                </a:lnTo>
                <a:lnTo>
                  <a:pt x="761020" y="708008"/>
                </a:lnTo>
                <a:lnTo>
                  <a:pt x="761020" y="1552331"/>
                </a:lnTo>
                <a:lnTo>
                  <a:pt x="14946" y="10608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4" name="Oval 44">
            <a:extLst>
              <a:ext uri="{FF2B5EF4-FFF2-40B4-BE49-F238E27FC236}">
                <a16:creationId xmlns:a16="http://schemas.microsoft.com/office/drawing/2014/main" id="{480C1F48-D190-42DC-B903-13A14CE3FD12}"/>
              </a:ext>
            </a:extLst>
          </p:cNvPr>
          <p:cNvSpPr>
            <a:spLocks noChangeAspect="1"/>
          </p:cNvSpPr>
          <p:nvPr/>
        </p:nvSpPr>
        <p:spPr>
          <a:xfrm>
            <a:off x="7470268" y="1600934"/>
            <a:ext cx="334337" cy="398090"/>
          </a:xfrm>
          <a:custGeom>
            <a:avLst/>
            <a:gdLst/>
            <a:ahLst/>
            <a:cxnLst/>
            <a:rect l="l" t="t" r="r" b="b"/>
            <a:pathLst>
              <a:path w="2721114" h="3240000">
                <a:moveTo>
                  <a:pt x="2519839" y="2469622"/>
                </a:moveTo>
                <a:lnTo>
                  <a:pt x="2201779" y="2787682"/>
                </a:lnTo>
                <a:lnTo>
                  <a:pt x="2003023" y="2588926"/>
                </a:lnTo>
                <a:lnTo>
                  <a:pt x="1901669" y="2690281"/>
                </a:lnTo>
                <a:lnTo>
                  <a:pt x="2203868" y="2992480"/>
                </a:lnTo>
                <a:lnTo>
                  <a:pt x="2305222" y="2891125"/>
                </a:lnTo>
                <a:lnTo>
                  <a:pt x="2303133" y="2889037"/>
                </a:lnTo>
                <a:lnTo>
                  <a:pt x="2621194" y="2570977"/>
                </a:lnTo>
                <a:close/>
                <a:moveTo>
                  <a:pt x="2263914" y="2238970"/>
                </a:moveTo>
                <a:cubicBezTo>
                  <a:pt x="2516419" y="2238970"/>
                  <a:pt x="2721114" y="2443665"/>
                  <a:pt x="2721114" y="2696170"/>
                </a:cubicBezTo>
                <a:cubicBezTo>
                  <a:pt x="2721114" y="2948675"/>
                  <a:pt x="2516419" y="3153370"/>
                  <a:pt x="2263914" y="3153370"/>
                </a:cubicBezTo>
                <a:cubicBezTo>
                  <a:pt x="2011409" y="3153370"/>
                  <a:pt x="1806714" y="2948675"/>
                  <a:pt x="1806714" y="2696170"/>
                </a:cubicBezTo>
                <a:cubicBezTo>
                  <a:pt x="1806714" y="2443665"/>
                  <a:pt x="2011409" y="2238970"/>
                  <a:pt x="2263914" y="2238970"/>
                </a:cubicBezTo>
                <a:close/>
                <a:moveTo>
                  <a:pt x="1576134" y="17032"/>
                </a:moveTo>
                <a:lnTo>
                  <a:pt x="2276728" y="17032"/>
                </a:lnTo>
                <a:lnTo>
                  <a:pt x="2276728" y="17033"/>
                </a:lnTo>
                <a:lnTo>
                  <a:pt x="1576135" y="17033"/>
                </a:lnTo>
                <a:close/>
                <a:moveTo>
                  <a:pt x="0" y="17032"/>
                </a:moveTo>
                <a:lnTo>
                  <a:pt x="1321887" y="17032"/>
                </a:lnTo>
                <a:lnTo>
                  <a:pt x="1321887" y="996125"/>
                </a:lnTo>
                <a:lnTo>
                  <a:pt x="2276728" y="996125"/>
                </a:lnTo>
                <a:lnTo>
                  <a:pt x="2276728" y="2160187"/>
                </a:lnTo>
                <a:cubicBezTo>
                  <a:pt x="1979345" y="2161001"/>
                  <a:pt x="1738579" y="2402384"/>
                  <a:pt x="1738579" y="2700000"/>
                </a:cubicBezTo>
                <a:cubicBezTo>
                  <a:pt x="1738579" y="2997617"/>
                  <a:pt x="1979345" y="3238999"/>
                  <a:pt x="2276728" y="3239814"/>
                </a:cubicBezTo>
                <a:lnTo>
                  <a:pt x="2276728" y="3240000"/>
                </a:lnTo>
                <a:lnTo>
                  <a:pt x="0" y="3240000"/>
                </a:lnTo>
                <a:close/>
                <a:moveTo>
                  <a:pt x="1436085" y="0"/>
                </a:moveTo>
                <a:lnTo>
                  <a:pt x="2287664" y="888809"/>
                </a:lnTo>
                <a:lnTo>
                  <a:pt x="1436085" y="8888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5" name="Diamond 5">
            <a:extLst>
              <a:ext uri="{FF2B5EF4-FFF2-40B4-BE49-F238E27FC236}">
                <a16:creationId xmlns:a16="http://schemas.microsoft.com/office/drawing/2014/main" id="{2069EE72-C451-4725-851E-AD104865B64B}"/>
              </a:ext>
            </a:extLst>
          </p:cNvPr>
          <p:cNvSpPr/>
          <p:nvPr/>
        </p:nvSpPr>
        <p:spPr>
          <a:xfrm>
            <a:off x="7391280" y="2621439"/>
            <a:ext cx="407532" cy="387232"/>
          </a:xfrm>
          <a:custGeom>
            <a:avLst/>
            <a:gdLst/>
            <a:ahLst/>
            <a:cxnLst/>
            <a:rect l="l" t="t" r="r" b="b"/>
            <a:pathLst>
              <a:path w="3240001" h="3249575">
                <a:moveTo>
                  <a:pt x="1275349" y="2002569"/>
                </a:moveTo>
                <a:lnTo>
                  <a:pt x="1625117" y="2233002"/>
                </a:lnTo>
                <a:lnTo>
                  <a:pt x="1968772" y="2006596"/>
                </a:lnTo>
                <a:lnTo>
                  <a:pt x="3240001" y="3249575"/>
                </a:lnTo>
                <a:lnTo>
                  <a:pt x="0" y="3249575"/>
                </a:lnTo>
                <a:close/>
                <a:moveTo>
                  <a:pt x="1067116" y="1473605"/>
                </a:moveTo>
                <a:lnTo>
                  <a:pt x="1067116" y="1581605"/>
                </a:lnTo>
                <a:lnTo>
                  <a:pt x="2183116" y="1581605"/>
                </a:lnTo>
                <a:lnTo>
                  <a:pt x="2183116" y="1473605"/>
                </a:lnTo>
                <a:close/>
                <a:moveTo>
                  <a:pt x="1067116" y="1267205"/>
                </a:moveTo>
                <a:lnTo>
                  <a:pt x="1067116" y="1375205"/>
                </a:lnTo>
                <a:lnTo>
                  <a:pt x="2183116" y="1375205"/>
                </a:lnTo>
                <a:lnTo>
                  <a:pt x="2183116" y="1267205"/>
                </a:lnTo>
                <a:close/>
                <a:moveTo>
                  <a:pt x="3240001" y="1172196"/>
                </a:moveTo>
                <a:lnTo>
                  <a:pt x="3240001" y="3142550"/>
                </a:lnTo>
                <a:lnTo>
                  <a:pt x="2026252" y="1968728"/>
                </a:lnTo>
                <a:lnTo>
                  <a:pt x="3049854" y="1294362"/>
                </a:lnTo>
                <a:close/>
                <a:moveTo>
                  <a:pt x="0" y="1172196"/>
                </a:moveTo>
                <a:lnTo>
                  <a:pt x="602850" y="1559516"/>
                </a:lnTo>
                <a:lnTo>
                  <a:pt x="1217896" y="1964719"/>
                </a:lnTo>
                <a:lnTo>
                  <a:pt x="0" y="3142550"/>
                </a:lnTo>
                <a:close/>
                <a:moveTo>
                  <a:pt x="1067116" y="1060805"/>
                </a:moveTo>
                <a:lnTo>
                  <a:pt x="1067116" y="1168805"/>
                </a:lnTo>
                <a:lnTo>
                  <a:pt x="2183116" y="1168805"/>
                </a:lnTo>
                <a:lnTo>
                  <a:pt x="2183116" y="1060805"/>
                </a:lnTo>
                <a:close/>
                <a:moveTo>
                  <a:pt x="869032" y="816137"/>
                </a:moveTo>
                <a:lnTo>
                  <a:pt x="2381200" y="816137"/>
                </a:lnTo>
                <a:lnTo>
                  <a:pt x="2381200" y="1623491"/>
                </a:lnTo>
                <a:lnTo>
                  <a:pt x="1668045" y="2093329"/>
                </a:lnTo>
                <a:lnTo>
                  <a:pt x="1625116" y="2121611"/>
                </a:lnTo>
                <a:lnTo>
                  <a:pt x="869032" y="1623491"/>
                </a:lnTo>
                <a:close/>
                <a:moveTo>
                  <a:pt x="1625116" y="0"/>
                </a:moveTo>
                <a:lnTo>
                  <a:pt x="3235286" y="1060806"/>
                </a:lnTo>
                <a:lnTo>
                  <a:pt x="2489212" y="1552331"/>
                </a:lnTo>
                <a:lnTo>
                  <a:pt x="2489212" y="708008"/>
                </a:lnTo>
                <a:lnTo>
                  <a:pt x="761020" y="708008"/>
                </a:lnTo>
                <a:lnTo>
                  <a:pt x="761020" y="1552331"/>
                </a:lnTo>
                <a:lnTo>
                  <a:pt x="14946" y="10608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3" name="Text Placeholder 1">
            <a:extLst>
              <a:ext uri="{FF2B5EF4-FFF2-40B4-BE49-F238E27FC236}">
                <a16:creationId xmlns:a16="http://schemas.microsoft.com/office/drawing/2014/main" id="{E2A851F1-7F18-449B-B6B7-C647B8BF98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/>
          <a:lstStyle/>
          <a:p>
            <a:r>
              <a:rPr lang="en-US" sz="2800" dirty="0"/>
              <a:t>What’s New in P-Office</a:t>
            </a:r>
          </a:p>
        </p:txBody>
      </p:sp>
    </p:spTree>
    <p:extLst>
      <p:ext uri="{BB962C8B-B14F-4D97-AF65-F5344CB8AC3E}">
        <p14:creationId xmlns:p14="http://schemas.microsoft.com/office/powerpoint/2010/main" val="941762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2800" dirty="0"/>
              <a:t>P-Office 1.0 vs New P-Office</a:t>
            </a:r>
          </a:p>
        </p:txBody>
      </p:sp>
      <p:graphicFrame>
        <p:nvGraphicFramePr>
          <p:cNvPr id="42" name="Table 42">
            <a:extLst>
              <a:ext uri="{FF2B5EF4-FFF2-40B4-BE49-F238E27FC236}">
                <a16:creationId xmlns:a16="http://schemas.microsoft.com/office/drawing/2014/main" id="{7330A5A9-7AEF-4FCD-8850-ACE440E95C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3471587"/>
              </p:ext>
            </p:extLst>
          </p:nvPr>
        </p:nvGraphicFramePr>
        <p:xfrm>
          <a:off x="1014083" y="1417416"/>
          <a:ext cx="9587780" cy="4759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33033">
                  <a:extLst>
                    <a:ext uri="{9D8B030D-6E8A-4147-A177-3AD203B41FA5}">
                      <a16:colId xmlns:a16="http://schemas.microsoft.com/office/drawing/2014/main" val="2609587073"/>
                    </a:ext>
                  </a:extLst>
                </a:gridCol>
                <a:gridCol w="4554747">
                  <a:extLst>
                    <a:ext uri="{9D8B030D-6E8A-4147-A177-3AD203B41FA5}">
                      <a16:colId xmlns:a16="http://schemas.microsoft.com/office/drawing/2014/main" val="4157072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P-Office 1.0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P-Office 2.0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679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Pengguna dapat membuat Surat Masuk, Surat Keluar, Fax Masuk, Fax Keluar, Memorandum, SP3S, SPP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engguna dapat membuat </a:t>
                      </a:r>
                      <a:r>
                        <a:rPr lang="en-US" sz="1200" dirty="0" err="1"/>
                        <a:t>surat</a:t>
                      </a:r>
                      <a:r>
                        <a:rPr lang="en-US" sz="1200" dirty="0"/>
                        <a:t> dengan jenis </a:t>
                      </a:r>
                      <a:r>
                        <a:rPr lang="en-US" sz="1200" dirty="0" err="1"/>
                        <a:t>seperti</a:t>
                      </a:r>
                      <a:r>
                        <a:rPr lang="en-US" sz="1200" dirty="0"/>
                        <a:t> 1.0 </a:t>
                      </a:r>
                      <a:r>
                        <a:rPr lang="en-US" sz="1200" dirty="0" err="1"/>
                        <a:t>ditambah</a:t>
                      </a:r>
                      <a:r>
                        <a:rPr lang="en-US" sz="1200" dirty="0"/>
                        <a:t> jenis CRD, </a:t>
                      </a:r>
                      <a:r>
                        <a:rPr lang="en-US" sz="1200" dirty="0" err="1"/>
                        <a:t>Risalah</a:t>
                      </a:r>
                      <a:r>
                        <a:rPr lang="en-US" sz="1200" dirty="0"/>
                        <a:t> Rapat BOC dan BO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6409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Pengguna (approver) dapat </a:t>
                      </a:r>
                      <a:r>
                        <a:rPr lang="en-US" sz="1200" dirty="0" err="1"/>
                        <a:t>menandatangi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surat</a:t>
                      </a:r>
                      <a:r>
                        <a:rPr lang="en-US" sz="1200" dirty="0"/>
                        <a:t> dengan </a:t>
                      </a:r>
                      <a:r>
                        <a:rPr lang="en-US" sz="1200" dirty="0" err="1"/>
                        <a:t>pilihan</a:t>
                      </a:r>
                      <a:r>
                        <a:rPr lang="en-US" sz="1200" dirty="0"/>
                        <a:t> tanpa digital sign, Peruri atau BSS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engguna (approver) dapat </a:t>
                      </a:r>
                      <a:r>
                        <a:rPr lang="en-US" sz="1200" dirty="0" err="1"/>
                        <a:t>menandatangi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surat</a:t>
                      </a:r>
                      <a:r>
                        <a:rPr lang="en-US" sz="1200" dirty="0"/>
                        <a:t> dengan </a:t>
                      </a:r>
                      <a:r>
                        <a:rPr lang="en-US" sz="1200" dirty="0" err="1"/>
                        <a:t>pilihan</a:t>
                      </a:r>
                      <a:r>
                        <a:rPr lang="en-US" sz="1200" dirty="0"/>
                        <a:t> tanpa digital sign, Peruri, BSSN atau P-Sign sesuai dengan matrix </a:t>
                      </a:r>
                      <a:r>
                        <a:rPr lang="en-US" sz="1200" dirty="0" err="1"/>
                        <a:t>kewenangan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45043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Pengguna </a:t>
                      </a:r>
                      <a:r>
                        <a:rPr lang="en-US" sz="1200" dirty="0" err="1"/>
                        <a:t>hanya</a:t>
                      </a:r>
                      <a:r>
                        <a:rPr lang="en-US" sz="1200" dirty="0"/>
                        <a:t> dapat </a:t>
                      </a:r>
                      <a:r>
                        <a:rPr lang="en-US" sz="1200" dirty="0" err="1"/>
                        <a:t>melihat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informasi</a:t>
                      </a:r>
                      <a:r>
                        <a:rPr lang="en-US" sz="1200" dirty="0"/>
                        <a:t> disposisi yang diterima </a:t>
                      </a:r>
                      <a:r>
                        <a:rPr lang="en-US" sz="1200" dirty="0" err="1"/>
                        <a:t>dari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satu</a:t>
                      </a:r>
                      <a:r>
                        <a:rPr lang="en-US" sz="1200" dirty="0"/>
                        <a:t> level di </a:t>
                      </a:r>
                      <a:r>
                        <a:rPr lang="en-US" sz="1200" dirty="0" err="1"/>
                        <a:t>atasnya</a:t>
                      </a:r>
                      <a:r>
                        <a:rPr lang="en-US" sz="1200" dirty="0"/>
                        <a:t> saj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engguna dapat </a:t>
                      </a:r>
                      <a:r>
                        <a:rPr lang="en-US" sz="1200" dirty="0" err="1"/>
                        <a:t>melihat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informasi</a:t>
                      </a:r>
                      <a:r>
                        <a:rPr lang="en-US" sz="1200" dirty="0"/>
                        <a:t> disposisi </a:t>
                      </a:r>
                      <a:r>
                        <a:rPr lang="en-US" sz="1200" dirty="0" err="1"/>
                        <a:t>satu</a:t>
                      </a:r>
                      <a:r>
                        <a:rPr lang="en-US" sz="1200" dirty="0"/>
                        <a:t> garis </a:t>
                      </a:r>
                      <a:r>
                        <a:rPr lang="en-US" sz="1200" dirty="0" err="1"/>
                        <a:t>komando</a:t>
                      </a:r>
                      <a:r>
                        <a:rPr lang="en-US" sz="1200" dirty="0"/>
                        <a:t> tidak </a:t>
                      </a:r>
                      <a:r>
                        <a:rPr lang="en-US" sz="1200" dirty="0" err="1"/>
                        <a:t>hanya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satu</a:t>
                      </a:r>
                      <a:r>
                        <a:rPr lang="en-US" sz="1200" dirty="0"/>
                        <a:t> level di </a:t>
                      </a:r>
                      <a:r>
                        <a:rPr lang="en-US" sz="1200" dirty="0" err="1"/>
                        <a:t>atasnya</a:t>
                      </a:r>
                      <a:r>
                        <a:rPr lang="en-US" sz="1200" dirty="0"/>
                        <a:t> saj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43019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Pengguna </a:t>
                      </a:r>
                      <a:r>
                        <a:rPr lang="en-US" sz="1200" dirty="0" err="1"/>
                        <a:t>hanya</a:t>
                      </a:r>
                      <a:r>
                        <a:rPr lang="en-US" sz="1200" dirty="0"/>
                        <a:t> dapat </a:t>
                      </a:r>
                      <a:r>
                        <a:rPr lang="en-US" sz="1200" dirty="0" err="1"/>
                        <a:t>berkirim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surat</a:t>
                      </a:r>
                      <a:r>
                        <a:rPr lang="en-US" sz="1200" dirty="0"/>
                        <a:t> dalam </a:t>
                      </a:r>
                      <a:r>
                        <a:rPr lang="en-US" sz="1200" dirty="0" err="1"/>
                        <a:t>satu</a:t>
                      </a:r>
                      <a:r>
                        <a:rPr lang="en-US" sz="1200" dirty="0"/>
                        <a:t> tenant (company code) saja tidak bisa </a:t>
                      </a:r>
                      <a:r>
                        <a:rPr lang="en-US" sz="1200" dirty="0" err="1"/>
                        <a:t>lintas</a:t>
                      </a:r>
                      <a:r>
                        <a:rPr lang="en-US" sz="1200" dirty="0"/>
                        <a:t> company c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engguna dapat mengirimkan </a:t>
                      </a:r>
                      <a:r>
                        <a:rPr lang="en-US" sz="1200" dirty="0" err="1"/>
                        <a:t>surat</a:t>
                      </a:r>
                      <a:r>
                        <a:rPr lang="en-US" sz="1200" dirty="0"/>
                        <a:t> dengan </a:t>
                      </a:r>
                      <a:r>
                        <a:rPr lang="en-US" sz="1200" dirty="0" err="1"/>
                        <a:t>spesifik</a:t>
                      </a:r>
                      <a:r>
                        <a:rPr lang="en-US" sz="1200" dirty="0"/>
                        <a:t> pada field </a:t>
                      </a:r>
                      <a:r>
                        <a:rPr lang="en-US" sz="1200" dirty="0" err="1"/>
                        <a:t>tembusan</a:t>
                      </a:r>
                      <a:r>
                        <a:rPr lang="en-US" sz="1200" dirty="0"/>
                        <a:t> dan </a:t>
                      </a:r>
                      <a:r>
                        <a:rPr lang="en-US" sz="1200" dirty="0" err="1"/>
                        <a:t>tujuan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surat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lintas</a:t>
                      </a:r>
                      <a:r>
                        <a:rPr lang="en-US" sz="1200" dirty="0"/>
                        <a:t> company code pada Surat Keluar dan Fax Kelu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4853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Spesimen tanda tangan pada semua tenant menggunakan logo </a:t>
                      </a:r>
                      <a:r>
                        <a:rPr lang="en-US" sz="1200" dirty="0" err="1"/>
                        <a:t>Pertamina</a:t>
                      </a:r>
                      <a:r>
                        <a:rPr lang="en-US" sz="1200" dirty="0"/>
                        <a:t> Perse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pesimen tanda tangan menggunakan logo sesuai Organisasi pada tenant tersebu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5450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Pengguna dengan role reviewer dan approver </a:t>
                      </a:r>
                      <a:r>
                        <a:rPr lang="en-US" sz="1200" dirty="0" err="1"/>
                        <a:t>menindak</a:t>
                      </a:r>
                      <a:r>
                        <a:rPr lang="en-US" sz="1200" dirty="0"/>
                        <a:t> lanjuti </a:t>
                      </a:r>
                      <a:r>
                        <a:rPr lang="en-US" sz="1200" dirty="0" err="1"/>
                        <a:t>surat</a:t>
                      </a:r>
                      <a:r>
                        <a:rPr lang="en-US" sz="1200" dirty="0"/>
                        <a:t> yang bernomor pada menu Inbox-Dir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engguna dapat menindaklanjuti </a:t>
                      </a:r>
                      <a:r>
                        <a:rPr lang="en-US" sz="1200" dirty="0" err="1"/>
                        <a:t>surat</a:t>
                      </a:r>
                      <a:r>
                        <a:rPr lang="en-US" sz="1200" dirty="0"/>
                        <a:t> yang belum bernomor dan butuh tindak </a:t>
                      </a:r>
                      <a:r>
                        <a:rPr lang="en-US" sz="1200" dirty="0" err="1"/>
                        <a:t>lanjut</a:t>
                      </a:r>
                      <a:r>
                        <a:rPr lang="en-US" sz="1200" dirty="0"/>
                        <a:t> pada menu Dra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47663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Pengajuan offline yang dibatalkan, </a:t>
                      </a:r>
                      <a:r>
                        <a:rPr lang="en-US" sz="1200" dirty="0" err="1"/>
                        <a:t>nomornya</a:t>
                      </a:r>
                      <a:r>
                        <a:rPr lang="en-US" sz="1200" dirty="0"/>
                        <a:t> tidak dapat </a:t>
                      </a:r>
                      <a:r>
                        <a:rPr lang="en-US" sz="1200" dirty="0" err="1"/>
                        <a:t>digunaka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engajuan offline number yang dibatalkan atau </a:t>
                      </a:r>
                      <a:r>
                        <a:rPr lang="en-US" sz="1200" dirty="0" err="1"/>
                        <a:t>ditolak</a:t>
                      </a:r>
                      <a:r>
                        <a:rPr lang="en-US" sz="1200" dirty="0"/>
                        <a:t> nomor </a:t>
                      </a:r>
                      <a:r>
                        <a:rPr lang="en-US" sz="1200" dirty="0" err="1"/>
                        <a:t>urut</a:t>
                      </a:r>
                      <a:r>
                        <a:rPr lang="en-US" sz="1200" dirty="0"/>
                        <a:t> tetap dapat </a:t>
                      </a:r>
                      <a:r>
                        <a:rPr lang="en-US" sz="1200" dirty="0" err="1"/>
                        <a:t>digunakan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karena</a:t>
                      </a:r>
                      <a:r>
                        <a:rPr lang="en-US" sz="1200" dirty="0"/>
                        <a:t> request offline number itu tidak </a:t>
                      </a:r>
                      <a:r>
                        <a:rPr lang="en-US" sz="1200" dirty="0" err="1"/>
                        <a:t>pesan</a:t>
                      </a:r>
                      <a:r>
                        <a:rPr lang="en-US" sz="1200" dirty="0"/>
                        <a:t> nomor </a:t>
                      </a:r>
                      <a:r>
                        <a:rPr lang="en-US" sz="1200" dirty="0" err="1"/>
                        <a:t>urut</a:t>
                      </a:r>
                      <a:r>
                        <a:rPr lang="en-US" sz="1200" dirty="0"/>
                        <a:t> tapi </a:t>
                      </a:r>
                      <a:r>
                        <a:rPr lang="en-US" sz="1200" dirty="0" err="1"/>
                        <a:t>pesan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jumlah</a:t>
                      </a:r>
                      <a:r>
                        <a:rPr lang="en-US" sz="1200" dirty="0"/>
                        <a:t> pengajuan offline numb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02426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Alamat pada Surat Keluar di tenant 1010 Persero </a:t>
                      </a:r>
                      <a:r>
                        <a:rPr lang="en-US" sz="1200" dirty="0" err="1"/>
                        <a:t>alamatnya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hanya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kantor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pusa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lamat pada Surat Keluar dapat </a:t>
                      </a:r>
                      <a:r>
                        <a:rPr lang="en-US" sz="1200" dirty="0" err="1"/>
                        <a:t>disesuaikan</a:t>
                      </a:r>
                      <a:r>
                        <a:rPr lang="en-US" sz="1200" dirty="0"/>
                        <a:t> lokasi di fungsi unit </a:t>
                      </a:r>
                      <a:r>
                        <a:rPr lang="en-US" sz="1200" dirty="0" err="1"/>
                        <a:t>selain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kantor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pusat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91569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89009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0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6&quot;&gt;&lt;elem m_fUsage=&quot;1.00000000000000000000E+00&quot;&gt;&lt;m_msothmcolidx val=&quot;0&quot;/&gt;&lt;m_rgb r=&quot;1A&quot; g=&quot;DA&quot; b=&quot;EA&quot;/&gt;&lt;/elem&gt;&lt;elem m_fUsage=&quot;9.00000000000000022204E-01&quot;&gt;&lt;m_msothmcolidx val=&quot;0&quot;/&gt;&lt;m_rgb r=&quot;23&quot; g=&quot;09&quot; b=&quot;9D&quot;/&gt;&lt;/elem&gt;&lt;elem m_fUsage=&quot;8.10000000000000053291E-01&quot;&gt;&lt;m_msothmcolidx val=&quot;0&quot;/&gt;&lt;m_rgb r=&quot;F3&quot; g=&quot;29&quot; b=&quot;05&quot;/&gt;&lt;/elem&gt;&lt;elem m_fUsage=&quot;7.29000000000000092371E-01&quot;&gt;&lt;m_msothmcolidx val=&quot;0&quot;/&gt;&lt;m_rgb r=&quot;FC&quot; g=&quot;4E&quot; b=&quot;71&quot;/&gt;&lt;/elem&gt;&lt;elem m_fUsage=&quot;6.56100000000000127542E-01&quot;&gt;&lt;m_msothmcolidx val=&quot;0&quot;/&gt;&lt;m_rgb r=&quot;DC&quot; g=&quot;5E&quot; b=&quot;0A&quot;/&gt;&lt;/elem&gt;&lt;elem m_fUsage=&quot;5.90490000000000181402E-01&quot;&gt;&lt;m_msothmcolidx val=&quot;0&quot;/&gt;&lt;m_rgb r=&quot;14&quot; g=&quot;A6&quot; b=&quot;09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OgLguuL8T3hW55Qkew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Xp7xHyKvANJ3z713zZ5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w3dBH1_9QsYIcmNQk_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6JzdaQIHnDUFmmS8pw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lU1rlc3Hiai0EKLkLX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JjqKnc_naj7UN8ih4K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rH2iB6KCY6e03zICfK1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l9D1E3WGE7Rpk._vii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6d45vJcOVEc0ZOIoJ7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F3klaDwW_kVkjlLGzM0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3KULBoSgLqnIc_cPY1Q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FBFR8F__Qw8IFgTFq_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sY7I62MezFzw94M6jV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hqC9Yp1jJ3M__0q9d6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gSCKVmS5FtSnsVNtbht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jOOX6088A9EHna6jXHj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A.Q4Qg3rBoTWHVh2D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xurNlxThBfcwZzzolcV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yk7SZ1NAWF8lsDbdsy0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q2tulZmGXSDaY9iAMC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XqHI1WpDwl71nuTFDur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591KtpBLaBbI5R3UfI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NE58.t0suBC70AB5xE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Rtmt6jQcsFZh3f9BDhI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tdsfwkLnM6BAPNdWU3b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bYYP2S1qjEXoTO25rs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ap.PdAhGr98IE8zo_Y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Y7Y4B7u5.vSb3aDtZf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MQZSsLmC.I3s_diGq46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6flYqbu.8fjduDOATf1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AFKpJzRbhrWnwHiysZS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5e9qz1be7dl5qDtFZZ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rzd9pfzeuVSwqh8f94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yN6KOo1J6Te_vNikP.5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SWeZ2r1YX83JYGuzdk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NUKrvmpdR0wWs1BmS4r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W2Cmw6MQOs7RYAOxHn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iv3YYSe5CrCJoklPsla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nUuIBNCboM4K3sKDkIX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5kKLR0DpOpNd4a25m37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g2oj3x_Lirvi.QskOCI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yZxcVHEwQCpSRhtHBiD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PCxQpyjqo_QFBLsioj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bx8qHH5XITXyzRfhxf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44aAET2_ya_fDo1JH0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fsKCKvpH.UdkWGHlRA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o7JdJGup8s1ou2FOYD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HGlmAdtOgKSg9wGdK1i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SNQqTAWVuTslqsM9QMh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7GXCymS.tYxjOeC82vQ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a5n4Oo54Az2caQxmk04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E71hpB999W6Wspw1m5T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3h83iplTWrUJbfRAVN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kmBhn2_VwTU5tn0GGSK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Hi9KAd5CvOxnBV7Tprt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cugq9oTcp40FpPPImIv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JxMRT4Y2TxcFPWn_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v7tyXiqMsSFaxNQdI09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7dy8ywEs.tUm.9ZXCMD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d5BLH51mOkwtK2JPpUc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iXjw1OXsR3xyKmPifWS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MkgdEMrnQUvF.A.WY6s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ToD5SadqiDyLexntSC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Ge_JWX3H.Lss4qG5YdB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6kV5wKcB_1jY6Z3NKNv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5N1MXIlbYBSIFBibDa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Contents Slide Master">
  <a:themeElements>
    <a:clrScheme name="Real Esta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CBBB4"/>
      </a:accent1>
      <a:accent2>
        <a:srgbClr val="48DCE2"/>
      </a:accent2>
      <a:accent3>
        <a:srgbClr val="9FEDF0"/>
      </a:accent3>
      <a:accent4>
        <a:srgbClr val="FEB856"/>
      </a:accent4>
      <a:accent5>
        <a:srgbClr val="576868"/>
      </a:accent5>
      <a:accent6>
        <a:srgbClr val="CBCBCB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2_Contents Slide Master">
  <a:themeElements>
    <a:clrScheme name="ALLPPT-COLOR-A3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5D8DE"/>
      </a:accent1>
      <a:accent2>
        <a:srgbClr val="85D8DE"/>
      </a:accent2>
      <a:accent3>
        <a:srgbClr val="85D8DE"/>
      </a:accent3>
      <a:accent4>
        <a:srgbClr val="85D8DE"/>
      </a:accent4>
      <a:accent5>
        <a:srgbClr val="85D8DE"/>
      </a:accent5>
      <a:accent6>
        <a:srgbClr val="85D8DE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Section Break Slide Master">
  <a:themeElements>
    <a:clrScheme name="Real Esta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CBBB4"/>
      </a:accent1>
      <a:accent2>
        <a:srgbClr val="48DCE2"/>
      </a:accent2>
      <a:accent3>
        <a:srgbClr val="9FEDF0"/>
      </a:accent3>
      <a:accent4>
        <a:srgbClr val="FEB856"/>
      </a:accent4>
      <a:accent5>
        <a:srgbClr val="576868"/>
      </a:accent5>
      <a:accent6>
        <a:srgbClr val="CBCBCB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3_Contents Slide Master">
  <a:themeElements>
    <a:clrScheme name="ALLPPT- BURGE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8BA16"/>
      </a:accent1>
      <a:accent2>
        <a:srgbClr val="454545"/>
      </a:accent2>
      <a:accent3>
        <a:srgbClr val="F8BA16"/>
      </a:accent3>
      <a:accent4>
        <a:srgbClr val="454545"/>
      </a:accent4>
      <a:accent5>
        <a:srgbClr val="F8BA16"/>
      </a:accent5>
      <a:accent6>
        <a:srgbClr val="454545"/>
      </a:accent6>
      <a:hlink>
        <a:srgbClr val="454545"/>
      </a:hlink>
      <a:folHlink>
        <a:srgbClr val="454545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Custom Design">
  <a:themeElements>
    <a:clrScheme name="Median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Contents Slide Master">
  <a:themeElements>
    <a:clrScheme name="ALLPPT COLOR - 1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6491"/>
      </a:accent1>
      <a:accent2>
        <a:srgbClr val="0587AF"/>
      </a:accent2>
      <a:accent3>
        <a:srgbClr val="19A5BE"/>
      </a:accent3>
      <a:accent4>
        <a:srgbClr val="53C3CD"/>
      </a:accent4>
      <a:accent5>
        <a:srgbClr val="5AB4C1"/>
      </a:accent5>
      <a:accent6>
        <a:srgbClr val="1A8EA9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 2007-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Office 2007-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0644</TotalTime>
  <Words>885</Words>
  <Application>Microsoft Office PowerPoint</Application>
  <PresentationFormat>Widescreen</PresentationFormat>
  <Paragraphs>159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1" baseType="lpstr">
      <vt:lpstr>Arial Unicode MS</vt:lpstr>
      <vt:lpstr>맑은 고딕</vt:lpstr>
      <vt:lpstr>Arial</vt:lpstr>
      <vt:lpstr>Calibri</vt:lpstr>
      <vt:lpstr>Calibri Light</vt:lpstr>
      <vt:lpstr>Segoe UI</vt:lpstr>
      <vt:lpstr>Custom Design</vt:lpstr>
      <vt:lpstr>4_Custom Design</vt:lpstr>
      <vt:lpstr>6_Custom Design</vt:lpstr>
      <vt:lpstr>1_Custom Design</vt:lpstr>
      <vt:lpstr>2_Custom Design</vt:lpstr>
      <vt:lpstr>3_Custom Design</vt:lpstr>
      <vt:lpstr>5_Custom Design</vt:lpstr>
      <vt:lpstr>7_Custom Design</vt:lpstr>
      <vt:lpstr>Contents Slide Master</vt:lpstr>
      <vt:lpstr>1_Contents Slide Master</vt:lpstr>
      <vt:lpstr>2_Contents Slide Master</vt:lpstr>
      <vt:lpstr>Section Break Slide Master</vt:lpstr>
      <vt:lpstr>3_Contents Slide 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ssi Adirachman</dc:creator>
  <cp:lastModifiedBy>Putri Rizqiandini</cp:lastModifiedBy>
  <cp:revision>171</cp:revision>
  <dcterms:created xsi:type="dcterms:W3CDTF">2017-01-05T04:01:28Z</dcterms:created>
  <dcterms:modified xsi:type="dcterms:W3CDTF">2021-06-22T01:46:16Z</dcterms:modified>
</cp:coreProperties>
</file>